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37"/>
  </p:notesMasterIdLst>
  <p:handoutMasterIdLst>
    <p:handoutMasterId r:id="rId38"/>
  </p:handoutMasterIdLst>
  <p:sldIdLst>
    <p:sldId id="256" r:id="rId5"/>
    <p:sldId id="4419" r:id="rId6"/>
    <p:sldId id="4337" r:id="rId7"/>
    <p:sldId id="4420" r:id="rId8"/>
    <p:sldId id="4447" r:id="rId9"/>
    <p:sldId id="4422" r:id="rId10"/>
    <p:sldId id="4421" r:id="rId11"/>
    <p:sldId id="4424" r:id="rId12"/>
    <p:sldId id="4425" r:id="rId13"/>
    <p:sldId id="4426" r:id="rId14"/>
    <p:sldId id="4427" r:id="rId15"/>
    <p:sldId id="4428" r:id="rId16"/>
    <p:sldId id="4429" r:id="rId17"/>
    <p:sldId id="4430" r:id="rId18"/>
    <p:sldId id="4433" r:id="rId19"/>
    <p:sldId id="4431" r:id="rId20"/>
    <p:sldId id="4452" r:id="rId21"/>
    <p:sldId id="4434" r:id="rId22"/>
    <p:sldId id="4435" r:id="rId23"/>
    <p:sldId id="4436" r:id="rId24"/>
    <p:sldId id="4437" r:id="rId25"/>
    <p:sldId id="4449" r:id="rId26"/>
    <p:sldId id="4439" r:id="rId27"/>
    <p:sldId id="4440" r:id="rId28"/>
    <p:sldId id="4441" r:id="rId29"/>
    <p:sldId id="4442" r:id="rId30"/>
    <p:sldId id="4451" r:id="rId31"/>
    <p:sldId id="4444" r:id="rId32"/>
    <p:sldId id="4445" r:id="rId33"/>
    <p:sldId id="4446" r:id="rId34"/>
    <p:sldId id="4453" r:id="rId35"/>
    <p:sldId id="4418" r:id="rId36"/>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00" userDrawn="1">
          <p15:clr>
            <a:srgbClr val="A4A3A4"/>
          </p15:clr>
        </p15:guide>
        <p15:guide id="2" pos="225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A6A6"/>
    <a:srgbClr val="E32019"/>
    <a:srgbClr val="95C121"/>
    <a:srgbClr val="82CBD4"/>
    <a:srgbClr val="000000"/>
    <a:srgbClr val="FDC304"/>
    <a:srgbClr val="EF7E05"/>
    <a:srgbClr val="1BACE4"/>
    <a:srgbClr val="E6E6E6"/>
    <a:srgbClr val="1D1E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45" autoAdjust="0"/>
    <p:restoredTop sz="86608" autoAdjust="0"/>
  </p:normalViewPr>
  <p:slideViewPr>
    <p:cSldViewPr snapToGrid="0">
      <p:cViewPr varScale="1">
        <p:scale>
          <a:sx n="75" d="100"/>
          <a:sy n="75" d="100"/>
        </p:scale>
        <p:origin x="1032" y="41"/>
      </p:cViewPr>
      <p:guideLst>
        <p:guide orient="horz" pos="2500"/>
        <p:guide pos="2252"/>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148842190098561"/>
          <c:y val="4.2134878057681652E-2"/>
          <c:w val="0.62629585114540598"/>
          <c:h val="0.91573024388463664"/>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1"/>
              </a:solidFill>
              <a:ln>
                <a:noFill/>
              </a:ln>
              <a:effectLst/>
            </c:spPr>
            <c:extLst>
              <c:ext xmlns:c16="http://schemas.microsoft.com/office/drawing/2014/chart" uri="{C3380CC4-5D6E-409C-BE32-E72D297353CC}">
                <c16:uniqueId val="{00000001-F483-4407-8BAC-3523DD48BE62}"/>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3-F483-4407-8BAC-3523DD48BE62}"/>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F483-4407-8BAC-3523DD48BE62}"/>
              </c:ext>
            </c:extLst>
          </c:dPt>
          <c:dLbls>
            <c:spPr>
              <a:solidFill>
                <a:schemeClr val="bg1"/>
              </a:solid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Opened</c:v>
                </c:pt>
                <c:pt idx="1">
                  <c:v>Read/looked/glanced at</c:v>
                </c:pt>
                <c:pt idx="2">
                  <c:v>Filed</c:v>
                </c:pt>
                <c:pt idx="3">
                  <c:v>Put aside to look at later</c:v>
                </c:pt>
                <c:pt idx="4">
                  <c:v>Put in the usual place</c:v>
                </c:pt>
                <c:pt idx="5">
                  <c:v>Passed it on</c:v>
                </c:pt>
                <c:pt idx="6">
                  <c:v>Used/ did something with it</c:v>
                </c:pt>
                <c:pt idx="7">
                  <c:v>Took out of house</c:v>
                </c:pt>
                <c:pt idx="8">
                  <c:v>Put on display</c:v>
                </c:pt>
              </c:strCache>
            </c:strRef>
          </c:cat>
          <c:val>
            <c:numRef>
              <c:f>Sheet1!$B$2:$B$10</c:f>
              <c:numCache>
                <c:formatCode>0</c:formatCode>
                <c:ptCount val="9"/>
                <c:pt idx="0" formatCode="General">
                  <c:v>83</c:v>
                </c:pt>
                <c:pt idx="1">
                  <c:v>70</c:v>
                </c:pt>
                <c:pt idx="2">
                  <c:v>40</c:v>
                </c:pt>
                <c:pt idx="3">
                  <c:v>29</c:v>
                </c:pt>
                <c:pt idx="4" formatCode="General">
                  <c:v>14</c:v>
                </c:pt>
                <c:pt idx="5" formatCode="General">
                  <c:v>13</c:v>
                </c:pt>
                <c:pt idx="6" formatCode="General">
                  <c:v>12</c:v>
                </c:pt>
                <c:pt idx="7" formatCode="General">
                  <c:v>3</c:v>
                </c:pt>
                <c:pt idx="8" formatCode="General">
                  <c:v>3</c:v>
                </c:pt>
              </c:numCache>
            </c:numRef>
          </c:val>
          <c:extLst>
            <c:ext xmlns:c16="http://schemas.microsoft.com/office/drawing/2014/chart" uri="{C3380CC4-5D6E-409C-BE32-E72D297353CC}">
              <c16:uniqueId val="{00000006-F483-4407-8BAC-3523DD48BE62}"/>
            </c:ext>
          </c:extLst>
        </c:ser>
        <c:dLbls>
          <c:showLegendKey val="0"/>
          <c:showVal val="0"/>
          <c:showCatName val="0"/>
          <c:showSerName val="0"/>
          <c:showPercent val="0"/>
          <c:showBubbleSize val="0"/>
        </c:dLbls>
        <c:gapWidth val="50"/>
        <c:axId val="805113087"/>
        <c:axId val="1256173263"/>
      </c:barChart>
      <c:catAx>
        <c:axId val="80511308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en-US"/>
          </a:p>
        </c:txPr>
        <c:crossAx val="1256173263"/>
        <c:crosses val="autoZero"/>
        <c:auto val="1"/>
        <c:lblAlgn val="ctr"/>
        <c:lblOffset val="100"/>
        <c:noMultiLvlLbl val="0"/>
      </c:catAx>
      <c:valAx>
        <c:axId val="1256173263"/>
        <c:scaling>
          <c:orientation val="minMax"/>
        </c:scaling>
        <c:delete val="1"/>
        <c:axPos val="t"/>
        <c:numFmt formatCode="General" sourceLinked="1"/>
        <c:majorTickMark val="out"/>
        <c:minorTickMark val="none"/>
        <c:tickLblPos val="nextTo"/>
        <c:crossAx val="8051130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latin typeface="Lota Grotesque Light" panose="00000400000000000000" pitchFamily="50"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Sales</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18F4-4D84-B93B-5FA3224561AE}"/>
              </c:ext>
            </c:extLst>
          </c:dPt>
          <c:dPt>
            <c:idx val="1"/>
            <c:bubble3D val="0"/>
            <c:spPr>
              <a:noFill/>
              <a:ln w="19050">
                <a:noFill/>
              </a:ln>
              <a:effectLst/>
            </c:spPr>
            <c:extLst>
              <c:ext xmlns:c16="http://schemas.microsoft.com/office/drawing/2014/chart" uri="{C3380CC4-5D6E-409C-BE32-E72D297353CC}">
                <c16:uniqueId val="{00000003-18F4-4D84-B93B-5FA3224561AE}"/>
              </c:ext>
            </c:extLst>
          </c:dPt>
          <c:cat>
            <c:strRef>
              <c:f>Sheet1!$A$2:$A$3</c:f>
              <c:strCache>
                <c:ptCount val="2"/>
                <c:pt idx="0">
                  <c:v>1st Qtr</c:v>
                </c:pt>
                <c:pt idx="1">
                  <c:v>2nd Qtr</c:v>
                </c:pt>
              </c:strCache>
            </c:strRef>
          </c:cat>
          <c:val>
            <c:numRef>
              <c:f>Sheet1!$B$2:$B$3</c:f>
              <c:numCache>
                <c:formatCode>General</c:formatCode>
                <c:ptCount val="2"/>
                <c:pt idx="0">
                  <c:v>67</c:v>
                </c:pt>
                <c:pt idx="1">
                  <c:v>33</c:v>
                </c:pt>
              </c:numCache>
            </c:numRef>
          </c:val>
          <c:extLst>
            <c:ext xmlns:c16="http://schemas.microsoft.com/office/drawing/2014/chart" uri="{C3380CC4-5D6E-409C-BE32-E72D297353CC}">
              <c16:uniqueId val="{00000004-18F4-4D84-B93B-5FA3224561AE}"/>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6-18F4-4D84-B93B-5FA3224561AE}"/>
              </c:ext>
            </c:extLst>
          </c:dPt>
          <c:dPt>
            <c:idx val="1"/>
            <c:bubble3D val="0"/>
            <c:spPr>
              <a:noFill/>
              <a:ln w="19050">
                <a:noFill/>
              </a:ln>
              <a:effectLst/>
            </c:spPr>
            <c:extLst>
              <c:ext xmlns:c16="http://schemas.microsoft.com/office/drawing/2014/chart" uri="{C3380CC4-5D6E-409C-BE32-E72D297353CC}">
                <c16:uniqueId val="{00000008-18F4-4D84-B93B-5FA3224561AE}"/>
              </c:ext>
            </c:extLst>
          </c:dPt>
          <c:cat>
            <c:strRef>
              <c:f>Sheet1!$A$2:$A$3</c:f>
              <c:strCache>
                <c:ptCount val="2"/>
                <c:pt idx="0">
                  <c:v>1st Qtr</c:v>
                </c:pt>
                <c:pt idx="1">
                  <c:v>2nd Qtr</c:v>
                </c:pt>
              </c:strCache>
            </c:strRef>
          </c:cat>
          <c:val>
            <c:numRef>
              <c:f>Sheet1!$C$2:$C$3</c:f>
              <c:numCache>
                <c:formatCode>General</c:formatCode>
                <c:ptCount val="2"/>
                <c:pt idx="0">
                  <c:v>77</c:v>
                </c:pt>
                <c:pt idx="1">
                  <c:v>23</c:v>
                </c:pt>
              </c:numCache>
            </c:numRef>
          </c:val>
          <c:extLst>
            <c:ext xmlns:c16="http://schemas.microsoft.com/office/drawing/2014/chart" uri="{C3380CC4-5D6E-409C-BE32-E72D297353CC}">
              <c16:uniqueId val="{00000009-18F4-4D84-B93B-5FA3224561AE}"/>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doughnutChart>
        <c:varyColors val="1"/>
        <c:ser>
          <c:idx val="0"/>
          <c:order val="0"/>
          <c:tx>
            <c:strRef>
              <c:f>Sheet1!$B$1</c:f>
              <c:strCache>
                <c:ptCount val="1"/>
                <c:pt idx="0">
                  <c:v>Leave as is</c:v>
                </c:pt>
              </c:strCache>
            </c:strRef>
          </c:tx>
          <c:spPr>
            <a:noFill/>
            <a:ln>
              <a:noFill/>
            </a:ln>
          </c:spPr>
          <c:dPt>
            <c:idx val="0"/>
            <c:bubble3D val="0"/>
            <c:spPr>
              <a:noFill/>
              <a:ln w="19050">
                <a:noFill/>
              </a:ln>
              <a:effectLst/>
            </c:spPr>
            <c:extLst>
              <c:ext xmlns:c16="http://schemas.microsoft.com/office/drawing/2014/chart" uri="{C3380CC4-5D6E-409C-BE32-E72D297353CC}">
                <c16:uniqueId val="{00000001-1358-4902-ADE6-47697AB1CC40}"/>
              </c:ext>
            </c:extLst>
          </c:dPt>
          <c:dPt>
            <c:idx val="1"/>
            <c:bubble3D val="0"/>
            <c:spPr>
              <a:noFill/>
              <a:ln w="19050">
                <a:noFill/>
              </a:ln>
              <a:effectLst/>
            </c:spPr>
            <c:extLst>
              <c:ext xmlns:c16="http://schemas.microsoft.com/office/drawing/2014/chart" uri="{C3380CC4-5D6E-409C-BE32-E72D297353CC}">
                <c16:uniqueId val="{00000003-1358-4902-ADE6-47697AB1CC40}"/>
              </c:ext>
            </c:extLst>
          </c:dPt>
          <c:cat>
            <c:strRef>
              <c:f>Sheet1!$A$2:$A$3</c:f>
              <c:strCache>
                <c:ptCount val="2"/>
                <c:pt idx="0">
                  <c:v>Score</c:v>
                </c:pt>
                <c:pt idx="1">
                  <c:v>Not score</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1358-4902-ADE6-47697AB1CC40}"/>
            </c:ext>
          </c:extLst>
        </c:ser>
        <c:ser>
          <c:idx val="1"/>
          <c:order val="1"/>
          <c:tx>
            <c:strRef>
              <c:f>Sheet1!$C$1</c:f>
              <c:strCache>
                <c:ptCount val="1"/>
                <c:pt idx="0">
                  <c:v>Leave as is2</c:v>
                </c:pt>
              </c:strCache>
            </c:strRef>
          </c:tx>
          <c:spPr>
            <a:noFill/>
            <a:ln>
              <a:noFill/>
            </a:ln>
          </c:spPr>
          <c:dPt>
            <c:idx val="0"/>
            <c:bubble3D val="0"/>
            <c:spPr>
              <a:noFill/>
              <a:ln w="19050">
                <a:noFill/>
              </a:ln>
              <a:effectLst/>
            </c:spPr>
            <c:extLst>
              <c:ext xmlns:c16="http://schemas.microsoft.com/office/drawing/2014/chart" uri="{C3380CC4-5D6E-409C-BE32-E72D297353CC}">
                <c16:uniqueId val="{00000006-1358-4902-ADE6-47697AB1CC40}"/>
              </c:ext>
            </c:extLst>
          </c:dPt>
          <c:dPt>
            <c:idx val="1"/>
            <c:bubble3D val="0"/>
            <c:spPr>
              <a:noFill/>
              <a:ln w="19050">
                <a:noFill/>
              </a:ln>
              <a:effectLst/>
            </c:spPr>
            <c:extLst>
              <c:ext xmlns:c16="http://schemas.microsoft.com/office/drawing/2014/chart" uri="{C3380CC4-5D6E-409C-BE32-E72D297353CC}">
                <c16:uniqueId val="{00000008-1358-4902-ADE6-47697AB1CC40}"/>
              </c:ext>
            </c:extLst>
          </c:dPt>
          <c:cat>
            <c:strRef>
              <c:f>Sheet1!$A$2:$A$3</c:f>
              <c:strCache>
                <c:ptCount val="2"/>
                <c:pt idx="0">
                  <c:v>Score</c:v>
                </c:pt>
                <c:pt idx="1">
                  <c:v>Not score</c:v>
                </c:pt>
              </c:strCache>
            </c:strRef>
          </c:cat>
          <c:val>
            <c:numRef>
              <c:f>Sheet1!$C$2:$C$3</c:f>
              <c:numCache>
                <c:formatCode>General</c:formatCode>
                <c:ptCount val="2"/>
                <c:pt idx="0">
                  <c:v>100</c:v>
                </c:pt>
                <c:pt idx="1">
                  <c:v>0</c:v>
                </c:pt>
              </c:numCache>
            </c:numRef>
          </c:val>
          <c:extLst>
            <c:ext xmlns:c16="http://schemas.microsoft.com/office/drawing/2014/chart" uri="{C3380CC4-5D6E-409C-BE32-E72D297353CC}">
              <c16:uniqueId val="{00000009-1358-4902-ADE6-47697AB1CC40}"/>
            </c:ext>
          </c:extLst>
        </c:ser>
        <c:ser>
          <c:idx val="2"/>
          <c:order val="2"/>
          <c:tx>
            <c:strRef>
              <c:f>Sheet1!$D$1</c:f>
              <c:strCache>
                <c:ptCount val="1"/>
                <c:pt idx="0">
                  <c:v>Leave as is3</c:v>
                </c:pt>
              </c:strCache>
            </c:strRef>
          </c:tx>
          <c:spPr>
            <a:noFill/>
            <a:ln>
              <a:noFill/>
            </a:ln>
          </c:spPr>
          <c:dPt>
            <c:idx val="0"/>
            <c:bubble3D val="0"/>
            <c:spPr>
              <a:noFill/>
              <a:ln w="19050">
                <a:noFill/>
              </a:ln>
              <a:effectLst/>
            </c:spPr>
            <c:extLst>
              <c:ext xmlns:c16="http://schemas.microsoft.com/office/drawing/2014/chart" uri="{C3380CC4-5D6E-409C-BE32-E72D297353CC}">
                <c16:uniqueId val="{0000000B-1358-4902-ADE6-47697AB1CC40}"/>
              </c:ext>
            </c:extLst>
          </c:dPt>
          <c:dPt>
            <c:idx val="1"/>
            <c:bubble3D val="0"/>
            <c:spPr>
              <a:noFill/>
              <a:ln w="19050">
                <a:noFill/>
              </a:ln>
              <a:effectLst/>
            </c:spPr>
            <c:extLst>
              <c:ext xmlns:c16="http://schemas.microsoft.com/office/drawing/2014/chart" uri="{C3380CC4-5D6E-409C-BE32-E72D297353CC}">
                <c16:uniqueId val="{0000000D-1358-4902-ADE6-47697AB1CC40}"/>
              </c:ext>
            </c:extLst>
          </c:dPt>
          <c:cat>
            <c:strRef>
              <c:f>Sheet1!$A$2:$A$3</c:f>
              <c:strCache>
                <c:ptCount val="2"/>
                <c:pt idx="0">
                  <c:v>Score</c:v>
                </c:pt>
                <c:pt idx="1">
                  <c:v>Not score</c:v>
                </c:pt>
              </c:strCache>
            </c:strRef>
          </c:cat>
          <c:val>
            <c:numRef>
              <c:f>Sheet1!$D$2:$D$3</c:f>
              <c:numCache>
                <c:formatCode>General</c:formatCode>
                <c:ptCount val="2"/>
                <c:pt idx="0">
                  <c:v>100</c:v>
                </c:pt>
                <c:pt idx="1">
                  <c:v>0</c:v>
                </c:pt>
              </c:numCache>
            </c:numRef>
          </c:val>
          <c:extLst>
            <c:ext xmlns:c16="http://schemas.microsoft.com/office/drawing/2014/chart" uri="{C3380CC4-5D6E-409C-BE32-E72D297353CC}">
              <c16:uniqueId val="{0000000E-1358-4902-ADE6-47697AB1CC40}"/>
            </c:ext>
          </c:extLst>
        </c:ser>
        <c:dLbls>
          <c:showLegendKey val="0"/>
          <c:showVal val="0"/>
          <c:showCatName val="0"/>
          <c:showSerName val="0"/>
          <c:showPercent val="0"/>
          <c:showBubbleSize val="0"/>
          <c:showLeaderLines val="1"/>
        </c:dLbls>
        <c:firstSliceAng val="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GB" noProof="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65688029821826"/>
          <c:y val="0.13529379874564412"/>
          <c:w val="0.73868623940356348"/>
          <c:h val="0.80827236732025864"/>
        </c:manualLayout>
      </c:layout>
      <c:doughnutChart>
        <c:varyColors val="1"/>
        <c:ser>
          <c:idx val="0"/>
          <c:order val="0"/>
          <c:tx>
            <c:strRef>
              <c:f>Sheet1!$B$1</c:f>
              <c:strCache>
                <c:ptCount val="1"/>
                <c:pt idx="0">
                  <c:v>Leave as is</c:v>
                </c:pt>
              </c:strCache>
            </c:strRef>
          </c:tx>
          <c:spPr>
            <a:noFill/>
            <a:ln>
              <a:noFill/>
            </a:ln>
          </c:spPr>
          <c:dPt>
            <c:idx val="0"/>
            <c:bubble3D val="0"/>
            <c:spPr>
              <a:noFill/>
              <a:ln w="19050">
                <a:noFill/>
              </a:ln>
              <a:effectLst/>
            </c:spPr>
            <c:extLst>
              <c:ext xmlns:c16="http://schemas.microsoft.com/office/drawing/2014/chart" uri="{C3380CC4-5D6E-409C-BE32-E72D297353CC}">
                <c16:uniqueId val="{00000001-650F-47E4-B2CF-61D42A7B4875}"/>
              </c:ext>
            </c:extLst>
          </c:dPt>
          <c:dPt>
            <c:idx val="1"/>
            <c:bubble3D val="0"/>
            <c:spPr>
              <a:noFill/>
              <a:ln w="19050">
                <a:noFill/>
              </a:ln>
              <a:effectLst/>
            </c:spPr>
            <c:extLst>
              <c:ext xmlns:c16="http://schemas.microsoft.com/office/drawing/2014/chart" uri="{C3380CC4-5D6E-409C-BE32-E72D297353CC}">
                <c16:uniqueId val="{00000003-650F-47E4-B2CF-61D42A7B4875}"/>
              </c:ext>
            </c:extLst>
          </c:dPt>
          <c:cat>
            <c:strRef>
              <c:f>Sheet1!$A$2:$A$3</c:f>
              <c:strCache>
                <c:ptCount val="2"/>
                <c:pt idx="0">
                  <c:v>Score</c:v>
                </c:pt>
                <c:pt idx="1">
                  <c:v>Not score</c:v>
                </c:pt>
              </c:strCache>
            </c:strRef>
          </c:cat>
          <c:val>
            <c:numRef>
              <c:f>Sheet1!$B$2:$B$3</c:f>
              <c:numCache>
                <c:formatCode>General</c:formatCode>
                <c:ptCount val="2"/>
                <c:pt idx="0">
                  <c:v>100</c:v>
                </c:pt>
                <c:pt idx="1">
                  <c:v>0</c:v>
                </c:pt>
              </c:numCache>
            </c:numRef>
          </c:val>
          <c:extLst>
            <c:ext xmlns:c16="http://schemas.microsoft.com/office/drawing/2014/chart" uri="{C3380CC4-5D6E-409C-BE32-E72D297353CC}">
              <c16:uniqueId val="{00000004-650F-47E4-B2CF-61D42A7B4875}"/>
            </c:ext>
          </c:extLst>
        </c:ser>
        <c:ser>
          <c:idx val="1"/>
          <c:order val="1"/>
          <c:tx>
            <c:strRef>
              <c:f>Sheet1!$C$1</c:f>
              <c:strCache>
                <c:ptCount val="1"/>
                <c:pt idx="0">
                  <c:v>Leave as is2</c:v>
                </c:pt>
              </c:strCache>
            </c:strRef>
          </c:tx>
          <c:spPr>
            <a:noFill/>
            <a:ln>
              <a:noFill/>
            </a:ln>
          </c:spPr>
          <c:dPt>
            <c:idx val="0"/>
            <c:bubble3D val="0"/>
            <c:spPr>
              <a:noFill/>
              <a:ln w="19050">
                <a:noFill/>
              </a:ln>
              <a:effectLst/>
            </c:spPr>
            <c:extLst>
              <c:ext xmlns:c16="http://schemas.microsoft.com/office/drawing/2014/chart" uri="{C3380CC4-5D6E-409C-BE32-E72D297353CC}">
                <c16:uniqueId val="{00000006-650F-47E4-B2CF-61D42A7B4875}"/>
              </c:ext>
            </c:extLst>
          </c:dPt>
          <c:dPt>
            <c:idx val="1"/>
            <c:bubble3D val="0"/>
            <c:spPr>
              <a:noFill/>
              <a:ln w="19050">
                <a:noFill/>
              </a:ln>
              <a:effectLst/>
            </c:spPr>
            <c:extLst>
              <c:ext xmlns:c16="http://schemas.microsoft.com/office/drawing/2014/chart" uri="{C3380CC4-5D6E-409C-BE32-E72D297353CC}">
                <c16:uniqueId val="{00000008-650F-47E4-B2CF-61D42A7B4875}"/>
              </c:ext>
            </c:extLst>
          </c:dPt>
          <c:cat>
            <c:strRef>
              <c:f>Sheet1!$A$2:$A$3</c:f>
              <c:strCache>
                <c:ptCount val="2"/>
                <c:pt idx="0">
                  <c:v>Score</c:v>
                </c:pt>
                <c:pt idx="1">
                  <c:v>Not score</c:v>
                </c:pt>
              </c:strCache>
            </c:strRef>
          </c:cat>
          <c:val>
            <c:numRef>
              <c:f>Sheet1!$C$2:$C$3</c:f>
              <c:numCache>
                <c:formatCode>General</c:formatCode>
                <c:ptCount val="2"/>
                <c:pt idx="0">
                  <c:v>100</c:v>
                </c:pt>
                <c:pt idx="1">
                  <c:v>0</c:v>
                </c:pt>
              </c:numCache>
            </c:numRef>
          </c:val>
          <c:extLst>
            <c:ext xmlns:c16="http://schemas.microsoft.com/office/drawing/2014/chart" uri="{C3380CC4-5D6E-409C-BE32-E72D297353CC}">
              <c16:uniqueId val="{00000009-650F-47E4-B2CF-61D42A7B4875}"/>
            </c:ext>
          </c:extLst>
        </c:ser>
        <c:ser>
          <c:idx val="2"/>
          <c:order val="2"/>
          <c:tx>
            <c:strRef>
              <c:f>Sheet1!$D$1</c:f>
              <c:strCache>
                <c:ptCount val="1"/>
                <c:pt idx="0">
                  <c:v>Leave as is3</c:v>
                </c:pt>
              </c:strCache>
            </c:strRef>
          </c:tx>
          <c:spPr>
            <a:noFill/>
            <a:ln>
              <a:noFill/>
            </a:ln>
          </c:spPr>
          <c:dPt>
            <c:idx val="0"/>
            <c:bubble3D val="0"/>
            <c:spPr>
              <a:noFill/>
              <a:ln w="19050">
                <a:noFill/>
              </a:ln>
              <a:effectLst/>
            </c:spPr>
            <c:extLst>
              <c:ext xmlns:c16="http://schemas.microsoft.com/office/drawing/2014/chart" uri="{C3380CC4-5D6E-409C-BE32-E72D297353CC}">
                <c16:uniqueId val="{0000000B-650F-47E4-B2CF-61D42A7B4875}"/>
              </c:ext>
            </c:extLst>
          </c:dPt>
          <c:dPt>
            <c:idx val="1"/>
            <c:bubble3D val="0"/>
            <c:spPr>
              <a:noFill/>
              <a:ln w="19050">
                <a:noFill/>
              </a:ln>
              <a:effectLst/>
            </c:spPr>
            <c:extLst>
              <c:ext xmlns:c16="http://schemas.microsoft.com/office/drawing/2014/chart" uri="{C3380CC4-5D6E-409C-BE32-E72D297353CC}">
                <c16:uniqueId val="{0000000D-650F-47E4-B2CF-61D42A7B4875}"/>
              </c:ext>
            </c:extLst>
          </c:dPt>
          <c:cat>
            <c:strRef>
              <c:f>Sheet1!$A$2:$A$3</c:f>
              <c:strCache>
                <c:ptCount val="2"/>
                <c:pt idx="0">
                  <c:v>Score</c:v>
                </c:pt>
                <c:pt idx="1">
                  <c:v>Not score</c:v>
                </c:pt>
              </c:strCache>
            </c:strRef>
          </c:cat>
          <c:val>
            <c:numRef>
              <c:f>Sheet1!$D$2:$D$3</c:f>
              <c:numCache>
                <c:formatCode>General</c:formatCode>
                <c:ptCount val="2"/>
                <c:pt idx="0">
                  <c:v>100</c:v>
                </c:pt>
                <c:pt idx="1">
                  <c:v>0</c:v>
                </c:pt>
              </c:numCache>
            </c:numRef>
          </c:val>
          <c:extLst>
            <c:ext xmlns:c16="http://schemas.microsoft.com/office/drawing/2014/chart" uri="{C3380CC4-5D6E-409C-BE32-E72D297353CC}">
              <c16:uniqueId val="{0000000E-650F-47E4-B2CF-61D42A7B4875}"/>
            </c:ext>
          </c:extLst>
        </c:ser>
        <c:dLbls>
          <c:showLegendKey val="0"/>
          <c:showVal val="0"/>
          <c:showCatName val="0"/>
          <c:showSerName val="0"/>
          <c:showPercent val="0"/>
          <c:showBubbleSize val="0"/>
          <c:showLeaderLines val="1"/>
        </c:dLbls>
        <c:firstSliceAng val="0"/>
        <c:holeSize val="70"/>
      </c:doughnutChart>
      <c:doughnutChart>
        <c:varyColors val="1"/>
        <c:ser>
          <c:idx val="3"/>
          <c:order val="3"/>
          <c:tx>
            <c:strRef>
              <c:f>Sheet1!$E$1</c:f>
              <c:strCache>
                <c:ptCount val="1"/>
                <c:pt idx="0">
                  <c:v>%</c:v>
                </c:pt>
              </c:strCache>
            </c:strRef>
          </c:tx>
          <c:spPr>
            <a:ln>
              <a:noFill/>
            </a:ln>
          </c:spPr>
          <c:dPt>
            <c:idx val="0"/>
            <c:bubble3D val="0"/>
            <c:spPr>
              <a:solidFill>
                <a:schemeClr val="accent1"/>
              </a:solidFill>
              <a:ln w="6350">
                <a:noFill/>
              </a:ln>
              <a:effectLst/>
            </c:spPr>
            <c:extLst>
              <c:ext xmlns:c16="http://schemas.microsoft.com/office/drawing/2014/chart" uri="{C3380CC4-5D6E-409C-BE32-E72D297353CC}">
                <c16:uniqueId val="{00000010-650F-47E4-B2CF-61D42A7B4875}"/>
              </c:ext>
            </c:extLst>
          </c:dPt>
          <c:dPt>
            <c:idx val="1"/>
            <c:bubble3D val="0"/>
            <c:spPr>
              <a:noFill/>
              <a:ln w="19050">
                <a:noFill/>
              </a:ln>
              <a:effectLst/>
            </c:spPr>
            <c:extLst>
              <c:ext xmlns:c16="http://schemas.microsoft.com/office/drawing/2014/chart" uri="{C3380CC4-5D6E-409C-BE32-E72D297353CC}">
                <c16:uniqueId val="{00000012-650F-47E4-B2CF-61D42A7B4875}"/>
              </c:ext>
            </c:extLst>
          </c:dPt>
          <c:cat>
            <c:strRef>
              <c:f>Sheet1!$A$2:$A$3</c:f>
              <c:strCache>
                <c:ptCount val="2"/>
                <c:pt idx="0">
                  <c:v>Score</c:v>
                </c:pt>
                <c:pt idx="1">
                  <c:v>Not score</c:v>
                </c:pt>
              </c:strCache>
            </c:strRef>
          </c:cat>
          <c:val>
            <c:numRef>
              <c:f>Sheet1!$E$2:$E$3</c:f>
              <c:numCache>
                <c:formatCode>General</c:formatCode>
                <c:ptCount val="2"/>
                <c:pt idx="0">
                  <c:v>71</c:v>
                </c:pt>
                <c:pt idx="1">
                  <c:v>29</c:v>
                </c:pt>
              </c:numCache>
            </c:numRef>
          </c:val>
          <c:extLst>
            <c:ext xmlns:c16="http://schemas.microsoft.com/office/drawing/2014/chart" uri="{C3380CC4-5D6E-409C-BE32-E72D297353CC}">
              <c16:uniqueId val="{00000013-650F-47E4-B2CF-61D42A7B4875}"/>
            </c:ext>
          </c:extLst>
        </c:ser>
        <c:dLbls>
          <c:showLegendKey val="0"/>
          <c:showVal val="0"/>
          <c:showCatName val="0"/>
          <c:showSerName val="0"/>
          <c:showPercent val="0"/>
          <c:showBubbleSize val="0"/>
          <c:showLeaderLines val="1"/>
        </c:dLbls>
        <c:firstSliceAng val="310"/>
        <c:holeSize val="7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lang="en-GB" noProof="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400" b="1" dirty="0">
                <a:solidFill>
                  <a:schemeClr val="tx1"/>
                </a:solidFill>
              </a:rPr>
              <a:t>MAIL BOOSTS</a:t>
            </a:r>
            <a:r>
              <a:rPr lang="en-US" sz="1400" b="1" baseline="0" dirty="0">
                <a:solidFill>
                  <a:schemeClr val="tx1"/>
                </a:solidFill>
              </a:rPr>
              <a:t> MEMORY RESPONSE</a:t>
            </a:r>
            <a:endParaRPr lang="en-US" sz="1400" b="1" dirty="0">
              <a:solidFill>
                <a:schemeClr val="tx1"/>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6486003310682731"/>
          <c:y val="0.14383931384313683"/>
          <c:w val="0.83201470241621589"/>
          <c:h val="0.75339969298043785"/>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fld id="{4185D3D4-B7E8-464E-94E0-E2F58DF2868B}" type="VALUE">
                      <a:rPr lang="en-GB" sz="800" b="1" i="0" u="none" strike="noStrike" kern="1200" baseline="0" smtClean="0">
                        <a:solidFill>
                          <a:schemeClr val="bg1"/>
                        </a:solidFill>
                        <a:latin typeface="+mn-lt"/>
                        <a:ea typeface="+mn-ea"/>
                        <a:cs typeface="+mn-cs"/>
                      </a:rPr>
                      <a:pPr/>
                      <a:t>[VALUE]</a:t>
                    </a:fld>
                    <a:endParaRPr lang="en-GB" sz="800" b="1" i="0" u="none" strike="noStrike" kern="1200" baseline="0" dirty="0">
                      <a:solidFill>
                        <a:schemeClr val="bg1"/>
                      </a:solidFill>
                      <a:latin typeface="+mn-lt"/>
                      <a:ea typeface="+mn-ea"/>
                      <a:cs typeface="+mn-cs"/>
                    </a:endParaRPr>
                  </a:p>
                  <a:p>
                    <a:endParaRPr lang="en-GB" sz="800" dirty="0">
                      <a:solidFill>
                        <a:schemeClr val="bg1"/>
                      </a:solidFill>
                    </a:endParaRPr>
                  </a:p>
                  <a:p>
                    <a:r>
                      <a:rPr lang="en-GB" sz="800" b="1" dirty="0">
                        <a:solidFill>
                          <a:schemeClr val="bg1"/>
                        </a:solidFill>
                      </a:rPr>
                      <a:t>Social media advertising seen before email</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93AB-47A6-AE88-AA4E3F3B63C7}"/>
                </c:ext>
              </c:extLst>
            </c:dLbl>
            <c:dLbl>
              <c:idx val="1"/>
              <c:layout>
                <c:manualLayout>
                  <c:x val="-3.1254029801088025E-3"/>
                  <c:y val="-0.13112047980951103"/>
                </c:manualLayout>
              </c:layout>
              <c:tx>
                <c:rich>
                  <a:bodyPr rot="0" spcFirstLastPara="1" vertOverflow="ellipsis" vert="horz" wrap="square" lIns="38100" tIns="19050" rIns="38100" bIns="19050" anchor="ctr" anchorCtr="0">
                    <a:noAutofit/>
                  </a:bodyPr>
                  <a:lstStyle/>
                  <a:p>
                    <a:pPr algn="ctr" rtl="0">
                      <a:defRPr lang="en-GB" sz="1050" b="1" i="0" u="none" strike="noStrike" kern="1200" baseline="0" smtClean="0">
                        <a:solidFill>
                          <a:schemeClr val="bg1"/>
                        </a:solidFill>
                        <a:latin typeface="+mn-lt"/>
                        <a:ea typeface="+mn-ea"/>
                        <a:cs typeface="+mn-cs"/>
                      </a:defRPr>
                    </a:pPr>
                    <a:fld id="{A3E87FD5-5209-4715-9EED-547E544DCF7F}" type="VALUE">
                      <a:rPr lang="en-GB" sz="800" b="1" i="0" u="none" strike="noStrike" kern="1200" baseline="0" smtClean="0">
                        <a:solidFill>
                          <a:schemeClr val="bg1"/>
                        </a:solidFill>
                        <a:latin typeface="+mn-lt"/>
                        <a:ea typeface="+mn-ea"/>
                        <a:cs typeface="+mn-cs"/>
                      </a:rPr>
                      <a:pPr algn="ctr" rtl="0">
                        <a:defRPr lang="en-GB" sz="1050" b="1" smtClean="0">
                          <a:solidFill>
                            <a:schemeClr val="bg1"/>
                          </a:solidFill>
                        </a:defRPr>
                      </a:pPr>
                      <a:t>[VALUE]</a:t>
                    </a:fld>
                    <a:endParaRPr lang="en-GB" sz="800" b="1" i="0" u="none" strike="noStrike" kern="1200" baseline="0" dirty="0">
                      <a:solidFill>
                        <a:schemeClr val="bg1"/>
                      </a:solidFill>
                      <a:latin typeface="+mn-lt"/>
                      <a:ea typeface="+mn-ea"/>
                      <a:cs typeface="+mn-cs"/>
                    </a:endParaRPr>
                  </a:p>
                  <a:p>
                    <a:pPr algn="ctr" rtl="0">
                      <a:defRPr lang="en-GB" sz="1050" b="1" smtClean="0">
                        <a:solidFill>
                          <a:schemeClr val="bg1"/>
                        </a:solidFill>
                      </a:defRPr>
                    </a:pPr>
                    <a:endParaRPr lang="en-GB" sz="800" b="1" i="0" u="none" strike="noStrike" kern="1200" baseline="0" dirty="0">
                      <a:solidFill>
                        <a:schemeClr val="bg1"/>
                      </a:solidFill>
                      <a:latin typeface="+mn-lt"/>
                      <a:ea typeface="+mn-ea"/>
                      <a:cs typeface="+mn-cs"/>
                    </a:endParaRPr>
                  </a:p>
                  <a:p>
                    <a:pPr algn="ctr" rtl="0">
                      <a:defRPr lang="en-GB" sz="1050" b="1" smtClean="0">
                        <a:solidFill>
                          <a:schemeClr val="bg1"/>
                        </a:solidFill>
                      </a:defRPr>
                    </a:pPr>
                    <a:r>
                      <a:rPr lang="en-GB" sz="800" b="1" i="0" u="none" strike="noStrike" kern="1200" baseline="0" dirty="0">
                        <a:solidFill>
                          <a:schemeClr val="bg1"/>
                        </a:solidFill>
                        <a:latin typeface="+mn-lt"/>
                        <a:ea typeface="+mn-ea"/>
                        <a:cs typeface="+mn-cs"/>
                      </a:rPr>
                      <a:t>Social media advertising seen after mail</a:t>
                    </a:r>
                  </a:p>
                </c:rich>
              </c:tx>
              <c:spPr>
                <a:noFill/>
                <a:ln>
                  <a:noFill/>
                </a:ln>
                <a:effectLst/>
              </c:spPr>
              <c:txPr>
                <a:bodyPr rot="0" spcFirstLastPara="1" vertOverflow="ellipsis" vert="horz" wrap="square" lIns="38100" tIns="19050" rIns="38100" bIns="19050" anchor="ctr" anchorCtr="0">
                  <a:noAutofit/>
                </a:bodyPr>
                <a:lstStyle/>
                <a:p>
                  <a:pPr algn="ctr" rtl="0">
                    <a:defRPr lang="en-GB" sz="1050" b="1" i="0" u="none" strike="noStrike" kern="1200" baseline="0" smtClean="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17677279255494555"/>
                      <c:h val="0.38804169424768997"/>
                    </c:manualLayout>
                  </c15:layout>
                  <c15:dlblFieldTable/>
                  <c15:showDataLabelsRange val="0"/>
                </c:ext>
                <c:ext xmlns:c16="http://schemas.microsoft.com/office/drawing/2014/chart" uri="{C3380CC4-5D6E-409C-BE32-E72D297353CC}">
                  <c16:uniqueId val="{00000001-93AB-47A6-AE88-AA4E3F3B63C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ategory 1</c:v>
                </c:pt>
                <c:pt idx="1">
                  <c:v>Category 2</c:v>
                </c:pt>
              </c:strCache>
            </c:strRef>
          </c:cat>
          <c:val>
            <c:numRef>
              <c:f>Sheet1!$B$2:$B$3</c:f>
              <c:numCache>
                <c:formatCode>General</c:formatCode>
                <c:ptCount val="2"/>
                <c:pt idx="0">
                  <c:v>0.5</c:v>
                </c:pt>
                <c:pt idx="1">
                  <c:v>0.72</c:v>
                </c:pt>
              </c:numCache>
            </c:numRef>
          </c:val>
          <c:extLst>
            <c:ext xmlns:c16="http://schemas.microsoft.com/office/drawing/2014/chart" uri="{C3380CC4-5D6E-409C-BE32-E72D297353CC}">
              <c16:uniqueId val="{00000002-93AB-47A6-AE88-AA4E3F3B63C7}"/>
            </c:ext>
          </c:extLst>
        </c:ser>
        <c:dLbls>
          <c:showLegendKey val="0"/>
          <c:showVal val="0"/>
          <c:showCatName val="0"/>
          <c:showSerName val="0"/>
          <c:showPercent val="0"/>
          <c:showBubbleSize val="0"/>
        </c:dLbls>
        <c:gapWidth val="150"/>
        <c:overlap val="100"/>
        <c:axId val="2068974015"/>
        <c:axId val="2068979007"/>
      </c:barChart>
      <c:catAx>
        <c:axId val="2068974015"/>
        <c:scaling>
          <c:orientation val="minMax"/>
        </c:scaling>
        <c:delete val="1"/>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sz="1100" dirty="0"/>
                  <a:t>LONG-TERM MEMORY ENCODING</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2068979007"/>
        <c:crosses val="autoZero"/>
        <c:auto val="1"/>
        <c:lblAlgn val="ctr"/>
        <c:lblOffset val="100"/>
        <c:noMultiLvlLbl val="0"/>
      </c:catAx>
      <c:valAx>
        <c:axId val="2068979007"/>
        <c:scaling>
          <c:orientation val="minMax"/>
          <c:max val="1"/>
        </c:scaling>
        <c:delete val="0"/>
        <c:axPos val="l"/>
        <c:title>
          <c:tx>
            <c:rich>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r>
                  <a:rPr lang="en-GB" sz="1100" dirty="0"/>
                  <a:t>STRENGTH</a:t>
                </a:r>
                <a:r>
                  <a:rPr lang="en-GB" sz="1100" baseline="0" dirty="0"/>
                  <a:t> OF BRAIN RESPONSE</a:t>
                </a:r>
                <a:endParaRPr lang="en-GB" sz="1100" dirty="0"/>
              </a:p>
            </c:rich>
          </c:tx>
          <c:layout>
            <c:manualLayout>
              <c:xMode val="edge"/>
              <c:yMode val="edge"/>
              <c:x val="3.4672075874514388E-2"/>
              <c:y val="0.24162716828141026"/>
            </c:manualLayout>
          </c:layout>
          <c:overlay val="0"/>
          <c:spPr>
            <a:noFill/>
            <a:ln>
              <a:noFill/>
            </a:ln>
            <a:effectLst/>
          </c:spPr>
          <c:txPr>
            <a:bodyPr rot="-54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68974015"/>
        <c:crosses val="autoZero"/>
        <c:crossBetween val="between"/>
      </c:valAx>
      <c:spPr>
        <a:noFill/>
        <a:ln>
          <a:solidFill>
            <a:schemeClr val="accent1">
              <a:alpha val="94000"/>
            </a:schemeClr>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7823</cdr:x>
      <cdr:y>0.35361</cdr:y>
    </cdr:from>
    <cdr:to>
      <cdr:x>0.96899</cdr:x>
      <cdr:y>0.35361</cdr:y>
    </cdr:to>
    <cdr:cxnSp macro="">
      <cdr:nvCxnSpPr>
        <cdr:cNvPr id="3" name="Straight Connector 2">
          <a:extLst xmlns:a="http://schemas.openxmlformats.org/drawingml/2006/main">
            <a:ext uri="{FF2B5EF4-FFF2-40B4-BE49-F238E27FC236}">
              <a16:creationId xmlns:a16="http://schemas.microsoft.com/office/drawing/2014/main" id="{8CD39492-3CE6-410A-97C4-E3B9905A00C4}"/>
            </a:ext>
          </a:extLst>
        </cdr:cNvPr>
        <cdr:cNvCxnSpPr/>
      </cdr:nvCxnSpPr>
      <cdr:spPr>
        <a:xfrm xmlns:a="http://schemas.openxmlformats.org/drawingml/2006/main">
          <a:off x="724233" y="1198757"/>
          <a:ext cx="3213235" cy="0"/>
        </a:xfrm>
        <a:prstGeom xmlns:a="http://schemas.openxmlformats.org/drawingml/2006/main" prst="line">
          <a:avLst/>
        </a:prstGeom>
        <a:ln xmlns:a="http://schemas.openxmlformats.org/drawingml/2006/main">
          <a:prstDash val="dash"/>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1/05/2022</a:t>
            </a:fld>
            <a:endParaRPr lang="en-GB" dirty="0"/>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dirty="0"/>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1/05/2022</a:t>
            </a:fld>
            <a:endParaRPr lang="en-GB" dirty="0"/>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dirty="0"/>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marketing communications world has been through rapid change in the last few years – digital and covid, being two major market changers.</a:t>
            </a:r>
          </a:p>
          <a:p>
            <a:endParaRPr lang="en-GB" dirty="0"/>
          </a:p>
          <a:p>
            <a:r>
              <a:rPr lang="en-GB" dirty="0"/>
              <a:t>It is more important than ever to ensure all marketing spend creates the right connection to customers, is designed for a specific role and delivers value</a:t>
            </a:r>
          </a:p>
          <a:p>
            <a:endParaRPr lang="en-GB" dirty="0"/>
          </a:p>
          <a:p>
            <a:r>
              <a:rPr lang="en-GB" dirty="0"/>
              <a:t>Customer Experience has become central to many brand’s approaches.  It covers the full range of communications organisations have with their customers.  A major channel for building strong customer experience is mail we call Customer Mail.  This is the mail organisations send to people they have a relationship with to build value for that relationship.  </a:t>
            </a:r>
          </a:p>
          <a:p>
            <a:endParaRPr lang="en-GB" dirty="0"/>
          </a:p>
          <a:p>
            <a:r>
              <a:rPr lang="en-GB" dirty="0"/>
              <a:t>Customer Mail makes up a significant portion of targeted personal communication, but Marketreach had never specifically explored the impact of this channel.</a:t>
            </a:r>
          </a:p>
          <a:p>
            <a:endParaRPr lang="en-GB" dirty="0"/>
          </a:p>
          <a:p>
            <a:r>
              <a:rPr lang="en-GB" dirty="0"/>
              <a:t>Given the growing importance of CX - it was time.  So with the help of leading research company Trinity McQueen and Global Customer Experience expert Accenture, we considered the development of Customer Experience and the role of Customer Mail in it. </a:t>
            </a:r>
          </a:p>
        </p:txBody>
      </p:sp>
      <p:sp>
        <p:nvSpPr>
          <p:cNvPr id="4" name="Slide Number Placeholder 3"/>
          <p:cNvSpPr>
            <a:spLocks noGrp="1"/>
          </p:cNvSpPr>
          <p:nvPr>
            <p:ph type="sldNum" sz="quarter" idx="5"/>
          </p:nvPr>
        </p:nvSpPr>
        <p:spPr/>
        <p:txBody>
          <a:bodyPr/>
          <a:lstStyle/>
          <a:p>
            <a:fld id="{DCC1A71F-ED3E-4A54-969C-A8BBEECB2EB9}" type="slidenum">
              <a:rPr lang="en-GB" smtClean="0"/>
              <a:t>1</a:t>
            </a:fld>
            <a:endParaRPr lang="en-GB" dirty="0"/>
          </a:p>
        </p:txBody>
      </p:sp>
    </p:spTree>
    <p:extLst>
      <p:ext uri="{BB962C8B-B14F-4D97-AF65-F5344CB8AC3E}">
        <p14:creationId xmlns:p14="http://schemas.microsoft.com/office/powerpoint/2010/main" val="13566071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sumers see mail as showing a brand’s commitment – they cared enough to use mail.  It makes them feel valued as a customer.</a:t>
            </a:r>
          </a:p>
        </p:txBody>
      </p:sp>
      <p:sp>
        <p:nvSpPr>
          <p:cNvPr id="4" name="Slide Number Placeholder 3"/>
          <p:cNvSpPr>
            <a:spLocks noGrp="1"/>
          </p:cNvSpPr>
          <p:nvPr>
            <p:ph type="sldNum" sz="quarter" idx="5"/>
          </p:nvPr>
        </p:nvSpPr>
        <p:spPr/>
        <p:txBody>
          <a:bodyPr/>
          <a:lstStyle/>
          <a:p>
            <a:fld id="{DCC1A71F-ED3E-4A54-969C-A8BBEECB2EB9}" type="slidenum">
              <a:rPr lang="en-GB" smtClean="0"/>
              <a:t>10</a:t>
            </a:fld>
            <a:endParaRPr lang="en-GB" dirty="0"/>
          </a:p>
        </p:txBody>
      </p:sp>
    </p:spTree>
    <p:extLst>
      <p:ext uri="{BB962C8B-B14F-4D97-AF65-F5344CB8AC3E}">
        <p14:creationId xmlns:p14="http://schemas.microsoft.com/office/powerpoint/2010/main" val="5969863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69% of mail has a positive engagement – more than email at only 55%</a:t>
            </a:r>
          </a:p>
          <a:p>
            <a:pPr marL="171450" indent="-171450">
              <a:buFont typeface="Arial" panose="020B0604020202020204" pitchFamily="34" charset="0"/>
              <a:buChar char="•"/>
            </a:pPr>
            <a:r>
              <a:rPr lang="en-GB" dirty="0"/>
              <a:t>Taking an action has been shown to increase recall of the content, it makes it feel more personal and relevant</a:t>
            </a:r>
          </a:p>
          <a:p>
            <a:pPr marL="171450" indent="-171450">
              <a:buFont typeface="Arial" panose="020B0604020202020204" pitchFamily="34" charset="0"/>
              <a:buChar char="•"/>
            </a:pPr>
            <a:r>
              <a:rPr lang="en-GB" dirty="0"/>
              <a:t>99% of Customer Mail is engaged with – it is addressed to a person, it comes from a brand they recognise.  They see mail as important and don’t just open it but go on to act on the message</a:t>
            </a:r>
          </a:p>
        </p:txBody>
      </p:sp>
      <p:sp>
        <p:nvSpPr>
          <p:cNvPr id="4" name="Slide Number Placeholder 3"/>
          <p:cNvSpPr>
            <a:spLocks noGrp="1"/>
          </p:cNvSpPr>
          <p:nvPr>
            <p:ph type="sldNum" sz="quarter" idx="5"/>
          </p:nvPr>
        </p:nvSpPr>
        <p:spPr/>
        <p:txBody>
          <a:bodyPr/>
          <a:lstStyle/>
          <a:p>
            <a:fld id="{DCC1A71F-ED3E-4A54-969C-A8BBEECB2EB9}" type="slidenum">
              <a:rPr lang="en-GB" smtClean="0"/>
              <a:t>11</a:t>
            </a:fld>
            <a:endParaRPr lang="en-GB" dirty="0"/>
          </a:p>
        </p:txBody>
      </p:sp>
    </p:spTree>
    <p:extLst>
      <p:ext uri="{BB962C8B-B14F-4D97-AF65-F5344CB8AC3E}">
        <p14:creationId xmlns:p14="http://schemas.microsoft.com/office/powerpoint/2010/main" val="1617032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ng people get less customer mail, but they also recognise it as important and engage with it at similar levels to older audiences.</a:t>
            </a:r>
          </a:p>
          <a:p>
            <a:endParaRPr lang="en-GB" dirty="0"/>
          </a:p>
          <a:p>
            <a:r>
              <a:rPr lang="en-GB" dirty="0"/>
              <a:t>We see this consistently in all of our research.  Mail cuts through and engages young people as well as older.</a:t>
            </a:r>
          </a:p>
        </p:txBody>
      </p:sp>
      <p:sp>
        <p:nvSpPr>
          <p:cNvPr id="4" name="Slide Number Placeholder 3"/>
          <p:cNvSpPr>
            <a:spLocks noGrp="1"/>
          </p:cNvSpPr>
          <p:nvPr>
            <p:ph type="sldNum" sz="quarter" idx="5"/>
          </p:nvPr>
        </p:nvSpPr>
        <p:spPr/>
        <p:txBody>
          <a:bodyPr/>
          <a:lstStyle/>
          <a:p>
            <a:fld id="{DCC1A71F-ED3E-4A54-969C-A8BBEECB2EB9}" type="slidenum">
              <a:rPr lang="en-GB" smtClean="0"/>
              <a:t>12</a:t>
            </a:fld>
            <a:endParaRPr lang="en-GB" dirty="0"/>
          </a:p>
        </p:txBody>
      </p:sp>
    </p:spTree>
    <p:extLst>
      <p:ext uri="{BB962C8B-B14F-4D97-AF65-F5344CB8AC3E}">
        <p14:creationId xmlns:p14="http://schemas.microsoft.com/office/powerpoint/2010/main" val="32073370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hat they get from mail is trust, 71% agree they trust the mail they receive</a:t>
            </a:r>
          </a:p>
          <a:p>
            <a:pPr marL="171450" indent="-171450">
              <a:buFont typeface="Arial" panose="020B0604020202020204" pitchFamily="34" charset="0"/>
              <a:buChar char="•"/>
            </a:pPr>
            <a:r>
              <a:rPr lang="en-GB" dirty="0"/>
              <a:t>Note – there is no equivalent measure for digital in this research, but other data in the research shows that digital has now become more highly considered to be risky and likely to be a scam – which will lower the level of trust</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3</a:t>
            </a:fld>
            <a:endParaRPr lang="en-GB" dirty="0"/>
          </a:p>
        </p:txBody>
      </p:sp>
    </p:spTree>
    <p:extLst>
      <p:ext uri="{BB962C8B-B14F-4D97-AF65-F5344CB8AC3E}">
        <p14:creationId xmlns:p14="http://schemas.microsoft.com/office/powerpoint/2010/main" val="20739910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il isn’t just looked at once.  It is opened, saved, read, returned to, acted on and shared.  Each action is a reinforcement of the brand and the relationship.</a:t>
            </a:r>
          </a:p>
          <a:p>
            <a:endParaRPr lang="en-GB" dirty="0"/>
          </a:p>
          <a:p>
            <a:r>
              <a:rPr lang="en-GB" dirty="0"/>
              <a:t>The image shows the commercial actions taken with mail, these are the next steps from receiving Customer Mail that show the recipient is acting on the content and moving toward a stronger commercial relationship.  Mail leads to a commercial actions 43% of the time.</a:t>
            </a:r>
          </a:p>
        </p:txBody>
      </p:sp>
      <p:sp>
        <p:nvSpPr>
          <p:cNvPr id="4" name="Slide Number Placeholder 3"/>
          <p:cNvSpPr>
            <a:spLocks noGrp="1"/>
          </p:cNvSpPr>
          <p:nvPr>
            <p:ph type="sldNum" sz="quarter" idx="5"/>
          </p:nvPr>
        </p:nvSpPr>
        <p:spPr/>
        <p:txBody>
          <a:bodyPr/>
          <a:lstStyle/>
          <a:p>
            <a:fld id="{DCC1A71F-ED3E-4A54-969C-A8BBEECB2EB9}" type="slidenum">
              <a:rPr lang="en-GB" smtClean="0"/>
              <a:t>14</a:t>
            </a:fld>
            <a:endParaRPr lang="en-GB" dirty="0"/>
          </a:p>
        </p:txBody>
      </p:sp>
    </p:spTree>
    <p:extLst>
      <p:ext uri="{BB962C8B-B14F-4D97-AF65-F5344CB8AC3E}">
        <p14:creationId xmlns:p14="http://schemas.microsoft.com/office/powerpoint/2010/main" val="2949714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rong CX is about using the right channel to the customer.  CX isn’t about independent touchpoints, but about the overall integrated experience from many connections.  This research confirms the close partnership we have always seen between mail and digital – mail and digital together are more effective than either alone.</a:t>
            </a:r>
          </a:p>
          <a:p>
            <a:endParaRPr lang="en-GB" dirty="0"/>
          </a:p>
          <a:p>
            <a:r>
              <a:rPr lang="en-GB" dirty="0"/>
              <a:t>Previous neuroscience research showed mail with social media can make social 44% stronger than on its own.</a:t>
            </a:r>
          </a:p>
        </p:txBody>
      </p:sp>
      <p:sp>
        <p:nvSpPr>
          <p:cNvPr id="4" name="Slide Number Placeholder 3"/>
          <p:cNvSpPr>
            <a:spLocks noGrp="1"/>
          </p:cNvSpPr>
          <p:nvPr>
            <p:ph type="sldNum" sz="quarter" idx="5"/>
          </p:nvPr>
        </p:nvSpPr>
        <p:spPr/>
        <p:txBody>
          <a:bodyPr/>
          <a:lstStyle/>
          <a:p>
            <a:fld id="{DCC1A71F-ED3E-4A54-969C-A8BBEECB2EB9}" type="slidenum">
              <a:rPr lang="en-GB" smtClean="0"/>
              <a:t>15</a:t>
            </a:fld>
            <a:endParaRPr lang="en-GB" dirty="0"/>
          </a:p>
        </p:txBody>
      </p:sp>
    </p:spTree>
    <p:extLst>
      <p:ext uri="{BB962C8B-B14F-4D97-AF65-F5344CB8AC3E}">
        <p14:creationId xmlns:p14="http://schemas.microsoft.com/office/powerpoint/2010/main" val="11246591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il isn’t for everything, but there are 6 powerful reasons when It is likely to be the best channel to deliver strong CX.</a:t>
            </a:r>
          </a:p>
        </p:txBody>
      </p:sp>
      <p:sp>
        <p:nvSpPr>
          <p:cNvPr id="4" name="Slide Number Placeholder 3"/>
          <p:cNvSpPr>
            <a:spLocks noGrp="1"/>
          </p:cNvSpPr>
          <p:nvPr>
            <p:ph type="sldNum" sz="quarter" idx="5"/>
          </p:nvPr>
        </p:nvSpPr>
        <p:spPr/>
        <p:txBody>
          <a:bodyPr/>
          <a:lstStyle/>
          <a:p>
            <a:fld id="{DCC1A71F-ED3E-4A54-969C-A8BBEECB2EB9}" type="slidenum">
              <a:rPr lang="en-GB" smtClean="0"/>
              <a:t>16</a:t>
            </a:fld>
            <a:endParaRPr lang="en-GB" dirty="0"/>
          </a:p>
        </p:txBody>
      </p:sp>
    </p:spTree>
    <p:extLst>
      <p:ext uri="{BB962C8B-B14F-4D97-AF65-F5344CB8AC3E}">
        <p14:creationId xmlns:p14="http://schemas.microsoft.com/office/powerpoint/2010/main" val="2260615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il is more likely to be read, and read more thoroughly than digital.  Mail signifies importance and gets opened – so if you want your message to be read – mail should be your choice.</a:t>
            </a:r>
          </a:p>
        </p:txBody>
      </p:sp>
      <p:sp>
        <p:nvSpPr>
          <p:cNvPr id="4" name="Slide Number Placeholder 3"/>
          <p:cNvSpPr>
            <a:spLocks noGrp="1"/>
          </p:cNvSpPr>
          <p:nvPr>
            <p:ph type="sldNum" sz="quarter" idx="5"/>
          </p:nvPr>
        </p:nvSpPr>
        <p:spPr/>
        <p:txBody>
          <a:bodyPr/>
          <a:lstStyle/>
          <a:p>
            <a:fld id="{DCC1A71F-ED3E-4A54-969C-A8BBEECB2EB9}" type="slidenum">
              <a:rPr lang="en-GB" smtClean="0"/>
              <a:t>17</a:t>
            </a:fld>
            <a:endParaRPr lang="en-GB" dirty="0"/>
          </a:p>
        </p:txBody>
      </p:sp>
    </p:spTree>
    <p:extLst>
      <p:ext uri="{BB962C8B-B14F-4D97-AF65-F5344CB8AC3E}">
        <p14:creationId xmlns:p14="http://schemas.microsoft.com/office/powerpoint/2010/main" val="6130936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ustomers respond to mail – they see it as a message they may need to take action on.  Its physicality makes it easy to hold the message as a reminder to act.  And it helps make clear what needs to be done – whether that is a financial action, visiting a website or discussing the content.</a:t>
            </a:r>
          </a:p>
        </p:txBody>
      </p:sp>
      <p:sp>
        <p:nvSpPr>
          <p:cNvPr id="4" name="Slide Number Placeholder 3"/>
          <p:cNvSpPr>
            <a:spLocks noGrp="1"/>
          </p:cNvSpPr>
          <p:nvPr>
            <p:ph type="sldNum" sz="quarter" idx="5"/>
          </p:nvPr>
        </p:nvSpPr>
        <p:spPr/>
        <p:txBody>
          <a:bodyPr/>
          <a:lstStyle/>
          <a:p>
            <a:fld id="{DCC1A71F-ED3E-4A54-969C-A8BBEECB2EB9}" type="slidenum">
              <a:rPr lang="en-GB" smtClean="0"/>
              <a:t>18</a:t>
            </a:fld>
            <a:endParaRPr lang="en-GB" dirty="0"/>
          </a:p>
        </p:txBody>
      </p:sp>
    </p:spTree>
    <p:extLst>
      <p:ext uri="{BB962C8B-B14F-4D97-AF65-F5344CB8AC3E}">
        <p14:creationId xmlns:p14="http://schemas.microsoft.com/office/powerpoint/2010/main" val="4916335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ail is reported to be twice as important to customers as email.</a:t>
            </a:r>
          </a:p>
          <a:p>
            <a:pPr marL="628650" lvl="1" indent="-171450">
              <a:buFont typeface="Arial" panose="020B0604020202020204" pitchFamily="34" charset="0"/>
              <a:buChar char="•"/>
            </a:pPr>
            <a:r>
              <a:rPr lang="en-GB" dirty="0"/>
              <a:t>Customers report that when something is mailed to them, they feel that it’s probably something important, something they need to pay careful attention to</a:t>
            </a:r>
          </a:p>
          <a:p>
            <a:pPr marL="628650" lvl="1" indent="-171450">
              <a:buFont typeface="Arial" panose="020B0604020202020204" pitchFamily="34" charset="0"/>
              <a:buChar char="•"/>
            </a:pPr>
            <a:r>
              <a:rPr lang="en-GB" dirty="0"/>
              <a:t>If they miss it, it could lead to trouble – missed bill or appointment or the loss of a benefit – missed offer or voucher, customer event</a:t>
            </a:r>
          </a:p>
          <a:p>
            <a:pPr marL="457200" lvl="1" indent="0">
              <a:buFont typeface="Arial" panose="020B0604020202020204" pitchFamily="34" charset="0"/>
              <a:buNone/>
            </a:pPr>
            <a:endParaRPr lang="en-GB" dirty="0"/>
          </a:p>
          <a:p>
            <a:pPr marL="171450" lvl="0" indent="-171450">
              <a:buFont typeface="Arial" panose="020B0604020202020204" pitchFamily="34" charset="0"/>
              <a:buChar char="•"/>
            </a:pPr>
            <a:r>
              <a:rPr lang="en-GB" dirty="0"/>
              <a:t>The way this question is asked is relative - does it apply to mail or digital more? The middle ground is ‘it applies to both’ which accounts for the missing %</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9</a:t>
            </a:fld>
            <a:endParaRPr lang="en-GB" dirty="0"/>
          </a:p>
        </p:txBody>
      </p:sp>
    </p:spTree>
    <p:extLst>
      <p:ext uri="{BB962C8B-B14F-4D97-AF65-F5344CB8AC3E}">
        <p14:creationId xmlns:p14="http://schemas.microsoft.com/office/powerpoint/2010/main" val="2482543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ustomer Mail has become a major focus for organisations</a:t>
            </a:r>
          </a:p>
          <a:p>
            <a:pPr marL="171450" indent="-171450">
              <a:buFont typeface="Arial" panose="020B0604020202020204" pitchFamily="34" charset="0"/>
              <a:buChar char="•"/>
            </a:pPr>
            <a:r>
              <a:rPr lang="en-GB" dirty="0"/>
              <a:t>Digital and Covid have put customers in control of their choices and relationships with brands</a:t>
            </a:r>
          </a:p>
          <a:p>
            <a:pPr marL="171450" indent="-171450">
              <a:buFont typeface="Arial" panose="020B0604020202020204" pitchFamily="34" charset="0"/>
              <a:buChar char="•"/>
            </a:pPr>
            <a:r>
              <a:rPr lang="en-GB" dirty="0"/>
              <a:t>CX is recognised as a key requirement for brands</a:t>
            </a:r>
          </a:p>
          <a:p>
            <a:pPr marL="171450" indent="-171450">
              <a:buFont typeface="Arial" panose="020B0604020202020204" pitchFamily="34" charset="0"/>
              <a:buChar char="•"/>
            </a:pPr>
            <a:r>
              <a:rPr lang="en-GB" dirty="0"/>
              <a:t>CX drives value when done well</a:t>
            </a:r>
          </a:p>
          <a:p>
            <a:pPr marL="171450" indent="-171450">
              <a:buFont typeface="Arial" panose="020B0604020202020204" pitchFamily="34" charset="0"/>
              <a:buChar char="•"/>
            </a:pPr>
            <a:r>
              <a:rPr lang="en-GB" dirty="0"/>
              <a:t>But it has to be right for the brand and the consumer</a:t>
            </a:r>
          </a:p>
        </p:txBody>
      </p:sp>
      <p:sp>
        <p:nvSpPr>
          <p:cNvPr id="4" name="Slide Number Placeholder 3"/>
          <p:cNvSpPr>
            <a:spLocks noGrp="1"/>
          </p:cNvSpPr>
          <p:nvPr>
            <p:ph type="sldNum" sz="quarter" idx="5"/>
          </p:nvPr>
        </p:nvSpPr>
        <p:spPr/>
        <p:txBody>
          <a:bodyPr/>
          <a:lstStyle/>
          <a:p>
            <a:fld id="{DCC1A71F-ED3E-4A54-969C-A8BBEECB2EB9}" type="slidenum">
              <a:rPr lang="en-GB" smtClean="0"/>
              <a:t>2</a:t>
            </a:fld>
            <a:endParaRPr lang="en-GB" dirty="0"/>
          </a:p>
        </p:txBody>
      </p:sp>
    </p:spTree>
    <p:extLst>
      <p:ext uri="{BB962C8B-B14F-4D97-AF65-F5344CB8AC3E}">
        <p14:creationId xmlns:p14="http://schemas.microsoft.com/office/powerpoint/2010/main" val="32881103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ail can clarify information.  Tests have proved that content is easier to read and understand when delivered on paper versus screen</a:t>
            </a:r>
          </a:p>
          <a:p>
            <a:pPr marL="171450" indent="-171450">
              <a:buFont typeface="Arial" panose="020B0604020202020204" pitchFamily="34" charset="0"/>
              <a:buChar char="•"/>
            </a:pPr>
            <a:r>
              <a:rPr lang="en-GB" dirty="0"/>
              <a:t>Mail can help people easily see what it is, what they need to do and how to do it.</a:t>
            </a:r>
          </a:p>
          <a:p>
            <a:pPr marL="171450" indent="-171450">
              <a:buFont typeface="Arial" panose="020B0604020202020204" pitchFamily="34" charset="0"/>
              <a:buChar char="•"/>
            </a:pPr>
            <a:r>
              <a:rPr lang="en-GB" dirty="0"/>
              <a:t>However, not all mail is good mail.  We encountered many examples of mail that could (and should) be made better by better design and structure</a:t>
            </a:r>
          </a:p>
          <a:p>
            <a:pPr marL="171450" indent="-171450">
              <a:buFont typeface="Arial" panose="020B0604020202020204" pitchFamily="34" charset="0"/>
              <a:buChar char="•"/>
            </a:pPr>
            <a:r>
              <a:rPr lang="en-GB" dirty="0"/>
              <a:t>There is information available on what can make mail better later in this report</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0</a:t>
            </a:fld>
            <a:endParaRPr lang="en-GB" dirty="0"/>
          </a:p>
        </p:txBody>
      </p:sp>
    </p:spTree>
    <p:extLst>
      <p:ext uri="{BB962C8B-B14F-4D97-AF65-F5344CB8AC3E}">
        <p14:creationId xmlns:p14="http://schemas.microsoft.com/office/powerpoint/2010/main" val="37342424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ail helps people feel organised and in control of their lives</a:t>
            </a:r>
          </a:p>
          <a:p>
            <a:pPr marL="171450" indent="-171450">
              <a:buFont typeface="Arial" panose="020B0604020202020204" pitchFamily="34" charset="0"/>
              <a:buChar char="•"/>
            </a:pPr>
            <a:r>
              <a:rPr lang="en-GB" dirty="0"/>
              <a:t>Proof of address etc. makes life easier</a:t>
            </a:r>
          </a:p>
          <a:p>
            <a:pPr marL="171450" indent="-171450">
              <a:buFont typeface="Arial" panose="020B0604020202020204" pitchFamily="34" charset="0"/>
              <a:buChar char="•"/>
            </a:pPr>
            <a:r>
              <a:rPr lang="en-GB" dirty="0"/>
              <a:t>Every age group believes mail is useful</a:t>
            </a:r>
          </a:p>
          <a:p>
            <a:pPr marL="171450" indent="-171450">
              <a:buFont typeface="Arial" panose="020B0604020202020204" pitchFamily="34" charset="0"/>
              <a:buChar char="•"/>
            </a:pPr>
            <a:r>
              <a:rPr lang="en-GB" dirty="0"/>
              <a:t>Whether they have formal and organised files or a box of mail under their bed, people feel a need and benefit from saving/filing mail so they have ready access to it</a:t>
            </a:r>
          </a:p>
          <a:p>
            <a:pPr marL="171450" indent="-171450">
              <a:buFont typeface="Arial" panose="020B0604020202020204" pitchFamily="34" charset="0"/>
              <a:buChar char="•"/>
            </a:pPr>
            <a:r>
              <a:rPr lang="en-GB" dirty="0"/>
              <a:t>Digital filing isn’t done to the same extent</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1</a:t>
            </a:fld>
            <a:endParaRPr lang="en-GB" dirty="0"/>
          </a:p>
        </p:txBody>
      </p:sp>
    </p:spTree>
    <p:extLst>
      <p:ext uri="{BB962C8B-B14F-4D97-AF65-F5344CB8AC3E}">
        <p14:creationId xmlns:p14="http://schemas.microsoft.com/office/powerpoint/2010/main" val="3639630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Mail is seen as a trusted channel, private and secure</a:t>
            </a:r>
          </a:p>
          <a:p>
            <a:pPr marL="171450" indent="-171450">
              <a:buFont typeface="Arial" panose="020B0604020202020204" pitchFamily="34" charset="0"/>
              <a:buChar char="•"/>
            </a:pPr>
            <a:r>
              <a:rPr lang="en-GB" dirty="0"/>
              <a:t>Mail is now perceived to be free of scams - unlike emails where consumers see serious danger</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2</a:t>
            </a:fld>
            <a:endParaRPr lang="en-GB" dirty="0"/>
          </a:p>
        </p:txBody>
      </p:sp>
    </p:spTree>
    <p:extLst>
      <p:ext uri="{BB962C8B-B14F-4D97-AF65-F5344CB8AC3E}">
        <p14:creationId xmlns:p14="http://schemas.microsoft.com/office/powerpoint/2010/main" val="1324284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ail isn’t for every message.</a:t>
            </a:r>
          </a:p>
          <a:p>
            <a:endParaRPr lang="en-GB" dirty="0"/>
          </a:p>
          <a:p>
            <a:r>
              <a:rPr lang="en-GB" dirty="0"/>
              <a:t>Given that it signals importance, trust and a need to be opened ad actioned – you should use it when it will matter, and deliver the right results.  There are opportunities at all moments across the customer journey when benefits can be achieved via mail.  Identifying those moments of truth when mail is the best channel can have a strong impact on CX and brand strength.</a:t>
            </a:r>
          </a:p>
        </p:txBody>
      </p:sp>
      <p:sp>
        <p:nvSpPr>
          <p:cNvPr id="4" name="Slide Number Placeholder 3"/>
          <p:cNvSpPr>
            <a:spLocks noGrp="1"/>
          </p:cNvSpPr>
          <p:nvPr>
            <p:ph type="sldNum" sz="quarter" idx="5"/>
          </p:nvPr>
        </p:nvSpPr>
        <p:spPr/>
        <p:txBody>
          <a:bodyPr/>
          <a:lstStyle/>
          <a:p>
            <a:fld id="{DCC1A71F-ED3E-4A54-969C-A8BBEECB2EB9}" type="slidenum">
              <a:rPr lang="en-GB" smtClean="0"/>
              <a:t>24</a:t>
            </a:fld>
            <a:endParaRPr lang="en-GB" dirty="0"/>
          </a:p>
        </p:txBody>
      </p:sp>
    </p:spTree>
    <p:extLst>
      <p:ext uri="{BB962C8B-B14F-4D97-AF65-F5344CB8AC3E}">
        <p14:creationId xmlns:p14="http://schemas.microsoft.com/office/powerpoint/2010/main" val="3255445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hy would you have a conversation with a customer for no reason? How can you be sure that message had the right impac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Mail can and should be measured. It can be measured via sales but it doesn’t have to be about buying.  There are many choices of relevant measurements - brand engagement such as use of QR codes, web visits or account log ins or even looking at lower response such as fewer calls to the call centre or fewer missed appointments (which can have a significant impact on cost savings which is critical to measur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should also be considered in longer term measures such as ROI or Lifetime Value.  And should also be included in econometric modelling using JICMAIL data.</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5</a:t>
            </a:fld>
            <a:endParaRPr lang="en-GB" dirty="0"/>
          </a:p>
        </p:txBody>
      </p:sp>
    </p:spTree>
    <p:extLst>
      <p:ext uri="{BB962C8B-B14F-4D97-AF65-F5344CB8AC3E}">
        <p14:creationId xmlns:p14="http://schemas.microsoft.com/office/powerpoint/2010/main" val="2432780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Organisations undermine their brand by not ensuring they design mail well.  They spend loads on website design and optimisation, TV ads and branding - but then don’t translate it to mail.</a:t>
            </a:r>
          </a:p>
          <a:p>
            <a:pPr marL="171450" indent="-171450">
              <a:buFont typeface="Arial" panose="020B0604020202020204" pitchFamily="34" charset="0"/>
              <a:buChar char="•"/>
            </a:pPr>
            <a:r>
              <a:rPr lang="en-GB" dirty="0"/>
              <a:t>Brands need to reflect their brand in mail.  Why would you build a high quality brand and then undermine with badly designed mail on poor quality paper?</a:t>
            </a:r>
          </a:p>
          <a:p>
            <a:pPr marL="0" indent="0">
              <a:buFont typeface="Arial" panose="020B0604020202020204" pitchFamily="34" charset="0"/>
              <a:buNone/>
            </a:pPr>
            <a:endParaRPr lang="en-GB" dirty="0"/>
          </a:p>
          <a:p>
            <a:pPr marL="171450" indent="-171450">
              <a:buFont typeface="Arial" panose="020B0604020202020204" pitchFamily="34" charset="0"/>
              <a:buChar char="•"/>
            </a:pPr>
            <a:r>
              <a:rPr lang="en-GB" dirty="0"/>
              <a:t>Customers want mail to be – clear, honest, understandable and actionable.</a:t>
            </a:r>
          </a:p>
          <a:p>
            <a:pPr marL="171450" indent="-171450">
              <a:buFont typeface="Arial" panose="020B0604020202020204" pitchFamily="34" charset="0"/>
              <a:buChar char="•"/>
            </a:pPr>
            <a:r>
              <a:rPr lang="en-GB" dirty="0"/>
              <a:t>Keep it simple</a:t>
            </a:r>
          </a:p>
          <a:p>
            <a:pPr marL="171450" indent="-171450">
              <a:buFont typeface="Arial" panose="020B0604020202020204" pitchFamily="34" charset="0"/>
              <a:buChar char="•"/>
            </a:pPr>
            <a:r>
              <a:rPr lang="en-GB" dirty="0"/>
              <a:t>Personalise where you can.</a:t>
            </a:r>
          </a:p>
          <a:p>
            <a:pPr marL="171450" indent="-171450">
              <a:buFont typeface="Arial" panose="020B0604020202020204" pitchFamily="34" charset="0"/>
              <a:buChar char="•"/>
            </a:pPr>
            <a:r>
              <a:rPr lang="en-GB" dirty="0"/>
              <a:t>Explain why you are writing, what is important and what customers need to do – e.g. costs are going up and why bills are increasing and how to manage costs.</a:t>
            </a:r>
          </a:p>
          <a:p>
            <a:pPr marL="171450" indent="-171450">
              <a:buFont typeface="Arial" panose="020B0604020202020204" pitchFamily="34" charset="0"/>
              <a:buChar char="•"/>
            </a:pPr>
            <a:r>
              <a:rPr lang="en-GB" dirty="0"/>
              <a:t>Don’t use anything unnecessary, right balance for amount of words</a:t>
            </a:r>
          </a:p>
          <a:p>
            <a:pPr marL="171450" indent="-171450">
              <a:buFont typeface="Arial" panose="020B0604020202020204" pitchFamily="34" charset="0"/>
              <a:buChar char="•"/>
            </a:pPr>
            <a:r>
              <a:rPr lang="en-GB" dirty="0"/>
              <a:t>Don’t force me to do something I don’t want to do e.g. go paperless. </a:t>
            </a:r>
          </a:p>
        </p:txBody>
      </p:sp>
      <p:sp>
        <p:nvSpPr>
          <p:cNvPr id="4" name="Slide Number Placeholder 3"/>
          <p:cNvSpPr>
            <a:spLocks noGrp="1"/>
          </p:cNvSpPr>
          <p:nvPr>
            <p:ph type="sldNum" sz="quarter" idx="5"/>
          </p:nvPr>
        </p:nvSpPr>
        <p:spPr/>
        <p:txBody>
          <a:bodyPr/>
          <a:lstStyle/>
          <a:p>
            <a:fld id="{DCC1A71F-ED3E-4A54-969C-A8BBEECB2EB9}" type="slidenum">
              <a:rPr lang="en-GB" smtClean="0"/>
              <a:t>26</a:t>
            </a:fld>
            <a:endParaRPr lang="en-GB" dirty="0"/>
          </a:p>
        </p:txBody>
      </p:sp>
    </p:spTree>
    <p:extLst>
      <p:ext uri="{BB962C8B-B14F-4D97-AF65-F5344CB8AC3E}">
        <p14:creationId xmlns:p14="http://schemas.microsoft.com/office/powerpoint/2010/main" val="25418377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t>CX is important to all parts of the organisation.</a:t>
            </a:r>
          </a:p>
          <a:p>
            <a:endParaRPr lang="en-GB" dirty="0"/>
          </a:p>
          <a:p>
            <a:r>
              <a:rPr lang="en-GB" dirty="0"/>
              <a:t>Not all mail is managed by marketing.  So if the responsibility for example, for billing sits with Finance, they need to understand the role and value of mail on CX.  A bill isn’t just something you HAVE to send – it is a customer connection, a chance to reinforce a brand. And, if done badly or replaced with an email, you need to have considered the impact – fewer fast payments, more missed payments as emails are missed or forgotten, calls going up as people are confused, impact on brand image.</a:t>
            </a:r>
          </a:p>
          <a:p>
            <a:endParaRPr lang="en-GB" dirty="0"/>
          </a:p>
          <a:p>
            <a:r>
              <a:rPr lang="en-GB" dirty="0"/>
              <a:t>Using mail or eliminating it is likely to have a significant impact that everyone should understand and consider.</a:t>
            </a:r>
          </a:p>
        </p:txBody>
      </p:sp>
      <p:sp>
        <p:nvSpPr>
          <p:cNvPr id="4" name="Slide Number Placeholder 3"/>
          <p:cNvSpPr>
            <a:spLocks noGrp="1"/>
          </p:cNvSpPr>
          <p:nvPr>
            <p:ph type="sldNum" sz="quarter" idx="5"/>
          </p:nvPr>
        </p:nvSpPr>
        <p:spPr/>
        <p:txBody>
          <a:bodyPr/>
          <a:lstStyle/>
          <a:p>
            <a:fld id="{DCC1A71F-ED3E-4A54-969C-A8BBEECB2EB9}" type="slidenum">
              <a:rPr lang="en-GB" smtClean="0"/>
              <a:t>27</a:t>
            </a:fld>
            <a:endParaRPr lang="en-GB" dirty="0"/>
          </a:p>
        </p:txBody>
      </p:sp>
    </p:spTree>
    <p:extLst>
      <p:ext uri="{BB962C8B-B14F-4D97-AF65-F5344CB8AC3E}">
        <p14:creationId xmlns:p14="http://schemas.microsoft.com/office/powerpoint/2010/main" val="19432033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28</a:t>
            </a:fld>
            <a:endParaRPr lang="en-GB" dirty="0"/>
          </a:p>
        </p:txBody>
      </p:sp>
    </p:spTree>
    <p:extLst>
      <p:ext uri="{BB962C8B-B14F-4D97-AF65-F5344CB8AC3E}">
        <p14:creationId xmlns:p14="http://schemas.microsoft.com/office/powerpoint/2010/main" val="29319494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31</a:t>
            </a:fld>
            <a:endParaRPr lang="en-GB" dirty="0"/>
          </a:p>
        </p:txBody>
      </p:sp>
    </p:spTree>
    <p:extLst>
      <p:ext uri="{BB962C8B-B14F-4D97-AF65-F5344CB8AC3E}">
        <p14:creationId xmlns:p14="http://schemas.microsoft.com/office/powerpoint/2010/main" val="355300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is fascinating piece of research highlighted that there is a big chasm between what organisations think they are doing and what customers are experiencing. The challenge of having more touchpoints than ever before, means there is a big opportunity to get things wrong. The last touch is the one that’s fresh, if a customer has a bad experience it can quickly send them to a competitor.</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3</a:t>
            </a:fld>
            <a:endParaRPr lang="en-GB" dirty="0"/>
          </a:p>
        </p:txBody>
      </p:sp>
    </p:spTree>
    <p:extLst>
      <p:ext uri="{BB962C8B-B14F-4D97-AF65-F5344CB8AC3E}">
        <p14:creationId xmlns:p14="http://schemas.microsoft.com/office/powerpoint/2010/main" val="11443526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cus on CX has grown, but it isn’t simp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CX is not just digital – it is all touchpoints – advertising of course, but also shops, events and customer service. It brings together physical and digital touchpoints</a:t>
            </a:r>
          </a:p>
          <a:p>
            <a:pPr marL="171450" indent="-171450">
              <a:buFont typeface="Arial" panose="020B0604020202020204" pitchFamily="34" charset="0"/>
              <a:buChar char="•"/>
            </a:pPr>
            <a:r>
              <a:rPr lang="en-GB" dirty="0"/>
              <a:t>Which means CX is not just a ‘marketing thing’.  Decisions made for example in Finance, procurement and customer service can have a significant impact, so all parts of the organisation need to understand how their decisions impact a brand’s CX</a:t>
            </a:r>
          </a:p>
        </p:txBody>
      </p:sp>
      <p:sp>
        <p:nvSpPr>
          <p:cNvPr id="4" name="Slide Number Placeholder 3"/>
          <p:cNvSpPr>
            <a:spLocks noGrp="1"/>
          </p:cNvSpPr>
          <p:nvPr>
            <p:ph type="sldNum" sz="quarter" idx="5"/>
          </p:nvPr>
        </p:nvSpPr>
        <p:spPr/>
        <p:txBody>
          <a:bodyPr/>
          <a:lstStyle/>
          <a:p>
            <a:fld id="{DCC1A71F-ED3E-4A54-969C-A8BBEECB2EB9}" type="slidenum">
              <a:rPr lang="en-GB" smtClean="0"/>
              <a:t>4</a:t>
            </a:fld>
            <a:endParaRPr lang="en-GB" dirty="0"/>
          </a:p>
        </p:txBody>
      </p:sp>
    </p:spTree>
    <p:extLst>
      <p:ext uri="{BB962C8B-B14F-4D97-AF65-F5344CB8AC3E}">
        <p14:creationId xmlns:p14="http://schemas.microsoft.com/office/powerpoint/2010/main" val="10122990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d one of the first big issues our research identified is that customers want CHOICE.</a:t>
            </a:r>
          </a:p>
          <a:p>
            <a:endParaRPr lang="en-GB" dirty="0"/>
          </a:p>
          <a:p>
            <a:r>
              <a:rPr lang="en-GB" dirty="0"/>
              <a:t>They want physical and digital communications – 8 in 10 people say they value both and expect organisations to know how each can support them. </a:t>
            </a:r>
          </a:p>
          <a:p>
            <a:endParaRPr lang="en-GB" dirty="0"/>
          </a:p>
          <a:p>
            <a:r>
              <a:rPr lang="en-GB" dirty="0"/>
              <a:t>They know paper based messaging costs more, but ¾ do not think they should have to pay to receive communication in the way they want – it isn’t right for brands to put the cost on their customers.</a:t>
            </a:r>
          </a:p>
          <a:p>
            <a:endParaRPr lang="en-GB" dirty="0"/>
          </a:p>
          <a:p>
            <a:r>
              <a:rPr lang="en-GB" dirty="0"/>
              <a:t>And 2/3 feel they have been pushed too much to communication via apps – they may use and even value some apps, but they are not looking to receive everything from an app.</a:t>
            </a:r>
          </a:p>
          <a:p>
            <a:endParaRPr lang="en-GB" dirty="0"/>
          </a:p>
          <a:p>
            <a:r>
              <a:rPr lang="en-GB" dirty="0"/>
              <a:t>Brands need to be careful that their communication choices are in fact driven by customer wants and needs.  Brand’s plans to go ‘digital first/digital only’ are too often driven by cost cutting agendas and are not in fact customer focused.</a:t>
            </a:r>
          </a:p>
        </p:txBody>
      </p:sp>
      <p:sp>
        <p:nvSpPr>
          <p:cNvPr id="4" name="Slide Number Placeholder 3"/>
          <p:cNvSpPr>
            <a:spLocks noGrp="1"/>
          </p:cNvSpPr>
          <p:nvPr>
            <p:ph type="sldNum" sz="quarter" idx="5"/>
          </p:nvPr>
        </p:nvSpPr>
        <p:spPr/>
        <p:txBody>
          <a:bodyPr/>
          <a:lstStyle/>
          <a:p>
            <a:fld id="{DCC1A71F-ED3E-4A54-969C-A8BBEECB2EB9}" type="slidenum">
              <a:rPr lang="en-GB" smtClean="0"/>
              <a:t>5</a:t>
            </a:fld>
            <a:endParaRPr lang="en-GB" dirty="0"/>
          </a:p>
        </p:txBody>
      </p:sp>
    </p:spTree>
    <p:extLst>
      <p:ext uri="{BB962C8B-B14F-4D97-AF65-F5344CB8AC3E}">
        <p14:creationId xmlns:p14="http://schemas.microsoft.com/office/powerpoint/2010/main" val="3851985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So what is Customer Mail?</a:t>
            </a:r>
          </a:p>
          <a:p>
            <a:pPr marL="171450" indent="-171450">
              <a:buFont typeface="Arial" panose="020B0604020202020204" pitchFamily="34" charset="0"/>
              <a:buChar char="•"/>
            </a:pPr>
            <a:r>
              <a:rPr lang="en-GB" dirty="0"/>
              <a:t>Not a perfect definition – but clear.  It was confirmed with Accenture</a:t>
            </a:r>
          </a:p>
          <a:p>
            <a:pPr marL="171450" indent="-171450">
              <a:buFont typeface="Arial" panose="020B0604020202020204" pitchFamily="34" charset="0"/>
              <a:buChar char="•"/>
            </a:pPr>
            <a:r>
              <a:rPr lang="en-GB" dirty="0"/>
              <a:t>The research was conducted using the term Business Mail which we had explained using the definition above.  But the term Business Mail refers to a mail tariff and we wanted to explore mail’s role for customers in a way they would recognise – and customers don’t recognise tariffs.  </a:t>
            </a:r>
          </a:p>
          <a:p>
            <a:pPr marL="171450" indent="-171450">
              <a:buFont typeface="Arial" panose="020B0604020202020204" pitchFamily="34" charset="0"/>
              <a:buChar char="•"/>
            </a:pPr>
            <a:r>
              <a:rPr lang="en-GB" dirty="0"/>
              <a:t>Also, we discovered in our interviews that most businesses don’t think in terms of tariff either, they consider communication in terms of need and requirement.  Cost is of course important, but tariff isn’t the main driver at the start of the conversation.</a:t>
            </a:r>
          </a:p>
          <a:p>
            <a:pPr marL="171450" indent="-171450">
              <a:buFont typeface="Arial" panose="020B0604020202020204" pitchFamily="34" charset="0"/>
              <a:buChar char="•"/>
            </a:pPr>
            <a:r>
              <a:rPr lang="en-GB" dirty="0"/>
              <a:t>By ‘Customers’ we mean – existing relationships.  This includes things like students, supporters, customers, donors, citizens, members. If you contact them, they’re not surprised to hear from you.  They don’t have to have purchased but need to have an existing relationship that they recognise as making it relevant for a brand to contact them as if they know them.</a:t>
            </a:r>
          </a:p>
          <a:p>
            <a:pPr marL="171450" indent="-171450">
              <a:buFont typeface="Arial" panose="020B0604020202020204" pitchFamily="34" charset="0"/>
              <a:buChar char="•"/>
            </a:pPr>
            <a:r>
              <a:rPr lang="en-GB" dirty="0"/>
              <a:t>The reason Customer Mail would be used to get in touch is to build retention and advocacy, things that benefit and strengthen the relationship. Includes but not limited to CRM, welcome packs, bills, statements, annual reports, new card delivery, loyalty statements etc.</a:t>
            </a:r>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1870827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t>Carefully crafted research so each phase would move onto the next to work together.</a:t>
            </a:r>
          </a:p>
          <a:p>
            <a:endParaRPr lang="en-GB" dirty="0"/>
          </a:p>
          <a:p>
            <a:r>
              <a:rPr lang="en-GB" dirty="0"/>
              <a:t>Consumer interviews started with a 2 week diary task to record all mailings, emails, </a:t>
            </a:r>
            <a:r>
              <a:rPr lang="en-GB" dirty="0" err="1"/>
              <a:t>sms</a:t>
            </a:r>
            <a:r>
              <a:rPr lang="en-GB" dirty="0"/>
              <a:t> etc. received.  Followed up video interview deep dive into their behaviours and attitudes toward Customer Mail.  The respondents combined a broad mix of life stages plus some respondents defined by life situations likely to create mail e.g. small business owners, mortgage applicants/moving home, shielding, key workers</a:t>
            </a:r>
          </a:p>
          <a:p>
            <a:endParaRPr lang="en-GB" dirty="0"/>
          </a:p>
          <a:p>
            <a:r>
              <a:rPr lang="en-GB" dirty="0"/>
              <a:t>Parallel to this we conducted 21 interviews with mail decision makers in financial services, retail, government, utilities across different roles – marketing, finance, procurement, production</a:t>
            </a:r>
          </a:p>
          <a:p>
            <a:endParaRPr lang="en-GB" dirty="0"/>
          </a:p>
          <a:p>
            <a:r>
              <a:rPr lang="en-GB" dirty="0"/>
              <a:t>The quantitative survey is the real heart of the research, conducted spring 2021. 6000 online. 300 less digital users by telephone.  Nationally representative sample.  The questionnaire was a mix of responses about Customer Mail alone, mail and digital and exploring best practice via matched poor and better mail examples.</a:t>
            </a:r>
          </a:p>
          <a:p>
            <a:endParaRPr lang="en-GB" dirty="0"/>
          </a:p>
          <a:p>
            <a:r>
              <a:rPr lang="en-GB" dirty="0"/>
              <a:t>Co-creation workshops looked at real mail examples by sector, defining what they look for, positives and negatives, how to make it better.</a:t>
            </a:r>
          </a:p>
          <a:p>
            <a:endParaRPr lang="en-GB" dirty="0"/>
          </a:p>
          <a:p>
            <a:r>
              <a:rPr lang="en-GB" dirty="0"/>
              <a:t>We then concluded with 18 further decision maker interviews to explore how they responded to consumer findings and evaluate power of different sales messages coming from the research</a:t>
            </a:r>
          </a:p>
          <a:p>
            <a:endParaRPr lang="en-GB" dirty="0"/>
          </a:p>
          <a:p>
            <a:r>
              <a:rPr lang="en-GB" dirty="0"/>
              <a:t>Finishing with video interviews done to confirm customer behaviour based on all research</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is research was done during the pandemic, but we feel confident that did not influence how people responded.   We separately did research about mail in covid and it’s impact and one of the key findings is that at it’s core consumers’ feelings about and use of mail hadn’t really changed.   Mail become even more important with people at home so much, but actual behaviours didn’t change.</a:t>
            </a:r>
          </a:p>
          <a:p>
            <a:endParaRPr lang="en-GB" dirty="0"/>
          </a:p>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7</a:t>
            </a:fld>
            <a:endParaRPr lang="en-GB" dirty="0"/>
          </a:p>
        </p:txBody>
      </p:sp>
    </p:spTree>
    <p:extLst>
      <p:ext uri="{BB962C8B-B14F-4D97-AF65-F5344CB8AC3E}">
        <p14:creationId xmlns:p14="http://schemas.microsoft.com/office/powerpoint/2010/main" val="3227909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research showed that mail builds brands and connects with customers.</a:t>
            </a:r>
          </a:p>
        </p:txBody>
      </p:sp>
      <p:sp>
        <p:nvSpPr>
          <p:cNvPr id="4" name="Slide Number Placeholder 3"/>
          <p:cNvSpPr>
            <a:spLocks noGrp="1"/>
          </p:cNvSpPr>
          <p:nvPr>
            <p:ph type="sldNum" sz="quarter" idx="5"/>
          </p:nvPr>
        </p:nvSpPr>
        <p:spPr/>
        <p:txBody>
          <a:bodyPr/>
          <a:lstStyle/>
          <a:p>
            <a:fld id="{DCC1A71F-ED3E-4A54-969C-A8BBEECB2EB9}" type="slidenum">
              <a:rPr lang="en-GB" smtClean="0"/>
              <a:t>8</a:t>
            </a:fld>
            <a:endParaRPr lang="en-GB" dirty="0"/>
          </a:p>
        </p:txBody>
      </p:sp>
    </p:spTree>
    <p:extLst>
      <p:ext uri="{BB962C8B-B14F-4D97-AF65-F5344CB8AC3E}">
        <p14:creationId xmlns:p14="http://schemas.microsoft.com/office/powerpoint/2010/main" val="3703691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ur previous Marketreach research consistently highlights the power of mail and its physicality to build a brand.</a:t>
            </a:r>
          </a:p>
          <a:p>
            <a:endParaRPr lang="en-GB" dirty="0"/>
          </a:p>
          <a:p>
            <a:r>
              <a:rPr lang="en-GB" dirty="0"/>
              <a:t>This new research has reinforced and extended that insight – showing how mail creates a strong brand impact.</a:t>
            </a:r>
          </a:p>
          <a:p>
            <a:endParaRPr lang="en-GB" dirty="0"/>
          </a:p>
          <a:p>
            <a:r>
              <a:rPr lang="en-GB" dirty="0"/>
              <a:t>Consumers know that sending mail takes time and costs more (they see the difference between sending an email or a birthday card).  And to them, that means the organisation cared enough to invest in their relationship.</a:t>
            </a:r>
          </a:p>
        </p:txBody>
      </p:sp>
      <p:sp>
        <p:nvSpPr>
          <p:cNvPr id="4" name="Slide Number Placeholder 3"/>
          <p:cNvSpPr>
            <a:spLocks noGrp="1"/>
          </p:cNvSpPr>
          <p:nvPr>
            <p:ph type="sldNum" sz="quarter" idx="5"/>
          </p:nvPr>
        </p:nvSpPr>
        <p:spPr/>
        <p:txBody>
          <a:bodyPr/>
          <a:lstStyle/>
          <a:p>
            <a:fld id="{DCC1A71F-ED3E-4A54-969C-A8BBEECB2EB9}" type="slidenum">
              <a:rPr lang="en-GB" smtClean="0"/>
              <a:t>9</a:t>
            </a:fld>
            <a:endParaRPr lang="en-GB" dirty="0"/>
          </a:p>
        </p:txBody>
      </p:sp>
    </p:spTree>
    <p:extLst>
      <p:ext uri="{BB962C8B-B14F-4D97-AF65-F5344CB8AC3E}">
        <p14:creationId xmlns:p14="http://schemas.microsoft.com/office/powerpoint/2010/main" val="16032742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dirty="0"/>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0213"/>
            <a:ext cx="583849" cy="362932"/>
          </a:xfrm>
          <a:prstGeom prst="rect">
            <a:avLst/>
          </a:prstGeom>
        </p:spPr>
      </p:pic>
      <p:sp>
        <p:nvSpPr>
          <p:cNvPr id="8" name="Title 1">
            <a:extLst>
              <a:ext uri="{FF2B5EF4-FFF2-40B4-BE49-F238E27FC236}">
                <a16:creationId xmlns:a16="http://schemas.microsoft.com/office/drawing/2014/main" id="{15C234EB-3454-43CE-B3CD-063C27C7B647}"/>
              </a:ext>
            </a:extLst>
          </p:cNvPr>
          <p:cNvSpPr txBox="1">
            <a:spLocks/>
          </p:cNvSpPr>
          <p:nvPr userDrawn="1"/>
        </p:nvSpPr>
        <p:spPr>
          <a:xfrm>
            <a:off x="6415753" y="377055"/>
            <a:ext cx="5776247"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GB" dirty="0">
                <a:solidFill>
                  <a:srgbClr val="1B2A4D"/>
                </a:solidFill>
              </a:rPr>
              <a:t>Trust comes from feeling recognised</a:t>
            </a:r>
          </a:p>
          <a:p>
            <a:r>
              <a:rPr lang="en-GB" dirty="0">
                <a:solidFill>
                  <a:srgbClr val="1B2A4D"/>
                </a:solidFill>
              </a:rPr>
              <a:t>and valued</a:t>
            </a:r>
            <a:br>
              <a:rPr lang="en-GB" dirty="0">
                <a:solidFill>
                  <a:srgbClr val="1B2A4D"/>
                </a:solidFill>
              </a:rPr>
            </a:br>
            <a:endParaRPr lang="en-GB" dirty="0"/>
          </a:p>
        </p:txBody>
      </p:sp>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Rectangle 2">
            <a:extLst>
              <a:ext uri="{FF2B5EF4-FFF2-40B4-BE49-F238E27FC236}">
                <a16:creationId xmlns:a16="http://schemas.microsoft.com/office/drawing/2014/main" id="{9CBE458D-CC75-40D0-897C-7071D04ABB4B}"/>
              </a:ext>
            </a:extLst>
          </p:cNvPr>
          <p:cNvSpPr/>
          <p:nvPr userDrawn="1"/>
        </p:nvSpPr>
        <p:spPr>
          <a:xfrm>
            <a:off x="0" y="6035040"/>
            <a:ext cx="2021840" cy="82296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dirty="0"/>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dirty="0"/>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dirty="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2.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23.xml"/><Relationship Id="rId4" Type="http://schemas.openxmlformats.org/officeDocument/2006/relationships/chart" Target="../charts/chart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2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9.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0.xml"/><Relationship Id="rId1" Type="http://schemas.openxmlformats.org/officeDocument/2006/relationships/slideLayout" Target="../slideLayouts/slideLayout23.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1.xml"/><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2.xml"/><Relationship Id="rId1" Type="http://schemas.openxmlformats.org/officeDocument/2006/relationships/slideLayout" Target="../slideLayouts/slideLayout2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3.xml"/><Relationship Id="rId1" Type="http://schemas.openxmlformats.org/officeDocument/2006/relationships/slideLayout" Target="../slideLayouts/slideLayout24.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5.xml"/><Relationship Id="rId1" Type="http://schemas.openxmlformats.org/officeDocument/2006/relationships/slideLayout" Target="../slideLayouts/slideLayout24.xml"/><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26.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3" Type="http://schemas.openxmlformats.org/officeDocument/2006/relationships/hyperlink" Target="https://eur03.safelinks.protection.outlook.com/?url=https%3A%2F%2Fwww.marketreach.co.uk%2Fresource%2Fcustomer-mail&amp;data=04%7C01%7Camanda.griffiths%40royalmail.com%7C30f8485b4a2d4ee2620508da2d01d6f2%7C7a08210890dd41acbe419b8feabee2da%7C0%7C0%7C637871783171782993%7CUnknown%7CTWFpbGZsb3d8eyJWIjoiMC4wLjAwMDAiLCJQIjoiV2luMzIiLCJBTiI6Ik1haWwiLCJXVCI6Mn0%3D%7C3000&amp;sdata=yL1RdGgKafn5gBRx9ENpJ0f5M8Xfu3JabWurJhG8vpQ%3D&amp;reserved=0" TargetMode="External"/><Relationship Id="rId2" Type="http://schemas.openxmlformats.org/officeDocument/2006/relationships/notesSlide" Target="../notesSlides/notesSlide28.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23.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172CEF-23F3-46D2-945A-265B5047FB6A}"/>
              </a:ext>
            </a:extLst>
          </p:cNvPr>
          <p:cNvSpPr>
            <a:spLocks noGrp="1"/>
          </p:cNvSpPr>
          <p:nvPr>
            <p:ph type="title"/>
          </p:nvPr>
        </p:nvSpPr>
        <p:spPr/>
        <p:txBody>
          <a:bodyPr/>
          <a:lstStyle/>
          <a:p>
            <a:r>
              <a:rPr lang="en-GB" dirty="0"/>
              <a:t>THE ROLE OF CUSTOMER MAIL IN DELIVERING</a:t>
            </a:r>
            <a:br>
              <a:rPr lang="en-GB" dirty="0"/>
            </a:br>
            <a:r>
              <a:rPr lang="en-GB" dirty="0"/>
              <a:t>A REMARKABLE CUSTOMER EXPERIENCE (CX)</a:t>
            </a:r>
          </a:p>
        </p:txBody>
      </p:sp>
      <p:sp>
        <p:nvSpPr>
          <p:cNvPr id="3" name="Subtitle 2">
            <a:extLst>
              <a:ext uri="{FF2B5EF4-FFF2-40B4-BE49-F238E27FC236}">
                <a16:creationId xmlns:a16="http://schemas.microsoft.com/office/drawing/2014/main" id="{60AE9B4A-43C9-48BB-8CAD-DFF136BCA554}"/>
              </a:ext>
            </a:extLst>
          </p:cNvPr>
          <p:cNvSpPr>
            <a:spLocks noGrp="1"/>
          </p:cNvSpPr>
          <p:nvPr>
            <p:ph type="subTitle" idx="1"/>
          </p:nvPr>
        </p:nvSpPr>
        <p:spPr/>
        <p:txBody>
          <a:bodyPr/>
          <a:lstStyle/>
          <a:p>
            <a:endParaRPr lang="en-GB" dirty="0"/>
          </a:p>
        </p:txBody>
      </p:sp>
      <p:sp>
        <p:nvSpPr>
          <p:cNvPr id="4" name="Text Placeholder 3">
            <a:extLst>
              <a:ext uri="{FF2B5EF4-FFF2-40B4-BE49-F238E27FC236}">
                <a16:creationId xmlns:a16="http://schemas.microsoft.com/office/drawing/2014/main" id="{6772C3AB-BD10-4738-99A1-24F13081CC8B}"/>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20503514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1189E6B8-533F-45B3-9A86-BCA109B7D182}"/>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6095997" y="0"/>
            <a:ext cx="6096003" cy="6858000"/>
          </a:xfrm>
        </p:spPr>
      </p:pic>
      <p:sp>
        <p:nvSpPr>
          <p:cNvPr id="7" name="Title 6">
            <a:extLst>
              <a:ext uri="{FF2B5EF4-FFF2-40B4-BE49-F238E27FC236}">
                <a16:creationId xmlns:a16="http://schemas.microsoft.com/office/drawing/2014/main" id="{FBA2A1FF-CDA8-47B0-BD0C-661D6D1FEE73}"/>
              </a:ext>
            </a:extLst>
          </p:cNvPr>
          <p:cNvSpPr>
            <a:spLocks noGrp="1"/>
          </p:cNvSpPr>
          <p:nvPr>
            <p:ph type="title"/>
          </p:nvPr>
        </p:nvSpPr>
        <p:spPr/>
        <p:txBody>
          <a:bodyPr/>
          <a:lstStyle/>
          <a:p>
            <a:r>
              <a:rPr lang="en-GB" sz="2400" dirty="0"/>
              <a:t>Mail shows that</a:t>
            </a:r>
            <a:br>
              <a:rPr lang="en-GB" sz="2400" dirty="0"/>
            </a:br>
            <a:r>
              <a:rPr lang="en-GB" sz="2400" dirty="0"/>
              <a:t>companies are committed</a:t>
            </a:r>
          </a:p>
        </p:txBody>
      </p:sp>
      <p:sp>
        <p:nvSpPr>
          <p:cNvPr id="9" name="Content Placeholder 8">
            <a:extLst>
              <a:ext uri="{FF2B5EF4-FFF2-40B4-BE49-F238E27FC236}">
                <a16:creationId xmlns:a16="http://schemas.microsoft.com/office/drawing/2014/main" id="{4A3C9935-2B89-4EA8-BD66-5CB0535E92BD}"/>
              </a:ext>
            </a:extLst>
          </p:cNvPr>
          <p:cNvSpPr>
            <a:spLocks noGrp="1"/>
          </p:cNvSpPr>
          <p:nvPr>
            <p:ph sz="quarter" idx="17"/>
          </p:nvPr>
        </p:nvSpPr>
        <p:spPr/>
        <p:txBody>
          <a:bodyPr lIns="91440" tIns="45720" rIns="91440" bIns="45720" anchor="t"/>
          <a:lstStyle/>
          <a:p>
            <a:r>
              <a:rPr lang="en-GB" dirty="0"/>
              <a:t>Personalised mail lets customers know how important they are to a business</a:t>
            </a:r>
          </a:p>
          <a:p>
            <a:endParaRPr lang="en-GB" dirty="0"/>
          </a:p>
          <a:p>
            <a:r>
              <a:rPr lang="en-GB" dirty="0"/>
              <a:t>Our research shows that </a:t>
            </a:r>
            <a:r>
              <a:rPr lang="en-US" sz="1800" dirty="0">
                <a:effectLst/>
                <a:latin typeface="Calibri" panose="020F0502020204030204" pitchFamily="34" charset="0"/>
                <a:ea typeface="MS Mincho" panose="02020609040205080304" pitchFamily="49" charset="-128"/>
                <a:cs typeface="Arial" panose="020B0604020202020204" pitchFamily="34" charset="0"/>
              </a:rPr>
              <a:t>mail from companies makes them feel valued more (70%) than email (30%) does.</a:t>
            </a:r>
            <a:endParaRPr lang="en-GB" dirty="0"/>
          </a:p>
        </p:txBody>
      </p:sp>
      <p:sp>
        <p:nvSpPr>
          <p:cNvPr id="10" name="TextBox 9">
            <a:extLst>
              <a:ext uri="{FF2B5EF4-FFF2-40B4-BE49-F238E27FC236}">
                <a16:creationId xmlns:a16="http://schemas.microsoft.com/office/drawing/2014/main" id="{E0F76B61-3AC4-494C-9DB0-F4B32D115B42}"/>
              </a:ext>
            </a:extLst>
          </p:cNvPr>
          <p:cNvSpPr txBox="1"/>
          <p:nvPr/>
        </p:nvSpPr>
        <p:spPr>
          <a:xfrm>
            <a:off x="876300" y="6289978"/>
            <a:ext cx="2837636" cy="253916"/>
          </a:xfrm>
          <a:prstGeom prst="rect">
            <a:avLst/>
          </a:prstGeom>
          <a:noFill/>
        </p:spPr>
        <p:txBody>
          <a:bodyPr wrap="none" rtlCol="0">
            <a:spAutoFit/>
          </a:bodyPr>
          <a:lstStyle/>
          <a:p>
            <a:r>
              <a:rPr lang="en-US" sz="1050" dirty="0">
                <a:effectLst/>
                <a:latin typeface="Calibri" panose="020F0502020204030204" pitchFamily="34" charset="0"/>
                <a:ea typeface="MS Mincho" panose="02020609040205080304" pitchFamily="49" charset="-128"/>
                <a:cs typeface="Arial" panose="020B0604020202020204" pitchFamily="34" charset="0"/>
              </a:rPr>
              <a:t>Source: Marketreach “Why Mail Cuts Through”</a:t>
            </a:r>
            <a:endParaRPr lang="en-GB" sz="1050" dirty="0"/>
          </a:p>
        </p:txBody>
      </p:sp>
    </p:spTree>
    <p:extLst>
      <p:ext uri="{BB962C8B-B14F-4D97-AF65-F5344CB8AC3E}">
        <p14:creationId xmlns:p14="http://schemas.microsoft.com/office/powerpoint/2010/main" val="16932937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C6052C9D-07DF-4F84-94DA-A0D1398FD41B}"/>
              </a:ext>
            </a:extLst>
          </p:cNvPr>
          <p:cNvSpPr>
            <a:spLocks noGrp="1"/>
          </p:cNvSpPr>
          <p:nvPr>
            <p:ph sz="quarter" idx="16"/>
          </p:nvPr>
        </p:nvSpPr>
        <p:spPr/>
        <p:txBody>
          <a:bodyPr lIns="91440" tIns="45720" rIns="91440" bIns="45720" anchor="t"/>
          <a:lstStyle/>
          <a:p>
            <a:r>
              <a:rPr lang="en-US" dirty="0">
                <a:effectLst/>
                <a:ea typeface="MS Mincho" panose="02020609040205080304" pitchFamily="49" charset="-128"/>
                <a:cs typeface="Arial" panose="020B0604020202020204" pitchFamily="34" charset="0"/>
              </a:rPr>
              <a:t>Customer Mail receives more attention than equivalent digital messaging</a:t>
            </a:r>
          </a:p>
          <a:p>
            <a:endParaRPr lang="en-US" dirty="0">
              <a:ea typeface="MS Mincho" panose="02020609040205080304" pitchFamily="49" charset="-128"/>
              <a:cs typeface="Arial" panose="020B0604020202020204" pitchFamily="34" charset="0"/>
            </a:endParaRPr>
          </a:p>
          <a:p>
            <a:r>
              <a:rPr lang="en-US" dirty="0">
                <a:latin typeface="Calibri"/>
                <a:ea typeface="MS Mincho"/>
                <a:cs typeface="Arial"/>
              </a:rPr>
              <a:t>99</a:t>
            </a:r>
            <a:r>
              <a:rPr lang="en-US" dirty="0">
                <a:effectLst/>
                <a:latin typeface="Calibri"/>
                <a:ea typeface="MS Mincho"/>
                <a:cs typeface="Arial"/>
              </a:rPr>
              <a:t>%</a:t>
            </a:r>
            <a:r>
              <a:rPr lang="en-US" dirty="0">
                <a:effectLst/>
                <a:latin typeface="Cambria"/>
                <a:ea typeface="MS Mincho"/>
                <a:cs typeface="Arial"/>
              </a:rPr>
              <a:t> </a:t>
            </a:r>
            <a:r>
              <a:rPr lang="en-US" dirty="0">
                <a:effectLst/>
                <a:latin typeface="Calibri"/>
                <a:ea typeface="MS Mincho"/>
                <a:cs typeface="Arial"/>
              </a:rPr>
              <a:t>of recipients interact with Customer Mail, from opening it, reading it, to storing it for later</a:t>
            </a:r>
            <a:r>
              <a:rPr lang="en-US" dirty="0">
                <a:latin typeface="Calibri"/>
                <a:ea typeface="MS Mincho"/>
                <a:cs typeface="Arial"/>
              </a:rPr>
              <a:t>.</a:t>
            </a:r>
            <a:endParaRPr lang="en-GB" dirty="0">
              <a:latin typeface="Calibri"/>
              <a:ea typeface="MS Mincho"/>
              <a:cs typeface="Arial"/>
            </a:endParaRPr>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t>11</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2400" dirty="0"/>
              <a:t>People engage with mail</a:t>
            </a:r>
          </a:p>
        </p:txBody>
      </p:sp>
      <p:sp>
        <p:nvSpPr>
          <p:cNvPr id="6" name="Text Placeholder 5">
            <a:extLst>
              <a:ext uri="{FF2B5EF4-FFF2-40B4-BE49-F238E27FC236}">
                <a16:creationId xmlns:a16="http://schemas.microsoft.com/office/drawing/2014/main" id="{C0B2103A-8781-429A-9610-6B75E953DD38}"/>
              </a:ext>
            </a:extLst>
          </p:cNvPr>
          <p:cNvSpPr>
            <a:spLocks noGrp="1"/>
          </p:cNvSpPr>
          <p:nvPr>
            <p:ph type="body" sz="quarter" idx="11"/>
          </p:nvPr>
        </p:nvSpPr>
        <p:spPr/>
        <p:txBody>
          <a:bodyPr/>
          <a:lstStyle/>
          <a:p>
            <a:endParaRPr lang="en-GB"/>
          </a:p>
        </p:txBody>
      </p:sp>
      <p:sp>
        <p:nvSpPr>
          <p:cNvPr id="10" name="TextBox 9">
            <a:extLst>
              <a:ext uri="{FF2B5EF4-FFF2-40B4-BE49-F238E27FC236}">
                <a16:creationId xmlns:a16="http://schemas.microsoft.com/office/drawing/2014/main" id="{03209428-834D-4659-8DCD-FA7F0785CEE6}"/>
              </a:ext>
            </a:extLst>
          </p:cNvPr>
          <p:cNvSpPr txBox="1"/>
          <p:nvPr/>
        </p:nvSpPr>
        <p:spPr bwMode="white">
          <a:xfrm>
            <a:off x="5737574" y="6193893"/>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JICMAIL</a:t>
            </a:r>
          </a:p>
        </p:txBody>
      </p:sp>
      <p:graphicFrame>
        <p:nvGraphicFramePr>
          <p:cNvPr id="13" name="Chart 12">
            <a:extLst>
              <a:ext uri="{FF2B5EF4-FFF2-40B4-BE49-F238E27FC236}">
                <a16:creationId xmlns:a16="http://schemas.microsoft.com/office/drawing/2014/main" id="{42F69318-C4F4-4E6C-B1A8-E6C609A3BF6E}"/>
              </a:ext>
            </a:extLst>
          </p:cNvPr>
          <p:cNvGraphicFramePr/>
          <p:nvPr>
            <p:extLst>
              <p:ext uri="{D42A27DB-BD31-4B8C-83A1-F6EECF244321}">
                <p14:modId xmlns:p14="http://schemas.microsoft.com/office/powerpoint/2010/main" val="1333502557"/>
              </p:ext>
            </p:extLst>
          </p:nvPr>
        </p:nvGraphicFramePr>
        <p:xfrm>
          <a:off x="5236283" y="1981807"/>
          <a:ext cx="7023372" cy="4041364"/>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409C622A-A568-4FA5-904B-01D6A707A028}"/>
              </a:ext>
            </a:extLst>
          </p:cNvPr>
          <p:cNvSpPr txBox="1"/>
          <p:nvPr/>
        </p:nvSpPr>
        <p:spPr>
          <a:xfrm>
            <a:off x="6803526" y="1696107"/>
            <a:ext cx="2303516" cy="369332"/>
          </a:xfrm>
          <a:prstGeom prst="rect">
            <a:avLst/>
          </a:prstGeom>
          <a:noFill/>
        </p:spPr>
        <p:txBody>
          <a:bodyPr wrap="none" rtlCol="0">
            <a:spAutoFit/>
          </a:bodyPr>
          <a:lstStyle/>
          <a:p>
            <a:r>
              <a:rPr lang="en-GB" dirty="0"/>
              <a:t>All physical actions (%)</a:t>
            </a:r>
          </a:p>
        </p:txBody>
      </p:sp>
      <p:sp>
        <p:nvSpPr>
          <p:cNvPr id="9" name="TextBox 8">
            <a:extLst>
              <a:ext uri="{FF2B5EF4-FFF2-40B4-BE49-F238E27FC236}">
                <a16:creationId xmlns:a16="http://schemas.microsoft.com/office/drawing/2014/main" id="{99A91AE4-41D6-4012-8038-337D0CF76F66}"/>
              </a:ext>
            </a:extLst>
          </p:cNvPr>
          <p:cNvSpPr txBox="1"/>
          <p:nvPr/>
        </p:nvSpPr>
        <p:spPr>
          <a:xfrm>
            <a:off x="8953500" y="4146231"/>
            <a:ext cx="2291012" cy="646331"/>
          </a:xfrm>
          <a:prstGeom prst="rect">
            <a:avLst/>
          </a:prstGeom>
          <a:noFill/>
        </p:spPr>
        <p:txBody>
          <a:bodyPr wrap="none" rtlCol="0">
            <a:spAutoFit/>
          </a:bodyPr>
          <a:lstStyle/>
          <a:p>
            <a:r>
              <a:rPr lang="en-GB" b="1" dirty="0">
                <a:solidFill>
                  <a:schemeClr val="accent1"/>
                </a:solidFill>
              </a:rPr>
              <a:t>99% of Customer Mail</a:t>
            </a:r>
            <a:br>
              <a:rPr lang="en-GB" b="1" dirty="0">
                <a:solidFill>
                  <a:schemeClr val="accent1"/>
                </a:solidFill>
              </a:rPr>
            </a:br>
            <a:r>
              <a:rPr lang="en-GB" b="1" dirty="0">
                <a:solidFill>
                  <a:schemeClr val="accent1"/>
                </a:solidFill>
              </a:rPr>
              <a:t>is engaged with</a:t>
            </a:r>
          </a:p>
        </p:txBody>
      </p:sp>
    </p:spTree>
    <p:extLst>
      <p:ext uri="{BB962C8B-B14F-4D97-AF65-F5344CB8AC3E}">
        <p14:creationId xmlns:p14="http://schemas.microsoft.com/office/powerpoint/2010/main" val="11220451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2AB2FD-062E-4614-A7B1-7CF2BEA55379}"/>
              </a:ext>
            </a:extLst>
          </p:cNvPr>
          <p:cNvSpPr>
            <a:spLocks noGrp="1"/>
          </p:cNvSpPr>
          <p:nvPr>
            <p:ph sz="quarter" idx="16"/>
          </p:nvPr>
        </p:nvSpPr>
        <p:spPr/>
        <p:txBody>
          <a:bodyPr/>
          <a:lstStyle/>
          <a:p>
            <a:r>
              <a:rPr lang="en-GB" dirty="0"/>
              <a:t>Despite conventional wisdom, mail works well with younger Millennials and Gen Z</a:t>
            </a:r>
          </a:p>
          <a:p>
            <a:endParaRPr lang="en-GB" dirty="0"/>
          </a:p>
          <a:p>
            <a:r>
              <a:rPr lang="en-US" dirty="0"/>
              <a:t>They appreciate the personal touch that Customer Mail provides. They engage with it more than email: 85% of them open it; 65% store it for future reference; 49% put it somewhere to action later; and 40% show it to others in their household.</a:t>
            </a:r>
            <a:endParaRPr lang="en-GB" dirty="0"/>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pPr/>
              <a:t>12</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2400" dirty="0"/>
              <a:t>Mail works across all age groups</a:t>
            </a:r>
          </a:p>
        </p:txBody>
      </p:sp>
      <p:sp>
        <p:nvSpPr>
          <p:cNvPr id="7" name="Text Placeholder 6">
            <a:extLst>
              <a:ext uri="{FF2B5EF4-FFF2-40B4-BE49-F238E27FC236}">
                <a16:creationId xmlns:a16="http://schemas.microsoft.com/office/drawing/2014/main" id="{1ED85E91-3E95-4C7E-97F5-3CC982768E80}"/>
              </a:ext>
            </a:extLst>
          </p:cNvPr>
          <p:cNvSpPr>
            <a:spLocks noGrp="1"/>
          </p:cNvSpPr>
          <p:nvPr>
            <p:ph type="body" sz="quarter" idx="11"/>
          </p:nvPr>
        </p:nvSpPr>
        <p:spPr/>
        <p:txBody>
          <a:bodyPr/>
          <a:lstStyle/>
          <a:p>
            <a:endParaRPr lang="en-GB"/>
          </a:p>
        </p:txBody>
      </p:sp>
      <p:pic>
        <p:nvPicPr>
          <p:cNvPr id="14" name="Picture 13">
            <a:extLst>
              <a:ext uri="{FF2B5EF4-FFF2-40B4-BE49-F238E27FC236}">
                <a16:creationId xmlns:a16="http://schemas.microsoft.com/office/drawing/2014/main" id="{69F58E68-5112-42C0-8309-FFB523846991}"/>
              </a:ext>
            </a:extLst>
          </p:cNvPr>
          <p:cNvPicPr>
            <a:picLocks noChangeAspect="1"/>
          </p:cNvPicPr>
          <p:nvPr/>
        </p:nvPicPr>
        <p:blipFill>
          <a:blip r:embed="rId3" cstate="screen">
            <a:clrChange>
              <a:clrFrom>
                <a:srgbClr val="FFFFFF"/>
              </a:clrFrom>
              <a:clrTo>
                <a:srgbClr val="FFFFFF">
                  <a:alpha val="0"/>
                </a:srgbClr>
              </a:clrTo>
            </a:clrChange>
            <a:grayscl/>
            <a:extLst>
              <a:ext uri="{28A0092B-C50C-407E-A947-70E740481C1C}">
                <a14:useLocalDpi xmlns:a14="http://schemas.microsoft.com/office/drawing/2010/main"/>
              </a:ext>
            </a:extLst>
          </a:blip>
          <a:stretch>
            <a:fillRect/>
          </a:stretch>
        </p:blipFill>
        <p:spPr>
          <a:xfrm>
            <a:off x="5755996" y="2008509"/>
            <a:ext cx="2934508" cy="3799812"/>
          </a:xfrm>
          <a:prstGeom prst="rect">
            <a:avLst/>
          </a:prstGeom>
        </p:spPr>
      </p:pic>
      <p:sp>
        <p:nvSpPr>
          <p:cNvPr id="15" name="Oval 14">
            <a:extLst>
              <a:ext uri="{FF2B5EF4-FFF2-40B4-BE49-F238E27FC236}">
                <a16:creationId xmlns:a16="http://schemas.microsoft.com/office/drawing/2014/main" id="{24964601-8C50-4D81-8B6F-B78B05D24311}"/>
              </a:ext>
            </a:extLst>
          </p:cNvPr>
          <p:cNvSpPr/>
          <p:nvPr/>
        </p:nvSpPr>
        <p:spPr>
          <a:xfrm>
            <a:off x="6549092" y="3348797"/>
            <a:ext cx="1386256" cy="1386256"/>
          </a:xfrm>
          <a:prstGeom prst="ellipse">
            <a:avLst/>
          </a:prstGeom>
          <a:solidFill>
            <a:schemeClr val="bg1">
              <a:lumMod val="95000"/>
              <a:alpha val="80000"/>
            </a:schemeClr>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US" sz="1600" dirty="0">
              <a:solidFill>
                <a:schemeClr val="bg1"/>
              </a:solidFill>
              <a:latin typeface="Lota Grotesque" panose="00000500000000000000" pitchFamily="50" charset="0"/>
              <a:cs typeface="Segoe UI" panose="020B0502040204020203" pitchFamily="34" charset="0"/>
            </a:endParaRPr>
          </a:p>
        </p:txBody>
      </p:sp>
      <p:sp>
        <p:nvSpPr>
          <p:cNvPr id="16" name="TextBox 15">
            <a:extLst>
              <a:ext uri="{FF2B5EF4-FFF2-40B4-BE49-F238E27FC236}">
                <a16:creationId xmlns:a16="http://schemas.microsoft.com/office/drawing/2014/main" id="{085A39EE-8CC6-41FB-961A-68F613374C6F}"/>
              </a:ext>
            </a:extLst>
          </p:cNvPr>
          <p:cNvSpPr txBox="1"/>
          <p:nvPr/>
        </p:nvSpPr>
        <p:spPr bwMode="white">
          <a:xfrm>
            <a:off x="6504704" y="3693113"/>
            <a:ext cx="1475032" cy="666977"/>
          </a:xfrm>
          <a:prstGeom prst="rect">
            <a:avLst/>
          </a:prstGeom>
          <a:noFill/>
        </p:spPr>
        <p:txBody>
          <a:bodyPr wrap="square" rtlCol="0">
            <a:spAutoFit/>
          </a:bodyPr>
          <a:lstStyle/>
          <a:p>
            <a:pPr algn="ctr">
              <a:buClr>
                <a:srgbClr val="F28713"/>
              </a:buClr>
              <a:buSzPct val="150000"/>
            </a:pPr>
            <a:r>
              <a:rPr lang="en-GB" sz="1867" b="1" kern="0" noProof="1">
                <a:latin typeface="Lota Grotesque Alt 1 Semi Bold" panose="00000700000000000000" pitchFamily="50" charset="0"/>
                <a:ea typeface="Microsoft Himalaya" panose="01010100010101010101" pitchFamily="2" charset="0"/>
                <a:cs typeface="Segoe UI" panose="020B0502040204020203" pitchFamily="34" charset="0"/>
              </a:rPr>
              <a:t>Among </a:t>
            </a:r>
          </a:p>
          <a:p>
            <a:pPr algn="ctr">
              <a:buClr>
                <a:srgbClr val="F28713"/>
              </a:buClr>
              <a:buSzPct val="150000"/>
            </a:pPr>
            <a:r>
              <a:rPr lang="en-GB" sz="1867" b="1" kern="0" noProof="1">
                <a:latin typeface="Lota Grotesque Alt 1 Semi Bold" panose="00000700000000000000" pitchFamily="50" charset="0"/>
                <a:ea typeface="Microsoft Himalaya" panose="01010100010101010101" pitchFamily="2" charset="0"/>
                <a:cs typeface="Segoe UI" panose="020B0502040204020203" pitchFamily="34" charset="0"/>
              </a:rPr>
              <a:t>18-34’s</a:t>
            </a:r>
            <a:endParaRPr lang="en-GB" sz="1867" kern="0" noProof="1">
              <a:latin typeface="Lota Grotesque Light" panose="00000400000000000000" pitchFamily="50" charset="0"/>
              <a:ea typeface="Microsoft Himalaya" panose="01010100010101010101" pitchFamily="2" charset="0"/>
              <a:cs typeface="Segoe UI" panose="020B0502040204020203" pitchFamily="34" charset="0"/>
            </a:endParaRPr>
          </a:p>
        </p:txBody>
      </p:sp>
      <p:graphicFrame>
        <p:nvGraphicFramePr>
          <p:cNvPr id="17" name="Chart 16">
            <a:extLst>
              <a:ext uri="{FF2B5EF4-FFF2-40B4-BE49-F238E27FC236}">
                <a16:creationId xmlns:a16="http://schemas.microsoft.com/office/drawing/2014/main" id="{C2B1F44D-C439-444A-8584-D2B72904D390}"/>
              </a:ext>
            </a:extLst>
          </p:cNvPr>
          <p:cNvGraphicFramePr/>
          <p:nvPr>
            <p:extLst>
              <p:ext uri="{D42A27DB-BD31-4B8C-83A1-F6EECF244321}">
                <p14:modId xmlns:p14="http://schemas.microsoft.com/office/powerpoint/2010/main" val="1052056329"/>
              </p:ext>
            </p:extLst>
          </p:nvPr>
        </p:nvGraphicFramePr>
        <p:xfrm>
          <a:off x="8178847" y="1810323"/>
          <a:ext cx="3440073" cy="383713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1E29F4E8-8F78-4F46-B222-343E22CF762B}"/>
              </a:ext>
            </a:extLst>
          </p:cNvPr>
          <p:cNvSpPr txBox="1"/>
          <p:nvPr/>
        </p:nvSpPr>
        <p:spPr bwMode="white">
          <a:xfrm>
            <a:off x="8219023" y="2247163"/>
            <a:ext cx="1674889" cy="666977"/>
          </a:xfrm>
          <a:prstGeom prst="rect">
            <a:avLst/>
          </a:prstGeom>
          <a:noFill/>
        </p:spPr>
        <p:txBody>
          <a:bodyPr wrap="square" rtlCol="0">
            <a:spAutoFit/>
          </a:bodyPr>
          <a:lstStyle/>
          <a:p>
            <a:pPr algn="r">
              <a:spcBef>
                <a:spcPts val="1333"/>
              </a:spcBef>
              <a:buClr>
                <a:srgbClr val="F28713"/>
              </a:buClr>
              <a:buSzPct val="150000"/>
              <a:defRPr/>
            </a:pPr>
            <a:r>
              <a:rPr lang="en-US" sz="1867" dirty="0">
                <a:solidFill>
                  <a:srgbClr val="0C0E2F"/>
                </a:solidFill>
              </a:rPr>
              <a:t>Positive engagement</a:t>
            </a:r>
          </a:p>
        </p:txBody>
      </p:sp>
      <p:sp>
        <p:nvSpPr>
          <p:cNvPr id="25" name="TextBox 24">
            <a:extLst>
              <a:ext uri="{FF2B5EF4-FFF2-40B4-BE49-F238E27FC236}">
                <a16:creationId xmlns:a16="http://schemas.microsoft.com/office/drawing/2014/main" id="{DFE3442D-4DF1-4843-9944-F6602D812C7B}"/>
              </a:ext>
            </a:extLst>
          </p:cNvPr>
          <p:cNvSpPr txBox="1"/>
          <p:nvPr/>
        </p:nvSpPr>
        <p:spPr bwMode="white">
          <a:xfrm rot="5728753">
            <a:off x="8132746" y="2931374"/>
            <a:ext cx="932575" cy="420564"/>
          </a:xfrm>
          <a:prstGeom prst="rect">
            <a:avLst/>
          </a:prstGeom>
          <a:noFill/>
        </p:spPr>
        <p:txBody>
          <a:bodyPr wrap="square" rtlCol="0">
            <a:spAutoFit/>
          </a:bodyPr>
          <a:lstStyle/>
          <a:p>
            <a:pPr algn="r">
              <a:spcBef>
                <a:spcPts val="1333"/>
              </a:spcBef>
              <a:buClr>
                <a:srgbClr val="F28713"/>
              </a:buClr>
              <a:buSzPct val="150000"/>
              <a:defRPr/>
            </a:pPr>
            <a:r>
              <a:rPr lang="en-US" sz="2133" dirty="0">
                <a:solidFill>
                  <a:schemeClr val="accent1"/>
                </a:solidFill>
                <a:latin typeface="Lota Grotesque Light" panose="00000400000000000000" pitchFamily="50" charset="0"/>
              </a:rPr>
              <a:t>77</a:t>
            </a:r>
          </a:p>
        </p:txBody>
      </p:sp>
      <p:sp>
        <p:nvSpPr>
          <p:cNvPr id="26" name="TextBox 25">
            <a:extLst>
              <a:ext uri="{FF2B5EF4-FFF2-40B4-BE49-F238E27FC236}">
                <a16:creationId xmlns:a16="http://schemas.microsoft.com/office/drawing/2014/main" id="{0CF5BE0D-9843-4590-BFB2-F7F354081299}"/>
              </a:ext>
            </a:extLst>
          </p:cNvPr>
          <p:cNvSpPr txBox="1"/>
          <p:nvPr/>
        </p:nvSpPr>
        <p:spPr bwMode="white">
          <a:xfrm rot="4813382">
            <a:off x="8455356" y="3518607"/>
            <a:ext cx="932575" cy="420564"/>
          </a:xfrm>
          <a:prstGeom prst="rect">
            <a:avLst/>
          </a:prstGeom>
          <a:noFill/>
        </p:spPr>
        <p:txBody>
          <a:bodyPr wrap="square" rtlCol="0">
            <a:spAutoFit/>
          </a:bodyPr>
          <a:lstStyle/>
          <a:p>
            <a:pPr algn="r">
              <a:spcBef>
                <a:spcPts val="1333"/>
              </a:spcBef>
              <a:buClr>
                <a:srgbClr val="F28713"/>
              </a:buClr>
              <a:buSzPct val="150000"/>
              <a:defRPr/>
            </a:pPr>
            <a:r>
              <a:rPr lang="en-US" sz="2133" dirty="0">
                <a:solidFill>
                  <a:schemeClr val="accent3"/>
                </a:solidFill>
                <a:latin typeface="Lota Grotesque Light" panose="00000400000000000000" pitchFamily="50" charset="0"/>
              </a:rPr>
              <a:t>67</a:t>
            </a:r>
          </a:p>
        </p:txBody>
      </p:sp>
      <p:sp>
        <p:nvSpPr>
          <p:cNvPr id="27" name="TextBox 26">
            <a:extLst>
              <a:ext uri="{FF2B5EF4-FFF2-40B4-BE49-F238E27FC236}">
                <a16:creationId xmlns:a16="http://schemas.microsoft.com/office/drawing/2014/main" id="{83697FE0-8B2B-43F5-91B3-C7DA5F79D79E}"/>
              </a:ext>
            </a:extLst>
          </p:cNvPr>
          <p:cNvSpPr txBox="1"/>
          <p:nvPr/>
        </p:nvSpPr>
        <p:spPr bwMode="white">
          <a:xfrm>
            <a:off x="6314985" y="1398082"/>
            <a:ext cx="6313623" cy="379656"/>
          </a:xfrm>
          <a:prstGeom prst="rect">
            <a:avLst/>
          </a:prstGeom>
          <a:noFill/>
        </p:spPr>
        <p:txBody>
          <a:bodyPr wrap="square" rtlCol="0">
            <a:spAutoFit/>
          </a:bodyPr>
          <a:lstStyle/>
          <a:p>
            <a:pPr algn="l">
              <a:buClr>
                <a:srgbClr val="F28713"/>
              </a:buClr>
              <a:buSzPct val="150000"/>
            </a:pPr>
            <a:r>
              <a:rPr lang="en-GB" sz="1867" b="1" kern="0" noProof="1">
                <a:solidFill>
                  <a:schemeClr val="accent1"/>
                </a:solidFill>
                <a:ea typeface="Microsoft Himalaya" panose="01010100010101010101" pitchFamily="2" charset="0"/>
                <a:cs typeface="Segoe UI" panose="020B0502040204020203" pitchFamily="34" charset="0"/>
              </a:rPr>
              <a:t>Mail</a:t>
            </a:r>
            <a:r>
              <a:rPr lang="en-GB" sz="1867" b="1" kern="0" noProof="1">
                <a:solidFill>
                  <a:srgbClr val="1B2A4D"/>
                </a:solidFill>
                <a:ea typeface="Microsoft Himalaya" panose="01010100010101010101" pitchFamily="2" charset="0"/>
                <a:cs typeface="Segoe UI" panose="020B0502040204020203" pitchFamily="34" charset="0"/>
              </a:rPr>
              <a:t> vs. </a:t>
            </a:r>
            <a:r>
              <a:rPr lang="en-GB" sz="1867" b="1" kern="0" noProof="1">
                <a:solidFill>
                  <a:schemeClr val="accent3"/>
                </a:solidFill>
                <a:ea typeface="Microsoft Himalaya" panose="01010100010101010101" pitchFamily="2" charset="0"/>
                <a:cs typeface="Segoe UI" panose="020B0502040204020203" pitchFamily="34" charset="0"/>
              </a:rPr>
              <a:t>emails</a:t>
            </a:r>
            <a:r>
              <a:rPr lang="en-GB" sz="1867" kern="0" noProof="1">
                <a:solidFill>
                  <a:srgbClr val="1B2A4D"/>
                </a:solidFill>
                <a:ea typeface="Microsoft Himalaya" panose="01010100010101010101" pitchFamily="2" charset="0"/>
                <a:cs typeface="Segoe UI" panose="020B0502040204020203" pitchFamily="34" charset="0"/>
              </a:rPr>
              <a:t> – All, most or about half of them (%)</a:t>
            </a:r>
          </a:p>
        </p:txBody>
      </p:sp>
      <p:sp>
        <p:nvSpPr>
          <p:cNvPr id="19" name="TextBox 18">
            <a:extLst>
              <a:ext uri="{FF2B5EF4-FFF2-40B4-BE49-F238E27FC236}">
                <a16:creationId xmlns:a16="http://schemas.microsoft.com/office/drawing/2014/main" id="{146DBD65-4316-4F0A-A2C6-95E251B74094}"/>
              </a:ext>
            </a:extLst>
          </p:cNvPr>
          <p:cNvSpPr txBox="1"/>
          <p:nvPr/>
        </p:nvSpPr>
        <p:spPr bwMode="white">
          <a:xfrm>
            <a:off x="6314983" y="5805294"/>
            <a:ext cx="5452876" cy="338554"/>
          </a:xfrm>
          <a:prstGeom prst="rect">
            <a:avLst/>
          </a:prstGeom>
          <a:noFill/>
        </p:spPr>
        <p:txBody>
          <a:bodyPr wrap="square" rtlCol="0">
            <a:spAutoFit/>
          </a:bodyPr>
          <a:lstStyle/>
          <a:p>
            <a:pPr algn="r">
              <a:buClr>
                <a:srgbClr val="F28713"/>
              </a:buClr>
              <a:buSzPct val="150000"/>
            </a:pPr>
            <a:r>
              <a:rPr lang="en-GB" sz="800" kern="0" noProof="1">
                <a:solidFill>
                  <a:srgbClr val="1B2A4D"/>
                </a:solidFill>
                <a:ea typeface="Microsoft Himalaya" panose="01010100010101010101" pitchFamily="2" charset="0"/>
                <a:cs typeface="Segoe UI" panose="020B0502040204020203" pitchFamily="34" charset="0"/>
              </a:rPr>
              <a:t>Question(s): </a:t>
            </a:r>
            <a:r>
              <a:rPr lang="en-US" sz="800" kern="0" noProof="1">
                <a:solidFill>
                  <a:srgbClr val="1B2A4D"/>
                </a:solidFill>
                <a:ea typeface="Microsoft Himalaya" panose="01010100010101010101" pitchFamily="2" charset="0"/>
                <a:cs typeface="Segoe UI" panose="020B0502040204020203" pitchFamily="34" charset="0"/>
              </a:rPr>
              <a:t>D1. How much of this mail you receive do you …?, D7. How many of these emails you receive do you …?</a:t>
            </a:r>
            <a:endParaRPr lang="en-GB" sz="800" kern="0" noProof="1">
              <a:solidFill>
                <a:srgbClr val="1B2A4D"/>
              </a:solidFill>
              <a:ea typeface="Microsoft Himalaya" panose="01010100010101010101" pitchFamily="2" charset="0"/>
              <a:cs typeface="Segoe UI" panose="020B0502040204020203" pitchFamily="34" charset="0"/>
            </a:endParaRPr>
          </a:p>
          <a:p>
            <a:pPr algn="r">
              <a:buClr>
                <a:srgbClr val="F28713"/>
              </a:buClr>
              <a:buSzPct val="150000"/>
            </a:pPr>
            <a:r>
              <a:rPr lang="en-GB" sz="800" kern="0" noProof="1">
                <a:solidFill>
                  <a:srgbClr val="1B2A4D"/>
                </a:solidFill>
                <a:ea typeface="Microsoft Himalaya" panose="01010100010101010101" pitchFamily="2" charset="0"/>
                <a:cs typeface="Segoe UI" panose="020B0502040204020203" pitchFamily="34" charset="0"/>
              </a:rPr>
              <a:t>Base: 18-34’s answering about mail (956), emails (961)</a:t>
            </a:r>
          </a:p>
        </p:txBody>
      </p:sp>
      <p:sp>
        <p:nvSpPr>
          <p:cNvPr id="20" name="TextBox 19">
            <a:extLst>
              <a:ext uri="{FF2B5EF4-FFF2-40B4-BE49-F238E27FC236}">
                <a16:creationId xmlns:a16="http://schemas.microsoft.com/office/drawing/2014/main" id="{118A1B56-F6B2-4233-92AB-C19A84BF3A79}"/>
              </a:ext>
            </a:extLst>
          </p:cNvPr>
          <p:cNvSpPr txBox="1"/>
          <p:nvPr/>
        </p:nvSpPr>
        <p:spPr bwMode="white">
          <a:xfrm>
            <a:off x="5737574" y="6193893"/>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a:t>
            </a:r>
          </a:p>
        </p:txBody>
      </p:sp>
    </p:spTree>
    <p:extLst>
      <p:ext uri="{BB962C8B-B14F-4D97-AF65-F5344CB8AC3E}">
        <p14:creationId xmlns:p14="http://schemas.microsoft.com/office/powerpoint/2010/main" val="751814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7E142C-A518-4E75-B4E2-238BE5326906}"/>
              </a:ext>
            </a:extLst>
          </p:cNvPr>
          <p:cNvSpPr>
            <a:spLocks noGrp="1"/>
          </p:cNvSpPr>
          <p:nvPr>
            <p:ph sz="quarter" idx="16"/>
          </p:nvPr>
        </p:nvSpPr>
        <p:spPr/>
        <p:txBody>
          <a:bodyPr lIns="91440" tIns="45720" rIns="91440" bIns="45720" anchor="t"/>
          <a:lstStyle/>
          <a:p>
            <a:r>
              <a:rPr lang="en-US" sz="1800" dirty="0">
                <a:effectLst/>
                <a:latin typeface="Calibri"/>
                <a:ea typeface="MS Mincho"/>
                <a:cs typeface="Arial"/>
              </a:rPr>
              <a:t>Brand equity is largely about trust</a:t>
            </a:r>
          </a:p>
          <a:p>
            <a:endParaRPr lang="en-US" dirty="0">
              <a:latin typeface="Calibri" panose="020F0502020204030204" pitchFamily="34" charset="0"/>
              <a:ea typeface="MS Mincho" panose="02020609040205080304" pitchFamily="49" charset="-128"/>
              <a:cs typeface="Arial" panose="020B0604020202020204" pitchFamily="34" charset="0"/>
            </a:endParaRPr>
          </a:p>
          <a:p>
            <a:r>
              <a:rPr lang="en-US" sz="1800" dirty="0">
                <a:effectLst/>
                <a:latin typeface="Calibri"/>
                <a:ea typeface="MS Mincho"/>
                <a:cs typeface="Arial"/>
              </a:rPr>
              <a:t>Good relationships are built on trust. And more and more, the trust factor is what motivates consumers to do business with brands—and to stay loyal to them</a:t>
            </a:r>
            <a:endParaRPr lang="en-GB" sz="1800" dirty="0">
              <a:effectLst/>
              <a:latin typeface="Calibri"/>
              <a:ea typeface="MS Mincho"/>
              <a:cs typeface="Arial"/>
            </a:endParaRPr>
          </a:p>
          <a:p>
            <a:pPr marL="0" indent="0">
              <a:buNone/>
            </a:pPr>
            <a:endParaRPr lang="en-GB" sz="1800" dirty="0">
              <a:effectLst/>
              <a:latin typeface="Cambria" panose="02040503050406030204" pitchFamily="18" charset="0"/>
              <a:ea typeface="MS Mincho" panose="02020609040205080304" pitchFamily="49" charset="-128"/>
              <a:cs typeface="Arial" panose="020B0604020202020204" pitchFamily="34" charset="0"/>
            </a:endParaRPr>
          </a:p>
          <a:p>
            <a:r>
              <a:rPr lang="en-US" sz="1800" dirty="0">
                <a:effectLst/>
                <a:latin typeface="Calibri"/>
                <a:ea typeface="MS Mincho"/>
                <a:cs typeface="Arial"/>
              </a:rPr>
              <a:t>Consumers consider mail as one of the most trusted communication channels across all sector categories</a:t>
            </a:r>
            <a:r>
              <a:rPr lang="en-US" dirty="0">
                <a:latin typeface="Calibri"/>
                <a:ea typeface="MS Mincho"/>
                <a:cs typeface="Arial"/>
              </a:rPr>
              <a:t>.</a:t>
            </a:r>
            <a:endParaRPr lang="en-GB" dirty="0"/>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t>13</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2400" dirty="0"/>
              <a:t>Mail is trusted</a:t>
            </a:r>
          </a:p>
        </p:txBody>
      </p:sp>
      <p:sp>
        <p:nvSpPr>
          <p:cNvPr id="6" name="Text Placeholder 5">
            <a:extLst>
              <a:ext uri="{FF2B5EF4-FFF2-40B4-BE49-F238E27FC236}">
                <a16:creationId xmlns:a16="http://schemas.microsoft.com/office/drawing/2014/main" id="{39D1F2F5-7060-4504-ACE3-69CBA5801DAC}"/>
              </a:ext>
            </a:extLst>
          </p:cNvPr>
          <p:cNvSpPr>
            <a:spLocks noGrp="1"/>
          </p:cNvSpPr>
          <p:nvPr>
            <p:ph type="body" sz="quarter" idx="11"/>
          </p:nvPr>
        </p:nvSpPr>
        <p:spPr>
          <a:xfrm>
            <a:off x="486001" y="977452"/>
            <a:ext cx="8861199" cy="282937"/>
          </a:xfrm>
        </p:spPr>
        <p:txBody>
          <a:bodyPr/>
          <a:lstStyle/>
          <a:p>
            <a:endParaRPr lang="en-GB" dirty="0"/>
          </a:p>
        </p:txBody>
      </p:sp>
      <p:graphicFrame>
        <p:nvGraphicFramePr>
          <p:cNvPr id="9" name="Chart 8">
            <a:extLst>
              <a:ext uri="{FF2B5EF4-FFF2-40B4-BE49-F238E27FC236}">
                <a16:creationId xmlns:a16="http://schemas.microsoft.com/office/drawing/2014/main" id="{CD902110-87B1-4282-B143-ACAC5DF0AAF1}"/>
              </a:ext>
            </a:extLst>
          </p:cNvPr>
          <p:cNvGraphicFramePr/>
          <p:nvPr>
            <p:extLst>
              <p:ext uri="{D42A27DB-BD31-4B8C-83A1-F6EECF244321}">
                <p14:modId xmlns:p14="http://schemas.microsoft.com/office/powerpoint/2010/main" val="2142213602"/>
              </p:ext>
            </p:extLst>
          </p:nvPr>
        </p:nvGraphicFramePr>
        <p:xfrm>
          <a:off x="6646853" y="1703228"/>
          <a:ext cx="4581611" cy="4187169"/>
        </p:xfrm>
        <a:graphic>
          <a:graphicData uri="http://schemas.openxmlformats.org/drawingml/2006/chart">
            <c:chart xmlns:c="http://schemas.openxmlformats.org/drawingml/2006/chart" xmlns:r="http://schemas.openxmlformats.org/officeDocument/2006/relationships" r:id="rId3"/>
          </a:graphicData>
        </a:graphic>
      </p:graphicFrame>
      <p:sp>
        <p:nvSpPr>
          <p:cNvPr id="10" name="Circle: Hollow 9">
            <a:extLst>
              <a:ext uri="{FF2B5EF4-FFF2-40B4-BE49-F238E27FC236}">
                <a16:creationId xmlns:a16="http://schemas.microsoft.com/office/drawing/2014/main" id="{73B3CA69-3B45-4371-9561-AA5A1B1B11D5}"/>
              </a:ext>
            </a:extLst>
          </p:cNvPr>
          <p:cNvSpPr/>
          <p:nvPr/>
        </p:nvSpPr>
        <p:spPr>
          <a:xfrm>
            <a:off x="7450935" y="2310087"/>
            <a:ext cx="2973448" cy="2973448"/>
          </a:xfrm>
          <a:prstGeom prst="donut">
            <a:avLst>
              <a:gd name="adj" fmla="val 4159"/>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l"/>
            <a:endParaRPr lang="en-US" sz="1600" dirty="0">
              <a:solidFill>
                <a:schemeClr val="bg1"/>
              </a:solidFill>
              <a:latin typeface="Lota Grotesque" panose="00000500000000000000" pitchFamily="50" charset="0"/>
              <a:cs typeface="Segoe UI" panose="020B0502040204020203" pitchFamily="34" charset="0"/>
            </a:endParaRPr>
          </a:p>
        </p:txBody>
      </p:sp>
      <p:sp>
        <p:nvSpPr>
          <p:cNvPr id="11" name="TextBox 10">
            <a:extLst>
              <a:ext uri="{FF2B5EF4-FFF2-40B4-BE49-F238E27FC236}">
                <a16:creationId xmlns:a16="http://schemas.microsoft.com/office/drawing/2014/main" id="{E5C1B4D8-5A28-49F4-A356-3CE43B41536B}"/>
              </a:ext>
            </a:extLst>
          </p:cNvPr>
          <p:cNvSpPr txBox="1"/>
          <p:nvPr/>
        </p:nvSpPr>
        <p:spPr bwMode="white">
          <a:xfrm>
            <a:off x="9869604" y="2110801"/>
            <a:ext cx="2381348" cy="318100"/>
          </a:xfrm>
          <a:prstGeom prst="rect">
            <a:avLst/>
          </a:prstGeom>
          <a:noFill/>
        </p:spPr>
        <p:txBody>
          <a:bodyPr wrap="square" rtlCol="0">
            <a:spAutoFit/>
          </a:bodyPr>
          <a:lstStyle/>
          <a:p>
            <a:pPr>
              <a:buClr>
                <a:srgbClr val="F28713"/>
              </a:buClr>
              <a:buSzPct val="150000"/>
            </a:pPr>
            <a:r>
              <a:rPr lang="en-US" sz="1467" kern="0" noProof="1">
                <a:solidFill>
                  <a:srgbClr val="1B2A4D"/>
                </a:solidFill>
                <a:latin typeface="Lota Grotesque Light" panose="00000400000000000000" pitchFamily="50" charset="0"/>
                <a:ea typeface="Microsoft Himalaya" panose="01010100010101010101" pitchFamily="2" charset="0"/>
                <a:cs typeface="Segoe UI" panose="020B0502040204020203" pitchFamily="34" charset="0"/>
              </a:rPr>
              <a:t>Cross-category average</a:t>
            </a:r>
          </a:p>
        </p:txBody>
      </p:sp>
      <p:graphicFrame>
        <p:nvGraphicFramePr>
          <p:cNvPr id="12" name="Chart 11">
            <a:extLst>
              <a:ext uri="{FF2B5EF4-FFF2-40B4-BE49-F238E27FC236}">
                <a16:creationId xmlns:a16="http://schemas.microsoft.com/office/drawing/2014/main" id="{FAFE05A3-E934-4093-B7F8-FF423B463074}"/>
              </a:ext>
            </a:extLst>
          </p:cNvPr>
          <p:cNvGraphicFramePr/>
          <p:nvPr>
            <p:extLst>
              <p:ext uri="{D42A27DB-BD31-4B8C-83A1-F6EECF244321}">
                <p14:modId xmlns:p14="http://schemas.microsoft.com/office/powerpoint/2010/main" val="4153694093"/>
              </p:ext>
            </p:extLst>
          </p:nvPr>
        </p:nvGraphicFramePr>
        <p:xfrm>
          <a:off x="6419234" y="1276896"/>
          <a:ext cx="4581611" cy="4187169"/>
        </p:xfrm>
        <a:graphic>
          <a:graphicData uri="http://schemas.openxmlformats.org/drawingml/2006/chart">
            <c:chart xmlns:c="http://schemas.openxmlformats.org/drawingml/2006/chart" xmlns:r="http://schemas.openxmlformats.org/officeDocument/2006/relationships" r:id="rId4"/>
          </a:graphicData>
        </a:graphic>
      </p:graphicFrame>
      <p:sp>
        <p:nvSpPr>
          <p:cNvPr id="13" name="Rectangle 12">
            <a:extLst>
              <a:ext uri="{FF2B5EF4-FFF2-40B4-BE49-F238E27FC236}">
                <a16:creationId xmlns:a16="http://schemas.microsoft.com/office/drawing/2014/main" id="{04D81F88-A9CC-4990-81F1-05AEA9AAD9CE}"/>
              </a:ext>
            </a:extLst>
          </p:cNvPr>
          <p:cNvSpPr/>
          <p:nvPr/>
        </p:nvSpPr>
        <p:spPr>
          <a:xfrm>
            <a:off x="6386481" y="4310922"/>
            <a:ext cx="1930896" cy="913007"/>
          </a:xfrm>
          <a:prstGeom prst="rect">
            <a:avLst/>
          </a:prstGeom>
          <a:noFill/>
        </p:spPr>
        <p:txBody>
          <a:bodyPr wrap="square" anchor="ctr">
            <a:spAutoFit/>
          </a:bodyPr>
          <a:lstStyle/>
          <a:p>
            <a:pPr algn="r"/>
            <a:r>
              <a:rPr lang="en-GB" sz="5333" b="1" kern="0" noProof="1">
                <a:solidFill>
                  <a:schemeClr val="accent1"/>
                </a:solidFill>
                <a:latin typeface="Lota Grotesque Alt 1 Semi Bold" panose="00000700000000000000" pitchFamily="50" charset="0"/>
                <a:ea typeface="Microsoft Himalaya" panose="01010100010101010101" pitchFamily="2" charset="0"/>
                <a:cs typeface="Segoe UI" panose="020B0502040204020203" pitchFamily="34" charset="0"/>
              </a:rPr>
              <a:t>71</a:t>
            </a:r>
            <a:r>
              <a:rPr lang="en-GB" sz="2667" b="1" kern="0" noProof="1">
                <a:solidFill>
                  <a:schemeClr val="accent1"/>
                </a:solidFill>
                <a:latin typeface="Lota Grotesque Light" panose="00000400000000000000" pitchFamily="50" charset="0"/>
                <a:ea typeface="Microsoft Himalaya" panose="01010100010101010101" pitchFamily="2" charset="0"/>
                <a:cs typeface="Segoe UI" panose="020B0502040204020203" pitchFamily="34" charset="0"/>
              </a:rPr>
              <a:t>%</a:t>
            </a:r>
          </a:p>
        </p:txBody>
      </p:sp>
      <p:grpSp>
        <p:nvGrpSpPr>
          <p:cNvPr id="14" name="Graphic 8">
            <a:extLst>
              <a:ext uri="{FF2B5EF4-FFF2-40B4-BE49-F238E27FC236}">
                <a16:creationId xmlns:a16="http://schemas.microsoft.com/office/drawing/2014/main" id="{FBAE0899-5760-4331-AF5A-14D4CE986F68}"/>
              </a:ext>
            </a:extLst>
          </p:cNvPr>
          <p:cNvGrpSpPr>
            <a:grpSpLocks noChangeAspect="1"/>
          </p:cNvGrpSpPr>
          <p:nvPr/>
        </p:nvGrpSpPr>
        <p:grpSpPr>
          <a:xfrm>
            <a:off x="6096000" y="3474566"/>
            <a:ext cx="1552543" cy="501156"/>
            <a:chOff x="348471" y="1081983"/>
            <a:chExt cx="8566434" cy="2765205"/>
          </a:xfrm>
          <a:solidFill>
            <a:schemeClr val="bg1">
              <a:lumMod val="75000"/>
            </a:schemeClr>
          </a:solidFill>
        </p:grpSpPr>
        <p:sp>
          <p:nvSpPr>
            <p:cNvPr id="15" name="Graphic 8">
              <a:extLst>
                <a:ext uri="{FF2B5EF4-FFF2-40B4-BE49-F238E27FC236}">
                  <a16:creationId xmlns:a16="http://schemas.microsoft.com/office/drawing/2014/main" id="{3F9901F8-25C0-4534-AAAB-947C7CFDFDF8}"/>
                </a:ext>
              </a:extLst>
            </p:cNvPr>
            <p:cNvSpPr/>
            <p:nvPr/>
          </p:nvSpPr>
          <p:spPr>
            <a:xfrm flipV="1">
              <a:off x="348471" y="1081983"/>
              <a:ext cx="8566434" cy="2765205"/>
            </a:xfrm>
            <a:custGeom>
              <a:avLst/>
              <a:gdLst>
                <a:gd name="connsiteX0" fmla="*/ 1315578 w 8566434"/>
                <a:gd name="connsiteY0" fmla="*/ 242332 h 2765205"/>
                <a:gd name="connsiteX1" fmla="*/ 1310339 w 8566434"/>
                <a:gd name="connsiteY1" fmla="*/ 290510 h 2765205"/>
                <a:gd name="connsiteX2" fmla="*/ 1332464 w 8566434"/>
                <a:gd name="connsiteY2" fmla="*/ 284927 h 2765205"/>
                <a:gd name="connsiteX3" fmla="*/ 1334256 w 8566434"/>
                <a:gd name="connsiteY3" fmla="*/ 253291 h 2765205"/>
                <a:gd name="connsiteX4" fmla="*/ 1340528 w 8566434"/>
                <a:gd name="connsiteY4" fmla="*/ 249914 h 2765205"/>
                <a:gd name="connsiteX5" fmla="*/ 1351694 w 8566434"/>
                <a:gd name="connsiteY5" fmla="*/ 242814 h 2765205"/>
                <a:gd name="connsiteX6" fmla="*/ 1302827 w 8566434"/>
                <a:gd name="connsiteY6" fmla="*/ 238059 h 2765205"/>
                <a:gd name="connsiteX7" fmla="*/ 1276360 w 8566434"/>
                <a:gd name="connsiteY7" fmla="*/ 284307 h 2765205"/>
                <a:gd name="connsiteX8" fmla="*/ 1304688 w 8566434"/>
                <a:gd name="connsiteY8" fmla="*/ 286513 h 2765205"/>
                <a:gd name="connsiteX9" fmla="*/ 1315578 w 8566434"/>
                <a:gd name="connsiteY9" fmla="*/ 242332 h 2765205"/>
                <a:gd name="connsiteX10" fmla="*/ 2104696 w 8566434"/>
                <a:gd name="connsiteY10" fmla="*/ 319734 h 2765205"/>
                <a:gd name="connsiteX11" fmla="*/ 2104696 w 8566434"/>
                <a:gd name="connsiteY11" fmla="*/ 319734 h 2765205"/>
                <a:gd name="connsiteX12" fmla="*/ 2372123 w 8566434"/>
                <a:gd name="connsiteY12" fmla="*/ 327040 h 2765205"/>
                <a:gd name="connsiteX13" fmla="*/ 2372123 w 8566434"/>
                <a:gd name="connsiteY13" fmla="*/ 327040 h 2765205"/>
                <a:gd name="connsiteX14" fmla="*/ 2205257 w 8566434"/>
                <a:gd name="connsiteY14" fmla="*/ 319596 h 2765205"/>
                <a:gd name="connsiteX15" fmla="*/ 2224142 w 8566434"/>
                <a:gd name="connsiteY15" fmla="*/ 335311 h 2765205"/>
                <a:gd name="connsiteX16" fmla="*/ 2205257 w 8566434"/>
                <a:gd name="connsiteY16" fmla="*/ 319596 h 2765205"/>
                <a:gd name="connsiteX17" fmla="*/ 2662710 w 8566434"/>
                <a:gd name="connsiteY17" fmla="*/ 354266 h 2765205"/>
                <a:gd name="connsiteX18" fmla="*/ 2662710 w 8566434"/>
                <a:gd name="connsiteY18" fmla="*/ 354266 h 2765205"/>
                <a:gd name="connsiteX19" fmla="*/ 2585376 w 8566434"/>
                <a:gd name="connsiteY19" fmla="*/ 354886 h 2765205"/>
                <a:gd name="connsiteX20" fmla="*/ 2585376 w 8566434"/>
                <a:gd name="connsiteY20" fmla="*/ 354886 h 2765205"/>
                <a:gd name="connsiteX21" fmla="*/ 2494327 w 8566434"/>
                <a:gd name="connsiteY21" fmla="*/ 356954 h 2765205"/>
                <a:gd name="connsiteX22" fmla="*/ 2487227 w 8566434"/>
                <a:gd name="connsiteY22" fmla="*/ 332485 h 2765205"/>
                <a:gd name="connsiteX23" fmla="*/ 2519967 w 8566434"/>
                <a:gd name="connsiteY23" fmla="*/ 356747 h 2765205"/>
                <a:gd name="connsiteX24" fmla="*/ 2494327 w 8566434"/>
                <a:gd name="connsiteY24" fmla="*/ 356954 h 2765205"/>
                <a:gd name="connsiteX25" fmla="*/ 2820271 w 8566434"/>
                <a:gd name="connsiteY25" fmla="*/ 360538 h 2765205"/>
                <a:gd name="connsiteX26" fmla="*/ 2820271 w 8566434"/>
                <a:gd name="connsiteY26" fmla="*/ 360538 h 2765205"/>
                <a:gd name="connsiteX27" fmla="*/ 2800008 w 8566434"/>
                <a:gd name="connsiteY27" fmla="*/ 361434 h 2765205"/>
                <a:gd name="connsiteX28" fmla="*/ 2800008 w 8566434"/>
                <a:gd name="connsiteY28" fmla="*/ 361434 h 2765205"/>
                <a:gd name="connsiteX29" fmla="*/ 2690004 w 8566434"/>
                <a:gd name="connsiteY29" fmla="*/ 372806 h 2765205"/>
                <a:gd name="connsiteX30" fmla="*/ 2859765 w 8566434"/>
                <a:gd name="connsiteY30" fmla="*/ 383145 h 2765205"/>
                <a:gd name="connsiteX31" fmla="*/ 2872999 w 8566434"/>
                <a:gd name="connsiteY31" fmla="*/ 368257 h 2765205"/>
                <a:gd name="connsiteX32" fmla="*/ 2850391 w 8566434"/>
                <a:gd name="connsiteY32" fmla="*/ 346477 h 2765205"/>
                <a:gd name="connsiteX33" fmla="*/ 2819789 w 8566434"/>
                <a:gd name="connsiteY33" fmla="*/ 339240 h 2765205"/>
                <a:gd name="connsiteX34" fmla="*/ 2811587 w 8566434"/>
                <a:gd name="connsiteY34" fmla="*/ 333795 h 2765205"/>
                <a:gd name="connsiteX35" fmla="*/ 2778434 w 8566434"/>
                <a:gd name="connsiteY35" fmla="*/ 330487 h 2765205"/>
                <a:gd name="connsiteX36" fmla="*/ 2680423 w 8566434"/>
                <a:gd name="connsiteY36" fmla="*/ 323870 h 2765205"/>
                <a:gd name="connsiteX37" fmla="*/ 2679734 w 8566434"/>
                <a:gd name="connsiteY37" fmla="*/ 337586 h 2765205"/>
                <a:gd name="connsiteX38" fmla="*/ 2677184 w 8566434"/>
                <a:gd name="connsiteY38" fmla="*/ 323456 h 2765205"/>
                <a:gd name="connsiteX39" fmla="*/ 2475717 w 8566434"/>
                <a:gd name="connsiteY39" fmla="*/ 310498 h 2765205"/>
                <a:gd name="connsiteX40" fmla="*/ 2484884 w 8566434"/>
                <a:gd name="connsiteY40" fmla="*/ 338137 h 2765205"/>
                <a:gd name="connsiteX41" fmla="*/ 2473718 w 8566434"/>
                <a:gd name="connsiteY41" fmla="*/ 317046 h 2765205"/>
                <a:gd name="connsiteX42" fmla="*/ 2415959 w 8566434"/>
                <a:gd name="connsiteY42" fmla="*/ 318149 h 2765205"/>
                <a:gd name="connsiteX43" fmla="*/ 2381428 w 8566434"/>
                <a:gd name="connsiteY43" fmla="*/ 305122 h 2765205"/>
                <a:gd name="connsiteX44" fmla="*/ 2112829 w 8566434"/>
                <a:gd name="connsiteY44" fmla="*/ 287271 h 2765205"/>
                <a:gd name="connsiteX45" fmla="*/ 2116964 w 8566434"/>
                <a:gd name="connsiteY45" fmla="*/ 309809 h 2765205"/>
                <a:gd name="connsiteX46" fmla="*/ 2103042 w 8566434"/>
                <a:gd name="connsiteY46" fmla="*/ 287271 h 2765205"/>
                <a:gd name="connsiteX47" fmla="*/ 2073611 w 8566434"/>
                <a:gd name="connsiteY47" fmla="*/ 286513 h 2765205"/>
                <a:gd name="connsiteX48" fmla="*/ 2063617 w 8566434"/>
                <a:gd name="connsiteY48" fmla="*/ 312911 h 2765205"/>
                <a:gd name="connsiteX49" fmla="*/ 2070854 w 8566434"/>
                <a:gd name="connsiteY49" fmla="*/ 284445 h 2765205"/>
                <a:gd name="connsiteX50" fmla="*/ 1904056 w 8566434"/>
                <a:gd name="connsiteY50" fmla="*/ 274727 h 2765205"/>
                <a:gd name="connsiteX51" fmla="*/ 1906813 w 8566434"/>
                <a:gd name="connsiteY51" fmla="*/ 291200 h 2765205"/>
                <a:gd name="connsiteX52" fmla="*/ 1889582 w 8566434"/>
                <a:gd name="connsiteY52" fmla="*/ 274520 h 2765205"/>
                <a:gd name="connsiteX53" fmla="*/ 1807148 w 8566434"/>
                <a:gd name="connsiteY53" fmla="*/ 269144 h 2765205"/>
                <a:gd name="connsiteX54" fmla="*/ 1809423 w 8566434"/>
                <a:gd name="connsiteY54" fmla="*/ 283411 h 2765205"/>
                <a:gd name="connsiteX55" fmla="*/ 1783507 w 8566434"/>
                <a:gd name="connsiteY55" fmla="*/ 294508 h 2765205"/>
                <a:gd name="connsiteX56" fmla="*/ 1801427 w 8566434"/>
                <a:gd name="connsiteY56" fmla="*/ 308017 h 2765205"/>
                <a:gd name="connsiteX57" fmla="*/ 1829204 w 8566434"/>
                <a:gd name="connsiteY57" fmla="*/ 301538 h 2765205"/>
                <a:gd name="connsiteX58" fmla="*/ 1829135 w 8566434"/>
                <a:gd name="connsiteY58" fmla="*/ 318494 h 2765205"/>
                <a:gd name="connsiteX59" fmla="*/ 2067545 w 8566434"/>
                <a:gd name="connsiteY59" fmla="*/ 332416 h 2765205"/>
                <a:gd name="connsiteX60" fmla="*/ 2073818 w 8566434"/>
                <a:gd name="connsiteY60" fmla="*/ 323387 h 2765205"/>
                <a:gd name="connsiteX61" fmla="*/ 2071267 w 8566434"/>
                <a:gd name="connsiteY61" fmla="*/ 336897 h 2765205"/>
                <a:gd name="connsiteX62" fmla="*/ 2092358 w 8566434"/>
                <a:gd name="connsiteY62" fmla="*/ 314703 h 2765205"/>
                <a:gd name="connsiteX63" fmla="*/ 2093254 w 8566434"/>
                <a:gd name="connsiteY63" fmla="*/ 335656 h 2765205"/>
                <a:gd name="connsiteX64" fmla="*/ 2212632 w 8566434"/>
                <a:gd name="connsiteY64" fmla="*/ 342617 h 2765205"/>
                <a:gd name="connsiteX65" fmla="*/ 2253711 w 8566434"/>
                <a:gd name="connsiteY65" fmla="*/ 334277 h 2765205"/>
                <a:gd name="connsiteX66" fmla="*/ 2250196 w 8566434"/>
                <a:gd name="connsiteY66" fmla="*/ 347787 h 2765205"/>
                <a:gd name="connsiteX67" fmla="*/ 2323807 w 8566434"/>
                <a:gd name="connsiteY67" fmla="*/ 349854 h 2765205"/>
                <a:gd name="connsiteX68" fmla="*/ 2683732 w 8566434"/>
                <a:gd name="connsiteY68" fmla="*/ 372255 h 2765205"/>
                <a:gd name="connsiteX69" fmla="*/ 2684007 w 8566434"/>
                <a:gd name="connsiteY69" fmla="*/ 339102 h 2765205"/>
                <a:gd name="connsiteX70" fmla="*/ 2722743 w 8566434"/>
                <a:gd name="connsiteY70" fmla="*/ 344823 h 2765205"/>
                <a:gd name="connsiteX71" fmla="*/ 2691934 w 8566434"/>
                <a:gd name="connsiteY71" fmla="*/ 340343 h 2765205"/>
                <a:gd name="connsiteX72" fmla="*/ 2690004 w 8566434"/>
                <a:gd name="connsiteY72" fmla="*/ 372806 h 2765205"/>
                <a:gd name="connsiteX73" fmla="*/ 1931695 w 8566434"/>
                <a:gd name="connsiteY73" fmla="*/ 127504 h 2765205"/>
                <a:gd name="connsiteX74" fmla="*/ 1940793 w 8566434"/>
                <a:gd name="connsiteY74" fmla="*/ 117785 h 2765205"/>
                <a:gd name="connsiteX75" fmla="*/ 1931695 w 8566434"/>
                <a:gd name="connsiteY75" fmla="*/ 127504 h 2765205"/>
                <a:gd name="connsiteX76" fmla="*/ 2339660 w 8566434"/>
                <a:gd name="connsiteY76" fmla="*/ 148870 h 2765205"/>
                <a:gd name="connsiteX77" fmla="*/ 2339660 w 8566434"/>
                <a:gd name="connsiteY77" fmla="*/ 148870 h 2765205"/>
                <a:gd name="connsiteX78" fmla="*/ 2525205 w 8566434"/>
                <a:gd name="connsiteY78" fmla="*/ 161621 h 2765205"/>
                <a:gd name="connsiteX79" fmla="*/ 2525205 w 8566434"/>
                <a:gd name="connsiteY79" fmla="*/ 161621 h 2765205"/>
                <a:gd name="connsiteX80" fmla="*/ 2153632 w 8566434"/>
                <a:gd name="connsiteY80" fmla="*/ 160036 h 2765205"/>
                <a:gd name="connsiteX81" fmla="*/ 2153563 w 8566434"/>
                <a:gd name="connsiteY81" fmla="*/ 152799 h 2765205"/>
                <a:gd name="connsiteX82" fmla="*/ 2178859 w 8566434"/>
                <a:gd name="connsiteY82" fmla="*/ 146044 h 2765205"/>
                <a:gd name="connsiteX83" fmla="*/ 2193402 w 8566434"/>
                <a:gd name="connsiteY83" fmla="*/ 161552 h 2765205"/>
                <a:gd name="connsiteX84" fmla="*/ 2153632 w 8566434"/>
                <a:gd name="connsiteY84" fmla="*/ 160036 h 2765205"/>
                <a:gd name="connsiteX85" fmla="*/ 2681181 w 8566434"/>
                <a:gd name="connsiteY85" fmla="*/ 150731 h 2765205"/>
                <a:gd name="connsiteX86" fmla="*/ 2735356 w 8566434"/>
                <a:gd name="connsiteY86" fmla="*/ 159416 h 2765205"/>
                <a:gd name="connsiteX87" fmla="*/ 2734667 w 8566434"/>
                <a:gd name="connsiteY87" fmla="*/ 166928 h 2765205"/>
                <a:gd name="connsiteX88" fmla="*/ 2681181 w 8566434"/>
                <a:gd name="connsiteY88" fmla="*/ 150731 h 2765205"/>
                <a:gd name="connsiteX89" fmla="*/ 2364404 w 8566434"/>
                <a:gd name="connsiteY89" fmla="*/ 181885 h 2765205"/>
                <a:gd name="connsiteX90" fmla="*/ 2364404 w 8566434"/>
                <a:gd name="connsiteY90" fmla="*/ 181885 h 2765205"/>
                <a:gd name="connsiteX91" fmla="*/ 2276938 w 8566434"/>
                <a:gd name="connsiteY91" fmla="*/ 181403 h 2765205"/>
                <a:gd name="connsiteX92" fmla="*/ 2276938 w 8566434"/>
                <a:gd name="connsiteY92" fmla="*/ 181403 h 2765205"/>
                <a:gd name="connsiteX93" fmla="*/ 2973008 w 8566434"/>
                <a:gd name="connsiteY93" fmla="*/ 189949 h 2765205"/>
                <a:gd name="connsiteX94" fmla="*/ 2983760 w 8566434"/>
                <a:gd name="connsiteY94" fmla="*/ 178577 h 2765205"/>
                <a:gd name="connsiteX95" fmla="*/ 2973008 w 8566434"/>
                <a:gd name="connsiteY95" fmla="*/ 189949 h 2765205"/>
                <a:gd name="connsiteX96" fmla="*/ 2828060 w 8566434"/>
                <a:gd name="connsiteY96" fmla="*/ 189467 h 2765205"/>
                <a:gd name="connsiteX97" fmla="*/ 2837433 w 8566434"/>
                <a:gd name="connsiteY97" fmla="*/ 179955 h 2765205"/>
                <a:gd name="connsiteX98" fmla="*/ 2828060 w 8566434"/>
                <a:gd name="connsiteY98" fmla="*/ 189467 h 2765205"/>
                <a:gd name="connsiteX99" fmla="*/ 2465172 w 8566434"/>
                <a:gd name="connsiteY99" fmla="*/ 181747 h 2765205"/>
                <a:gd name="connsiteX100" fmla="*/ 2455040 w 8566434"/>
                <a:gd name="connsiteY100" fmla="*/ 161139 h 2765205"/>
                <a:gd name="connsiteX101" fmla="*/ 2433811 w 8566434"/>
                <a:gd name="connsiteY101" fmla="*/ 153006 h 2765205"/>
                <a:gd name="connsiteX102" fmla="*/ 2450422 w 8566434"/>
                <a:gd name="connsiteY102" fmla="*/ 151076 h 2765205"/>
                <a:gd name="connsiteX103" fmla="*/ 2490605 w 8566434"/>
                <a:gd name="connsiteY103" fmla="*/ 181885 h 2765205"/>
                <a:gd name="connsiteX104" fmla="*/ 2465172 w 8566434"/>
                <a:gd name="connsiteY104" fmla="*/ 181747 h 2765205"/>
                <a:gd name="connsiteX105" fmla="*/ 2251299 w 8566434"/>
                <a:gd name="connsiteY105" fmla="*/ 186848 h 2765205"/>
                <a:gd name="connsiteX106" fmla="*/ 2197882 w 8566434"/>
                <a:gd name="connsiteY106" fmla="*/ 157762 h 2765205"/>
                <a:gd name="connsiteX107" fmla="*/ 2218904 w 8566434"/>
                <a:gd name="connsiteY107" fmla="*/ 153902 h 2765205"/>
                <a:gd name="connsiteX108" fmla="*/ 2265290 w 8566434"/>
                <a:gd name="connsiteY108" fmla="*/ 172029 h 2765205"/>
                <a:gd name="connsiteX109" fmla="*/ 2251299 w 8566434"/>
                <a:gd name="connsiteY109" fmla="*/ 186848 h 2765205"/>
                <a:gd name="connsiteX110" fmla="*/ 2095804 w 8566434"/>
                <a:gd name="connsiteY110" fmla="*/ 190294 h 2765205"/>
                <a:gd name="connsiteX111" fmla="*/ 2090360 w 8566434"/>
                <a:gd name="connsiteY111" fmla="*/ 149697 h 2765205"/>
                <a:gd name="connsiteX112" fmla="*/ 2105040 w 8566434"/>
                <a:gd name="connsiteY112" fmla="*/ 172994 h 2765205"/>
                <a:gd name="connsiteX113" fmla="*/ 2095804 w 8566434"/>
                <a:gd name="connsiteY113" fmla="*/ 190294 h 2765205"/>
                <a:gd name="connsiteX114" fmla="*/ 1912465 w 8566434"/>
                <a:gd name="connsiteY114" fmla="*/ 189605 h 2765205"/>
                <a:gd name="connsiteX115" fmla="*/ 1922735 w 8566434"/>
                <a:gd name="connsiteY115" fmla="*/ 179128 h 2765205"/>
                <a:gd name="connsiteX116" fmla="*/ 1912465 w 8566434"/>
                <a:gd name="connsiteY116" fmla="*/ 189605 h 2765205"/>
                <a:gd name="connsiteX117" fmla="*/ 3054615 w 8566434"/>
                <a:gd name="connsiteY117" fmla="*/ 196290 h 2765205"/>
                <a:gd name="connsiteX118" fmla="*/ 3065712 w 8566434"/>
                <a:gd name="connsiteY118" fmla="*/ 185193 h 2765205"/>
                <a:gd name="connsiteX119" fmla="*/ 3054615 w 8566434"/>
                <a:gd name="connsiteY119" fmla="*/ 196290 h 2765205"/>
                <a:gd name="connsiteX120" fmla="*/ 2951779 w 8566434"/>
                <a:gd name="connsiteY120" fmla="*/ 194843 h 2765205"/>
                <a:gd name="connsiteX121" fmla="*/ 2960257 w 8566434"/>
                <a:gd name="connsiteY121" fmla="*/ 180093 h 2765205"/>
                <a:gd name="connsiteX122" fmla="*/ 2951779 w 8566434"/>
                <a:gd name="connsiteY122" fmla="*/ 194843 h 2765205"/>
                <a:gd name="connsiteX123" fmla="*/ 2903946 w 8566434"/>
                <a:gd name="connsiteY123" fmla="*/ 195808 h 2765205"/>
                <a:gd name="connsiteX124" fmla="*/ 2903946 w 8566434"/>
                <a:gd name="connsiteY124" fmla="*/ 195808 h 2765205"/>
                <a:gd name="connsiteX125" fmla="*/ 2293825 w 8566434"/>
                <a:gd name="connsiteY125" fmla="*/ 196635 h 2765205"/>
                <a:gd name="connsiteX126" fmla="*/ 2297478 w 8566434"/>
                <a:gd name="connsiteY126" fmla="*/ 127021 h 2765205"/>
                <a:gd name="connsiteX127" fmla="*/ 2306852 w 8566434"/>
                <a:gd name="connsiteY127" fmla="*/ 157003 h 2765205"/>
                <a:gd name="connsiteX128" fmla="*/ 2304371 w 8566434"/>
                <a:gd name="connsiteY128" fmla="*/ 166791 h 2765205"/>
                <a:gd name="connsiteX129" fmla="*/ 2293825 w 8566434"/>
                <a:gd name="connsiteY129" fmla="*/ 196635 h 2765205"/>
                <a:gd name="connsiteX130" fmla="*/ 2276663 w 8566434"/>
                <a:gd name="connsiteY130" fmla="*/ 196290 h 2765205"/>
                <a:gd name="connsiteX131" fmla="*/ 2276663 w 8566434"/>
                <a:gd name="connsiteY131" fmla="*/ 196290 h 2765205"/>
                <a:gd name="connsiteX132" fmla="*/ 1955060 w 8566434"/>
                <a:gd name="connsiteY132" fmla="*/ 199116 h 2765205"/>
                <a:gd name="connsiteX133" fmla="*/ 1955198 w 8566434"/>
                <a:gd name="connsiteY133" fmla="*/ 182643 h 2765205"/>
                <a:gd name="connsiteX134" fmla="*/ 1963331 w 8566434"/>
                <a:gd name="connsiteY134" fmla="*/ 176095 h 2765205"/>
                <a:gd name="connsiteX135" fmla="*/ 1962229 w 8566434"/>
                <a:gd name="connsiteY135" fmla="*/ 153143 h 2765205"/>
                <a:gd name="connsiteX136" fmla="*/ 1983182 w 8566434"/>
                <a:gd name="connsiteY136" fmla="*/ 145424 h 2765205"/>
                <a:gd name="connsiteX137" fmla="*/ 1967053 w 8566434"/>
                <a:gd name="connsiteY137" fmla="*/ 201735 h 2765205"/>
                <a:gd name="connsiteX138" fmla="*/ 1955060 w 8566434"/>
                <a:gd name="connsiteY138" fmla="*/ 199116 h 2765205"/>
                <a:gd name="connsiteX139" fmla="*/ 2386873 w 8566434"/>
                <a:gd name="connsiteY139" fmla="*/ 207180 h 2765205"/>
                <a:gd name="connsiteX140" fmla="*/ 2386873 w 8566434"/>
                <a:gd name="connsiteY140" fmla="*/ 207180 h 2765205"/>
                <a:gd name="connsiteX141" fmla="*/ 2621837 w 8566434"/>
                <a:gd name="connsiteY141" fmla="*/ 216416 h 2765205"/>
                <a:gd name="connsiteX142" fmla="*/ 2621837 w 8566434"/>
                <a:gd name="connsiteY142" fmla="*/ 216416 h 2765205"/>
                <a:gd name="connsiteX143" fmla="*/ 2512385 w 8566434"/>
                <a:gd name="connsiteY143" fmla="*/ 193120 h 2765205"/>
                <a:gd name="connsiteX144" fmla="*/ 2501908 w 8566434"/>
                <a:gd name="connsiteY144" fmla="*/ 192499 h 2765205"/>
                <a:gd name="connsiteX145" fmla="*/ 2503563 w 8566434"/>
                <a:gd name="connsiteY145" fmla="*/ 186641 h 2765205"/>
                <a:gd name="connsiteX146" fmla="*/ 2516520 w 8566434"/>
                <a:gd name="connsiteY146" fmla="*/ 191190 h 2765205"/>
                <a:gd name="connsiteX147" fmla="*/ 2509697 w 8566434"/>
                <a:gd name="connsiteY147" fmla="*/ 168445 h 2765205"/>
                <a:gd name="connsiteX148" fmla="*/ 2518588 w 8566434"/>
                <a:gd name="connsiteY148" fmla="*/ 174786 h 2765205"/>
                <a:gd name="connsiteX149" fmla="*/ 2530030 w 8566434"/>
                <a:gd name="connsiteY149" fmla="*/ 218346 h 2765205"/>
                <a:gd name="connsiteX150" fmla="*/ 2512385 w 8566434"/>
                <a:gd name="connsiteY150" fmla="*/ 193120 h 2765205"/>
                <a:gd name="connsiteX151" fmla="*/ 2167211 w 8566434"/>
                <a:gd name="connsiteY151" fmla="*/ 193671 h 2765205"/>
                <a:gd name="connsiteX152" fmla="*/ 2168589 w 8566434"/>
                <a:gd name="connsiteY152" fmla="*/ 217726 h 2765205"/>
                <a:gd name="connsiteX153" fmla="*/ 2167211 w 8566434"/>
                <a:gd name="connsiteY153" fmla="*/ 193671 h 2765205"/>
                <a:gd name="connsiteX154" fmla="*/ 3656809 w 8566434"/>
                <a:gd name="connsiteY154" fmla="*/ 224205 h 2765205"/>
                <a:gd name="connsiteX155" fmla="*/ 3671352 w 8566434"/>
                <a:gd name="connsiteY155" fmla="*/ 218829 h 2765205"/>
                <a:gd name="connsiteX156" fmla="*/ 3656809 w 8566434"/>
                <a:gd name="connsiteY156" fmla="*/ 224205 h 2765205"/>
                <a:gd name="connsiteX157" fmla="*/ 2806624 w 8566434"/>
                <a:gd name="connsiteY157" fmla="*/ 223722 h 2765205"/>
                <a:gd name="connsiteX158" fmla="*/ 2806624 w 8566434"/>
                <a:gd name="connsiteY158" fmla="*/ 223722 h 2765205"/>
                <a:gd name="connsiteX159" fmla="*/ 2599713 w 8566434"/>
                <a:gd name="connsiteY159" fmla="*/ 223998 h 2765205"/>
                <a:gd name="connsiteX160" fmla="*/ 2599713 w 8566434"/>
                <a:gd name="connsiteY160" fmla="*/ 223998 h 2765205"/>
                <a:gd name="connsiteX161" fmla="*/ 2559667 w 8566434"/>
                <a:gd name="connsiteY161" fmla="*/ 224756 h 2765205"/>
                <a:gd name="connsiteX162" fmla="*/ 2565939 w 8566434"/>
                <a:gd name="connsiteY162" fmla="*/ 213797 h 2765205"/>
                <a:gd name="connsiteX163" fmla="*/ 2559116 w 8566434"/>
                <a:gd name="connsiteY163" fmla="*/ 183746 h 2765205"/>
                <a:gd name="connsiteX164" fmla="*/ 2545469 w 8566434"/>
                <a:gd name="connsiteY164" fmla="*/ 192224 h 2765205"/>
                <a:gd name="connsiteX165" fmla="*/ 2532442 w 8566434"/>
                <a:gd name="connsiteY165" fmla="*/ 179335 h 2765205"/>
                <a:gd name="connsiteX166" fmla="*/ 2535544 w 8566434"/>
                <a:gd name="connsiteY166" fmla="*/ 177267 h 2765205"/>
                <a:gd name="connsiteX167" fmla="*/ 2544779 w 8566434"/>
                <a:gd name="connsiteY167" fmla="*/ 172305 h 2765205"/>
                <a:gd name="connsiteX168" fmla="*/ 2563596 w 8566434"/>
                <a:gd name="connsiteY168" fmla="*/ 173063 h 2765205"/>
                <a:gd name="connsiteX169" fmla="*/ 2575244 w 8566434"/>
                <a:gd name="connsiteY169" fmla="*/ 195877 h 2765205"/>
                <a:gd name="connsiteX170" fmla="*/ 2572556 w 8566434"/>
                <a:gd name="connsiteY170" fmla="*/ 219449 h 2765205"/>
                <a:gd name="connsiteX171" fmla="*/ 2559667 w 8566434"/>
                <a:gd name="connsiteY171" fmla="*/ 224756 h 2765205"/>
                <a:gd name="connsiteX172" fmla="*/ 2468135 w 8566434"/>
                <a:gd name="connsiteY172" fmla="*/ 223791 h 2765205"/>
                <a:gd name="connsiteX173" fmla="*/ 2468135 w 8566434"/>
                <a:gd name="connsiteY173" fmla="*/ 223791 h 2765205"/>
                <a:gd name="connsiteX174" fmla="*/ 2982037 w 8566434"/>
                <a:gd name="connsiteY174" fmla="*/ 230270 h 2765205"/>
                <a:gd name="connsiteX175" fmla="*/ 3004438 w 8566434"/>
                <a:gd name="connsiteY175" fmla="*/ 226410 h 2765205"/>
                <a:gd name="connsiteX176" fmla="*/ 2982037 w 8566434"/>
                <a:gd name="connsiteY176" fmla="*/ 230270 h 2765205"/>
                <a:gd name="connsiteX177" fmla="*/ 2965771 w 8566434"/>
                <a:gd name="connsiteY177" fmla="*/ 229512 h 2765205"/>
                <a:gd name="connsiteX178" fmla="*/ 2953709 w 8566434"/>
                <a:gd name="connsiteY178" fmla="*/ 212281 h 2765205"/>
                <a:gd name="connsiteX179" fmla="*/ 2965771 w 8566434"/>
                <a:gd name="connsiteY179" fmla="*/ 229512 h 2765205"/>
                <a:gd name="connsiteX180" fmla="*/ 2484608 w 8566434"/>
                <a:gd name="connsiteY180" fmla="*/ 229926 h 2765205"/>
                <a:gd name="connsiteX181" fmla="*/ 2494947 w 8566434"/>
                <a:gd name="connsiteY181" fmla="*/ 189053 h 2765205"/>
                <a:gd name="connsiteX182" fmla="*/ 2488951 w 8566434"/>
                <a:gd name="connsiteY182" fmla="*/ 214486 h 2765205"/>
                <a:gd name="connsiteX183" fmla="*/ 2493637 w 8566434"/>
                <a:gd name="connsiteY183" fmla="*/ 230477 h 2765205"/>
                <a:gd name="connsiteX184" fmla="*/ 2484608 w 8566434"/>
                <a:gd name="connsiteY184" fmla="*/ 229926 h 2765205"/>
                <a:gd name="connsiteX185" fmla="*/ 2331389 w 8566434"/>
                <a:gd name="connsiteY185" fmla="*/ 229994 h 2765205"/>
                <a:gd name="connsiteX186" fmla="*/ 2331389 w 8566434"/>
                <a:gd name="connsiteY186" fmla="*/ 229994 h 2765205"/>
                <a:gd name="connsiteX187" fmla="*/ 2317397 w 8566434"/>
                <a:gd name="connsiteY187" fmla="*/ 230201 h 2765205"/>
                <a:gd name="connsiteX188" fmla="*/ 2317397 w 8566434"/>
                <a:gd name="connsiteY188" fmla="*/ 230201 h 2765205"/>
                <a:gd name="connsiteX189" fmla="*/ 3187088 w 8566434"/>
                <a:gd name="connsiteY189" fmla="*/ 244744 h 2765205"/>
                <a:gd name="connsiteX190" fmla="*/ 3188949 w 8566434"/>
                <a:gd name="connsiteY190" fmla="*/ 186365 h 2765205"/>
                <a:gd name="connsiteX191" fmla="*/ 3220654 w 8566434"/>
                <a:gd name="connsiteY191" fmla="*/ 204286 h 2765205"/>
                <a:gd name="connsiteX192" fmla="*/ 3217346 w 8566434"/>
                <a:gd name="connsiteY192" fmla="*/ 231580 h 2765205"/>
                <a:gd name="connsiteX193" fmla="*/ 3187088 w 8566434"/>
                <a:gd name="connsiteY193" fmla="*/ 244744 h 2765205"/>
                <a:gd name="connsiteX194" fmla="*/ 2826957 w 8566434"/>
                <a:gd name="connsiteY194" fmla="*/ 236336 h 2765205"/>
                <a:gd name="connsiteX195" fmla="*/ 2826957 w 8566434"/>
                <a:gd name="connsiteY195" fmla="*/ 236336 h 2765205"/>
                <a:gd name="connsiteX196" fmla="*/ 2620459 w 8566434"/>
                <a:gd name="connsiteY196" fmla="*/ 236404 h 2765205"/>
                <a:gd name="connsiteX197" fmla="*/ 2620459 w 8566434"/>
                <a:gd name="connsiteY197" fmla="*/ 236404 h 2765205"/>
                <a:gd name="connsiteX198" fmla="*/ 3641370 w 8566434"/>
                <a:gd name="connsiteY198" fmla="*/ 242539 h 2765205"/>
                <a:gd name="connsiteX199" fmla="*/ 3644747 w 8566434"/>
                <a:gd name="connsiteY199" fmla="*/ 220690 h 2765205"/>
                <a:gd name="connsiteX200" fmla="*/ 3641370 w 8566434"/>
                <a:gd name="connsiteY200" fmla="*/ 242539 h 2765205"/>
                <a:gd name="connsiteX201" fmla="*/ 3282411 w 8566434"/>
                <a:gd name="connsiteY201" fmla="*/ 244951 h 2765205"/>
                <a:gd name="connsiteX202" fmla="*/ 3294335 w 8566434"/>
                <a:gd name="connsiteY202" fmla="*/ 232889 h 2765205"/>
                <a:gd name="connsiteX203" fmla="*/ 3282411 w 8566434"/>
                <a:gd name="connsiteY203" fmla="*/ 244951 h 2765205"/>
                <a:gd name="connsiteX204" fmla="*/ 3488565 w 8566434"/>
                <a:gd name="connsiteY204" fmla="*/ 250741 h 2765205"/>
                <a:gd name="connsiteX205" fmla="*/ 3488565 w 8566434"/>
                <a:gd name="connsiteY205" fmla="*/ 250741 h 2765205"/>
                <a:gd name="connsiteX206" fmla="*/ 3256495 w 8566434"/>
                <a:gd name="connsiteY206" fmla="*/ 251706 h 2765205"/>
                <a:gd name="connsiteX207" fmla="*/ 3256495 w 8566434"/>
                <a:gd name="connsiteY207" fmla="*/ 251706 h 2765205"/>
                <a:gd name="connsiteX208" fmla="*/ 3153177 w 8566434"/>
                <a:gd name="connsiteY208" fmla="*/ 250327 h 2765205"/>
                <a:gd name="connsiteX209" fmla="*/ 3161448 w 8566434"/>
                <a:gd name="connsiteY209" fmla="*/ 235095 h 2765205"/>
                <a:gd name="connsiteX210" fmla="*/ 3153177 w 8566434"/>
                <a:gd name="connsiteY210" fmla="*/ 250327 h 2765205"/>
                <a:gd name="connsiteX211" fmla="*/ 2952331 w 8566434"/>
                <a:gd name="connsiteY211" fmla="*/ 250327 h 2765205"/>
                <a:gd name="connsiteX212" fmla="*/ 2952331 w 8566434"/>
                <a:gd name="connsiteY212" fmla="*/ 250327 h 2765205"/>
                <a:gd name="connsiteX213" fmla="*/ 3674178 w 8566434"/>
                <a:gd name="connsiteY213" fmla="*/ 263009 h 2765205"/>
                <a:gd name="connsiteX214" fmla="*/ 3683414 w 8566434"/>
                <a:gd name="connsiteY214" fmla="*/ 208972 h 2765205"/>
                <a:gd name="connsiteX215" fmla="*/ 3691685 w 8566434"/>
                <a:gd name="connsiteY215" fmla="*/ 215107 h 2765205"/>
                <a:gd name="connsiteX216" fmla="*/ 3674178 w 8566434"/>
                <a:gd name="connsiteY216" fmla="*/ 263009 h 2765205"/>
                <a:gd name="connsiteX217" fmla="*/ 4197592 w 8566434"/>
                <a:gd name="connsiteY217" fmla="*/ 266731 h 2765205"/>
                <a:gd name="connsiteX218" fmla="*/ 4197799 w 8566434"/>
                <a:gd name="connsiteY218" fmla="*/ 253980 h 2765205"/>
                <a:gd name="connsiteX219" fmla="*/ 4224955 w 8566434"/>
                <a:gd name="connsiteY219" fmla="*/ 258874 h 2765205"/>
                <a:gd name="connsiteX220" fmla="*/ 4197592 w 8566434"/>
                <a:gd name="connsiteY220" fmla="*/ 266731 h 2765205"/>
                <a:gd name="connsiteX221" fmla="*/ 3765435 w 8566434"/>
                <a:gd name="connsiteY221" fmla="*/ 266456 h 2765205"/>
                <a:gd name="connsiteX222" fmla="*/ 3765435 w 8566434"/>
                <a:gd name="connsiteY222" fmla="*/ 266456 h 2765205"/>
                <a:gd name="connsiteX223" fmla="*/ 2986724 w 8566434"/>
                <a:gd name="connsiteY223" fmla="*/ 261493 h 2765205"/>
                <a:gd name="connsiteX224" fmla="*/ 2987207 w 8566434"/>
                <a:gd name="connsiteY224" fmla="*/ 250810 h 2765205"/>
                <a:gd name="connsiteX225" fmla="*/ 3010296 w 8566434"/>
                <a:gd name="connsiteY225" fmla="*/ 259563 h 2765205"/>
                <a:gd name="connsiteX226" fmla="*/ 2986724 w 8566434"/>
                <a:gd name="connsiteY226" fmla="*/ 261493 h 2765205"/>
                <a:gd name="connsiteX227" fmla="*/ 4021972 w 8566434"/>
                <a:gd name="connsiteY227" fmla="*/ 273624 h 2765205"/>
                <a:gd name="connsiteX228" fmla="*/ 4031897 w 8566434"/>
                <a:gd name="connsiteY228" fmla="*/ 262320 h 2765205"/>
                <a:gd name="connsiteX229" fmla="*/ 4021972 w 8566434"/>
                <a:gd name="connsiteY229" fmla="*/ 273624 h 2765205"/>
                <a:gd name="connsiteX230" fmla="*/ 3018223 w 8566434"/>
                <a:gd name="connsiteY230" fmla="*/ 264250 h 2765205"/>
                <a:gd name="connsiteX231" fmla="*/ 3056476 w 8566434"/>
                <a:gd name="connsiteY231" fmla="*/ 273210 h 2765205"/>
                <a:gd name="connsiteX232" fmla="*/ 3018223 w 8566434"/>
                <a:gd name="connsiteY232" fmla="*/ 264250 h 2765205"/>
                <a:gd name="connsiteX233" fmla="*/ 3361399 w 8566434"/>
                <a:gd name="connsiteY233" fmla="*/ 278862 h 2765205"/>
                <a:gd name="connsiteX234" fmla="*/ 3353265 w 8566434"/>
                <a:gd name="connsiteY234" fmla="*/ 251912 h 2765205"/>
                <a:gd name="connsiteX235" fmla="*/ 3387176 w 8566434"/>
                <a:gd name="connsiteY235" fmla="*/ 249569 h 2765205"/>
                <a:gd name="connsiteX236" fmla="*/ 3396895 w 8566434"/>
                <a:gd name="connsiteY236" fmla="*/ 231166 h 2765205"/>
                <a:gd name="connsiteX237" fmla="*/ 3395447 w 8566434"/>
                <a:gd name="connsiteY237" fmla="*/ 253842 h 2765205"/>
                <a:gd name="connsiteX238" fmla="*/ 3410886 w 8566434"/>
                <a:gd name="connsiteY238" fmla="*/ 267283 h 2765205"/>
                <a:gd name="connsiteX239" fmla="*/ 3425292 w 8566434"/>
                <a:gd name="connsiteY239" fmla="*/ 262113 h 2765205"/>
                <a:gd name="connsiteX240" fmla="*/ 3361399 w 8566434"/>
                <a:gd name="connsiteY240" fmla="*/ 278862 h 2765205"/>
                <a:gd name="connsiteX241" fmla="*/ 4427387 w 8566434"/>
                <a:gd name="connsiteY241" fmla="*/ 285134 h 2765205"/>
                <a:gd name="connsiteX242" fmla="*/ 4427387 w 8566434"/>
                <a:gd name="connsiteY242" fmla="*/ 285134 h 2765205"/>
                <a:gd name="connsiteX243" fmla="*/ 4308078 w 8566434"/>
                <a:gd name="connsiteY243" fmla="*/ 281826 h 2765205"/>
                <a:gd name="connsiteX244" fmla="*/ 4296292 w 8566434"/>
                <a:gd name="connsiteY244" fmla="*/ 271349 h 2765205"/>
                <a:gd name="connsiteX245" fmla="*/ 4324758 w 8566434"/>
                <a:gd name="connsiteY245" fmla="*/ 263905 h 2765205"/>
                <a:gd name="connsiteX246" fmla="*/ 4335235 w 8566434"/>
                <a:gd name="connsiteY246" fmla="*/ 285479 h 2765205"/>
                <a:gd name="connsiteX247" fmla="*/ 4308078 w 8566434"/>
                <a:gd name="connsiteY247" fmla="*/ 281826 h 2765205"/>
                <a:gd name="connsiteX248" fmla="*/ 3144493 w 8566434"/>
                <a:gd name="connsiteY248" fmla="*/ 287478 h 2765205"/>
                <a:gd name="connsiteX249" fmla="*/ 3143183 w 8566434"/>
                <a:gd name="connsiteY249" fmla="*/ 273210 h 2765205"/>
                <a:gd name="connsiteX250" fmla="*/ 3144493 w 8566434"/>
                <a:gd name="connsiteY250" fmla="*/ 287478 h 2765205"/>
                <a:gd name="connsiteX251" fmla="*/ 4605695 w 8566434"/>
                <a:gd name="connsiteY251" fmla="*/ 294232 h 2765205"/>
                <a:gd name="connsiteX252" fmla="*/ 4605626 w 8566434"/>
                <a:gd name="connsiteY252" fmla="*/ 280034 h 2765205"/>
                <a:gd name="connsiteX253" fmla="*/ 4605695 w 8566434"/>
                <a:gd name="connsiteY253" fmla="*/ 294232 h 2765205"/>
                <a:gd name="connsiteX254" fmla="*/ 3654949 w 8566434"/>
                <a:gd name="connsiteY254" fmla="*/ 291131 h 2765205"/>
                <a:gd name="connsiteX255" fmla="*/ 3659429 w 8566434"/>
                <a:gd name="connsiteY255" fmla="*/ 275554 h 2765205"/>
                <a:gd name="connsiteX256" fmla="*/ 3654949 w 8566434"/>
                <a:gd name="connsiteY256" fmla="*/ 291131 h 2765205"/>
                <a:gd name="connsiteX257" fmla="*/ 3339411 w 8566434"/>
                <a:gd name="connsiteY257" fmla="*/ 292096 h 2765205"/>
                <a:gd name="connsiteX258" fmla="*/ 3348510 w 8566434"/>
                <a:gd name="connsiteY258" fmla="*/ 276588 h 2765205"/>
                <a:gd name="connsiteX259" fmla="*/ 3339411 w 8566434"/>
                <a:gd name="connsiteY259" fmla="*/ 292096 h 2765205"/>
                <a:gd name="connsiteX260" fmla="*/ 4344891 w 8566434"/>
                <a:gd name="connsiteY260" fmla="*/ 300504 h 2765205"/>
                <a:gd name="connsiteX261" fmla="*/ 4344264 w 8566434"/>
                <a:gd name="connsiteY261" fmla="*/ 278311 h 2765205"/>
                <a:gd name="connsiteX262" fmla="*/ 4404711 w 8566434"/>
                <a:gd name="connsiteY262" fmla="*/ 291682 h 2765205"/>
                <a:gd name="connsiteX263" fmla="*/ 4354189 w 8566434"/>
                <a:gd name="connsiteY263" fmla="*/ 289959 h 2765205"/>
                <a:gd name="connsiteX264" fmla="*/ 4344891 w 8566434"/>
                <a:gd name="connsiteY264" fmla="*/ 300504 h 2765205"/>
                <a:gd name="connsiteX265" fmla="*/ 3806996 w 8566434"/>
                <a:gd name="connsiteY265" fmla="*/ 298988 h 2765205"/>
                <a:gd name="connsiteX266" fmla="*/ 3818231 w 8566434"/>
                <a:gd name="connsiteY266" fmla="*/ 288167 h 2765205"/>
                <a:gd name="connsiteX267" fmla="*/ 3806996 w 8566434"/>
                <a:gd name="connsiteY267" fmla="*/ 298988 h 2765205"/>
                <a:gd name="connsiteX268" fmla="*/ 3413781 w 8566434"/>
                <a:gd name="connsiteY268" fmla="*/ 299402 h 2765205"/>
                <a:gd name="connsiteX269" fmla="*/ 3413781 w 8566434"/>
                <a:gd name="connsiteY269" fmla="*/ 299402 h 2765205"/>
                <a:gd name="connsiteX270" fmla="*/ 3772741 w 8566434"/>
                <a:gd name="connsiteY270" fmla="*/ 305122 h 2765205"/>
                <a:gd name="connsiteX271" fmla="*/ 3783217 w 8566434"/>
                <a:gd name="connsiteY271" fmla="*/ 294025 h 2765205"/>
                <a:gd name="connsiteX272" fmla="*/ 3772741 w 8566434"/>
                <a:gd name="connsiteY272" fmla="*/ 305122 h 2765205"/>
                <a:gd name="connsiteX273" fmla="*/ 3668802 w 8566434"/>
                <a:gd name="connsiteY273" fmla="*/ 307535 h 2765205"/>
                <a:gd name="connsiteX274" fmla="*/ 3685965 w 8566434"/>
                <a:gd name="connsiteY274" fmla="*/ 289683 h 2765205"/>
                <a:gd name="connsiteX275" fmla="*/ 3668802 w 8566434"/>
                <a:gd name="connsiteY275" fmla="*/ 307535 h 2765205"/>
                <a:gd name="connsiteX276" fmla="*/ 3451552 w 8566434"/>
                <a:gd name="connsiteY276" fmla="*/ 308362 h 2765205"/>
                <a:gd name="connsiteX277" fmla="*/ 3456928 w 8566434"/>
                <a:gd name="connsiteY277" fmla="*/ 284927 h 2765205"/>
                <a:gd name="connsiteX278" fmla="*/ 3443143 w 8566434"/>
                <a:gd name="connsiteY278" fmla="*/ 277552 h 2765205"/>
                <a:gd name="connsiteX279" fmla="*/ 3440455 w 8566434"/>
                <a:gd name="connsiteY279" fmla="*/ 256117 h 2765205"/>
                <a:gd name="connsiteX280" fmla="*/ 3457548 w 8566434"/>
                <a:gd name="connsiteY280" fmla="*/ 231993 h 2765205"/>
                <a:gd name="connsiteX281" fmla="*/ 3440179 w 8566434"/>
                <a:gd name="connsiteY281" fmla="*/ 206009 h 2765205"/>
                <a:gd name="connsiteX282" fmla="*/ 3462097 w 8566434"/>
                <a:gd name="connsiteY282" fmla="*/ 222413 h 2765205"/>
                <a:gd name="connsiteX283" fmla="*/ 3465681 w 8566434"/>
                <a:gd name="connsiteY283" fmla="*/ 211867 h 2765205"/>
                <a:gd name="connsiteX284" fmla="*/ 3458651 w 8566434"/>
                <a:gd name="connsiteY284" fmla="*/ 238128 h 2765205"/>
                <a:gd name="connsiteX285" fmla="*/ 3476916 w 8566434"/>
                <a:gd name="connsiteY285" fmla="*/ 237369 h 2765205"/>
                <a:gd name="connsiteX286" fmla="*/ 3462097 w 8566434"/>
                <a:gd name="connsiteY286" fmla="*/ 253153 h 2765205"/>
                <a:gd name="connsiteX287" fmla="*/ 3452724 w 8566434"/>
                <a:gd name="connsiteY287" fmla="*/ 272038 h 2765205"/>
                <a:gd name="connsiteX288" fmla="*/ 3469679 w 8566434"/>
                <a:gd name="connsiteY288" fmla="*/ 276312 h 2765205"/>
                <a:gd name="connsiteX289" fmla="*/ 3472919 w 8566434"/>
                <a:gd name="connsiteY289" fmla="*/ 269488 h 2765205"/>
                <a:gd name="connsiteX290" fmla="*/ 3491528 w 8566434"/>
                <a:gd name="connsiteY290" fmla="*/ 268248 h 2765205"/>
                <a:gd name="connsiteX291" fmla="*/ 3492424 w 8566434"/>
                <a:gd name="connsiteY291" fmla="*/ 291820 h 2765205"/>
                <a:gd name="connsiteX292" fmla="*/ 3463476 w 8566434"/>
                <a:gd name="connsiteY292" fmla="*/ 306363 h 2765205"/>
                <a:gd name="connsiteX293" fmla="*/ 3468990 w 8566434"/>
                <a:gd name="connsiteY293" fmla="*/ 307673 h 2765205"/>
                <a:gd name="connsiteX294" fmla="*/ 3451552 w 8566434"/>
                <a:gd name="connsiteY294" fmla="*/ 308362 h 2765205"/>
                <a:gd name="connsiteX295" fmla="*/ 3818713 w 8566434"/>
                <a:gd name="connsiteY295" fmla="*/ 313118 h 2765205"/>
                <a:gd name="connsiteX296" fmla="*/ 3844216 w 8566434"/>
                <a:gd name="connsiteY296" fmla="*/ 293129 h 2765205"/>
                <a:gd name="connsiteX297" fmla="*/ 3856691 w 8566434"/>
                <a:gd name="connsiteY297" fmla="*/ 275898 h 2765205"/>
                <a:gd name="connsiteX298" fmla="*/ 3876197 w 8566434"/>
                <a:gd name="connsiteY298" fmla="*/ 275691 h 2765205"/>
                <a:gd name="connsiteX299" fmla="*/ 3863239 w 8566434"/>
                <a:gd name="connsiteY299" fmla="*/ 290097 h 2765205"/>
                <a:gd name="connsiteX300" fmla="*/ 3858965 w 8566434"/>
                <a:gd name="connsiteY300" fmla="*/ 304571 h 2765205"/>
                <a:gd name="connsiteX301" fmla="*/ 3818713 w 8566434"/>
                <a:gd name="connsiteY301" fmla="*/ 313118 h 2765205"/>
                <a:gd name="connsiteX302" fmla="*/ 4211929 w 8566434"/>
                <a:gd name="connsiteY302" fmla="*/ 286995 h 2765205"/>
                <a:gd name="connsiteX303" fmla="*/ 4192423 w 8566434"/>
                <a:gd name="connsiteY303" fmla="*/ 294439 h 2765205"/>
                <a:gd name="connsiteX304" fmla="*/ 4193732 w 8566434"/>
                <a:gd name="connsiteY304" fmla="*/ 274658 h 2765205"/>
                <a:gd name="connsiteX305" fmla="*/ 4220613 w 8566434"/>
                <a:gd name="connsiteY305" fmla="*/ 283962 h 2765205"/>
                <a:gd name="connsiteX306" fmla="*/ 4222336 w 8566434"/>
                <a:gd name="connsiteY306" fmla="*/ 321871 h 2765205"/>
                <a:gd name="connsiteX307" fmla="*/ 4211929 w 8566434"/>
                <a:gd name="connsiteY307" fmla="*/ 286995 h 2765205"/>
                <a:gd name="connsiteX308" fmla="*/ 4164853 w 8566434"/>
                <a:gd name="connsiteY308" fmla="*/ 293336 h 2765205"/>
                <a:gd name="connsiteX309" fmla="*/ 4182015 w 8566434"/>
                <a:gd name="connsiteY309" fmla="*/ 321320 h 2765205"/>
                <a:gd name="connsiteX310" fmla="*/ 4164853 w 8566434"/>
                <a:gd name="connsiteY310" fmla="*/ 293336 h 2765205"/>
                <a:gd name="connsiteX311" fmla="*/ 3911899 w 8566434"/>
                <a:gd name="connsiteY311" fmla="*/ 317942 h 2765205"/>
                <a:gd name="connsiteX312" fmla="*/ 3918034 w 8566434"/>
                <a:gd name="connsiteY312" fmla="*/ 281412 h 2765205"/>
                <a:gd name="connsiteX313" fmla="*/ 3921893 w 8566434"/>
                <a:gd name="connsiteY313" fmla="*/ 281826 h 2765205"/>
                <a:gd name="connsiteX314" fmla="*/ 3928441 w 8566434"/>
                <a:gd name="connsiteY314" fmla="*/ 320975 h 2765205"/>
                <a:gd name="connsiteX315" fmla="*/ 3911899 w 8566434"/>
                <a:gd name="connsiteY315" fmla="*/ 317942 h 2765205"/>
                <a:gd name="connsiteX316" fmla="*/ 3881435 w 8566434"/>
                <a:gd name="connsiteY316" fmla="*/ 300573 h 2765205"/>
                <a:gd name="connsiteX317" fmla="*/ 3875438 w 8566434"/>
                <a:gd name="connsiteY317" fmla="*/ 320079 h 2765205"/>
                <a:gd name="connsiteX318" fmla="*/ 3881435 w 8566434"/>
                <a:gd name="connsiteY318" fmla="*/ 300573 h 2765205"/>
                <a:gd name="connsiteX319" fmla="*/ 5280673 w 8566434"/>
                <a:gd name="connsiteY319" fmla="*/ 326902 h 2765205"/>
                <a:gd name="connsiteX320" fmla="*/ 5280673 w 8566434"/>
                <a:gd name="connsiteY320" fmla="*/ 326902 h 2765205"/>
                <a:gd name="connsiteX321" fmla="*/ 5267991 w 8566434"/>
                <a:gd name="connsiteY321" fmla="*/ 327040 h 2765205"/>
                <a:gd name="connsiteX322" fmla="*/ 5267991 w 8566434"/>
                <a:gd name="connsiteY322" fmla="*/ 327040 h 2765205"/>
                <a:gd name="connsiteX323" fmla="*/ 5006560 w 8566434"/>
                <a:gd name="connsiteY323" fmla="*/ 326696 h 2765205"/>
                <a:gd name="connsiteX324" fmla="*/ 5006560 w 8566434"/>
                <a:gd name="connsiteY324" fmla="*/ 326696 h 2765205"/>
                <a:gd name="connsiteX325" fmla="*/ 4474049 w 8566434"/>
                <a:gd name="connsiteY325" fmla="*/ 326489 h 2765205"/>
                <a:gd name="connsiteX326" fmla="*/ 4474049 w 8566434"/>
                <a:gd name="connsiteY326" fmla="*/ 326489 h 2765205"/>
                <a:gd name="connsiteX327" fmla="*/ 3847662 w 8566434"/>
                <a:gd name="connsiteY327" fmla="*/ 326351 h 2765205"/>
                <a:gd name="connsiteX328" fmla="*/ 3847662 w 8566434"/>
                <a:gd name="connsiteY328" fmla="*/ 326351 h 2765205"/>
                <a:gd name="connsiteX329" fmla="*/ 4966998 w 8566434"/>
                <a:gd name="connsiteY329" fmla="*/ 309534 h 2765205"/>
                <a:gd name="connsiteX330" fmla="*/ 4898418 w 8566434"/>
                <a:gd name="connsiteY330" fmla="*/ 288029 h 2765205"/>
                <a:gd name="connsiteX331" fmla="*/ 4994774 w 8566434"/>
                <a:gd name="connsiteY331" fmla="*/ 315668 h 2765205"/>
                <a:gd name="connsiteX332" fmla="*/ 4992500 w 8566434"/>
                <a:gd name="connsiteY332" fmla="*/ 334967 h 2765205"/>
                <a:gd name="connsiteX333" fmla="*/ 4966998 w 8566434"/>
                <a:gd name="connsiteY333" fmla="*/ 309534 h 2765205"/>
                <a:gd name="connsiteX334" fmla="*/ 4935568 w 8566434"/>
                <a:gd name="connsiteY334" fmla="*/ 332830 h 2765205"/>
                <a:gd name="connsiteX335" fmla="*/ 4935568 w 8566434"/>
                <a:gd name="connsiteY335" fmla="*/ 332830 h 2765205"/>
                <a:gd name="connsiteX336" fmla="*/ 4634988 w 8566434"/>
                <a:gd name="connsiteY336" fmla="*/ 334277 h 2765205"/>
                <a:gd name="connsiteX337" fmla="*/ 4651668 w 8566434"/>
                <a:gd name="connsiteY337" fmla="*/ 326075 h 2765205"/>
                <a:gd name="connsiteX338" fmla="*/ 4634988 w 8566434"/>
                <a:gd name="connsiteY338" fmla="*/ 334277 h 2765205"/>
                <a:gd name="connsiteX339" fmla="*/ 4613552 w 8566434"/>
                <a:gd name="connsiteY339" fmla="*/ 333450 h 2765205"/>
                <a:gd name="connsiteX340" fmla="*/ 4609968 w 8566434"/>
                <a:gd name="connsiteY340" fmla="*/ 315323 h 2765205"/>
                <a:gd name="connsiteX341" fmla="*/ 4613552 w 8566434"/>
                <a:gd name="connsiteY341" fmla="*/ 333450 h 2765205"/>
                <a:gd name="connsiteX342" fmla="*/ 4516851 w 8566434"/>
                <a:gd name="connsiteY342" fmla="*/ 334277 h 2765205"/>
                <a:gd name="connsiteX343" fmla="*/ 4516851 w 8566434"/>
                <a:gd name="connsiteY343" fmla="*/ 334277 h 2765205"/>
                <a:gd name="connsiteX344" fmla="*/ 3985511 w 8566434"/>
                <a:gd name="connsiteY344" fmla="*/ 330487 h 2765205"/>
                <a:gd name="connsiteX345" fmla="*/ 3995987 w 8566434"/>
                <a:gd name="connsiteY345" fmla="*/ 320768 h 2765205"/>
                <a:gd name="connsiteX346" fmla="*/ 4004603 w 8566434"/>
                <a:gd name="connsiteY346" fmla="*/ 292302 h 2765205"/>
                <a:gd name="connsiteX347" fmla="*/ 3991301 w 8566434"/>
                <a:gd name="connsiteY347" fmla="*/ 283411 h 2765205"/>
                <a:gd name="connsiteX348" fmla="*/ 4002949 w 8566434"/>
                <a:gd name="connsiteY348" fmla="*/ 285755 h 2765205"/>
                <a:gd name="connsiteX349" fmla="*/ 4006946 w 8566434"/>
                <a:gd name="connsiteY349" fmla="*/ 267765 h 2765205"/>
                <a:gd name="connsiteX350" fmla="*/ 4008049 w 8566434"/>
                <a:gd name="connsiteY350" fmla="*/ 286582 h 2765205"/>
                <a:gd name="connsiteX351" fmla="*/ 4023144 w 8566434"/>
                <a:gd name="connsiteY351" fmla="*/ 281068 h 2765205"/>
                <a:gd name="connsiteX352" fmla="*/ 4003362 w 8566434"/>
                <a:gd name="connsiteY352" fmla="*/ 331245 h 2765205"/>
                <a:gd name="connsiteX353" fmla="*/ 3985511 w 8566434"/>
                <a:gd name="connsiteY353" fmla="*/ 330487 h 2765205"/>
                <a:gd name="connsiteX354" fmla="*/ 3965316 w 8566434"/>
                <a:gd name="connsiteY354" fmla="*/ 332416 h 2765205"/>
                <a:gd name="connsiteX355" fmla="*/ 3969865 w 8566434"/>
                <a:gd name="connsiteY355" fmla="*/ 317184 h 2765205"/>
                <a:gd name="connsiteX356" fmla="*/ 3965316 w 8566434"/>
                <a:gd name="connsiteY356" fmla="*/ 332416 h 2765205"/>
                <a:gd name="connsiteX357" fmla="*/ 4267895 w 8566434"/>
                <a:gd name="connsiteY357" fmla="*/ 339791 h 2765205"/>
                <a:gd name="connsiteX358" fmla="*/ 4267895 w 8566434"/>
                <a:gd name="connsiteY358" fmla="*/ 339791 h 2765205"/>
                <a:gd name="connsiteX359" fmla="*/ 5529836 w 8566434"/>
                <a:gd name="connsiteY359" fmla="*/ 348200 h 2765205"/>
                <a:gd name="connsiteX360" fmla="*/ 5539210 w 8566434"/>
                <a:gd name="connsiteY360" fmla="*/ 338620 h 2765205"/>
                <a:gd name="connsiteX361" fmla="*/ 5529836 w 8566434"/>
                <a:gd name="connsiteY361" fmla="*/ 348200 h 2765205"/>
                <a:gd name="connsiteX362" fmla="*/ 5239388 w 8566434"/>
                <a:gd name="connsiteY362" fmla="*/ 347166 h 2765205"/>
                <a:gd name="connsiteX363" fmla="*/ 5239388 w 8566434"/>
                <a:gd name="connsiteY363" fmla="*/ 347166 h 2765205"/>
                <a:gd name="connsiteX364" fmla="*/ 4838867 w 8566434"/>
                <a:gd name="connsiteY364" fmla="*/ 326627 h 2765205"/>
                <a:gd name="connsiteX365" fmla="*/ 4858993 w 8566434"/>
                <a:gd name="connsiteY365" fmla="*/ 345650 h 2765205"/>
                <a:gd name="connsiteX366" fmla="*/ 4838867 w 8566434"/>
                <a:gd name="connsiteY366" fmla="*/ 326627 h 2765205"/>
                <a:gd name="connsiteX367" fmla="*/ 4796754 w 8566434"/>
                <a:gd name="connsiteY367" fmla="*/ 349579 h 2765205"/>
                <a:gd name="connsiteX368" fmla="*/ 4806472 w 8566434"/>
                <a:gd name="connsiteY368" fmla="*/ 326489 h 2765205"/>
                <a:gd name="connsiteX369" fmla="*/ 4792825 w 8566434"/>
                <a:gd name="connsiteY369" fmla="*/ 293681 h 2765205"/>
                <a:gd name="connsiteX370" fmla="*/ 4796892 w 8566434"/>
                <a:gd name="connsiteY370" fmla="*/ 314014 h 2765205"/>
                <a:gd name="connsiteX371" fmla="*/ 4817500 w 8566434"/>
                <a:gd name="connsiteY371" fmla="*/ 339998 h 2765205"/>
                <a:gd name="connsiteX372" fmla="*/ 4796754 w 8566434"/>
                <a:gd name="connsiteY372" fmla="*/ 349579 h 2765205"/>
                <a:gd name="connsiteX373" fmla="*/ 4709978 w 8566434"/>
                <a:gd name="connsiteY373" fmla="*/ 347097 h 2765205"/>
                <a:gd name="connsiteX374" fmla="*/ 4709978 w 8566434"/>
                <a:gd name="connsiteY374" fmla="*/ 347097 h 2765205"/>
                <a:gd name="connsiteX375" fmla="*/ 5853920 w 8566434"/>
                <a:gd name="connsiteY375" fmla="*/ 354679 h 2765205"/>
                <a:gd name="connsiteX376" fmla="*/ 5853920 w 8566434"/>
                <a:gd name="connsiteY376" fmla="*/ 354679 h 2765205"/>
                <a:gd name="connsiteX377" fmla="*/ 4727278 w 8566434"/>
                <a:gd name="connsiteY377" fmla="*/ 286582 h 2765205"/>
                <a:gd name="connsiteX378" fmla="*/ 4753193 w 8566434"/>
                <a:gd name="connsiteY378" fmla="*/ 282584 h 2765205"/>
                <a:gd name="connsiteX379" fmla="*/ 4745267 w 8566434"/>
                <a:gd name="connsiteY379" fmla="*/ 315737 h 2765205"/>
                <a:gd name="connsiteX380" fmla="*/ 4738375 w 8566434"/>
                <a:gd name="connsiteY380" fmla="*/ 355713 h 2765205"/>
                <a:gd name="connsiteX381" fmla="*/ 4727278 w 8566434"/>
                <a:gd name="connsiteY381" fmla="*/ 286582 h 2765205"/>
                <a:gd name="connsiteX382" fmla="*/ 5997972 w 8566434"/>
                <a:gd name="connsiteY382" fmla="*/ 368533 h 2765205"/>
                <a:gd name="connsiteX383" fmla="*/ 5997972 w 8566434"/>
                <a:gd name="connsiteY383" fmla="*/ 368533 h 2765205"/>
                <a:gd name="connsiteX384" fmla="*/ 5419350 w 8566434"/>
                <a:gd name="connsiteY384" fmla="*/ 368326 h 2765205"/>
                <a:gd name="connsiteX385" fmla="*/ 5419350 w 8566434"/>
                <a:gd name="connsiteY385" fmla="*/ 368326 h 2765205"/>
                <a:gd name="connsiteX386" fmla="*/ 5357387 w 8566434"/>
                <a:gd name="connsiteY386" fmla="*/ 369016 h 2765205"/>
                <a:gd name="connsiteX387" fmla="*/ 5355112 w 8566434"/>
                <a:gd name="connsiteY387" fmla="*/ 354955 h 2765205"/>
                <a:gd name="connsiteX388" fmla="*/ 5357387 w 8566434"/>
                <a:gd name="connsiteY388" fmla="*/ 369016 h 2765205"/>
                <a:gd name="connsiteX389" fmla="*/ 5331057 w 8566434"/>
                <a:gd name="connsiteY389" fmla="*/ 370463 h 2765205"/>
                <a:gd name="connsiteX390" fmla="*/ 5323958 w 8566434"/>
                <a:gd name="connsiteY390" fmla="*/ 345926 h 2765205"/>
                <a:gd name="connsiteX391" fmla="*/ 5331057 w 8566434"/>
                <a:gd name="connsiteY391" fmla="*/ 370463 h 2765205"/>
                <a:gd name="connsiteX392" fmla="*/ 5298181 w 8566434"/>
                <a:gd name="connsiteY392" fmla="*/ 370463 h 2765205"/>
                <a:gd name="connsiteX393" fmla="*/ 5291288 w 8566434"/>
                <a:gd name="connsiteY393" fmla="*/ 340687 h 2765205"/>
                <a:gd name="connsiteX394" fmla="*/ 5303626 w 8566434"/>
                <a:gd name="connsiteY394" fmla="*/ 322491 h 2765205"/>
                <a:gd name="connsiteX395" fmla="*/ 5332574 w 8566434"/>
                <a:gd name="connsiteY395" fmla="*/ 325662 h 2765205"/>
                <a:gd name="connsiteX396" fmla="*/ 5304797 w 8566434"/>
                <a:gd name="connsiteY396" fmla="*/ 337861 h 2765205"/>
                <a:gd name="connsiteX397" fmla="*/ 5298181 w 8566434"/>
                <a:gd name="connsiteY397" fmla="*/ 370463 h 2765205"/>
                <a:gd name="connsiteX398" fmla="*/ 6156981 w 8566434"/>
                <a:gd name="connsiteY398" fmla="*/ 374805 h 2765205"/>
                <a:gd name="connsiteX399" fmla="*/ 6156981 w 8566434"/>
                <a:gd name="connsiteY399" fmla="*/ 374805 h 2765205"/>
                <a:gd name="connsiteX400" fmla="*/ 5832760 w 8566434"/>
                <a:gd name="connsiteY400" fmla="*/ 375908 h 2765205"/>
                <a:gd name="connsiteX401" fmla="*/ 5844477 w 8566434"/>
                <a:gd name="connsiteY401" fmla="*/ 364535 h 2765205"/>
                <a:gd name="connsiteX402" fmla="*/ 5832760 w 8566434"/>
                <a:gd name="connsiteY402" fmla="*/ 375908 h 2765205"/>
                <a:gd name="connsiteX403" fmla="*/ 5673475 w 8566434"/>
                <a:gd name="connsiteY403" fmla="*/ 376666 h 2765205"/>
                <a:gd name="connsiteX404" fmla="*/ 5685330 w 8566434"/>
                <a:gd name="connsiteY404" fmla="*/ 365362 h 2765205"/>
                <a:gd name="connsiteX405" fmla="*/ 5673475 w 8566434"/>
                <a:gd name="connsiteY405" fmla="*/ 376666 h 2765205"/>
                <a:gd name="connsiteX406" fmla="*/ 5076450 w 8566434"/>
                <a:gd name="connsiteY406" fmla="*/ 338206 h 2765205"/>
                <a:gd name="connsiteX407" fmla="*/ 5058047 w 8566434"/>
                <a:gd name="connsiteY407" fmla="*/ 332072 h 2765205"/>
                <a:gd name="connsiteX408" fmla="*/ 5080310 w 8566434"/>
                <a:gd name="connsiteY408" fmla="*/ 323663 h 2765205"/>
                <a:gd name="connsiteX409" fmla="*/ 5079069 w 8566434"/>
                <a:gd name="connsiteY409" fmla="*/ 309120 h 2765205"/>
                <a:gd name="connsiteX410" fmla="*/ 5105605 w 8566434"/>
                <a:gd name="connsiteY410" fmla="*/ 324766 h 2765205"/>
                <a:gd name="connsiteX411" fmla="*/ 5153232 w 8566434"/>
                <a:gd name="connsiteY411" fmla="*/ 330487 h 2765205"/>
                <a:gd name="connsiteX412" fmla="*/ 5151853 w 8566434"/>
                <a:gd name="connsiteY412" fmla="*/ 368602 h 2765205"/>
                <a:gd name="connsiteX413" fmla="*/ 5160331 w 8566434"/>
                <a:gd name="connsiteY413" fmla="*/ 367706 h 2765205"/>
                <a:gd name="connsiteX414" fmla="*/ 5159504 w 8566434"/>
                <a:gd name="connsiteY414" fmla="*/ 376804 h 2765205"/>
                <a:gd name="connsiteX415" fmla="*/ 5134140 w 8566434"/>
                <a:gd name="connsiteY415" fmla="*/ 357850 h 2765205"/>
                <a:gd name="connsiteX416" fmla="*/ 5125111 w 8566434"/>
                <a:gd name="connsiteY416" fmla="*/ 377217 h 2765205"/>
                <a:gd name="connsiteX417" fmla="*/ 5076450 w 8566434"/>
                <a:gd name="connsiteY417" fmla="*/ 338206 h 2765205"/>
                <a:gd name="connsiteX418" fmla="*/ 4635953 w 8566434"/>
                <a:gd name="connsiteY418" fmla="*/ 358470 h 2765205"/>
                <a:gd name="connsiteX419" fmla="*/ 4664281 w 8566434"/>
                <a:gd name="connsiteY419" fmla="*/ 360400 h 2765205"/>
                <a:gd name="connsiteX420" fmla="*/ 4708255 w 8566434"/>
                <a:gd name="connsiteY420" fmla="*/ 376184 h 2765205"/>
                <a:gd name="connsiteX421" fmla="*/ 4635953 w 8566434"/>
                <a:gd name="connsiteY421" fmla="*/ 358470 h 2765205"/>
                <a:gd name="connsiteX422" fmla="*/ 4984367 w 8566434"/>
                <a:gd name="connsiteY422" fmla="*/ 381353 h 2765205"/>
                <a:gd name="connsiteX423" fmla="*/ 4984367 w 8566434"/>
                <a:gd name="connsiteY423" fmla="*/ 381353 h 2765205"/>
                <a:gd name="connsiteX424" fmla="*/ 6196682 w 8566434"/>
                <a:gd name="connsiteY424" fmla="*/ 389141 h 2765205"/>
                <a:gd name="connsiteX425" fmla="*/ 6196682 w 8566434"/>
                <a:gd name="connsiteY425" fmla="*/ 389141 h 2765205"/>
                <a:gd name="connsiteX426" fmla="*/ 5479797 w 8566434"/>
                <a:gd name="connsiteY426" fmla="*/ 389762 h 2765205"/>
                <a:gd name="connsiteX427" fmla="*/ 5479797 w 8566434"/>
                <a:gd name="connsiteY427" fmla="*/ 389762 h 2765205"/>
                <a:gd name="connsiteX428" fmla="*/ 4898624 w 8566434"/>
                <a:gd name="connsiteY428" fmla="*/ 348752 h 2765205"/>
                <a:gd name="connsiteX429" fmla="*/ 4895936 w 8566434"/>
                <a:gd name="connsiteY429" fmla="*/ 368050 h 2765205"/>
                <a:gd name="connsiteX430" fmla="*/ 4907791 w 8566434"/>
                <a:gd name="connsiteY430" fmla="*/ 391485 h 2765205"/>
                <a:gd name="connsiteX431" fmla="*/ 4898624 w 8566434"/>
                <a:gd name="connsiteY431" fmla="*/ 348752 h 2765205"/>
                <a:gd name="connsiteX432" fmla="*/ 5711314 w 8566434"/>
                <a:gd name="connsiteY432" fmla="*/ 341652 h 2765205"/>
                <a:gd name="connsiteX433" fmla="*/ 5722342 w 8566434"/>
                <a:gd name="connsiteY433" fmla="*/ 351578 h 2765205"/>
                <a:gd name="connsiteX434" fmla="*/ 5751980 w 8566434"/>
                <a:gd name="connsiteY434" fmla="*/ 359504 h 2765205"/>
                <a:gd name="connsiteX435" fmla="*/ 5775277 w 8566434"/>
                <a:gd name="connsiteY435" fmla="*/ 365983 h 2765205"/>
                <a:gd name="connsiteX436" fmla="*/ 5755702 w 8566434"/>
                <a:gd name="connsiteY436" fmla="*/ 390175 h 2765205"/>
                <a:gd name="connsiteX437" fmla="*/ 5712418 w 8566434"/>
                <a:gd name="connsiteY437" fmla="*/ 362605 h 2765205"/>
                <a:gd name="connsiteX438" fmla="*/ 5717518 w 8566434"/>
                <a:gd name="connsiteY438" fmla="*/ 397550 h 2765205"/>
                <a:gd name="connsiteX439" fmla="*/ 5711314 w 8566434"/>
                <a:gd name="connsiteY439" fmla="*/ 341652 h 2765205"/>
                <a:gd name="connsiteX440" fmla="*/ 5639840 w 8566434"/>
                <a:gd name="connsiteY440" fmla="*/ 395345 h 2765205"/>
                <a:gd name="connsiteX441" fmla="*/ 5639840 w 8566434"/>
                <a:gd name="connsiteY441" fmla="*/ 395345 h 2765205"/>
                <a:gd name="connsiteX442" fmla="*/ 4935223 w 8566434"/>
                <a:gd name="connsiteY442" fmla="*/ 357023 h 2765205"/>
                <a:gd name="connsiteX443" fmla="*/ 4923782 w 8566434"/>
                <a:gd name="connsiteY443" fmla="*/ 368602 h 2765205"/>
                <a:gd name="connsiteX444" fmla="*/ 4906689 w 8566434"/>
                <a:gd name="connsiteY444" fmla="*/ 351302 h 2765205"/>
                <a:gd name="connsiteX445" fmla="*/ 4925091 w 8566434"/>
                <a:gd name="connsiteY445" fmla="*/ 346960 h 2765205"/>
                <a:gd name="connsiteX446" fmla="*/ 4943150 w 8566434"/>
                <a:gd name="connsiteY446" fmla="*/ 350888 h 2765205"/>
                <a:gd name="connsiteX447" fmla="*/ 4947078 w 8566434"/>
                <a:gd name="connsiteY447" fmla="*/ 397550 h 2765205"/>
                <a:gd name="connsiteX448" fmla="*/ 4935223 w 8566434"/>
                <a:gd name="connsiteY448" fmla="*/ 357023 h 2765205"/>
                <a:gd name="connsiteX449" fmla="*/ 5468148 w 8566434"/>
                <a:gd name="connsiteY449" fmla="*/ 357850 h 2765205"/>
                <a:gd name="connsiteX450" fmla="*/ 5473594 w 8566434"/>
                <a:gd name="connsiteY450" fmla="*/ 339240 h 2765205"/>
                <a:gd name="connsiteX451" fmla="*/ 5495236 w 8566434"/>
                <a:gd name="connsiteY451" fmla="*/ 337103 h 2765205"/>
                <a:gd name="connsiteX452" fmla="*/ 5495994 w 8566434"/>
                <a:gd name="connsiteY452" fmla="*/ 363846 h 2765205"/>
                <a:gd name="connsiteX453" fmla="*/ 5457396 w 8566434"/>
                <a:gd name="connsiteY453" fmla="*/ 379905 h 2765205"/>
                <a:gd name="connsiteX454" fmla="*/ 5460153 w 8566434"/>
                <a:gd name="connsiteY454" fmla="*/ 390175 h 2765205"/>
                <a:gd name="connsiteX455" fmla="*/ 5470767 w 8566434"/>
                <a:gd name="connsiteY455" fmla="*/ 395207 h 2765205"/>
                <a:gd name="connsiteX456" fmla="*/ 5464013 w 8566434"/>
                <a:gd name="connsiteY456" fmla="*/ 404925 h 2765205"/>
                <a:gd name="connsiteX457" fmla="*/ 5468148 w 8566434"/>
                <a:gd name="connsiteY457" fmla="*/ 357850 h 2765205"/>
                <a:gd name="connsiteX458" fmla="*/ 5505299 w 8566434"/>
                <a:gd name="connsiteY458" fmla="*/ 380871 h 2765205"/>
                <a:gd name="connsiteX459" fmla="*/ 5521220 w 8566434"/>
                <a:gd name="connsiteY459" fmla="*/ 376666 h 2765205"/>
                <a:gd name="connsiteX460" fmla="*/ 5524943 w 8566434"/>
                <a:gd name="connsiteY460" fmla="*/ 384455 h 2765205"/>
                <a:gd name="connsiteX461" fmla="*/ 5508331 w 8566434"/>
                <a:gd name="connsiteY461" fmla="*/ 408785 h 2765205"/>
                <a:gd name="connsiteX462" fmla="*/ 5505299 w 8566434"/>
                <a:gd name="connsiteY462" fmla="*/ 380871 h 2765205"/>
                <a:gd name="connsiteX463" fmla="*/ 5419350 w 8566434"/>
                <a:gd name="connsiteY463" fmla="*/ 408854 h 2765205"/>
                <a:gd name="connsiteX464" fmla="*/ 5436994 w 8566434"/>
                <a:gd name="connsiteY464" fmla="*/ 398170 h 2765205"/>
                <a:gd name="connsiteX465" fmla="*/ 5419350 w 8566434"/>
                <a:gd name="connsiteY465" fmla="*/ 408854 h 2765205"/>
                <a:gd name="connsiteX466" fmla="*/ 5333332 w 8566434"/>
                <a:gd name="connsiteY466" fmla="*/ 400927 h 2765205"/>
                <a:gd name="connsiteX467" fmla="*/ 5330575 w 8566434"/>
                <a:gd name="connsiteY467" fmla="*/ 385557 h 2765205"/>
                <a:gd name="connsiteX468" fmla="*/ 5343050 w 8566434"/>
                <a:gd name="connsiteY468" fmla="*/ 397481 h 2765205"/>
                <a:gd name="connsiteX469" fmla="*/ 5368552 w 8566434"/>
                <a:gd name="connsiteY469" fmla="*/ 393001 h 2765205"/>
                <a:gd name="connsiteX470" fmla="*/ 5380959 w 8566434"/>
                <a:gd name="connsiteY470" fmla="*/ 408716 h 2765205"/>
                <a:gd name="connsiteX471" fmla="*/ 5333332 w 8566434"/>
                <a:gd name="connsiteY471" fmla="*/ 400927 h 2765205"/>
                <a:gd name="connsiteX472" fmla="*/ 5638392 w 8566434"/>
                <a:gd name="connsiteY472" fmla="*/ 407062 h 2765205"/>
                <a:gd name="connsiteX473" fmla="*/ 5652936 w 8566434"/>
                <a:gd name="connsiteY473" fmla="*/ 410715 h 2765205"/>
                <a:gd name="connsiteX474" fmla="*/ 5656864 w 8566434"/>
                <a:gd name="connsiteY474" fmla="*/ 374805 h 2765205"/>
                <a:gd name="connsiteX475" fmla="*/ 5661689 w 8566434"/>
                <a:gd name="connsiteY475" fmla="*/ 390313 h 2765205"/>
                <a:gd name="connsiteX476" fmla="*/ 5673406 w 8566434"/>
                <a:gd name="connsiteY476" fmla="*/ 385351 h 2765205"/>
                <a:gd name="connsiteX477" fmla="*/ 5672372 w 8566434"/>
                <a:gd name="connsiteY477" fmla="*/ 392519 h 2765205"/>
                <a:gd name="connsiteX478" fmla="*/ 5662033 w 8566434"/>
                <a:gd name="connsiteY478" fmla="*/ 390727 h 2765205"/>
                <a:gd name="connsiteX479" fmla="*/ 5650179 w 8566434"/>
                <a:gd name="connsiteY479" fmla="*/ 416987 h 2765205"/>
                <a:gd name="connsiteX480" fmla="*/ 5638392 w 8566434"/>
                <a:gd name="connsiteY480" fmla="*/ 407062 h 2765205"/>
                <a:gd name="connsiteX481" fmla="*/ 5529491 w 8566434"/>
                <a:gd name="connsiteY481" fmla="*/ 417538 h 2765205"/>
                <a:gd name="connsiteX482" fmla="*/ 5533903 w 8566434"/>
                <a:gd name="connsiteY482" fmla="*/ 400790 h 2765205"/>
                <a:gd name="connsiteX483" fmla="*/ 5529491 w 8566434"/>
                <a:gd name="connsiteY483" fmla="*/ 417538 h 2765205"/>
                <a:gd name="connsiteX484" fmla="*/ 5515568 w 8566434"/>
                <a:gd name="connsiteY484" fmla="*/ 416642 h 2765205"/>
                <a:gd name="connsiteX485" fmla="*/ 5515568 w 8566434"/>
                <a:gd name="connsiteY485" fmla="*/ 416642 h 2765205"/>
                <a:gd name="connsiteX486" fmla="*/ 5474558 w 8566434"/>
                <a:gd name="connsiteY486" fmla="*/ 416987 h 2765205"/>
                <a:gd name="connsiteX487" fmla="*/ 5486413 w 8566434"/>
                <a:gd name="connsiteY487" fmla="*/ 405270 h 2765205"/>
                <a:gd name="connsiteX488" fmla="*/ 5474558 w 8566434"/>
                <a:gd name="connsiteY488" fmla="*/ 416987 h 2765205"/>
                <a:gd name="connsiteX489" fmla="*/ 6087919 w 8566434"/>
                <a:gd name="connsiteY489" fmla="*/ 397550 h 2765205"/>
                <a:gd name="connsiteX490" fmla="*/ 6115902 w 8566434"/>
                <a:gd name="connsiteY490" fmla="*/ 392450 h 2765205"/>
                <a:gd name="connsiteX491" fmla="*/ 6124311 w 8566434"/>
                <a:gd name="connsiteY491" fmla="*/ 376390 h 2765205"/>
                <a:gd name="connsiteX492" fmla="*/ 6136235 w 8566434"/>
                <a:gd name="connsiteY492" fmla="*/ 410922 h 2765205"/>
                <a:gd name="connsiteX493" fmla="*/ 6149262 w 8566434"/>
                <a:gd name="connsiteY493" fmla="*/ 410439 h 2765205"/>
                <a:gd name="connsiteX494" fmla="*/ 6095845 w 8566434"/>
                <a:gd name="connsiteY494" fmla="*/ 408509 h 2765205"/>
                <a:gd name="connsiteX495" fmla="*/ 6095432 w 8566434"/>
                <a:gd name="connsiteY495" fmla="*/ 425258 h 2765205"/>
                <a:gd name="connsiteX496" fmla="*/ 6087919 w 8566434"/>
                <a:gd name="connsiteY496" fmla="*/ 397550 h 2765205"/>
                <a:gd name="connsiteX497" fmla="*/ 5867291 w 8566434"/>
                <a:gd name="connsiteY497" fmla="*/ 423190 h 2765205"/>
                <a:gd name="connsiteX498" fmla="*/ 5867291 w 8566434"/>
                <a:gd name="connsiteY498" fmla="*/ 423190 h 2765205"/>
                <a:gd name="connsiteX499" fmla="*/ 5578290 w 8566434"/>
                <a:gd name="connsiteY499" fmla="*/ 423673 h 2765205"/>
                <a:gd name="connsiteX500" fmla="*/ 5578290 w 8566434"/>
                <a:gd name="connsiteY500" fmla="*/ 423673 h 2765205"/>
                <a:gd name="connsiteX501" fmla="*/ 5564230 w 8566434"/>
                <a:gd name="connsiteY501" fmla="*/ 421949 h 2765205"/>
                <a:gd name="connsiteX502" fmla="*/ 5571397 w 8566434"/>
                <a:gd name="connsiteY502" fmla="*/ 386660 h 2765205"/>
                <a:gd name="connsiteX503" fmla="*/ 5564230 w 8566434"/>
                <a:gd name="connsiteY503" fmla="*/ 421949 h 2765205"/>
                <a:gd name="connsiteX504" fmla="*/ 5937043 w 8566434"/>
                <a:gd name="connsiteY504" fmla="*/ 430358 h 2765205"/>
                <a:gd name="connsiteX505" fmla="*/ 5937043 w 8566434"/>
                <a:gd name="connsiteY505" fmla="*/ 430358 h 2765205"/>
                <a:gd name="connsiteX506" fmla="*/ 5633637 w 8566434"/>
                <a:gd name="connsiteY506" fmla="*/ 430358 h 2765205"/>
                <a:gd name="connsiteX507" fmla="*/ 5633637 w 8566434"/>
                <a:gd name="connsiteY507" fmla="*/ 430358 h 2765205"/>
                <a:gd name="connsiteX508" fmla="*/ 6053939 w 8566434"/>
                <a:gd name="connsiteY508" fmla="*/ 436975 h 2765205"/>
                <a:gd name="connsiteX509" fmla="*/ 6053939 w 8566434"/>
                <a:gd name="connsiteY509" fmla="*/ 436975 h 2765205"/>
                <a:gd name="connsiteX510" fmla="*/ 5652315 w 8566434"/>
                <a:gd name="connsiteY510" fmla="*/ 436079 h 2765205"/>
                <a:gd name="connsiteX511" fmla="*/ 5652315 w 8566434"/>
                <a:gd name="connsiteY511" fmla="*/ 436079 h 2765205"/>
                <a:gd name="connsiteX512" fmla="*/ 5613441 w 8566434"/>
                <a:gd name="connsiteY512" fmla="*/ 436837 h 2765205"/>
                <a:gd name="connsiteX513" fmla="*/ 5624952 w 8566434"/>
                <a:gd name="connsiteY513" fmla="*/ 418779 h 2765205"/>
                <a:gd name="connsiteX514" fmla="*/ 5613441 w 8566434"/>
                <a:gd name="connsiteY514" fmla="*/ 436837 h 2765205"/>
                <a:gd name="connsiteX515" fmla="*/ 6142714 w 8566434"/>
                <a:gd name="connsiteY515" fmla="*/ 445039 h 2765205"/>
                <a:gd name="connsiteX516" fmla="*/ 6152225 w 8566434"/>
                <a:gd name="connsiteY516" fmla="*/ 435459 h 2765205"/>
                <a:gd name="connsiteX517" fmla="*/ 6142714 w 8566434"/>
                <a:gd name="connsiteY517" fmla="*/ 445039 h 2765205"/>
                <a:gd name="connsiteX518" fmla="*/ 5797953 w 8566434"/>
                <a:gd name="connsiteY518" fmla="*/ 449726 h 2765205"/>
                <a:gd name="connsiteX519" fmla="*/ 5802640 w 8566434"/>
                <a:gd name="connsiteY519" fmla="*/ 433529 h 2765205"/>
                <a:gd name="connsiteX520" fmla="*/ 5797953 w 8566434"/>
                <a:gd name="connsiteY520" fmla="*/ 449726 h 2765205"/>
                <a:gd name="connsiteX521" fmla="*/ 6184896 w 8566434"/>
                <a:gd name="connsiteY521" fmla="*/ 472885 h 2765205"/>
                <a:gd name="connsiteX522" fmla="*/ 6184896 w 8566434"/>
                <a:gd name="connsiteY522" fmla="*/ 472885 h 2765205"/>
                <a:gd name="connsiteX523" fmla="*/ 6216325 w 8566434"/>
                <a:gd name="connsiteY523" fmla="*/ 477089 h 2765205"/>
                <a:gd name="connsiteX524" fmla="*/ 6232178 w 8566434"/>
                <a:gd name="connsiteY524" fmla="*/ 453104 h 2765205"/>
                <a:gd name="connsiteX525" fmla="*/ 6251477 w 8566434"/>
                <a:gd name="connsiteY525" fmla="*/ 448210 h 2765205"/>
                <a:gd name="connsiteX526" fmla="*/ 6235417 w 8566434"/>
                <a:gd name="connsiteY526" fmla="*/ 479088 h 2765205"/>
                <a:gd name="connsiteX527" fmla="*/ 6216325 w 8566434"/>
                <a:gd name="connsiteY527" fmla="*/ 477089 h 2765205"/>
                <a:gd name="connsiteX528" fmla="*/ 6332463 w 8566434"/>
                <a:gd name="connsiteY528" fmla="*/ 494045 h 2765205"/>
                <a:gd name="connsiteX529" fmla="*/ 6355829 w 8566434"/>
                <a:gd name="connsiteY529" fmla="*/ 492666 h 2765205"/>
                <a:gd name="connsiteX530" fmla="*/ 6347833 w 8566434"/>
                <a:gd name="connsiteY530" fmla="*/ 460065 h 2765205"/>
                <a:gd name="connsiteX531" fmla="*/ 6333704 w 8566434"/>
                <a:gd name="connsiteY531" fmla="*/ 472747 h 2765205"/>
                <a:gd name="connsiteX532" fmla="*/ 6333980 w 8566434"/>
                <a:gd name="connsiteY532" fmla="*/ 447107 h 2765205"/>
                <a:gd name="connsiteX533" fmla="*/ 6356449 w 8566434"/>
                <a:gd name="connsiteY533" fmla="*/ 458549 h 2765205"/>
                <a:gd name="connsiteX534" fmla="*/ 6365685 w 8566434"/>
                <a:gd name="connsiteY534" fmla="*/ 497215 h 2765205"/>
                <a:gd name="connsiteX535" fmla="*/ 6370923 w 8566434"/>
                <a:gd name="connsiteY535" fmla="*/ 490529 h 2765205"/>
                <a:gd name="connsiteX536" fmla="*/ 6381055 w 8566434"/>
                <a:gd name="connsiteY536" fmla="*/ 439801 h 2765205"/>
                <a:gd name="connsiteX537" fmla="*/ 6371682 w 8566434"/>
                <a:gd name="connsiteY537" fmla="*/ 444074 h 2765205"/>
                <a:gd name="connsiteX538" fmla="*/ 6366995 w 8566434"/>
                <a:gd name="connsiteY538" fmla="*/ 411473 h 2765205"/>
                <a:gd name="connsiteX539" fmla="*/ 6335909 w 8566434"/>
                <a:gd name="connsiteY539" fmla="*/ 414850 h 2765205"/>
                <a:gd name="connsiteX540" fmla="*/ 6310752 w 8566434"/>
                <a:gd name="connsiteY540" fmla="*/ 390451 h 2765205"/>
                <a:gd name="connsiteX541" fmla="*/ 6362032 w 8566434"/>
                <a:gd name="connsiteY541" fmla="*/ 400514 h 2765205"/>
                <a:gd name="connsiteX542" fmla="*/ 6359826 w 8566434"/>
                <a:gd name="connsiteY542" fmla="*/ 371359 h 2765205"/>
                <a:gd name="connsiteX543" fmla="*/ 6278495 w 8566434"/>
                <a:gd name="connsiteY543" fmla="*/ 366396 h 2765205"/>
                <a:gd name="connsiteX544" fmla="*/ 6274015 w 8566434"/>
                <a:gd name="connsiteY544" fmla="*/ 402375 h 2765205"/>
                <a:gd name="connsiteX545" fmla="*/ 6299241 w 8566434"/>
                <a:gd name="connsiteY545" fmla="*/ 432150 h 2765205"/>
                <a:gd name="connsiteX546" fmla="*/ 6312268 w 8566434"/>
                <a:gd name="connsiteY546" fmla="*/ 411542 h 2765205"/>
                <a:gd name="connsiteX547" fmla="*/ 6302412 w 8566434"/>
                <a:gd name="connsiteY547" fmla="*/ 438147 h 2765205"/>
                <a:gd name="connsiteX548" fmla="*/ 6288558 w 8566434"/>
                <a:gd name="connsiteY548" fmla="*/ 434425 h 2765205"/>
                <a:gd name="connsiteX549" fmla="*/ 6276566 w 8566434"/>
                <a:gd name="connsiteY549" fmla="*/ 441180 h 2765205"/>
                <a:gd name="connsiteX550" fmla="*/ 6278357 w 8566434"/>
                <a:gd name="connsiteY550" fmla="*/ 428428 h 2765205"/>
                <a:gd name="connsiteX551" fmla="*/ 6226113 w 8566434"/>
                <a:gd name="connsiteY551" fmla="*/ 426774 h 2765205"/>
                <a:gd name="connsiteX552" fmla="*/ 6230524 w 8566434"/>
                <a:gd name="connsiteY552" fmla="*/ 387970 h 2765205"/>
                <a:gd name="connsiteX553" fmla="*/ 6253338 w 8566434"/>
                <a:gd name="connsiteY553" fmla="*/ 384524 h 2765205"/>
                <a:gd name="connsiteX554" fmla="*/ 6267536 w 8566434"/>
                <a:gd name="connsiteY554" fmla="*/ 399067 h 2765205"/>
                <a:gd name="connsiteX555" fmla="*/ 6268295 w 8566434"/>
                <a:gd name="connsiteY555" fmla="*/ 365156 h 2765205"/>
                <a:gd name="connsiteX556" fmla="*/ 6216463 w 8566434"/>
                <a:gd name="connsiteY556" fmla="*/ 362743 h 2765205"/>
                <a:gd name="connsiteX557" fmla="*/ 6177797 w 8566434"/>
                <a:gd name="connsiteY557" fmla="*/ 396585 h 2765205"/>
                <a:gd name="connsiteX558" fmla="*/ 6198474 w 8566434"/>
                <a:gd name="connsiteY558" fmla="*/ 402375 h 2765205"/>
                <a:gd name="connsiteX559" fmla="*/ 6175453 w 8566434"/>
                <a:gd name="connsiteY559" fmla="*/ 400927 h 2765205"/>
                <a:gd name="connsiteX560" fmla="*/ 6195373 w 8566434"/>
                <a:gd name="connsiteY560" fmla="*/ 424500 h 2765205"/>
                <a:gd name="connsiteX561" fmla="*/ 6214472 w 8566434"/>
                <a:gd name="connsiteY561" fmla="*/ 396585 h 2765205"/>
                <a:gd name="connsiteX562" fmla="*/ 6202678 w 8566434"/>
                <a:gd name="connsiteY562" fmla="*/ 467440 h 2765205"/>
                <a:gd name="connsiteX563" fmla="*/ 6217773 w 8566434"/>
                <a:gd name="connsiteY563" fmla="*/ 440146 h 2765205"/>
                <a:gd name="connsiteX564" fmla="*/ 6178899 w 8566434"/>
                <a:gd name="connsiteY564" fmla="*/ 450347 h 2765205"/>
                <a:gd name="connsiteX565" fmla="*/ 6197578 w 8566434"/>
                <a:gd name="connsiteY565" fmla="*/ 428773 h 2765205"/>
                <a:gd name="connsiteX566" fmla="*/ 6156016 w 8566434"/>
                <a:gd name="connsiteY566" fmla="*/ 427463 h 2765205"/>
                <a:gd name="connsiteX567" fmla="*/ 6175453 w 8566434"/>
                <a:gd name="connsiteY567" fmla="*/ 410026 h 2765205"/>
                <a:gd name="connsiteX568" fmla="*/ 6169801 w 8566434"/>
                <a:gd name="connsiteY568" fmla="*/ 383145 h 2765205"/>
                <a:gd name="connsiteX569" fmla="*/ 6190203 w 8566434"/>
                <a:gd name="connsiteY569" fmla="*/ 357850 h 2765205"/>
                <a:gd name="connsiteX570" fmla="*/ 6175936 w 8566434"/>
                <a:gd name="connsiteY570" fmla="*/ 367637 h 2765205"/>
                <a:gd name="connsiteX571" fmla="*/ 6141818 w 8566434"/>
                <a:gd name="connsiteY571" fmla="*/ 374391 h 2765205"/>
                <a:gd name="connsiteX572" fmla="*/ 6123484 w 8566434"/>
                <a:gd name="connsiteY572" fmla="*/ 356333 h 2765205"/>
                <a:gd name="connsiteX573" fmla="*/ 6116254 w 8566434"/>
                <a:gd name="connsiteY573" fmla="*/ 373427 h 2765205"/>
                <a:gd name="connsiteX574" fmla="*/ 6103151 w 8566434"/>
                <a:gd name="connsiteY574" fmla="*/ 376666 h 2765205"/>
                <a:gd name="connsiteX575" fmla="*/ 6093364 w 8566434"/>
                <a:gd name="connsiteY575" fmla="*/ 354679 h 2765205"/>
                <a:gd name="connsiteX576" fmla="*/ 5878801 w 8566434"/>
                <a:gd name="connsiteY576" fmla="*/ 341032 h 2765205"/>
                <a:gd name="connsiteX577" fmla="*/ 5876665 w 8566434"/>
                <a:gd name="connsiteY577" fmla="*/ 356058 h 2765205"/>
                <a:gd name="connsiteX578" fmla="*/ 5874597 w 8566434"/>
                <a:gd name="connsiteY578" fmla="*/ 340825 h 2765205"/>
                <a:gd name="connsiteX579" fmla="*/ 5756391 w 8566434"/>
                <a:gd name="connsiteY579" fmla="*/ 347580 h 2765205"/>
                <a:gd name="connsiteX580" fmla="*/ 5760044 w 8566434"/>
                <a:gd name="connsiteY580" fmla="*/ 333657 h 2765205"/>
                <a:gd name="connsiteX581" fmla="*/ 5659139 w 8566434"/>
                <a:gd name="connsiteY581" fmla="*/ 327316 h 2765205"/>
                <a:gd name="connsiteX582" fmla="*/ 5639220 w 8566434"/>
                <a:gd name="connsiteY582" fmla="*/ 332899 h 2765205"/>
                <a:gd name="connsiteX583" fmla="*/ 5641219 w 8566434"/>
                <a:gd name="connsiteY583" fmla="*/ 325938 h 2765205"/>
                <a:gd name="connsiteX584" fmla="*/ 5453054 w 8566434"/>
                <a:gd name="connsiteY584" fmla="*/ 315392 h 2765205"/>
                <a:gd name="connsiteX585" fmla="*/ 5464978 w 8566434"/>
                <a:gd name="connsiteY585" fmla="*/ 330693 h 2765205"/>
                <a:gd name="connsiteX586" fmla="*/ 5451607 w 8566434"/>
                <a:gd name="connsiteY586" fmla="*/ 328626 h 2765205"/>
                <a:gd name="connsiteX587" fmla="*/ 5457810 w 8566434"/>
                <a:gd name="connsiteY587" fmla="*/ 351302 h 2765205"/>
                <a:gd name="connsiteX588" fmla="*/ 5445473 w 8566434"/>
                <a:gd name="connsiteY588" fmla="*/ 313393 h 2765205"/>
                <a:gd name="connsiteX589" fmla="*/ 5439269 w 8566434"/>
                <a:gd name="connsiteY589" fmla="*/ 313531 h 2765205"/>
                <a:gd name="connsiteX590" fmla="*/ 5400534 w 8566434"/>
                <a:gd name="connsiteY590" fmla="*/ 314565 h 2765205"/>
                <a:gd name="connsiteX591" fmla="*/ 5417144 w 8566434"/>
                <a:gd name="connsiteY591" fmla="*/ 340756 h 2765205"/>
                <a:gd name="connsiteX592" fmla="*/ 5402808 w 8566434"/>
                <a:gd name="connsiteY592" fmla="*/ 347373 h 2765205"/>
                <a:gd name="connsiteX593" fmla="*/ 5382613 w 8566434"/>
                <a:gd name="connsiteY593" fmla="*/ 338206 h 2765205"/>
                <a:gd name="connsiteX594" fmla="*/ 5362901 w 8566434"/>
                <a:gd name="connsiteY594" fmla="*/ 348545 h 2765205"/>
                <a:gd name="connsiteX595" fmla="*/ 5364348 w 8566434"/>
                <a:gd name="connsiteY595" fmla="*/ 324559 h 2765205"/>
                <a:gd name="connsiteX596" fmla="*/ 5378064 w 8566434"/>
                <a:gd name="connsiteY596" fmla="*/ 320906 h 2765205"/>
                <a:gd name="connsiteX597" fmla="*/ 5390402 w 8566434"/>
                <a:gd name="connsiteY597" fmla="*/ 320975 h 2765205"/>
                <a:gd name="connsiteX598" fmla="*/ 5388679 w 8566434"/>
                <a:gd name="connsiteY598" fmla="*/ 310085 h 2765205"/>
                <a:gd name="connsiteX599" fmla="*/ 5190245 w 8566434"/>
                <a:gd name="connsiteY599" fmla="*/ 298161 h 2765205"/>
                <a:gd name="connsiteX600" fmla="*/ 5221536 w 8566434"/>
                <a:gd name="connsiteY600" fmla="*/ 325662 h 2765205"/>
                <a:gd name="connsiteX601" fmla="*/ 5193966 w 8566434"/>
                <a:gd name="connsiteY601" fmla="*/ 325938 h 2765205"/>
                <a:gd name="connsiteX602" fmla="*/ 5186316 w 8566434"/>
                <a:gd name="connsiteY602" fmla="*/ 304364 h 2765205"/>
                <a:gd name="connsiteX603" fmla="*/ 5135105 w 8566434"/>
                <a:gd name="connsiteY603" fmla="*/ 294370 h 2765205"/>
                <a:gd name="connsiteX604" fmla="*/ 4705291 w 8566434"/>
                <a:gd name="connsiteY604" fmla="*/ 267627 h 2765205"/>
                <a:gd name="connsiteX605" fmla="*/ 4705980 w 8566434"/>
                <a:gd name="connsiteY605" fmla="*/ 281688 h 2765205"/>
                <a:gd name="connsiteX606" fmla="*/ 4703706 w 8566434"/>
                <a:gd name="connsiteY606" fmla="*/ 267283 h 2765205"/>
                <a:gd name="connsiteX607" fmla="*/ 4645533 w 8566434"/>
                <a:gd name="connsiteY607" fmla="*/ 266662 h 2765205"/>
                <a:gd name="connsiteX608" fmla="*/ 4643672 w 8566434"/>
                <a:gd name="connsiteY608" fmla="*/ 314634 h 2765205"/>
                <a:gd name="connsiteX609" fmla="*/ 4626372 w 8566434"/>
                <a:gd name="connsiteY609" fmla="*/ 283618 h 2765205"/>
                <a:gd name="connsiteX610" fmla="*/ 4627544 w 8566434"/>
                <a:gd name="connsiteY610" fmla="*/ 282653 h 2765205"/>
                <a:gd name="connsiteX611" fmla="*/ 4639812 w 8566434"/>
                <a:gd name="connsiteY611" fmla="*/ 266524 h 2765205"/>
                <a:gd name="connsiteX612" fmla="*/ 4598596 w 8566434"/>
                <a:gd name="connsiteY612" fmla="*/ 260528 h 2765205"/>
                <a:gd name="connsiteX613" fmla="*/ 4599630 w 8566434"/>
                <a:gd name="connsiteY613" fmla="*/ 270040 h 2765205"/>
                <a:gd name="connsiteX614" fmla="*/ 4584742 w 8566434"/>
                <a:gd name="connsiteY614" fmla="*/ 264939 h 2765205"/>
                <a:gd name="connsiteX615" fmla="*/ 4574610 w 8566434"/>
                <a:gd name="connsiteY615" fmla="*/ 295817 h 2765205"/>
                <a:gd name="connsiteX616" fmla="*/ 4561583 w 8566434"/>
                <a:gd name="connsiteY616" fmla="*/ 265835 h 2765205"/>
                <a:gd name="connsiteX617" fmla="*/ 4519953 w 8566434"/>
                <a:gd name="connsiteY617" fmla="*/ 255083 h 2765205"/>
                <a:gd name="connsiteX618" fmla="*/ 4518781 w 8566434"/>
                <a:gd name="connsiteY618" fmla="*/ 281205 h 2765205"/>
                <a:gd name="connsiteX619" fmla="*/ 4517471 w 8566434"/>
                <a:gd name="connsiteY619" fmla="*/ 255634 h 2765205"/>
                <a:gd name="connsiteX620" fmla="*/ 4364941 w 8566434"/>
                <a:gd name="connsiteY620" fmla="*/ 246674 h 2765205"/>
                <a:gd name="connsiteX621" fmla="*/ 4372661 w 8566434"/>
                <a:gd name="connsiteY621" fmla="*/ 264112 h 2765205"/>
                <a:gd name="connsiteX622" fmla="*/ 4383964 w 8566434"/>
                <a:gd name="connsiteY622" fmla="*/ 260183 h 2765205"/>
                <a:gd name="connsiteX623" fmla="*/ 4354740 w 8566434"/>
                <a:gd name="connsiteY623" fmla="*/ 265353 h 2765205"/>
                <a:gd name="connsiteX624" fmla="*/ 4333649 w 8566434"/>
                <a:gd name="connsiteY624" fmla="*/ 253498 h 2765205"/>
                <a:gd name="connsiteX625" fmla="*/ 4362873 w 8566434"/>
                <a:gd name="connsiteY625" fmla="*/ 264250 h 2765205"/>
                <a:gd name="connsiteX626" fmla="*/ 4363425 w 8566434"/>
                <a:gd name="connsiteY626" fmla="*/ 243710 h 2765205"/>
                <a:gd name="connsiteX627" fmla="*/ 4284575 w 8566434"/>
                <a:gd name="connsiteY627" fmla="*/ 241160 h 2765205"/>
                <a:gd name="connsiteX628" fmla="*/ 4285195 w 8566434"/>
                <a:gd name="connsiteY628" fmla="*/ 252740 h 2765205"/>
                <a:gd name="connsiteX629" fmla="*/ 4283334 w 8566434"/>
                <a:gd name="connsiteY629" fmla="*/ 240954 h 2765205"/>
                <a:gd name="connsiteX630" fmla="*/ 4267620 w 8566434"/>
                <a:gd name="connsiteY630" fmla="*/ 241091 h 2765205"/>
                <a:gd name="connsiteX631" fmla="*/ 4267482 w 8566434"/>
                <a:gd name="connsiteY631" fmla="*/ 261493 h 2765205"/>
                <a:gd name="connsiteX632" fmla="*/ 4237499 w 8566434"/>
                <a:gd name="connsiteY632" fmla="*/ 239368 h 2765205"/>
                <a:gd name="connsiteX633" fmla="*/ 4156306 w 8566434"/>
                <a:gd name="connsiteY633" fmla="*/ 234061 h 2765205"/>
                <a:gd name="connsiteX634" fmla="*/ 4178707 w 8566434"/>
                <a:gd name="connsiteY634" fmla="*/ 248122 h 2765205"/>
                <a:gd name="connsiteX635" fmla="*/ 4173951 w 8566434"/>
                <a:gd name="connsiteY635" fmla="*/ 287409 h 2765205"/>
                <a:gd name="connsiteX636" fmla="*/ 4142659 w 8566434"/>
                <a:gd name="connsiteY636" fmla="*/ 253360 h 2765205"/>
                <a:gd name="connsiteX637" fmla="*/ 4128943 w 8566434"/>
                <a:gd name="connsiteY637" fmla="*/ 254394 h 2765205"/>
                <a:gd name="connsiteX638" fmla="*/ 4132665 w 8566434"/>
                <a:gd name="connsiteY638" fmla="*/ 232062 h 2765205"/>
                <a:gd name="connsiteX639" fmla="*/ 4060570 w 8566434"/>
                <a:gd name="connsiteY639" fmla="*/ 228271 h 2765205"/>
                <a:gd name="connsiteX640" fmla="*/ 3804722 w 8566434"/>
                <a:gd name="connsiteY640" fmla="*/ 212970 h 2765205"/>
                <a:gd name="connsiteX641" fmla="*/ 3818989 w 8566434"/>
                <a:gd name="connsiteY641" fmla="*/ 250327 h 2765205"/>
                <a:gd name="connsiteX642" fmla="*/ 3845456 w 8566434"/>
                <a:gd name="connsiteY642" fmla="*/ 233165 h 2765205"/>
                <a:gd name="connsiteX643" fmla="*/ 3837805 w 8566434"/>
                <a:gd name="connsiteY643" fmla="*/ 287478 h 2765205"/>
                <a:gd name="connsiteX644" fmla="*/ 3803757 w 8566434"/>
                <a:gd name="connsiteY644" fmla="*/ 270453 h 2765205"/>
                <a:gd name="connsiteX645" fmla="*/ 3818644 w 8566434"/>
                <a:gd name="connsiteY645" fmla="*/ 252050 h 2765205"/>
                <a:gd name="connsiteX646" fmla="*/ 3801620 w 8566434"/>
                <a:gd name="connsiteY646" fmla="*/ 249431 h 2765205"/>
                <a:gd name="connsiteX647" fmla="*/ 3794038 w 8566434"/>
                <a:gd name="connsiteY647" fmla="*/ 210627 h 2765205"/>
                <a:gd name="connsiteX648" fmla="*/ 3749789 w 8566434"/>
                <a:gd name="connsiteY648" fmla="*/ 208766 h 2765205"/>
                <a:gd name="connsiteX649" fmla="*/ 3742069 w 8566434"/>
                <a:gd name="connsiteY649" fmla="*/ 230132 h 2765205"/>
                <a:gd name="connsiteX650" fmla="*/ 3771500 w 8566434"/>
                <a:gd name="connsiteY650" fmla="*/ 234199 h 2765205"/>
                <a:gd name="connsiteX651" fmla="*/ 3748893 w 8566434"/>
                <a:gd name="connsiteY651" fmla="*/ 243779 h 2765205"/>
                <a:gd name="connsiteX652" fmla="*/ 3749100 w 8566434"/>
                <a:gd name="connsiteY652" fmla="*/ 233854 h 2765205"/>
                <a:gd name="connsiteX653" fmla="*/ 3716981 w 8566434"/>
                <a:gd name="connsiteY653" fmla="*/ 252602 h 2765205"/>
                <a:gd name="connsiteX654" fmla="*/ 3721185 w 8566434"/>
                <a:gd name="connsiteY654" fmla="*/ 220965 h 2765205"/>
                <a:gd name="connsiteX655" fmla="*/ 3744068 w 8566434"/>
                <a:gd name="connsiteY655" fmla="*/ 207732 h 2765205"/>
                <a:gd name="connsiteX656" fmla="*/ 3435699 w 8566434"/>
                <a:gd name="connsiteY656" fmla="*/ 187950 h 2765205"/>
                <a:gd name="connsiteX657" fmla="*/ 3415297 w 8566434"/>
                <a:gd name="connsiteY657" fmla="*/ 229443 h 2765205"/>
                <a:gd name="connsiteX658" fmla="*/ 3407164 w 8566434"/>
                <a:gd name="connsiteY658" fmla="*/ 210971 h 2765205"/>
                <a:gd name="connsiteX659" fmla="*/ 3434665 w 8566434"/>
                <a:gd name="connsiteY659" fmla="*/ 190570 h 2765205"/>
                <a:gd name="connsiteX660" fmla="*/ 3315357 w 8566434"/>
                <a:gd name="connsiteY660" fmla="*/ 180920 h 2765205"/>
                <a:gd name="connsiteX661" fmla="*/ 3333829 w 8566434"/>
                <a:gd name="connsiteY661" fmla="*/ 202700 h 2765205"/>
                <a:gd name="connsiteX662" fmla="*/ 3336034 w 8566434"/>
                <a:gd name="connsiteY662" fmla="*/ 220345 h 2765205"/>
                <a:gd name="connsiteX663" fmla="*/ 3302123 w 8566434"/>
                <a:gd name="connsiteY663" fmla="*/ 222482 h 2765205"/>
                <a:gd name="connsiteX664" fmla="*/ 3313909 w 8566434"/>
                <a:gd name="connsiteY664" fmla="*/ 221034 h 2765205"/>
                <a:gd name="connsiteX665" fmla="*/ 3313082 w 8566434"/>
                <a:gd name="connsiteY665" fmla="*/ 176785 h 2765205"/>
                <a:gd name="connsiteX666" fmla="*/ 3265455 w 8566434"/>
                <a:gd name="connsiteY666" fmla="*/ 236336 h 2765205"/>
                <a:gd name="connsiteX667" fmla="*/ 3257115 w 8566434"/>
                <a:gd name="connsiteY667" fmla="*/ 230063 h 2765205"/>
                <a:gd name="connsiteX668" fmla="*/ 3239264 w 8566434"/>
                <a:gd name="connsiteY668" fmla="*/ 237645 h 2765205"/>
                <a:gd name="connsiteX669" fmla="*/ 3266903 w 8566434"/>
                <a:gd name="connsiteY669" fmla="*/ 177612 h 2765205"/>
                <a:gd name="connsiteX670" fmla="*/ 3244985 w 8566434"/>
                <a:gd name="connsiteY670" fmla="*/ 176991 h 2765205"/>
                <a:gd name="connsiteX671" fmla="*/ 3240367 w 8566434"/>
                <a:gd name="connsiteY671" fmla="*/ 205388 h 2765205"/>
                <a:gd name="connsiteX672" fmla="*/ 3242090 w 8566434"/>
                <a:gd name="connsiteY672" fmla="*/ 176027 h 2765205"/>
                <a:gd name="connsiteX673" fmla="*/ 2925381 w 8566434"/>
                <a:gd name="connsiteY673" fmla="*/ 156796 h 2765205"/>
                <a:gd name="connsiteX674" fmla="*/ 2936271 w 8566434"/>
                <a:gd name="connsiteY674" fmla="*/ 178094 h 2765205"/>
                <a:gd name="connsiteX675" fmla="*/ 2926553 w 8566434"/>
                <a:gd name="connsiteY675" fmla="*/ 180024 h 2765205"/>
                <a:gd name="connsiteX676" fmla="*/ 2920419 w 8566434"/>
                <a:gd name="connsiteY676" fmla="*/ 191741 h 2765205"/>
                <a:gd name="connsiteX677" fmla="*/ 2918696 w 8566434"/>
                <a:gd name="connsiteY677" fmla="*/ 155832 h 2765205"/>
                <a:gd name="connsiteX678" fmla="*/ 2868519 w 8566434"/>
                <a:gd name="connsiteY678" fmla="*/ 157279 h 2765205"/>
                <a:gd name="connsiteX679" fmla="*/ 2871551 w 8566434"/>
                <a:gd name="connsiteY679" fmla="*/ 176027 h 2765205"/>
                <a:gd name="connsiteX680" fmla="*/ 2866037 w 8566434"/>
                <a:gd name="connsiteY680" fmla="*/ 172029 h 2765205"/>
                <a:gd name="connsiteX681" fmla="*/ 2860454 w 8566434"/>
                <a:gd name="connsiteY681" fmla="*/ 156452 h 2765205"/>
                <a:gd name="connsiteX682" fmla="*/ 2856388 w 8566434"/>
                <a:gd name="connsiteY682" fmla="*/ 151834 h 2765205"/>
                <a:gd name="connsiteX683" fmla="*/ 2631556 w 8566434"/>
                <a:gd name="connsiteY683" fmla="*/ 138049 h 2765205"/>
                <a:gd name="connsiteX684" fmla="*/ 2630384 w 8566434"/>
                <a:gd name="connsiteY684" fmla="*/ 150249 h 2765205"/>
                <a:gd name="connsiteX685" fmla="*/ 2629832 w 8566434"/>
                <a:gd name="connsiteY685" fmla="*/ 136877 h 2765205"/>
                <a:gd name="connsiteX686" fmla="*/ 2616254 w 8566434"/>
                <a:gd name="connsiteY686" fmla="*/ 137429 h 2765205"/>
                <a:gd name="connsiteX687" fmla="*/ 2615221 w 8566434"/>
                <a:gd name="connsiteY687" fmla="*/ 177267 h 2765205"/>
                <a:gd name="connsiteX688" fmla="*/ 2593992 w 8566434"/>
                <a:gd name="connsiteY688" fmla="*/ 158933 h 2765205"/>
                <a:gd name="connsiteX689" fmla="*/ 2599437 w 8566434"/>
                <a:gd name="connsiteY689" fmla="*/ 143770 h 2765205"/>
                <a:gd name="connsiteX690" fmla="*/ 2551879 w 8566434"/>
                <a:gd name="connsiteY690" fmla="*/ 139152 h 2765205"/>
                <a:gd name="connsiteX691" fmla="*/ 2544573 w 8566434"/>
                <a:gd name="connsiteY691" fmla="*/ 152248 h 2765205"/>
                <a:gd name="connsiteX692" fmla="*/ 2549673 w 8566434"/>
                <a:gd name="connsiteY692" fmla="*/ 132466 h 2765205"/>
                <a:gd name="connsiteX693" fmla="*/ 2484470 w 8566434"/>
                <a:gd name="connsiteY693" fmla="*/ 142943 h 2765205"/>
                <a:gd name="connsiteX694" fmla="*/ 2488261 w 8566434"/>
                <a:gd name="connsiteY694" fmla="*/ 127848 h 2765205"/>
                <a:gd name="connsiteX695" fmla="*/ 2431398 w 8566434"/>
                <a:gd name="connsiteY695" fmla="*/ 124057 h 2765205"/>
                <a:gd name="connsiteX696" fmla="*/ 2425885 w 8566434"/>
                <a:gd name="connsiteY696" fmla="*/ 142667 h 2765205"/>
                <a:gd name="connsiteX697" fmla="*/ 2424575 w 8566434"/>
                <a:gd name="connsiteY697" fmla="*/ 124678 h 2765205"/>
                <a:gd name="connsiteX698" fmla="*/ 2343520 w 8566434"/>
                <a:gd name="connsiteY698" fmla="*/ 120198 h 2765205"/>
                <a:gd name="connsiteX699" fmla="*/ 2312572 w 8566434"/>
                <a:gd name="connsiteY699" fmla="*/ 124747 h 2765205"/>
                <a:gd name="connsiteX700" fmla="*/ 2295755 w 8566434"/>
                <a:gd name="connsiteY700" fmla="*/ 117303 h 2765205"/>
                <a:gd name="connsiteX701" fmla="*/ 2100698 w 8566434"/>
                <a:gd name="connsiteY701" fmla="*/ 105448 h 2765205"/>
                <a:gd name="connsiteX702" fmla="*/ 2099182 w 8566434"/>
                <a:gd name="connsiteY702" fmla="*/ 128262 h 2765205"/>
                <a:gd name="connsiteX703" fmla="*/ 2108969 w 8566434"/>
                <a:gd name="connsiteY703" fmla="*/ 148250 h 2765205"/>
                <a:gd name="connsiteX704" fmla="*/ 2090635 w 8566434"/>
                <a:gd name="connsiteY704" fmla="*/ 128675 h 2765205"/>
                <a:gd name="connsiteX705" fmla="*/ 2084501 w 8566434"/>
                <a:gd name="connsiteY705" fmla="*/ 146320 h 2765205"/>
                <a:gd name="connsiteX706" fmla="*/ 2068579 w 8566434"/>
                <a:gd name="connsiteY706" fmla="*/ 147492 h 2765205"/>
                <a:gd name="connsiteX707" fmla="*/ 2080917 w 8566434"/>
                <a:gd name="connsiteY707" fmla="*/ 143563 h 2765205"/>
                <a:gd name="connsiteX708" fmla="*/ 2085121 w 8566434"/>
                <a:gd name="connsiteY708" fmla="*/ 117096 h 2765205"/>
                <a:gd name="connsiteX709" fmla="*/ 2096287 w 8566434"/>
                <a:gd name="connsiteY709" fmla="*/ 130536 h 2765205"/>
                <a:gd name="connsiteX710" fmla="*/ 2100216 w 8566434"/>
                <a:gd name="connsiteY710" fmla="*/ 104758 h 2765205"/>
                <a:gd name="connsiteX711" fmla="*/ 1992349 w 8566434"/>
                <a:gd name="connsiteY711" fmla="*/ 98555 h 2765205"/>
                <a:gd name="connsiteX712" fmla="*/ 1981045 w 8566434"/>
                <a:gd name="connsiteY712" fmla="*/ 128537 h 2765205"/>
                <a:gd name="connsiteX713" fmla="*/ 1990694 w 8566434"/>
                <a:gd name="connsiteY713" fmla="*/ 97866 h 2765205"/>
                <a:gd name="connsiteX714" fmla="*/ 1861874 w 8566434"/>
                <a:gd name="connsiteY714" fmla="*/ 90009 h 2765205"/>
                <a:gd name="connsiteX715" fmla="*/ 1863666 w 8566434"/>
                <a:gd name="connsiteY715" fmla="*/ 105517 h 2765205"/>
                <a:gd name="connsiteX716" fmla="*/ 1858566 w 8566434"/>
                <a:gd name="connsiteY716" fmla="*/ 106550 h 2765205"/>
                <a:gd name="connsiteX717" fmla="*/ 1860703 w 8566434"/>
                <a:gd name="connsiteY717" fmla="*/ 85666 h 2765205"/>
                <a:gd name="connsiteX718" fmla="*/ 1851122 w 8566434"/>
                <a:gd name="connsiteY718" fmla="*/ 98211 h 2765205"/>
                <a:gd name="connsiteX719" fmla="*/ 1846228 w 8566434"/>
                <a:gd name="connsiteY719" fmla="*/ 145355 h 2765205"/>
                <a:gd name="connsiteX720" fmla="*/ 1845953 w 8566434"/>
                <a:gd name="connsiteY720" fmla="*/ 126814 h 2765205"/>
                <a:gd name="connsiteX721" fmla="*/ 1838095 w 8566434"/>
                <a:gd name="connsiteY721" fmla="*/ 128606 h 2765205"/>
                <a:gd name="connsiteX722" fmla="*/ 1834511 w 8566434"/>
                <a:gd name="connsiteY722" fmla="*/ 133500 h 2765205"/>
                <a:gd name="connsiteX723" fmla="*/ 1804667 w 8566434"/>
                <a:gd name="connsiteY723" fmla="*/ 136808 h 2765205"/>
                <a:gd name="connsiteX724" fmla="*/ 1806390 w 8566434"/>
                <a:gd name="connsiteY724" fmla="*/ 148801 h 2765205"/>
                <a:gd name="connsiteX725" fmla="*/ 1802186 w 8566434"/>
                <a:gd name="connsiteY725" fmla="*/ 196015 h 2765205"/>
                <a:gd name="connsiteX726" fmla="*/ 1796741 w 8566434"/>
                <a:gd name="connsiteY726" fmla="*/ 144597 h 2765205"/>
                <a:gd name="connsiteX727" fmla="*/ 1785161 w 8566434"/>
                <a:gd name="connsiteY727" fmla="*/ 139910 h 2765205"/>
                <a:gd name="connsiteX728" fmla="*/ 1784679 w 8566434"/>
                <a:gd name="connsiteY728" fmla="*/ 209937 h 2765205"/>
                <a:gd name="connsiteX729" fmla="*/ 1809078 w 8566434"/>
                <a:gd name="connsiteY729" fmla="*/ 213521 h 2765205"/>
                <a:gd name="connsiteX730" fmla="*/ 1816453 w 8566434"/>
                <a:gd name="connsiteY730" fmla="*/ 190570 h 2765205"/>
                <a:gd name="connsiteX731" fmla="*/ 1813834 w 8566434"/>
                <a:gd name="connsiteY731" fmla="*/ 208283 h 2765205"/>
                <a:gd name="connsiteX732" fmla="*/ 1834787 w 8566434"/>
                <a:gd name="connsiteY732" fmla="*/ 211661 h 2765205"/>
                <a:gd name="connsiteX733" fmla="*/ 1844919 w 8566434"/>
                <a:gd name="connsiteY733" fmla="*/ 191466 h 2765205"/>
                <a:gd name="connsiteX734" fmla="*/ 1845953 w 8566434"/>
                <a:gd name="connsiteY734" fmla="*/ 175682 h 2765205"/>
                <a:gd name="connsiteX735" fmla="*/ 1849675 w 8566434"/>
                <a:gd name="connsiteY735" fmla="*/ 192086 h 2765205"/>
                <a:gd name="connsiteX736" fmla="*/ 1836993 w 8566434"/>
                <a:gd name="connsiteY736" fmla="*/ 211454 h 2765205"/>
                <a:gd name="connsiteX737" fmla="*/ 2133782 w 8566434"/>
                <a:gd name="connsiteY737" fmla="*/ 230890 h 2765205"/>
                <a:gd name="connsiteX738" fmla="*/ 2141157 w 8566434"/>
                <a:gd name="connsiteY738" fmla="*/ 204699 h 2765205"/>
                <a:gd name="connsiteX739" fmla="*/ 2136125 w 8566434"/>
                <a:gd name="connsiteY739" fmla="*/ 231304 h 2765205"/>
                <a:gd name="connsiteX740" fmla="*/ 2208427 w 8566434"/>
                <a:gd name="connsiteY740" fmla="*/ 234888 h 2765205"/>
                <a:gd name="connsiteX741" fmla="*/ 2207531 w 8566434"/>
                <a:gd name="connsiteY741" fmla="*/ 215520 h 2765205"/>
                <a:gd name="connsiteX742" fmla="*/ 2188164 w 8566434"/>
                <a:gd name="connsiteY742" fmla="*/ 225514 h 2765205"/>
                <a:gd name="connsiteX743" fmla="*/ 2189542 w 8566434"/>
                <a:gd name="connsiteY743" fmla="*/ 207180 h 2765205"/>
                <a:gd name="connsiteX744" fmla="*/ 2211874 w 8566434"/>
                <a:gd name="connsiteY744" fmla="*/ 206698 h 2765205"/>
                <a:gd name="connsiteX745" fmla="*/ 2210219 w 8566434"/>
                <a:gd name="connsiteY745" fmla="*/ 213246 h 2765205"/>
                <a:gd name="connsiteX746" fmla="*/ 2238616 w 8566434"/>
                <a:gd name="connsiteY746" fmla="*/ 214555 h 2765205"/>
                <a:gd name="connsiteX747" fmla="*/ 2212839 w 8566434"/>
                <a:gd name="connsiteY747" fmla="*/ 216623 h 2765205"/>
                <a:gd name="connsiteX748" fmla="*/ 2256261 w 8566434"/>
                <a:gd name="connsiteY748" fmla="*/ 238197 h 2765205"/>
                <a:gd name="connsiteX749" fmla="*/ 2258811 w 8566434"/>
                <a:gd name="connsiteY749" fmla="*/ 225721 h 2765205"/>
                <a:gd name="connsiteX750" fmla="*/ 2257777 w 8566434"/>
                <a:gd name="connsiteY750" fmla="*/ 239230 h 2765205"/>
                <a:gd name="connsiteX751" fmla="*/ 2282315 w 8566434"/>
                <a:gd name="connsiteY751" fmla="*/ 237231 h 2765205"/>
                <a:gd name="connsiteX752" fmla="*/ 2272045 w 8566434"/>
                <a:gd name="connsiteY752" fmla="*/ 209937 h 2765205"/>
                <a:gd name="connsiteX753" fmla="*/ 2315398 w 8566434"/>
                <a:gd name="connsiteY753" fmla="*/ 196980 h 2765205"/>
                <a:gd name="connsiteX754" fmla="*/ 2311194 w 8566434"/>
                <a:gd name="connsiteY754" fmla="*/ 228754 h 2765205"/>
                <a:gd name="connsiteX755" fmla="*/ 2289483 w 8566434"/>
                <a:gd name="connsiteY755" fmla="*/ 233441 h 2765205"/>
                <a:gd name="connsiteX756" fmla="*/ 2290861 w 8566434"/>
                <a:gd name="connsiteY756" fmla="*/ 240540 h 2765205"/>
                <a:gd name="connsiteX757" fmla="*/ 2369297 w 8566434"/>
                <a:gd name="connsiteY757" fmla="*/ 245640 h 2765205"/>
                <a:gd name="connsiteX758" fmla="*/ 2360958 w 8566434"/>
                <a:gd name="connsiteY758" fmla="*/ 197117 h 2765205"/>
                <a:gd name="connsiteX759" fmla="*/ 2325255 w 8566434"/>
                <a:gd name="connsiteY759" fmla="*/ 188088 h 2765205"/>
                <a:gd name="connsiteX760" fmla="*/ 2359786 w 8566434"/>
                <a:gd name="connsiteY760" fmla="*/ 155349 h 2765205"/>
                <a:gd name="connsiteX761" fmla="*/ 2345450 w 8566434"/>
                <a:gd name="connsiteY761" fmla="*/ 183264 h 2765205"/>
                <a:gd name="connsiteX762" fmla="*/ 2378327 w 8566434"/>
                <a:gd name="connsiteY762" fmla="*/ 189053 h 2765205"/>
                <a:gd name="connsiteX763" fmla="*/ 2379981 w 8566434"/>
                <a:gd name="connsiteY763" fmla="*/ 177956 h 2765205"/>
                <a:gd name="connsiteX764" fmla="*/ 2398315 w 8566434"/>
                <a:gd name="connsiteY764" fmla="*/ 178301 h 2765205"/>
                <a:gd name="connsiteX765" fmla="*/ 2373019 w 8566434"/>
                <a:gd name="connsiteY765" fmla="*/ 206284 h 2765205"/>
                <a:gd name="connsiteX766" fmla="*/ 2373846 w 8566434"/>
                <a:gd name="connsiteY766" fmla="*/ 248397 h 2765205"/>
                <a:gd name="connsiteX767" fmla="*/ 2394455 w 8566434"/>
                <a:gd name="connsiteY767" fmla="*/ 228271 h 2765205"/>
                <a:gd name="connsiteX768" fmla="*/ 2412651 w 8566434"/>
                <a:gd name="connsiteY768" fmla="*/ 228547 h 2765205"/>
                <a:gd name="connsiteX769" fmla="*/ 2414098 w 8566434"/>
                <a:gd name="connsiteY769" fmla="*/ 248191 h 2765205"/>
                <a:gd name="connsiteX770" fmla="*/ 2466550 w 8566434"/>
                <a:gd name="connsiteY770" fmla="*/ 238817 h 2765205"/>
                <a:gd name="connsiteX771" fmla="*/ 2470548 w 8566434"/>
                <a:gd name="connsiteY771" fmla="*/ 251292 h 2765205"/>
                <a:gd name="connsiteX772" fmla="*/ 2592820 w 8566434"/>
                <a:gd name="connsiteY772" fmla="*/ 259494 h 2765205"/>
                <a:gd name="connsiteX773" fmla="*/ 2601091 w 8566434"/>
                <a:gd name="connsiteY773" fmla="*/ 247984 h 2765205"/>
                <a:gd name="connsiteX774" fmla="*/ 2619425 w 8566434"/>
                <a:gd name="connsiteY774" fmla="*/ 261424 h 2765205"/>
                <a:gd name="connsiteX775" fmla="*/ 2648097 w 8566434"/>
                <a:gd name="connsiteY775" fmla="*/ 254601 h 2765205"/>
                <a:gd name="connsiteX776" fmla="*/ 2649890 w 8566434"/>
                <a:gd name="connsiteY776" fmla="*/ 246467 h 2765205"/>
                <a:gd name="connsiteX777" fmla="*/ 2649338 w 8566434"/>
                <a:gd name="connsiteY777" fmla="*/ 262596 h 2765205"/>
                <a:gd name="connsiteX778" fmla="*/ 3164825 w 8566434"/>
                <a:gd name="connsiteY778" fmla="*/ 294990 h 2765205"/>
                <a:gd name="connsiteX779" fmla="*/ 3178886 w 8566434"/>
                <a:gd name="connsiteY779" fmla="*/ 275760 h 2765205"/>
                <a:gd name="connsiteX780" fmla="*/ 3173027 w 8566434"/>
                <a:gd name="connsiteY780" fmla="*/ 265491 h 2765205"/>
                <a:gd name="connsiteX781" fmla="*/ 3198116 w 8566434"/>
                <a:gd name="connsiteY781" fmla="*/ 280723 h 2765205"/>
                <a:gd name="connsiteX782" fmla="*/ 3220654 w 8566434"/>
                <a:gd name="connsiteY782" fmla="*/ 298092 h 2765205"/>
                <a:gd name="connsiteX783" fmla="*/ 3231613 w 8566434"/>
                <a:gd name="connsiteY783" fmla="*/ 298781 h 2765205"/>
                <a:gd name="connsiteX784" fmla="*/ 3231407 w 8566434"/>
                <a:gd name="connsiteY784" fmla="*/ 239093 h 2765205"/>
                <a:gd name="connsiteX785" fmla="*/ 3228650 w 8566434"/>
                <a:gd name="connsiteY785" fmla="*/ 283962 h 2765205"/>
                <a:gd name="connsiteX786" fmla="*/ 3245881 w 8566434"/>
                <a:gd name="connsiteY786" fmla="*/ 299953 h 2765205"/>
                <a:gd name="connsiteX787" fmla="*/ 3322249 w 8566434"/>
                <a:gd name="connsiteY787" fmla="*/ 305053 h 2765205"/>
                <a:gd name="connsiteX788" fmla="*/ 3311980 w 8566434"/>
                <a:gd name="connsiteY788" fmla="*/ 253222 h 2765205"/>
                <a:gd name="connsiteX789" fmla="*/ 3327074 w 8566434"/>
                <a:gd name="connsiteY789" fmla="*/ 236404 h 2765205"/>
                <a:gd name="connsiteX790" fmla="*/ 3343065 w 8566434"/>
                <a:gd name="connsiteY790" fmla="*/ 234199 h 2765205"/>
                <a:gd name="connsiteX791" fmla="*/ 3350646 w 8566434"/>
                <a:gd name="connsiteY791" fmla="*/ 204561 h 2765205"/>
                <a:gd name="connsiteX792" fmla="*/ 3363397 w 8566434"/>
                <a:gd name="connsiteY792" fmla="*/ 212212 h 2765205"/>
                <a:gd name="connsiteX793" fmla="*/ 3391243 w 8566434"/>
                <a:gd name="connsiteY793" fmla="*/ 211109 h 2765205"/>
                <a:gd name="connsiteX794" fmla="*/ 3388761 w 8566434"/>
                <a:gd name="connsiteY794" fmla="*/ 227996 h 2765205"/>
                <a:gd name="connsiteX795" fmla="*/ 3374012 w 8566434"/>
                <a:gd name="connsiteY795" fmla="*/ 236887 h 2765205"/>
                <a:gd name="connsiteX796" fmla="*/ 3372220 w 8566434"/>
                <a:gd name="connsiteY796" fmla="*/ 221448 h 2765205"/>
                <a:gd name="connsiteX797" fmla="*/ 3330589 w 8566434"/>
                <a:gd name="connsiteY797" fmla="*/ 305949 h 2765205"/>
                <a:gd name="connsiteX798" fmla="*/ 3374287 w 8566434"/>
                <a:gd name="connsiteY798" fmla="*/ 304984 h 2765205"/>
                <a:gd name="connsiteX799" fmla="*/ 3402684 w 8566434"/>
                <a:gd name="connsiteY799" fmla="*/ 304157 h 2765205"/>
                <a:gd name="connsiteX800" fmla="*/ 3477261 w 8566434"/>
                <a:gd name="connsiteY800" fmla="*/ 310981 h 2765205"/>
                <a:gd name="connsiteX801" fmla="*/ 3493803 w 8566434"/>
                <a:gd name="connsiteY801" fmla="*/ 315392 h 2765205"/>
                <a:gd name="connsiteX802" fmla="*/ 3509724 w 8566434"/>
                <a:gd name="connsiteY802" fmla="*/ 308775 h 2765205"/>
                <a:gd name="connsiteX803" fmla="*/ 3560935 w 8566434"/>
                <a:gd name="connsiteY803" fmla="*/ 320424 h 2765205"/>
                <a:gd name="connsiteX804" fmla="*/ 3559350 w 8566434"/>
                <a:gd name="connsiteY804" fmla="*/ 300091 h 2765205"/>
                <a:gd name="connsiteX805" fmla="*/ 3577477 w 8566434"/>
                <a:gd name="connsiteY805" fmla="*/ 320630 h 2765205"/>
                <a:gd name="connsiteX806" fmla="*/ 3647780 w 8566434"/>
                <a:gd name="connsiteY806" fmla="*/ 324697 h 2765205"/>
                <a:gd name="connsiteX807" fmla="*/ 3656120 w 8566434"/>
                <a:gd name="connsiteY807" fmla="*/ 306156 h 2765205"/>
                <a:gd name="connsiteX808" fmla="*/ 3654673 w 8566434"/>
                <a:gd name="connsiteY808" fmla="*/ 325386 h 2765205"/>
                <a:gd name="connsiteX809" fmla="*/ 3792315 w 8566434"/>
                <a:gd name="connsiteY809" fmla="*/ 333588 h 2765205"/>
                <a:gd name="connsiteX810" fmla="*/ 3796313 w 8566434"/>
                <a:gd name="connsiteY810" fmla="*/ 306983 h 2765205"/>
                <a:gd name="connsiteX811" fmla="*/ 3797691 w 8566434"/>
                <a:gd name="connsiteY811" fmla="*/ 333657 h 2765205"/>
                <a:gd name="connsiteX812" fmla="*/ 4025556 w 8566434"/>
                <a:gd name="connsiteY812" fmla="*/ 349234 h 2765205"/>
                <a:gd name="connsiteX813" fmla="*/ 4021765 w 8566434"/>
                <a:gd name="connsiteY813" fmla="*/ 329522 h 2765205"/>
                <a:gd name="connsiteX814" fmla="*/ 4029760 w 8566434"/>
                <a:gd name="connsiteY814" fmla="*/ 349303 h 2765205"/>
                <a:gd name="connsiteX815" fmla="*/ 4077663 w 8566434"/>
                <a:gd name="connsiteY815" fmla="*/ 351509 h 2765205"/>
                <a:gd name="connsiteX816" fmla="*/ 4067118 w 8566434"/>
                <a:gd name="connsiteY816" fmla="*/ 322560 h 2765205"/>
                <a:gd name="connsiteX817" fmla="*/ 4040926 w 8566434"/>
                <a:gd name="connsiteY817" fmla="*/ 343789 h 2765205"/>
                <a:gd name="connsiteX818" fmla="*/ 4036377 w 8566434"/>
                <a:gd name="connsiteY818" fmla="*/ 313462 h 2765205"/>
                <a:gd name="connsiteX819" fmla="*/ 4055814 w 8566434"/>
                <a:gd name="connsiteY819" fmla="*/ 300987 h 2765205"/>
                <a:gd name="connsiteX820" fmla="*/ 4057951 w 8566434"/>
                <a:gd name="connsiteY820" fmla="*/ 320768 h 2765205"/>
                <a:gd name="connsiteX821" fmla="*/ 4071873 w 8566434"/>
                <a:gd name="connsiteY821" fmla="*/ 302710 h 2765205"/>
                <a:gd name="connsiteX822" fmla="*/ 4090207 w 8566434"/>
                <a:gd name="connsiteY822" fmla="*/ 327040 h 2765205"/>
                <a:gd name="connsiteX823" fmla="*/ 4080558 w 8566434"/>
                <a:gd name="connsiteY823" fmla="*/ 350681 h 2765205"/>
                <a:gd name="connsiteX824" fmla="*/ 4501894 w 8566434"/>
                <a:gd name="connsiteY824" fmla="*/ 378665 h 2765205"/>
                <a:gd name="connsiteX825" fmla="*/ 4804956 w 8566434"/>
                <a:gd name="connsiteY825" fmla="*/ 399480 h 2765205"/>
                <a:gd name="connsiteX826" fmla="*/ 4808816 w 8566434"/>
                <a:gd name="connsiteY826" fmla="*/ 378734 h 2765205"/>
                <a:gd name="connsiteX827" fmla="*/ 4865610 w 8566434"/>
                <a:gd name="connsiteY827" fmla="*/ 401548 h 2765205"/>
                <a:gd name="connsiteX828" fmla="*/ 4863266 w 8566434"/>
                <a:gd name="connsiteY828" fmla="*/ 384661 h 2765205"/>
                <a:gd name="connsiteX829" fmla="*/ 4874707 w 8566434"/>
                <a:gd name="connsiteY829" fmla="*/ 398515 h 2765205"/>
                <a:gd name="connsiteX830" fmla="*/ 4958175 w 8566434"/>
                <a:gd name="connsiteY830" fmla="*/ 407269 h 2765205"/>
                <a:gd name="connsiteX831" fmla="*/ 4959623 w 8566434"/>
                <a:gd name="connsiteY831" fmla="*/ 390244 h 2765205"/>
                <a:gd name="connsiteX832" fmla="*/ 4960243 w 8566434"/>
                <a:gd name="connsiteY832" fmla="*/ 407751 h 2765205"/>
                <a:gd name="connsiteX833" fmla="*/ 5111946 w 8566434"/>
                <a:gd name="connsiteY833" fmla="*/ 416436 h 2765205"/>
                <a:gd name="connsiteX834" fmla="*/ 5142687 w 8566434"/>
                <a:gd name="connsiteY834" fmla="*/ 406510 h 2765205"/>
                <a:gd name="connsiteX835" fmla="*/ 5125593 w 8566434"/>
                <a:gd name="connsiteY835" fmla="*/ 407475 h 2765205"/>
                <a:gd name="connsiteX836" fmla="*/ 5128005 w 8566434"/>
                <a:gd name="connsiteY836" fmla="*/ 419882 h 2765205"/>
                <a:gd name="connsiteX837" fmla="*/ 5214437 w 8566434"/>
                <a:gd name="connsiteY837" fmla="*/ 423190 h 2765205"/>
                <a:gd name="connsiteX838" fmla="*/ 5214299 w 8566434"/>
                <a:gd name="connsiteY838" fmla="*/ 404029 h 2765205"/>
                <a:gd name="connsiteX839" fmla="*/ 5219813 w 8566434"/>
                <a:gd name="connsiteY839" fmla="*/ 422846 h 2765205"/>
                <a:gd name="connsiteX840" fmla="*/ 5315136 w 8566434"/>
                <a:gd name="connsiteY840" fmla="*/ 429738 h 2765205"/>
                <a:gd name="connsiteX841" fmla="*/ 5346910 w 8566434"/>
                <a:gd name="connsiteY841" fmla="*/ 426223 h 2765205"/>
                <a:gd name="connsiteX842" fmla="*/ 5380890 w 8566434"/>
                <a:gd name="connsiteY842" fmla="*/ 427877 h 2765205"/>
                <a:gd name="connsiteX843" fmla="*/ 5440510 w 8566434"/>
                <a:gd name="connsiteY843" fmla="*/ 438147 h 2765205"/>
                <a:gd name="connsiteX844" fmla="*/ 5449815 w 8566434"/>
                <a:gd name="connsiteY844" fmla="*/ 409750 h 2765205"/>
                <a:gd name="connsiteX845" fmla="*/ 5447196 w 8566434"/>
                <a:gd name="connsiteY845" fmla="*/ 436355 h 2765205"/>
                <a:gd name="connsiteX846" fmla="*/ 5670787 w 8566434"/>
                <a:gd name="connsiteY846" fmla="*/ 452345 h 2765205"/>
                <a:gd name="connsiteX847" fmla="*/ 5676921 w 8566434"/>
                <a:gd name="connsiteY847" fmla="*/ 432357 h 2765205"/>
                <a:gd name="connsiteX848" fmla="*/ 5673750 w 8566434"/>
                <a:gd name="connsiteY848" fmla="*/ 450691 h 2765205"/>
                <a:gd name="connsiteX849" fmla="*/ 6153604 w 8566434"/>
                <a:gd name="connsiteY849" fmla="*/ 481845 h 2765205"/>
                <a:gd name="connsiteX850" fmla="*/ 6137131 w 8566434"/>
                <a:gd name="connsiteY850" fmla="*/ 454964 h 2765205"/>
                <a:gd name="connsiteX851" fmla="*/ 6158911 w 8566434"/>
                <a:gd name="connsiteY851" fmla="*/ 473505 h 2765205"/>
                <a:gd name="connsiteX852" fmla="*/ 6158291 w 8566434"/>
                <a:gd name="connsiteY852" fmla="*/ 483086 h 2765205"/>
                <a:gd name="connsiteX853" fmla="*/ 6207710 w 8566434"/>
                <a:gd name="connsiteY853" fmla="*/ 482397 h 2765205"/>
                <a:gd name="connsiteX854" fmla="*/ 6258439 w 8566434"/>
                <a:gd name="connsiteY854" fmla="*/ 486187 h 2765205"/>
                <a:gd name="connsiteX855" fmla="*/ 6266089 w 8566434"/>
                <a:gd name="connsiteY855" fmla="*/ 488255 h 2765205"/>
                <a:gd name="connsiteX856" fmla="*/ 6293590 w 8566434"/>
                <a:gd name="connsiteY856" fmla="*/ 487221 h 2765205"/>
                <a:gd name="connsiteX857" fmla="*/ 6294072 w 8566434"/>
                <a:gd name="connsiteY857" fmla="*/ 461581 h 2765205"/>
                <a:gd name="connsiteX858" fmla="*/ 6311373 w 8566434"/>
                <a:gd name="connsiteY858" fmla="*/ 452483 h 2765205"/>
                <a:gd name="connsiteX859" fmla="*/ 6332463 w 8566434"/>
                <a:gd name="connsiteY859" fmla="*/ 494045 h 2765205"/>
                <a:gd name="connsiteX860" fmla="*/ 468494 w 8566434"/>
                <a:gd name="connsiteY860" fmla="*/ 225170 h 2765205"/>
                <a:gd name="connsiteX861" fmla="*/ 472009 w 8566434"/>
                <a:gd name="connsiteY861" fmla="*/ 210558 h 2765205"/>
                <a:gd name="connsiteX862" fmla="*/ 489654 w 8566434"/>
                <a:gd name="connsiteY862" fmla="*/ 205113 h 2765205"/>
                <a:gd name="connsiteX863" fmla="*/ 497994 w 8566434"/>
                <a:gd name="connsiteY863" fmla="*/ 218139 h 2765205"/>
                <a:gd name="connsiteX864" fmla="*/ 468494 w 8566434"/>
                <a:gd name="connsiteY864" fmla="*/ 225170 h 2765205"/>
                <a:gd name="connsiteX865" fmla="*/ 435962 w 8566434"/>
                <a:gd name="connsiteY865" fmla="*/ 222206 h 2765205"/>
                <a:gd name="connsiteX866" fmla="*/ 439890 w 8566434"/>
                <a:gd name="connsiteY866" fmla="*/ 206491 h 2765205"/>
                <a:gd name="connsiteX867" fmla="*/ 435962 w 8566434"/>
                <a:gd name="connsiteY867" fmla="*/ 222206 h 2765205"/>
                <a:gd name="connsiteX868" fmla="*/ 408322 w 8566434"/>
                <a:gd name="connsiteY868" fmla="*/ 223929 h 2765205"/>
                <a:gd name="connsiteX869" fmla="*/ 408322 w 8566434"/>
                <a:gd name="connsiteY869" fmla="*/ 223929 h 2765205"/>
                <a:gd name="connsiteX870" fmla="*/ 326165 w 8566434"/>
                <a:gd name="connsiteY870" fmla="*/ 280172 h 2765205"/>
                <a:gd name="connsiteX871" fmla="*/ 336022 w 8566434"/>
                <a:gd name="connsiteY871" fmla="*/ 260046 h 2765205"/>
                <a:gd name="connsiteX872" fmla="*/ 326165 w 8566434"/>
                <a:gd name="connsiteY872" fmla="*/ 280172 h 2765205"/>
                <a:gd name="connsiteX873" fmla="*/ 305277 w 8566434"/>
                <a:gd name="connsiteY873" fmla="*/ 334898 h 2765205"/>
                <a:gd name="connsiteX874" fmla="*/ 323337 w 8566434"/>
                <a:gd name="connsiteY874" fmla="*/ 325800 h 2765205"/>
                <a:gd name="connsiteX875" fmla="*/ 305277 w 8566434"/>
                <a:gd name="connsiteY875" fmla="*/ 334898 h 2765205"/>
                <a:gd name="connsiteX876" fmla="*/ 306521 w 8566434"/>
                <a:gd name="connsiteY876" fmla="*/ 444074 h 2765205"/>
                <a:gd name="connsiteX877" fmla="*/ 306521 w 8566434"/>
                <a:gd name="connsiteY877" fmla="*/ 444074 h 2765205"/>
                <a:gd name="connsiteX878" fmla="*/ 284810 w 8566434"/>
                <a:gd name="connsiteY878" fmla="*/ 513068 h 2765205"/>
                <a:gd name="connsiteX879" fmla="*/ 284810 w 8566434"/>
                <a:gd name="connsiteY879" fmla="*/ 513068 h 2765205"/>
                <a:gd name="connsiteX880" fmla="*/ 293358 w 8566434"/>
                <a:gd name="connsiteY880" fmla="*/ 562349 h 2765205"/>
                <a:gd name="connsiteX881" fmla="*/ 303212 w 8566434"/>
                <a:gd name="connsiteY881" fmla="*/ 563383 h 2765205"/>
                <a:gd name="connsiteX882" fmla="*/ 304935 w 8566434"/>
                <a:gd name="connsiteY882" fmla="*/ 537123 h 2765205"/>
                <a:gd name="connsiteX883" fmla="*/ 298595 w 8566434"/>
                <a:gd name="connsiteY883" fmla="*/ 522786 h 2765205"/>
                <a:gd name="connsiteX884" fmla="*/ 315207 w 8566434"/>
                <a:gd name="connsiteY884" fmla="*/ 521408 h 2765205"/>
                <a:gd name="connsiteX885" fmla="*/ 319891 w 8566434"/>
                <a:gd name="connsiteY885" fmla="*/ 525199 h 2765205"/>
                <a:gd name="connsiteX886" fmla="*/ 326507 w 8566434"/>
                <a:gd name="connsiteY886" fmla="*/ 464890 h 2765205"/>
                <a:gd name="connsiteX887" fmla="*/ 327336 w 8566434"/>
                <a:gd name="connsiteY887" fmla="*/ 447521 h 2765205"/>
                <a:gd name="connsiteX888" fmla="*/ 331334 w 8566434"/>
                <a:gd name="connsiteY888" fmla="*/ 400032 h 2765205"/>
                <a:gd name="connsiteX889" fmla="*/ 310382 w 8566434"/>
                <a:gd name="connsiteY889" fmla="*/ 405132 h 2765205"/>
                <a:gd name="connsiteX890" fmla="*/ 331816 w 8566434"/>
                <a:gd name="connsiteY890" fmla="*/ 390727 h 2765205"/>
                <a:gd name="connsiteX891" fmla="*/ 328854 w 8566434"/>
                <a:gd name="connsiteY891" fmla="*/ 363846 h 2765205"/>
                <a:gd name="connsiteX892" fmla="*/ 304179 w 8566434"/>
                <a:gd name="connsiteY892" fmla="*/ 354817 h 2765205"/>
                <a:gd name="connsiteX893" fmla="*/ 333125 w 8566434"/>
                <a:gd name="connsiteY893" fmla="*/ 354403 h 2765205"/>
                <a:gd name="connsiteX894" fmla="*/ 366763 w 8566434"/>
                <a:gd name="connsiteY894" fmla="*/ 281688 h 2765205"/>
                <a:gd name="connsiteX895" fmla="*/ 411150 w 8566434"/>
                <a:gd name="connsiteY895" fmla="*/ 243710 h 2765205"/>
                <a:gd name="connsiteX896" fmla="*/ 447472 w 8566434"/>
                <a:gd name="connsiteY896" fmla="*/ 236060 h 2765205"/>
                <a:gd name="connsiteX897" fmla="*/ 449264 w 8566434"/>
                <a:gd name="connsiteY897" fmla="*/ 219656 h 2765205"/>
                <a:gd name="connsiteX898" fmla="*/ 460292 w 8566434"/>
                <a:gd name="connsiteY898" fmla="*/ 212005 h 2765205"/>
                <a:gd name="connsiteX899" fmla="*/ 465530 w 8566434"/>
                <a:gd name="connsiteY899" fmla="*/ 229788 h 2765205"/>
                <a:gd name="connsiteX900" fmla="*/ 534317 w 8566434"/>
                <a:gd name="connsiteY900" fmla="*/ 229994 h 2765205"/>
                <a:gd name="connsiteX901" fmla="*/ 540245 w 8566434"/>
                <a:gd name="connsiteY901" fmla="*/ 206284 h 2765205"/>
                <a:gd name="connsiteX902" fmla="*/ 556580 w 8566434"/>
                <a:gd name="connsiteY902" fmla="*/ 209179 h 2765205"/>
                <a:gd name="connsiteX903" fmla="*/ 545897 w 8566434"/>
                <a:gd name="connsiteY903" fmla="*/ 199668 h 2765205"/>
                <a:gd name="connsiteX904" fmla="*/ 536867 w 8566434"/>
                <a:gd name="connsiteY904" fmla="*/ 191535 h 2765205"/>
                <a:gd name="connsiteX905" fmla="*/ 526529 w 8566434"/>
                <a:gd name="connsiteY905" fmla="*/ 196015 h 2765205"/>
                <a:gd name="connsiteX906" fmla="*/ 489654 w 8566434"/>
                <a:gd name="connsiteY906" fmla="*/ 196359 h 2765205"/>
                <a:gd name="connsiteX907" fmla="*/ 478488 w 8566434"/>
                <a:gd name="connsiteY907" fmla="*/ 186572 h 2765205"/>
                <a:gd name="connsiteX908" fmla="*/ 303490 w 8566434"/>
                <a:gd name="connsiteY908" fmla="*/ 283480 h 2765205"/>
                <a:gd name="connsiteX909" fmla="*/ 316652 w 8566434"/>
                <a:gd name="connsiteY909" fmla="*/ 283962 h 2765205"/>
                <a:gd name="connsiteX910" fmla="*/ 285152 w 8566434"/>
                <a:gd name="connsiteY910" fmla="*/ 336897 h 2765205"/>
                <a:gd name="connsiteX911" fmla="*/ 273437 w 8566434"/>
                <a:gd name="connsiteY911" fmla="*/ 491701 h 2765205"/>
                <a:gd name="connsiteX912" fmla="*/ 292117 w 8566434"/>
                <a:gd name="connsiteY912" fmla="*/ 480742 h 2765205"/>
                <a:gd name="connsiteX913" fmla="*/ 273300 w 8566434"/>
                <a:gd name="connsiteY913" fmla="*/ 504866 h 2765205"/>
                <a:gd name="connsiteX914" fmla="*/ 270543 w 8566434"/>
                <a:gd name="connsiteY914" fmla="*/ 548357 h 2765205"/>
                <a:gd name="connsiteX915" fmla="*/ 285225 w 8566434"/>
                <a:gd name="connsiteY915" fmla="*/ 548082 h 2765205"/>
                <a:gd name="connsiteX916" fmla="*/ 288324 w 8566434"/>
                <a:gd name="connsiteY916" fmla="*/ 545325 h 2765205"/>
                <a:gd name="connsiteX917" fmla="*/ 296735 w 8566434"/>
                <a:gd name="connsiteY917" fmla="*/ 537674 h 2765205"/>
                <a:gd name="connsiteX918" fmla="*/ 293358 w 8566434"/>
                <a:gd name="connsiteY918" fmla="*/ 562349 h 2765205"/>
                <a:gd name="connsiteX919" fmla="*/ 1462594 w 8566434"/>
                <a:gd name="connsiteY919" fmla="*/ 1456784 h 2765205"/>
                <a:gd name="connsiteX920" fmla="*/ 1469624 w 8566434"/>
                <a:gd name="connsiteY920" fmla="*/ 1433005 h 2765205"/>
                <a:gd name="connsiteX921" fmla="*/ 1462594 w 8566434"/>
                <a:gd name="connsiteY921" fmla="*/ 1456784 h 2765205"/>
                <a:gd name="connsiteX922" fmla="*/ 4144589 w 8566434"/>
                <a:gd name="connsiteY922" fmla="*/ 753753 h 2765205"/>
                <a:gd name="connsiteX923" fmla="*/ 4144589 w 8566434"/>
                <a:gd name="connsiteY923" fmla="*/ 753753 h 2765205"/>
                <a:gd name="connsiteX924" fmla="*/ 4192147 w 8566434"/>
                <a:gd name="connsiteY924" fmla="*/ 782425 h 2765205"/>
                <a:gd name="connsiteX925" fmla="*/ 4192147 w 8566434"/>
                <a:gd name="connsiteY925" fmla="*/ 782425 h 2765205"/>
                <a:gd name="connsiteX926" fmla="*/ 4120672 w 8566434"/>
                <a:gd name="connsiteY926" fmla="*/ 762230 h 2765205"/>
                <a:gd name="connsiteX927" fmla="*/ 4108748 w 8566434"/>
                <a:gd name="connsiteY927" fmla="*/ 781736 h 2765205"/>
                <a:gd name="connsiteX928" fmla="*/ 4104199 w 8566434"/>
                <a:gd name="connsiteY928" fmla="*/ 798829 h 2765205"/>
                <a:gd name="connsiteX929" fmla="*/ 4120672 w 8566434"/>
                <a:gd name="connsiteY929" fmla="*/ 762230 h 2765205"/>
                <a:gd name="connsiteX930" fmla="*/ 4219441 w 8566434"/>
                <a:gd name="connsiteY930" fmla="*/ 816474 h 2765205"/>
                <a:gd name="connsiteX931" fmla="*/ 4219441 w 8566434"/>
                <a:gd name="connsiteY931" fmla="*/ 816474 h 2765205"/>
                <a:gd name="connsiteX932" fmla="*/ 4124118 w 8566434"/>
                <a:gd name="connsiteY932" fmla="*/ 830535 h 2765205"/>
                <a:gd name="connsiteX933" fmla="*/ 4134112 w 8566434"/>
                <a:gd name="connsiteY933" fmla="*/ 812959 h 2765205"/>
                <a:gd name="connsiteX934" fmla="*/ 4124118 w 8566434"/>
                <a:gd name="connsiteY934" fmla="*/ 830535 h 2765205"/>
                <a:gd name="connsiteX935" fmla="*/ 4239222 w 8566434"/>
                <a:gd name="connsiteY935" fmla="*/ 816198 h 2765205"/>
                <a:gd name="connsiteX936" fmla="*/ 4252594 w 8566434"/>
                <a:gd name="connsiteY936" fmla="*/ 850661 h 2765205"/>
                <a:gd name="connsiteX937" fmla="*/ 4239222 w 8566434"/>
                <a:gd name="connsiteY937" fmla="*/ 816198 h 2765205"/>
                <a:gd name="connsiteX938" fmla="*/ 4209723 w 8566434"/>
                <a:gd name="connsiteY938" fmla="*/ 852384 h 2765205"/>
                <a:gd name="connsiteX939" fmla="*/ 4217305 w 8566434"/>
                <a:gd name="connsiteY939" fmla="*/ 820472 h 2765205"/>
                <a:gd name="connsiteX940" fmla="*/ 4234053 w 8566434"/>
                <a:gd name="connsiteY940" fmla="*/ 846112 h 2765205"/>
                <a:gd name="connsiteX941" fmla="*/ 4218752 w 8566434"/>
                <a:gd name="connsiteY941" fmla="*/ 839288 h 2765205"/>
                <a:gd name="connsiteX942" fmla="*/ 4220406 w 8566434"/>
                <a:gd name="connsiteY942" fmla="*/ 854245 h 2765205"/>
                <a:gd name="connsiteX943" fmla="*/ 4209723 w 8566434"/>
                <a:gd name="connsiteY943" fmla="*/ 852384 h 2765205"/>
                <a:gd name="connsiteX944" fmla="*/ 4199660 w 8566434"/>
                <a:gd name="connsiteY944" fmla="*/ 857346 h 2765205"/>
                <a:gd name="connsiteX945" fmla="*/ 4199660 w 8566434"/>
                <a:gd name="connsiteY945" fmla="*/ 857346 h 2765205"/>
                <a:gd name="connsiteX946" fmla="*/ 4232882 w 8566434"/>
                <a:gd name="connsiteY946" fmla="*/ 870718 h 2765205"/>
                <a:gd name="connsiteX947" fmla="*/ 4232882 w 8566434"/>
                <a:gd name="connsiteY947" fmla="*/ 870718 h 2765205"/>
                <a:gd name="connsiteX948" fmla="*/ 4106956 w 8566434"/>
                <a:gd name="connsiteY948" fmla="*/ 859897 h 2765205"/>
                <a:gd name="connsiteX949" fmla="*/ 4120534 w 8566434"/>
                <a:gd name="connsiteY949" fmla="*/ 839081 h 2765205"/>
                <a:gd name="connsiteX950" fmla="*/ 4122257 w 8566434"/>
                <a:gd name="connsiteY950" fmla="*/ 875749 h 2765205"/>
                <a:gd name="connsiteX951" fmla="*/ 4106956 w 8566434"/>
                <a:gd name="connsiteY951" fmla="*/ 859897 h 2765205"/>
                <a:gd name="connsiteX952" fmla="*/ 4096548 w 8566434"/>
                <a:gd name="connsiteY952" fmla="*/ 880229 h 2765205"/>
                <a:gd name="connsiteX953" fmla="*/ 4099719 w 8566434"/>
                <a:gd name="connsiteY953" fmla="*/ 867272 h 2765205"/>
                <a:gd name="connsiteX954" fmla="*/ 4096548 w 8566434"/>
                <a:gd name="connsiteY954" fmla="*/ 880229 h 2765205"/>
                <a:gd name="connsiteX955" fmla="*/ 4069185 w 8566434"/>
                <a:gd name="connsiteY955" fmla="*/ 885192 h 2765205"/>
                <a:gd name="connsiteX956" fmla="*/ 4079317 w 8566434"/>
                <a:gd name="connsiteY956" fmla="*/ 868030 h 2765205"/>
                <a:gd name="connsiteX957" fmla="*/ 4069185 w 8566434"/>
                <a:gd name="connsiteY957" fmla="*/ 885192 h 2765205"/>
                <a:gd name="connsiteX958" fmla="*/ 4165266 w 8566434"/>
                <a:gd name="connsiteY958" fmla="*/ 899252 h 2765205"/>
                <a:gd name="connsiteX959" fmla="*/ 4165266 w 8566434"/>
                <a:gd name="connsiteY959" fmla="*/ 899252 h 2765205"/>
                <a:gd name="connsiteX960" fmla="*/ 4061328 w 8566434"/>
                <a:gd name="connsiteY960" fmla="*/ 905318 h 2765205"/>
                <a:gd name="connsiteX961" fmla="*/ 4082350 w 8566434"/>
                <a:gd name="connsiteY961" fmla="*/ 897254 h 2765205"/>
                <a:gd name="connsiteX962" fmla="*/ 4121775 w 8566434"/>
                <a:gd name="connsiteY962" fmla="*/ 888363 h 2765205"/>
                <a:gd name="connsiteX963" fmla="*/ 4087175 w 8566434"/>
                <a:gd name="connsiteY963" fmla="*/ 901596 h 2765205"/>
                <a:gd name="connsiteX964" fmla="*/ 4061328 w 8566434"/>
                <a:gd name="connsiteY964" fmla="*/ 905318 h 2765205"/>
                <a:gd name="connsiteX965" fmla="*/ 4213514 w 8566434"/>
                <a:gd name="connsiteY965" fmla="*/ 919310 h 2765205"/>
                <a:gd name="connsiteX966" fmla="*/ 4206897 w 8566434"/>
                <a:gd name="connsiteY966" fmla="*/ 910143 h 2765205"/>
                <a:gd name="connsiteX967" fmla="*/ 4213927 w 8566434"/>
                <a:gd name="connsiteY967" fmla="*/ 911039 h 2765205"/>
                <a:gd name="connsiteX968" fmla="*/ 4216477 w 8566434"/>
                <a:gd name="connsiteY968" fmla="*/ 874991 h 2765205"/>
                <a:gd name="connsiteX969" fmla="*/ 4190768 w 8566434"/>
                <a:gd name="connsiteY969" fmla="*/ 873406 h 2765205"/>
                <a:gd name="connsiteX970" fmla="*/ 4222612 w 8566434"/>
                <a:gd name="connsiteY970" fmla="*/ 870856 h 2765205"/>
                <a:gd name="connsiteX971" fmla="*/ 4213514 w 8566434"/>
                <a:gd name="connsiteY971" fmla="*/ 919310 h 2765205"/>
                <a:gd name="connsiteX972" fmla="*/ 4192630 w 8566434"/>
                <a:gd name="connsiteY972" fmla="*/ 919103 h 2765205"/>
                <a:gd name="connsiteX973" fmla="*/ 4192630 w 8566434"/>
                <a:gd name="connsiteY973" fmla="*/ 919103 h 2765205"/>
                <a:gd name="connsiteX974" fmla="*/ 4164301 w 8566434"/>
                <a:gd name="connsiteY974" fmla="*/ 927374 h 2765205"/>
                <a:gd name="connsiteX975" fmla="*/ 4164301 w 8566434"/>
                <a:gd name="connsiteY975" fmla="*/ 927374 h 2765205"/>
                <a:gd name="connsiteX976" fmla="*/ 4083729 w 8566434"/>
                <a:gd name="connsiteY976" fmla="*/ 926547 h 2765205"/>
                <a:gd name="connsiteX977" fmla="*/ 4114607 w 8566434"/>
                <a:gd name="connsiteY977" fmla="*/ 914002 h 2765205"/>
                <a:gd name="connsiteX978" fmla="*/ 4083729 w 8566434"/>
                <a:gd name="connsiteY978" fmla="*/ 926547 h 2765205"/>
                <a:gd name="connsiteX979" fmla="*/ 4054436 w 8566434"/>
                <a:gd name="connsiteY979" fmla="*/ 953083 h 2765205"/>
                <a:gd name="connsiteX980" fmla="*/ 4065946 w 8566434"/>
                <a:gd name="connsiteY980" fmla="*/ 936816 h 2765205"/>
                <a:gd name="connsiteX981" fmla="*/ 4054436 w 8566434"/>
                <a:gd name="connsiteY981" fmla="*/ 953083 h 2765205"/>
                <a:gd name="connsiteX982" fmla="*/ 4212342 w 8566434"/>
                <a:gd name="connsiteY982" fmla="*/ 960251 h 2765205"/>
                <a:gd name="connsiteX983" fmla="*/ 4222060 w 8566434"/>
                <a:gd name="connsiteY983" fmla="*/ 951980 h 2765205"/>
                <a:gd name="connsiteX984" fmla="*/ 4212342 w 8566434"/>
                <a:gd name="connsiteY984" fmla="*/ 960251 h 2765205"/>
                <a:gd name="connsiteX985" fmla="*/ 4013357 w 8566434"/>
                <a:gd name="connsiteY985" fmla="*/ 957149 h 2765205"/>
                <a:gd name="connsiteX986" fmla="*/ 4017423 w 8566434"/>
                <a:gd name="connsiteY986" fmla="*/ 973553 h 2765205"/>
                <a:gd name="connsiteX987" fmla="*/ 4013357 w 8566434"/>
                <a:gd name="connsiteY987" fmla="*/ 957149 h 2765205"/>
                <a:gd name="connsiteX988" fmla="*/ 4204622 w 8566434"/>
                <a:gd name="connsiteY988" fmla="*/ 981824 h 2765205"/>
                <a:gd name="connsiteX989" fmla="*/ 4204622 w 8566434"/>
                <a:gd name="connsiteY989" fmla="*/ 981824 h 2765205"/>
                <a:gd name="connsiteX990" fmla="*/ 4249906 w 8566434"/>
                <a:gd name="connsiteY990" fmla="*/ 1035999 h 2765205"/>
                <a:gd name="connsiteX991" fmla="*/ 4255282 w 8566434"/>
                <a:gd name="connsiteY991" fmla="*/ 1006155 h 2765205"/>
                <a:gd name="connsiteX992" fmla="*/ 4249906 w 8566434"/>
                <a:gd name="connsiteY992" fmla="*/ 1035999 h 2765205"/>
                <a:gd name="connsiteX993" fmla="*/ 4030036 w 8566434"/>
                <a:gd name="connsiteY993" fmla="*/ 1045786 h 2765205"/>
                <a:gd name="connsiteX994" fmla="*/ 4020318 w 8566434"/>
                <a:gd name="connsiteY994" fmla="*/ 1010979 h 2765205"/>
                <a:gd name="connsiteX995" fmla="*/ 4006533 w 8566434"/>
                <a:gd name="connsiteY995" fmla="*/ 1015322 h 2765205"/>
                <a:gd name="connsiteX996" fmla="*/ 4020387 w 8566434"/>
                <a:gd name="connsiteY996" fmla="*/ 982582 h 2765205"/>
                <a:gd name="connsiteX997" fmla="*/ 4030036 w 8566434"/>
                <a:gd name="connsiteY997" fmla="*/ 1045786 h 2765205"/>
                <a:gd name="connsiteX998" fmla="*/ 3993368 w 8566434"/>
                <a:gd name="connsiteY998" fmla="*/ 1058675 h 2765205"/>
                <a:gd name="connsiteX999" fmla="*/ 3993368 w 8566434"/>
                <a:gd name="connsiteY999" fmla="*/ 1058675 h 2765205"/>
                <a:gd name="connsiteX1000" fmla="*/ 4274236 w 8566434"/>
                <a:gd name="connsiteY1000" fmla="*/ 1087003 h 2765205"/>
                <a:gd name="connsiteX1001" fmla="*/ 4274236 w 8566434"/>
                <a:gd name="connsiteY1001" fmla="*/ 1087003 h 2765205"/>
                <a:gd name="connsiteX1002" fmla="*/ 4028934 w 8566434"/>
                <a:gd name="connsiteY1002" fmla="*/ 1084384 h 2765205"/>
                <a:gd name="connsiteX1003" fmla="*/ 4039617 w 8566434"/>
                <a:gd name="connsiteY1003" fmla="*/ 1069565 h 2765205"/>
                <a:gd name="connsiteX1004" fmla="*/ 4043821 w 8566434"/>
                <a:gd name="connsiteY1004" fmla="*/ 1082937 h 2765205"/>
                <a:gd name="connsiteX1005" fmla="*/ 4028934 w 8566434"/>
                <a:gd name="connsiteY1005" fmla="*/ 1084384 h 2765205"/>
                <a:gd name="connsiteX1006" fmla="*/ 4240532 w 8566434"/>
                <a:gd name="connsiteY1006" fmla="*/ 1138835 h 2765205"/>
                <a:gd name="connsiteX1007" fmla="*/ 4244943 w 8566434"/>
                <a:gd name="connsiteY1007" fmla="*/ 1123051 h 2765205"/>
                <a:gd name="connsiteX1008" fmla="*/ 4240532 w 8566434"/>
                <a:gd name="connsiteY1008" fmla="*/ 1138835 h 2765205"/>
                <a:gd name="connsiteX1009" fmla="*/ 4247425 w 8566434"/>
                <a:gd name="connsiteY1009" fmla="*/ 1161097 h 2765205"/>
                <a:gd name="connsiteX1010" fmla="*/ 4247425 w 8566434"/>
                <a:gd name="connsiteY1010" fmla="*/ 1161097 h 2765205"/>
                <a:gd name="connsiteX1011" fmla="*/ 4025970 w 8566434"/>
                <a:gd name="connsiteY1011" fmla="*/ 1206656 h 2765205"/>
                <a:gd name="connsiteX1012" fmla="*/ 4034241 w 8566434"/>
                <a:gd name="connsiteY1012" fmla="*/ 1231952 h 2765205"/>
                <a:gd name="connsiteX1013" fmla="*/ 4025970 w 8566434"/>
                <a:gd name="connsiteY1013" fmla="*/ 1206656 h 2765205"/>
                <a:gd name="connsiteX1014" fmla="*/ 3979032 w 8566434"/>
                <a:gd name="connsiteY1014" fmla="*/ 1250355 h 2765205"/>
                <a:gd name="connsiteX1015" fmla="*/ 3979032 w 8566434"/>
                <a:gd name="connsiteY1015" fmla="*/ 1250355 h 2765205"/>
                <a:gd name="connsiteX1016" fmla="*/ 3972208 w 8566434"/>
                <a:gd name="connsiteY1016" fmla="*/ 1279096 h 2765205"/>
                <a:gd name="connsiteX1017" fmla="*/ 3971450 w 8566434"/>
                <a:gd name="connsiteY1017" fmla="*/ 1264415 h 2765205"/>
                <a:gd name="connsiteX1018" fmla="*/ 3972208 w 8566434"/>
                <a:gd name="connsiteY1018" fmla="*/ 1279096 h 2765205"/>
                <a:gd name="connsiteX1019" fmla="*/ 4004534 w 8566434"/>
                <a:gd name="connsiteY1019" fmla="*/ 1285851 h 2765205"/>
                <a:gd name="connsiteX1020" fmla="*/ 4017768 w 8566434"/>
                <a:gd name="connsiteY1020" fmla="*/ 1253318 h 2765205"/>
                <a:gd name="connsiteX1021" fmla="*/ 4007980 w 8566434"/>
                <a:gd name="connsiteY1021" fmla="*/ 1251802 h 2765205"/>
                <a:gd name="connsiteX1022" fmla="*/ 4023902 w 8566434"/>
                <a:gd name="connsiteY1022" fmla="*/ 1245875 h 2765205"/>
                <a:gd name="connsiteX1023" fmla="*/ 4029209 w 8566434"/>
                <a:gd name="connsiteY1023" fmla="*/ 1268688 h 2765205"/>
                <a:gd name="connsiteX1024" fmla="*/ 4031208 w 8566434"/>
                <a:gd name="connsiteY1024" fmla="*/ 1272962 h 2765205"/>
                <a:gd name="connsiteX1025" fmla="*/ 4018733 w 8566434"/>
                <a:gd name="connsiteY1025" fmla="*/ 1277235 h 2765205"/>
                <a:gd name="connsiteX1026" fmla="*/ 4004534 w 8566434"/>
                <a:gd name="connsiteY1026" fmla="*/ 1285851 h 2765205"/>
                <a:gd name="connsiteX1027" fmla="*/ 3986476 w 8566434"/>
                <a:gd name="connsiteY1027" fmla="*/ 1311284 h 2765205"/>
                <a:gd name="connsiteX1028" fmla="*/ 3989578 w 8566434"/>
                <a:gd name="connsiteY1028" fmla="*/ 1275857 h 2765205"/>
                <a:gd name="connsiteX1029" fmla="*/ 3986476 w 8566434"/>
                <a:gd name="connsiteY1029" fmla="*/ 1311284 h 2765205"/>
                <a:gd name="connsiteX1030" fmla="*/ 4010531 w 8566434"/>
                <a:gd name="connsiteY1030" fmla="*/ 1328446 h 2765205"/>
                <a:gd name="connsiteX1031" fmla="*/ 4008463 w 8566434"/>
                <a:gd name="connsiteY1031" fmla="*/ 1303289 h 2765205"/>
                <a:gd name="connsiteX1032" fmla="*/ 4010531 w 8566434"/>
                <a:gd name="connsiteY1032" fmla="*/ 1328446 h 2765205"/>
                <a:gd name="connsiteX1033" fmla="*/ 3974690 w 8566434"/>
                <a:gd name="connsiteY1033" fmla="*/ 1348710 h 2765205"/>
                <a:gd name="connsiteX1034" fmla="*/ 3957390 w 8566434"/>
                <a:gd name="connsiteY1034" fmla="*/ 1321554 h 2765205"/>
                <a:gd name="connsiteX1035" fmla="*/ 3973587 w 8566434"/>
                <a:gd name="connsiteY1035" fmla="*/ 1308941 h 2765205"/>
                <a:gd name="connsiteX1036" fmla="*/ 3974690 w 8566434"/>
                <a:gd name="connsiteY1036" fmla="*/ 1348710 h 2765205"/>
                <a:gd name="connsiteX1037" fmla="*/ 3991921 w 8566434"/>
                <a:gd name="connsiteY1037" fmla="*/ 1354086 h 2765205"/>
                <a:gd name="connsiteX1038" fmla="*/ 3993782 w 8566434"/>
                <a:gd name="connsiteY1038" fmla="*/ 1331134 h 2765205"/>
                <a:gd name="connsiteX1039" fmla="*/ 3991921 w 8566434"/>
                <a:gd name="connsiteY1039" fmla="*/ 1354086 h 2765205"/>
                <a:gd name="connsiteX1040" fmla="*/ 3977378 w 8566434"/>
                <a:gd name="connsiteY1040" fmla="*/ 1355878 h 2765205"/>
                <a:gd name="connsiteX1041" fmla="*/ 3993713 w 8566434"/>
                <a:gd name="connsiteY1041" fmla="*/ 1372558 h 2765205"/>
                <a:gd name="connsiteX1042" fmla="*/ 3995161 w 8566434"/>
                <a:gd name="connsiteY1042" fmla="*/ 1390065 h 2765205"/>
                <a:gd name="connsiteX1043" fmla="*/ 3977378 w 8566434"/>
                <a:gd name="connsiteY1043" fmla="*/ 1355878 h 2765205"/>
                <a:gd name="connsiteX1044" fmla="*/ 4005568 w 8566434"/>
                <a:gd name="connsiteY1044" fmla="*/ 1401644 h 2765205"/>
                <a:gd name="connsiteX1045" fmla="*/ 4010600 w 8566434"/>
                <a:gd name="connsiteY1045" fmla="*/ 1385929 h 2765205"/>
                <a:gd name="connsiteX1046" fmla="*/ 4005568 w 8566434"/>
                <a:gd name="connsiteY1046" fmla="*/ 1401644 h 2765205"/>
                <a:gd name="connsiteX1047" fmla="*/ 3972139 w 8566434"/>
                <a:gd name="connsiteY1047" fmla="*/ 1443481 h 2765205"/>
                <a:gd name="connsiteX1048" fmla="*/ 3989715 w 8566434"/>
                <a:gd name="connsiteY1048" fmla="*/ 1411225 h 2765205"/>
                <a:gd name="connsiteX1049" fmla="*/ 4005775 w 8566434"/>
                <a:gd name="connsiteY1049" fmla="*/ 1445963 h 2765205"/>
                <a:gd name="connsiteX1050" fmla="*/ 3985993 w 8566434"/>
                <a:gd name="connsiteY1050" fmla="*/ 1438863 h 2765205"/>
                <a:gd name="connsiteX1051" fmla="*/ 3992679 w 8566434"/>
                <a:gd name="connsiteY1051" fmla="*/ 1455888 h 2765205"/>
                <a:gd name="connsiteX1052" fmla="*/ 3972139 w 8566434"/>
                <a:gd name="connsiteY1052" fmla="*/ 1443481 h 2765205"/>
                <a:gd name="connsiteX1053" fmla="*/ 3951807 w 8566434"/>
                <a:gd name="connsiteY1053" fmla="*/ 1456232 h 2765205"/>
                <a:gd name="connsiteX1054" fmla="*/ 3956563 w 8566434"/>
                <a:gd name="connsiteY1054" fmla="*/ 1440862 h 2765205"/>
                <a:gd name="connsiteX1055" fmla="*/ 3951807 w 8566434"/>
                <a:gd name="connsiteY1055" fmla="*/ 1456232 h 2765205"/>
                <a:gd name="connsiteX1056" fmla="*/ 3992610 w 8566434"/>
                <a:gd name="connsiteY1056" fmla="*/ 1464228 h 2765205"/>
                <a:gd name="connsiteX1057" fmla="*/ 3992610 w 8566434"/>
                <a:gd name="connsiteY1057" fmla="*/ 1464228 h 2765205"/>
                <a:gd name="connsiteX1058" fmla="*/ 3953323 w 8566434"/>
                <a:gd name="connsiteY1058" fmla="*/ 1478633 h 2765205"/>
                <a:gd name="connsiteX1059" fmla="*/ 3976620 w 8566434"/>
                <a:gd name="connsiteY1059" fmla="*/ 1472292 h 2765205"/>
                <a:gd name="connsiteX1060" fmla="*/ 3953323 w 8566434"/>
                <a:gd name="connsiteY1060" fmla="*/ 1478633 h 2765205"/>
                <a:gd name="connsiteX1061" fmla="*/ 3961318 w 8566434"/>
                <a:gd name="connsiteY1061" fmla="*/ 1498828 h 2765205"/>
                <a:gd name="connsiteX1062" fmla="*/ 3989371 w 8566434"/>
                <a:gd name="connsiteY1062" fmla="*/ 1480839 h 2765205"/>
                <a:gd name="connsiteX1063" fmla="*/ 3997504 w 8566434"/>
                <a:gd name="connsiteY1063" fmla="*/ 1488765 h 2765205"/>
                <a:gd name="connsiteX1064" fmla="*/ 3961318 w 8566434"/>
                <a:gd name="connsiteY1064" fmla="*/ 1498828 h 2765205"/>
                <a:gd name="connsiteX1065" fmla="*/ 3992955 w 8566434"/>
                <a:gd name="connsiteY1065" fmla="*/ 1533083 h 2765205"/>
                <a:gd name="connsiteX1066" fmla="*/ 3997848 w 8566434"/>
                <a:gd name="connsiteY1066" fmla="*/ 1502343 h 2765205"/>
                <a:gd name="connsiteX1067" fmla="*/ 3994954 w 8566434"/>
                <a:gd name="connsiteY1067" fmla="*/ 1532532 h 2765205"/>
                <a:gd name="connsiteX1068" fmla="*/ 3992955 w 8566434"/>
                <a:gd name="connsiteY1068" fmla="*/ 1533083 h 2765205"/>
                <a:gd name="connsiteX1069" fmla="*/ 3931474 w 8566434"/>
                <a:gd name="connsiteY1069" fmla="*/ 1618964 h 2765205"/>
                <a:gd name="connsiteX1070" fmla="*/ 3943260 w 8566434"/>
                <a:gd name="connsiteY1070" fmla="*/ 1535909 h 2765205"/>
                <a:gd name="connsiteX1071" fmla="*/ 3967384 w 8566434"/>
                <a:gd name="connsiteY1071" fmla="*/ 1554312 h 2765205"/>
                <a:gd name="connsiteX1072" fmla="*/ 4001984 w 8566434"/>
                <a:gd name="connsiteY1072" fmla="*/ 1544111 h 2765205"/>
                <a:gd name="connsiteX1073" fmla="*/ 4014183 w 8566434"/>
                <a:gd name="connsiteY1073" fmla="*/ 1553554 h 2765205"/>
                <a:gd name="connsiteX1074" fmla="*/ 4025556 w 8566434"/>
                <a:gd name="connsiteY1074" fmla="*/ 1576644 h 2765205"/>
                <a:gd name="connsiteX1075" fmla="*/ 4029623 w 8566434"/>
                <a:gd name="connsiteY1075" fmla="*/ 1578918 h 2765205"/>
                <a:gd name="connsiteX1076" fmla="*/ 4031346 w 8566434"/>
                <a:gd name="connsiteY1076" fmla="*/ 1552658 h 2765205"/>
                <a:gd name="connsiteX1077" fmla="*/ 4020318 w 8566434"/>
                <a:gd name="connsiteY1077" fmla="*/ 1547075 h 2765205"/>
                <a:gd name="connsiteX1078" fmla="*/ 4020456 w 8566434"/>
                <a:gd name="connsiteY1078" fmla="*/ 1522193 h 2765205"/>
                <a:gd name="connsiteX1079" fmla="*/ 4035068 w 8566434"/>
                <a:gd name="connsiteY1079" fmla="*/ 1524330 h 2765205"/>
                <a:gd name="connsiteX1080" fmla="*/ 4018250 w 8566434"/>
                <a:gd name="connsiteY1080" fmla="*/ 1450925 h 2765205"/>
                <a:gd name="connsiteX1081" fmla="*/ 4039203 w 8566434"/>
                <a:gd name="connsiteY1081" fmla="*/ 1458920 h 2765205"/>
                <a:gd name="connsiteX1082" fmla="*/ 4056779 w 8566434"/>
                <a:gd name="connsiteY1082" fmla="*/ 1180603 h 2765205"/>
                <a:gd name="connsiteX1083" fmla="*/ 4047405 w 8566434"/>
                <a:gd name="connsiteY1083" fmla="*/ 1169988 h 2765205"/>
                <a:gd name="connsiteX1084" fmla="*/ 4057330 w 8566434"/>
                <a:gd name="connsiteY1084" fmla="*/ 1160821 h 2765205"/>
                <a:gd name="connsiteX1085" fmla="*/ 4062707 w 8566434"/>
                <a:gd name="connsiteY1085" fmla="*/ 1047716 h 2765205"/>
                <a:gd name="connsiteX1086" fmla="*/ 4048370 w 8566434"/>
                <a:gd name="connsiteY1086" fmla="*/ 1049853 h 2765205"/>
                <a:gd name="connsiteX1087" fmla="*/ 4065326 w 8566434"/>
                <a:gd name="connsiteY1087" fmla="*/ 1020491 h 2765205"/>
                <a:gd name="connsiteX1088" fmla="*/ 4053815 w 8566434"/>
                <a:gd name="connsiteY1088" fmla="*/ 1019388 h 2765205"/>
                <a:gd name="connsiteX1089" fmla="*/ 4064705 w 8566434"/>
                <a:gd name="connsiteY1089" fmla="*/ 1013874 h 2765205"/>
                <a:gd name="connsiteX1090" fmla="*/ 4070564 w 8566434"/>
                <a:gd name="connsiteY1090" fmla="*/ 973691 h 2765205"/>
                <a:gd name="connsiteX1091" fmla="*/ 4112539 w 8566434"/>
                <a:gd name="connsiteY1091" fmla="*/ 925720 h 2765205"/>
                <a:gd name="connsiteX1092" fmla="*/ 4157064 w 8566434"/>
                <a:gd name="connsiteY1092" fmla="*/ 934887 h 2765205"/>
                <a:gd name="connsiteX1093" fmla="*/ 4183738 w 8566434"/>
                <a:gd name="connsiteY1093" fmla="*/ 1025040 h 2765205"/>
                <a:gd name="connsiteX1094" fmla="*/ 4173055 w 8566434"/>
                <a:gd name="connsiteY1094" fmla="*/ 1204451 h 2765205"/>
                <a:gd name="connsiteX1095" fmla="*/ 4248803 w 8566434"/>
                <a:gd name="connsiteY1095" fmla="*/ 1209138 h 2765205"/>
                <a:gd name="connsiteX1096" fmla="*/ 4249286 w 8566434"/>
                <a:gd name="connsiteY1096" fmla="*/ 1197627 h 2765205"/>
                <a:gd name="connsiteX1097" fmla="*/ 4251905 w 8566434"/>
                <a:gd name="connsiteY1097" fmla="*/ 1209551 h 2765205"/>
                <a:gd name="connsiteX1098" fmla="*/ 4280302 w 8566434"/>
                <a:gd name="connsiteY1098" fmla="*/ 1210585 h 2765205"/>
                <a:gd name="connsiteX1099" fmla="*/ 4281749 w 8566434"/>
                <a:gd name="connsiteY1099" fmla="*/ 1053988 h 2765205"/>
                <a:gd name="connsiteX1100" fmla="*/ 4291261 w 8566434"/>
                <a:gd name="connsiteY1100" fmla="*/ 1031312 h 2765205"/>
                <a:gd name="connsiteX1101" fmla="*/ 4254799 w 8566434"/>
                <a:gd name="connsiteY1101" fmla="*/ 821506 h 2765205"/>
                <a:gd name="connsiteX1102" fmla="*/ 4230814 w 8566434"/>
                <a:gd name="connsiteY1102" fmla="*/ 784493 h 2765205"/>
                <a:gd name="connsiteX1103" fmla="*/ 4138179 w 8566434"/>
                <a:gd name="connsiteY1103" fmla="*/ 727906 h 2765205"/>
                <a:gd name="connsiteX1104" fmla="*/ 4131976 w 8566434"/>
                <a:gd name="connsiteY1104" fmla="*/ 762644 h 2765205"/>
                <a:gd name="connsiteX1105" fmla="*/ 4133630 w 8566434"/>
                <a:gd name="connsiteY1105" fmla="*/ 727906 h 2765205"/>
                <a:gd name="connsiteX1106" fmla="*/ 4097100 w 8566434"/>
                <a:gd name="connsiteY1106" fmla="*/ 737969 h 2765205"/>
                <a:gd name="connsiteX1107" fmla="*/ 4075320 w 8566434"/>
                <a:gd name="connsiteY1107" fmla="*/ 751685 h 2765205"/>
                <a:gd name="connsiteX1108" fmla="*/ 3965454 w 8566434"/>
                <a:gd name="connsiteY1108" fmla="*/ 1003260 h 2765205"/>
                <a:gd name="connsiteX1109" fmla="*/ 3933059 w 8566434"/>
                <a:gd name="connsiteY1109" fmla="*/ 1520884 h 2765205"/>
                <a:gd name="connsiteX1110" fmla="*/ 3950842 w 8566434"/>
                <a:gd name="connsiteY1110" fmla="*/ 1509580 h 2765205"/>
                <a:gd name="connsiteX1111" fmla="*/ 3932508 w 8566434"/>
                <a:gd name="connsiteY1111" fmla="*/ 1526536 h 2765205"/>
                <a:gd name="connsiteX1112" fmla="*/ 3928441 w 8566434"/>
                <a:gd name="connsiteY1112" fmla="*/ 1590084 h 2765205"/>
                <a:gd name="connsiteX1113" fmla="*/ 3931474 w 8566434"/>
                <a:gd name="connsiteY1113" fmla="*/ 1618964 h 2765205"/>
                <a:gd name="connsiteX1114" fmla="*/ 381515 w 8566434"/>
                <a:gd name="connsiteY1114" fmla="*/ 23221 h 2765205"/>
                <a:gd name="connsiteX1115" fmla="*/ 386132 w 8566434"/>
                <a:gd name="connsiteY1115" fmla="*/ 7230 h 2765205"/>
                <a:gd name="connsiteX1116" fmla="*/ 381515 w 8566434"/>
                <a:gd name="connsiteY1116" fmla="*/ 23221 h 2765205"/>
                <a:gd name="connsiteX1117" fmla="*/ 339882 w 8566434"/>
                <a:gd name="connsiteY1117" fmla="*/ 29424 h 2765205"/>
                <a:gd name="connsiteX1118" fmla="*/ 350978 w 8566434"/>
                <a:gd name="connsiteY1118" fmla="*/ 13158 h 2765205"/>
                <a:gd name="connsiteX1119" fmla="*/ 339882 w 8566434"/>
                <a:gd name="connsiteY1119" fmla="*/ 29424 h 2765205"/>
                <a:gd name="connsiteX1120" fmla="*/ 421418 w 8566434"/>
                <a:gd name="connsiteY1120" fmla="*/ 36592 h 2765205"/>
                <a:gd name="connsiteX1121" fmla="*/ 421418 w 8566434"/>
                <a:gd name="connsiteY1121" fmla="*/ 36592 h 2765205"/>
                <a:gd name="connsiteX1122" fmla="*/ 554512 w 8566434"/>
                <a:gd name="connsiteY1122" fmla="*/ 47551 h 2765205"/>
                <a:gd name="connsiteX1123" fmla="*/ 560646 w 8566434"/>
                <a:gd name="connsiteY1123" fmla="*/ 18465 h 2765205"/>
                <a:gd name="connsiteX1124" fmla="*/ 554512 w 8566434"/>
                <a:gd name="connsiteY1124" fmla="*/ 47551 h 2765205"/>
                <a:gd name="connsiteX1125" fmla="*/ 849854 w 8566434"/>
                <a:gd name="connsiteY1125" fmla="*/ 51893 h 2765205"/>
                <a:gd name="connsiteX1126" fmla="*/ 849854 w 8566434"/>
                <a:gd name="connsiteY1126" fmla="*/ 51893 h 2765205"/>
                <a:gd name="connsiteX1127" fmla="*/ 423763 w 8566434"/>
                <a:gd name="connsiteY1127" fmla="*/ 53203 h 2765205"/>
                <a:gd name="connsiteX1128" fmla="*/ 423763 w 8566434"/>
                <a:gd name="connsiteY1128" fmla="*/ 53203 h 2765205"/>
                <a:gd name="connsiteX1129" fmla="*/ 739506 w 8566434"/>
                <a:gd name="connsiteY1129" fmla="*/ 71468 h 2765205"/>
                <a:gd name="connsiteX1130" fmla="*/ 746881 w 8566434"/>
                <a:gd name="connsiteY1130" fmla="*/ 57959 h 2765205"/>
                <a:gd name="connsiteX1131" fmla="*/ 739506 w 8566434"/>
                <a:gd name="connsiteY1131" fmla="*/ 71468 h 2765205"/>
                <a:gd name="connsiteX1132" fmla="*/ 698427 w 8566434"/>
                <a:gd name="connsiteY1132" fmla="*/ 72571 h 2765205"/>
                <a:gd name="connsiteX1133" fmla="*/ 697324 w 8566434"/>
                <a:gd name="connsiteY1133" fmla="*/ 58165 h 2765205"/>
                <a:gd name="connsiteX1134" fmla="*/ 698427 w 8566434"/>
                <a:gd name="connsiteY1134" fmla="*/ 72571 h 2765205"/>
                <a:gd name="connsiteX1135" fmla="*/ 718828 w 8566434"/>
                <a:gd name="connsiteY1135" fmla="*/ 85873 h 2765205"/>
                <a:gd name="connsiteX1136" fmla="*/ 718828 w 8566434"/>
                <a:gd name="connsiteY1136" fmla="*/ 85873 h 2765205"/>
                <a:gd name="connsiteX1137" fmla="*/ 548447 w 8566434"/>
                <a:gd name="connsiteY1137" fmla="*/ 86356 h 2765205"/>
                <a:gd name="connsiteX1138" fmla="*/ 565126 w 8566434"/>
                <a:gd name="connsiteY1138" fmla="*/ 77189 h 2765205"/>
                <a:gd name="connsiteX1139" fmla="*/ 548447 w 8566434"/>
                <a:gd name="connsiteY1139" fmla="*/ 86356 h 2765205"/>
                <a:gd name="connsiteX1140" fmla="*/ 402192 w 8566434"/>
                <a:gd name="connsiteY1140" fmla="*/ 73329 h 2765205"/>
                <a:gd name="connsiteX1141" fmla="*/ 384409 w 8566434"/>
                <a:gd name="connsiteY1141" fmla="*/ 77189 h 2765205"/>
                <a:gd name="connsiteX1142" fmla="*/ 381515 w 8566434"/>
                <a:gd name="connsiteY1142" fmla="*/ 76844 h 2765205"/>
                <a:gd name="connsiteX1143" fmla="*/ 378685 w 8566434"/>
                <a:gd name="connsiteY1143" fmla="*/ 68849 h 2765205"/>
                <a:gd name="connsiteX1144" fmla="*/ 373930 w 8566434"/>
                <a:gd name="connsiteY1144" fmla="*/ 60302 h 2765205"/>
                <a:gd name="connsiteX1145" fmla="*/ 401155 w 8566434"/>
                <a:gd name="connsiteY1145" fmla="*/ 71675 h 2765205"/>
                <a:gd name="connsiteX1146" fmla="*/ 386132 w 8566434"/>
                <a:gd name="connsiteY1146" fmla="*/ 40107 h 2765205"/>
                <a:gd name="connsiteX1147" fmla="*/ 372621 w 8566434"/>
                <a:gd name="connsiteY1147" fmla="*/ 52582 h 2765205"/>
                <a:gd name="connsiteX1148" fmla="*/ 381646 w 8566434"/>
                <a:gd name="connsiteY1148" fmla="*/ 35145 h 2765205"/>
                <a:gd name="connsiteX1149" fmla="*/ 412116 w 8566434"/>
                <a:gd name="connsiteY1149" fmla="*/ 40314 h 2765205"/>
                <a:gd name="connsiteX1150" fmla="*/ 401640 w 8566434"/>
                <a:gd name="connsiteY1150" fmla="*/ 50997 h 2765205"/>
                <a:gd name="connsiteX1151" fmla="*/ 412802 w 8566434"/>
                <a:gd name="connsiteY1151" fmla="*/ 91042 h 2765205"/>
                <a:gd name="connsiteX1152" fmla="*/ 402192 w 8566434"/>
                <a:gd name="connsiteY1152" fmla="*/ 73329 h 2765205"/>
                <a:gd name="connsiteX1153" fmla="*/ 367245 w 8566434"/>
                <a:gd name="connsiteY1153" fmla="*/ 85597 h 2765205"/>
                <a:gd name="connsiteX1154" fmla="*/ 367245 w 8566434"/>
                <a:gd name="connsiteY1154" fmla="*/ 85597 h 2765205"/>
                <a:gd name="connsiteX1155" fmla="*/ 353530 w 8566434"/>
                <a:gd name="connsiteY1155" fmla="*/ 92628 h 2765205"/>
                <a:gd name="connsiteX1156" fmla="*/ 353530 w 8566434"/>
                <a:gd name="connsiteY1156" fmla="*/ 92628 h 2765205"/>
                <a:gd name="connsiteX1157" fmla="*/ 670305 w 8566434"/>
                <a:gd name="connsiteY1157" fmla="*/ 98348 h 2765205"/>
                <a:gd name="connsiteX1158" fmla="*/ 680024 w 8566434"/>
                <a:gd name="connsiteY1158" fmla="*/ 53547 h 2765205"/>
                <a:gd name="connsiteX1159" fmla="*/ 680368 w 8566434"/>
                <a:gd name="connsiteY1159" fmla="*/ 89733 h 2765205"/>
                <a:gd name="connsiteX1160" fmla="*/ 703803 w 8566434"/>
                <a:gd name="connsiteY1160" fmla="*/ 90560 h 2765205"/>
                <a:gd name="connsiteX1161" fmla="*/ 670305 w 8566434"/>
                <a:gd name="connsiteY1161" fmla="*/ 98348 h 2765205"/>
                <a:gd name="connsiteX1162" fmla="*/ 595109 w 8566434"/>
                <a:gd name="connsiteY1162" fmla="*/ 99313 h 2765205"/>
                <a:gd name="connsiteX1163" fmla="*/ 595109 w 8566434"/>
                <a:gd name="connsiteY1163" fmla="*/ 99313 h 2765205"/>
                <a:gd name="connsiteX1164" fmla="*/ 792991 w 8566434"/>
                <a:gd name="connsiteY1164" fmla="*/ 112478 h 2765205"/>
                <a:gd name="connsiteX1165" fmla="*/ 799332 w 8566434"/>
                <a:gd name="connsiteY1165" fmla="*/ 95660 h 2765205"/>
                <a:gd name="connsiteX1166" fmla="*/ 779620 w 8566434"/>
                <a:gd name="connsiteY1166" fmla="*/ 90560 h 2765205"/>
                <a:gd name="connsiteX1167" fmla="*/ 795886 w 8566434"/>
                <a:gd name="connsiteY1167" fmla="*/ 59544 h 2765205"/>
                <a:gd name="connsiteX1168" fmla="*/ 771142 w 8566434"/>
                <a:gd name="connsiteY1168" fmla="*/ 56787 h 2765205"/>
                <a:gd name="connsiteX1169" fmla="*/ 769350 w 8566434"/>
                <a:gd name="connsiteY1169" fmla="*/ 103104 h 2765205"/>
                <a:gd name="connsiteX1170" fmla="*/ 755427 w 8566434"/>
                <a:gd name="connsiteY1170" fmla="*/ 48792 h 2765205"/>
                <a:gd name="connsiteX1171" fmla="*/ 759494 w 8566434"/>
                <a:gd name="connsiteY1171" fmla="*/ 38108 h 2765205"/>
                <a:gd name="connsiteX1172" fmla="*/ 797196 w 8566434"/>
                <a:gd name="connsiteY1172" fmla="*/ 55339 h 2765205"/>
                <a:gd name="connsiteX1173" fmla="*/ 792991 w 8566434"/>
                <a:gd name="connsiteY1173" fmla="*/ 112478 h 2765205"/>
                <a:gd name="connsiteX1174" fmla="*/ 649008 w 8566434"/>
                <a:gd name="connsiteY1174" fmla="*/ 107309 h 2765205"/>
                <a:gd name="connsiteX1175" fmla="*/ 649008 w 8566434"/>
                <a:gd name="connsiteY1175" fmla="*/ 107309 h 2765205"/>
                <a:gd name="connsiteX1176" fmla="*/ 739437 w 8566434"/>
                <a:gd name="connsiteY1176" fmla="*/ 112754 h 2765205"/>
                <a:gd name="connsiteX1177" fmla="*/ 739437 w 8566434"/>
                <a:gd name="connsiteY1177" fmla="*/ 112754 h 2765205"/>
                <a:gd name="connsiteX1178" fmla="*/ 582771 w 8566434"/>
                <a:gd name="connsiteY1178" fmla="*/ 73398 h 2765205"/>
                <a:gd name="connsiteX1179" fmla="*/ 567470 w 8566434"/>
                <a:gd name="connsiteY1179" fmla="*/ 61198 h 2765205"/>
                <a:gd name="connsiteX1180" fmla="*/ 615993 w 8566434"/>
                <a:gd name="connsiteY1180" fmla="*/ 69883 h 2765205"/>
                <a:gd name="connsiteX1181" fmla="*/ 605516 w 8566434"/>
                <a:gd name="connsiteY1181" fmla="*/ 77395 h 2765205"/>
                <a:gd name="connsiteX1182" fmla="*/ 603035 w 8566434"/>
                <a:gd name="connsiteY1182" fmla="*/ 69469 h 2765205"/>
                <a:gd name="connsiteX1183" fmla="*/ 587044 w 8566434"/>
                <a:gd name="connsiteY1183" fmla="*/ 80221 h 2765205"/>
                <a:gd name="connsiteX1184" fmla="*/ 582978 w 8566434"/>
                <a:gd name="connsiteY1184" fmla="*/ 115649 h 2765205"/>
                <a:gd name="connsiteX1185" fmla="*/ 582771 w 8566434"/>
                <a:gd name="connsiteY1185" fmla="*/ 73398 h 2765205"/>
                <a:gd name="connsiteX1186" fmla="*/ 546517 w 8566434"/>
                <a:gd name="connsiteY1186" fmla="*/ 114270 h 2765205"/>
                <a:gd name="connsiteX1187" fmla="*/ 546517 w 8566434"/>
                <a:gd name="connsiteY1187" fmla="*/ 114270 h 2765205"/>
                <a:gd name="connsiteX1188" fmla="*/ 456225 w 8566434"/>
                <a:gd name="connsiteY1188" fmla="*/ 113581 h 2765205"/>
                <a:gd name="connsiteX1189" fmla="*/ 467322 w 8566434"/>
                <a:gd name="connsiteY1189" fmla="*/ 96763 h 2765205"/>
                <a:gd name="connsiteX1190" fmla="*/ 456225 w 8566434"/>
                <a:gd name="connsiteY1190" fmla="*/ 113581 h 2765205"/>
                <a:gd name="connsiteX1191" fmla="*/ 247658 w 8566434"/>
                <a:gd name="connsiteY1191" fmla="*/ 105723 h 2765205"/>
                <a:gd name="connsiteX1192" fmla="*/ 281574 w 8566434"/>
                <a:gd name="connsiteY1192" fmla="*/ 53272 h 2765205"/>
                <a:gd name="connsiteX1193" fmla="*/ 287152 w 8566434"/>
                <a:gd name="connsiteY1193" fmla="*/ 32043 h 2765205"/>
                <a:gd name="connsiteX1194" fmla="*/ 289223 w 8566434"/>
                <a:gd name="connsiteY1194" fmla="*/ 61405 h 2765205"/>
                <a:gd name="connsiteX1195" fmla="*/ 303490 w 8566434"/>
                <a:gd name="connsiteY1195" fmla="*/ 50790 h 2765205"/>
                <a:gd name="connsiteX1196" fmla="*/ 303627 w 8566434"/>
                <a:gd name="connsiteY1196" fmla="*/ 33490 h 2765205"/>
                <a:gd name="connsiteX1197" fmla="*/ 321685 w 8566434"/>
                <a:gd name="connsiteY1197" fmla="*/ 45208 h 2765205"/>
                <a:gd name="connsiteX1198" fmla="*/ 322581 w 8566434"/>
                <a:gd name="connsiteY1198" fmla="*/ 66092 h 2765205"/>
                <a:gd name="connsiteX1199" fmla="*/ 318031 w 8566434"/>
                <a:gd name="connsiteY1199" fmla="*/ 68091 h 2765205"/>
                <a:gd name="connsiteX1200" fmla="*/ 293426 w 8566434"/>
                <a:gd name="connsiteY1200" fmla="*/ 83599 h 2765205"/>
                <a:gd name="connsiteX1201" fmla="*/ 297561 w 8566434"/>
                <a:gd name="connsiteY1201" fmla="*/ 99520 h 2765205"/>
                <a:gd name="connsiteX1202" fmla="*/ 265441 w 8566434"/>
                <a:gd name="connsiteY1202" fmla="*/ 117372 h 2765205"/>
                <a:gd name="connsiteX1203" fmla="*/ 247658 w 8566434"/>
                <a:gd name="connsiteY1203" fmla="*/ 105723 h 2765205"/>
                <a:gd name="connsiteX1204" fmla="*/ 510676 w 8566434"/>
                <a:gd name="connsiteY1204" fmla="*/ 120266 h 2765205"/>
                <a:gd name="connsiteX1205" fmla="*/ 510676 w 8566434"/>
                <a:gd name="connsiteY1205" fmla="*/ 120266 h 2765205"/>
                <a:gd name="connsiteX1206" fmla="*/ 270820 w 8566434"/>
                <a:gd name="connsiteY1206" fmla="*/ 126952 h 2765205"/>
                <a:gd name="connsiteX1207" fmla="*/ 270820 w 8566434"/>
                <a:gd name="connsiteY1207" fmla="*/ 126952 h 2765205"/>
                <a:gd name="connsiteX1208" fmla="*/ 765146 w 8566434"/>
                <a:gd name="connsiteY1208" fmla="*/ 134878 h 2765205"/>
                <a:gd name="connsiteX1209" fmla="*/ 765146 w 8566434"/>
                <a:gd name="connsiteY1209" fmla="*/ 134878 h 2765205"/>
                <a:gd name="connsiteX1210" fmla="*/ 739161 w 8566434"/>
                <a:gd name="connsiteY1210" fmla="*/ 135361 h 2765205"/>
                <a:gd name="connsiteX1211" fmla="*/ 739161 w 8566434"/>
                <a:gd name="connsiteY1211" fmla="*/ 135361 h 2765205"/>
                <a:gd name="connsiteX1212" fmla="*/ 146686 w 8566434"/>
                <a:gd name="connsiteY1212" fmla="*/ 133707 h 2765205"/>
                <a:gd name="connsiteX1213" fmla="*/ 146686 w 8566434"/>
                <a:gd name="connsiteY1213" fmla="*/ 133707 h 2765205"/>
                <a:gd name="connsiteX1214" fmla="*/ 231735 w 8566434"/>
                <a:gd name="connsiteY1214" fmla="*/ 134810 h 2765205"/>
                <a:gd name="connsiteX1215" fmla="*/ 254965 w 8566434"/>
                <a:gd name="connsiteY1215" fmla="*/ 134947 h 2765205"/>
                <a:gd name="connsiteX1216" fmla="*/ 231735 w 8566434"/>
                <a:gd name="connsiteY1216" fmla="*/ 134810 h 2765205"/>
                <a:gd name="connsiteX1217" fmla="*/ 180941 w 8566434"/>
                <a:gd name="connsiteY1217" fmla="*/ 167962 h 2765205"/>
                <a:gd name="connsiteX1218" fmla="*/ 180941 w 8566434"/>
                <a:gd name="connsiteY1218" fmla="*/ 167962 h 2765205"/>
                <a:gd name="connsiteX1219" fmla="*/ 153579 w 8566434"/>
                <a:gd name="connsiteY1219" fmla="*/ 209041 h 2765205"/>
                <a:gd name="connsiteX1220" fmla="*/ 153579 w 8566434"/>
                <a:gd name="connsiteY1220" fmla="*/ 209041 h 2765205"/>
                <a:gd name="connsiteX1221" fmla="*/ 132349 w 8566434"/>
                <a:gd name="connsiteY1221" fmla="*/ 229030 h 2765205"/>
                <a:gd name="connsiteX1222" fmla="*/ 132349 w 8566434"/>
                <a:gd name="connsiteY1222" fmla="*/ 229030 h 2765205"/>
                <a:gd name="connsiteX1223" fmla="*/ 180042 w 8566434"/>
                <a:gd name="connsiteY1223" fmla="*/ 262734 h 2765205"/>
                <a:gd name="connsiteX1224" fmla="*/ 167638 w 8566434"/>
                <a:gd name="connsiteY1224" fmla="*/ 208352 h 2765205"/>
                <a:gd name="connsiteX1225" fmla="*/ 170188 w 8566434"/>
                <a:gd name="connsiteY1225" fmla="*/ 193533 h 2765205"/>
                <a:gd name="connsiteX1226" fmla="*/ 193967 w 8566434"/>
                <a:gd name="connsiteY1226" fmla="*/ 186641 h 2765205"/>
                <a:gd name="connsiteX1227" fmla="*/ 193759 w 8566434"/>
                <a:gd name="connsiteY1227" fmla="*/ 213728 h 2765205"/>
                <a:gd name="connsiteX1228" fmla="*/ 206855 w 8566434"/>
                <a:gd name="connsiteY1228" fmla="*/ 210075 h 2765205"/>
                <a:gd name="connsiteX1229" fmla="*/ 217883 w 8566434"/>
                <a:gd name="connsiteY1229" fmla="*/ 241918 h 2765205"/>
                <a:gd name="connsiteX1230" fmla="*/ 200859 w 8566434"/>
                <a:gd name="connsiteY1230" fmla="*/ 234888 h 2765205"/>
                <a:gd name="connsiteX1231" fmla="*/ 201890 w 8566434"/>
                <a:gd name="connsiteY1231" fmla="*/ 265973 h 2765205"/>
                <a:gd name="connsiteX1232" fmla="*/ 180042 w 8566434"/>
                <a:gd name="connsiteY1232" fmla="*/ 262734 h 2765205"/>
                <a:gd name="connsiteX1233" fmla="*/ 153990 w 8566434"/>
                <a:gd name="connsiteY1233" fmla="*/ 292302 h 2765205"/>
                <a:gd name="connsiteX1234" fmla="*/ 153990 w 8566434"/>
                <a:gd name="connsiteY1234" fmla="*/ 292302 h 2765205"/>
                <a:gd name="connsiteX1235" fmla="*/ 192381 w 8566434"/>
                <a:gd name="connsiteY1235" fmla="*/ 326971 h 2765205"/>
                <a:gd name="connsiteX1236" fmla="*/ 192728 w 8566434"/>
                <a:gd name="connsiteY1236" fmla="*/ 350406 h 2765205"/>
                <a:gd name="connsiteX1237" fmla="*/ 192381 w 8566434"/>
                <a:gd name="connsiteY1237" fmla="*/ 326971 h 2765205"/>
                <a:gd name="connsiteX1238" fmla="*/ 161227 w 8566434"/>
                <a:gd name="connsiteY1238" fmla="*/ 382938 h 2765205"/>
                <a:gd name="connsiteX1239" fmla="*/ 159849 w 8566434"/>
                <a:gd name="connsiteY1239" fmla="*/ 362812 h 2765205"/>
                <a:gd name="connsiteX1240" fmla="*/ 161227 w 8566434"/>
                <a:gd name="connsiteY1240" fmla="*/ 382938 h 2765205"/>
                <a:gd name="connsiteX1241" fmla="*/ 104709 w 8566434"/>
                <a:gd name="connsiteY1241" fmla="*/ 451518 h 2765205"/>
                <a:gd name="connsiteX1242" fmla="*/ 104709 w 8566434"/>
                <a:gd name="connsiteY1242" fmla="*/ 451518 h 2765205"/>
                <a:gd name="connsiteX1243" fmla="*/ 187697 w 8566434"/>
                <a:gd name="connsiteY1243" fmla="*/ 527404 h 2765205"/>
                <a:gd name="connsiteX1244" fmla="*/ 187697 w 8566434"/>
                <a:gd name="connsiteY1244" fmla="*/ 527404 h 2765205"/>
                <a:gd name="connsiteX1245" fmla="*/ 189557 w 8566434"/>
                <a:gd name="connsiteY1245" fmla="*/ 607770 h 2765205"/>
                <a:gd name="connsiteX1246" fmla="*/ 189212 w 8566434"/>
                <a:gd name="connsiteY1246" fmla="*/ 574687 h 2765205"/>
                <a:gd name="connsiteX1247" fmla="*/ 203134 w 8566434"/>
                <a:gd name="connsiteY1247" fmla="*/ 581855 h 2765205"/>
                <a:gd name="connsiteX1248" fmla="*/ 189557 w 8566434"/>
                <a:gd name="connsiteY1248" fmla="*/ 607770 h 2765205"/>
                <a:gd name="connsiteX1249" fmla="*/ 164259 w 8566434"/>
                <a:gd name="connsiteY1249" fmla="*/ 593710 h 2765205"/>
                <a:gd name="connsiteX1250" fmla="*/ 178734 w 8566434"/>
                <a:gd name="connsiteY1250" fmla="*/ 584818 h 2765205"/>
                <a:gd name="connsiteX1251" fmla="*/ 163226 w 8566434"/>
                <a:gd name="connsiteY1251" fmla="*/ 610045 h 2765205"/>
                <a:gd name="connsiteX1252" fmla="*/ 164259 w 8566434"/>
                <a:gd name="connsiteY1252" fmla="*/ 593710 h 2765205"/>
                <a:gd name="connsiteX1253" fmla="*/ 122218 w 8566434"/>
                <a:gd name="connsiteY1253" fmla="*/ 606943 h 2765205"/>
                <a:gd name="connsiteX1254" fmla="*/ 111394 w 8566434"/>
                <a:gd name="connsiteY1254" fmla="*/ 579236 h 2765205"/>
                <a:gd name="connsiteX1255" fmla="*/ 150822 w 8566434"/>
                <a:gd name="connsiteY1255" fmla="*/ 588885 h 2765205"/>
                <a:gd name="connsiteX1256" fmla="*/ 151441 w 8566434"/>
                <a:gd name="connsiteY1256" fmla="*/ 609287 h 2765205"/>
                <a:gd name="connsiteX1257" fmla="*/ 122218 w 8566434"/>
                <a:gd name="connsiteY1257" fmla="*/ 606943 h 2765205"/>
                <a:gd name="connsiteX1258" fmla="*/ 140343 w 8566434"/>
                <a:gd name="connsiteY1258" fmla="*/ 671319 h 2765205"/>
                <a:gd name="connsiteX1259" fmla="*/ 140343 w 8566434"/>
                <a:gd name="connsiteY1259" fmla="*/ 671319 h 2765205"/>
                <a:gd name="connsiteX1260" fmla="*/ 99885 w 8566434"/>
                <a:gd name="connsiteY1260" fmla="*/ 723495 h 2765205"/>
                <a:gd name="connsiteX1261" fmla="*/ 117463 w 8566434"/>
                <a:gd name="connsiteY1261" fmla="*/ 710468 h 2765205"/>
                <a:gd name="connsiteX1262" fmla="*/ 111602 w 8566434"/>
                <a:gd name="connsiteY1262" fmla="*/ 749273 h 2765205"/>
                <a:gd name="connsiteX1263" fmla="*/ 99885 w 8566434"/>
                <a:gd name="connsiteY1263" fmla="*/ 723495 h 2765205"/>
                <a:gd name="connsiteX1264" fmla="*/ 125594 w 8566434"/>
                <a:gd name="connsiteY1264" fmla="*/ 774361 h 2765205"/>
                <a:gd name="connsiteX1265" fmla="*/ 125594 w 8566434"/>
                <a:gd name="connsiteY1265" fmla="*/ 774361 h 2765205"/>
                <a:gd name="connsiteX1266" fmla="*/ 97957 w 8566434"/>
                <a:gd name="connsiteY1266" fmla="*/ 780082 h 2765205"/>
                <a:gd name="connsiteX1267" fmla="*/ 116155 w 8566434"/>
                <a:gd name="connsiteY1267" fmla="*/ 756785 h 2765205"/>
                <a:gd name="connsiteX1268" fmla="*/ 113117 w 8566434"/>
                <a:gd name="connsiteY1268" fmla="*/ 781598 h 2765205"/>
                <a:gd name="connsiteX1269" fmla="*/ 97957 w 8566434"/>
                <a:gd name="connsiteY1269" fmla="*/ 780082 h 2765205"/>
                <a:gd name="connsiteX1270" fmla="*/ 139172 w 8566434"/>
                <a:gd name="connsiteY1270" fmla="*/ 795728 h 2765205"/>
                <a:gd name="connsiteX1271" fmla="*/ 139172 w 8566434"/>
                <a:gd name="connsiteY1271" fmla="*/ 795728 h 2765205"/>
                <a:gd name="connsiteX1272" fmla="*/ 168257 w 8566434"/>
                <a:gd name="connsiteY1272" fmla="*/ 830328 h 2765205"/>
                <a:gd name="connsiteX1273" fmla="*/ 168257 w 8566434"/>
                <a:gd name="connsiteY1273" fmla="*/ 830328 h 2765205"/>
                <a:gd name="connsiteX1274" fmla="*/ 119528 w 8566434"/>
                <a:gd name="connsiteY1274" fmla="*/ 843562 h 2765205"/>
                <a:gd name="connsiteX1275" fmla="*/ 119528 w 8566434"/>
                <a:gd name="connsiteY1275" fmla="*/ 843562 h 2765205"/>
                <a:gd name="connsiteX1276" fmla="*/ 104987 w 8566434"/>
                <a:gd name="connsiteY1276" fmla="*/ 954530 h 2765205"/>
                <a:gd name="connsiteX1277" fmla="*/ 104020 w 8566434"/>
                <a:gd name="connsiteY1277" fmla="*/ 934197 h 2765205"/>
                <a:gd name="connsiteX1278" fmla="*/ 104987 w 8566434"/>
                <a:gd name="connsiteY1278" fmla="*/ 954530 h 2765205"/>
                <a:gd name="connsiteX1279" fmla="*/ 90717 w 8566434"/>
                <a:gd name="connsiteY1279" fmla="*/ 1002984 h 2765205"/>
                <a:gd name="connsiteX1280" fmla="*/ 90308 w 8566434"/>
                <a:gd name="connsiteY1280" fmla="*/ 962525 h 2765205"/>
                <a:gd name="connsiteX1281" fmla="*/ 96094 w 8566434"/>
                <a:gd name="connsiteY1281" fmla="*/ 1003398 h 2765205"/>
                <a:gd name="connsiteX1282" fmla="*/ 90717 w 8566434"/>
                <a:gd name="connsiteY1282" fmla="*/ 1002984 h 2765205"/>
                <a:gd name="connsiteX1283" fmla="*/ 64666 w 8566434"/>
                <a:gd name="connsiteY1283" fmla="*/ 1043512 h 2765205"/>
                <a:gd name="connsiteX1284" fmla="*/ 89341 w 8566434"/>
                <a:gd name="connsiteY1284" fmla="*/ 1036068 h 2765205"/>
                <a:gd name="connsiteX1285" fmla="*/ 64666 w 8566434"/>
                <a:gd name="connsiteY1285" fmla="*/ 1043512 h 2765205"/>
                <a:gd name="connsiteX1286" fmla="*/ 140001 w 8566434"/>
                <a:gd name="connsiteY1286" fmla="*/ 1054747 h 2765205"/>
                <a:gd name="connsiteX1287" fmla="*/ 141376 w 8566434"/>
                <a:gd name="connsiteY1287" fmla="*/ 1010910 h 2765205"/>
                <a:gd name="connsiteX1288" fmla="*/ 145100 w 8566434"/>
                <a:gd name="connsiteY1288" fmla="*/ 1029451 h 2765205"/>
                <a:gd name="connsiteX1289" fmla="*/ 169224 w 8566434"/>
                <a:gd name="connsiteY1289" fmla="*/ 1028417 h 2765205"/>
                <a:gd name="connsiteX1290" fmla="*/ 171841 w 8566434"/>
                <a:gd name="connsiteY1290" fmla="*/ 1043719 h 2765205"/>
                <a:gd name="connsiteX1291" fmla="*/ 167980 w 8566434"/>
                <a:gd name="connsiteY1291" fmla="*/ 1043856 h 2765205"/>
                <a:gd name="connsiteX1292" fmla="*/ 167980 w 8566434"/>
                <a:gd name="connsiteY1292" fmla="*/ 1029038 h 2765205"/>
                <a:gd name="connsiteX1293" fmla="*/ 148132 w 8566434"/>
                <a:gd name="connsiteY1293" fmla="*/ 1033035 h 2765205"/>
                <a:gd name="connsiteX1294" fmla="*/ 140001 w 8566434"/>
                <a:gd name="connsiteY1294" fmla="*/ 1054747 h 2765205"/>
                <a:gd name="connsiteX1295" fmla="*/ 84032 w 8566434"/>
                <a:gd name="connsiteY1295" fmla="*/ 1064603 h 2765205"/>
                <a:gd name="connsiteX1296" fmla="*/ 95886 w 8566434"/>
                <a:gd name="connsiteY1296" fmla="*/ 1053023 h 2765205"/>
                <a:gd name="connsiteX1297" fmla="*/ 84032 w 8566434"/>
                <a:gd name="connsiteY1297" fmla="*/ 1064603 h 2765205"/>
                <a:gd name="connsiteX1298" fmla="*/ 104435 w 8566434"/>
                <a:gd name="connsiteY1298" fmla="*/ 1079215 h 2765205"/>
                <a:gd name="connsiteX1299" fmla="*/ 115740 w 8566434"/>
                <a:gd name="connsiteY1299" fmla="*/ 1067429 h 2765205"/>
                <a:gd name="connsiteX1300" fmla="*/ 104435 w 8566434"/>
                <a:gd name="connsiteY1300" fmla="*/ 1079215 h 2765205"/>
                <a:gd name="connsiteX1301" fmla="*/ 85895 w 8566434"/>
                <a:gd name="connsiteY1301" fmla="*/ 1078939 h 2765205"/>
                <a:gd name="connsiteX1302" fmla="*/ 85895 w 8566434"/>
                <a:gd name="connsiteY1302" fmla="*/ 1078939 h 2765205"/>
                <a:gd name="connsiteX1303" fmla="*/ 71006 w 8566434"/>
                <a:gd name="connsiteY1303" fmla="*/ 1078457 h 2765205"/>
                <a:gd name="connsiteX1304" fmla="*/ 71006 w 8566434"/>
                <a:gd name="connsiteY1304" fmla="*/ 1078457 h 2765205"/>
                <a:gd name="connsiteX1305" fmla="*/ 118772 w 8566434"/>
                <a:gd name="connsiteY1305" fmla="*/ 1147795 h 2765205"/>
                <a:gd name="connsiteX1306" fmla="*/ 129455 w 8566434"/>
                <a:gd name="connsiteY1306" fmla="*/ 1135733 h 2765205"/>
                <a:gd name="connsiteX1307" fmla="*/ 118772 w 8566434"/>
                <a:gd name="connsiteY1307" fmla="*/ 1147795 h 2765205"/>
                <a:gd name="connsiteX1308" fmla="*/ 123252 w 8566434"/>
                <a:gd name="connsiteY1308" fmla="*/ 1223819 h 2765205"/>
                <a:gd name="connsiteX1309" fmla="*/ 144619 w 8566434"/>
                <a:gd name="connsiteY1309" fmla="*/ 1187771 h 2765205"/>
                <a:gd name="connsiteX1310" fmla="*/ 145442 w 8566434"/>
                <a:gd name="connsiteY1310" fmla="*/ 1234502 h 2765205"/>
                <a:gd name="connsiteX1311" fmla="*/ 123252 w 8566434"/>
                <a:gd name="connsiteY1311" fmla="*/ 1223819 h 2765205"/>
                <a:gd name="connsiteX1312" fmla="*/ 65493 w 8566434"/>
                <a:gd name="connsiteY1312" fmla="*/ 1305770 h 2765205"/>
                <a:gd name="connsiteX1313" fmla="*/ 82239 w 8566434"/>
                <a:gd name="connsiteY1313" fmla="*/ 1296948 h 2765205"/>
                <a:gd name="connsiteX1314" fmla="*/ 65493 w 8566434"/>
                <a:gd name="connsiteY1314" fmla="*/ 1305770 h 2765205"/>
                <a:gd name="connsiteX1315" fmla="*/ 103883 w 8566434"/>
                <a:gd name="connsiteY1315" fmla="*/ 1339681 h 2765205"/>
                <a:gd name="connsiteX1316" fmla="*/ 103883 w 8566434"/>
                <a:gd name="connsiteY1316" fmla="*/ 1339681 h 2765205"/>
                <a:gd name="connsiteX1317" fmla="*/ 67697 w 8566434"/>
                <a:gd name="connsiteY1317" fmla="*/ 1356843 h 2765205"/>
                <a:gd name="connsiteX1318" fmla="*/ 67283 w 8566434"/>
                <a:gd name="connsiteY1318" fmla="*/ 1380415 h 2765205"/>
                <a:gd name="connsiteX1319" fmla="*/ 67697 w 8566434"/>
                <a:gd name="connsiteY1319" fmla="*/ 1356843 h 2765205"/>
                <a:gd name="connsiteX1320" fmla="*/ 116082 w 8566434"/>
                <a:gd name="connsiteY1320" fmla="*/ 1409639 h 2765205"/>
                <a:gd name="connsiteX1321" fmla="*/ 90308 w 8566434"/>
                <a:gd name="connsiteY1321" fmla="*/ 1382759 h 2765205"/>
                <a:gd name="connsiteX1322" fmla="*/ 109394 w 8566434"/>
                <a:gd name="connsiteY1322" fmla="*/ 1369870 h 2765205"/>
                <a:gd name="connsiteX1323" fmla="*/ 108842 w 8566434"/>
                <a:gd name="connsiteY1323" fmla="*/ 1395441 h 2765205"/>
                <a:gd name="connsiteX1324" fmla="*/ 138208 w 8566434"/>
                <a:gd name="connsiteY1324" fmla="*/ 1409019 h 2765205"/>
                <a:gd name="connsiteX1325" fmla="*/ 119049 w 8566434"/>
                <a:gd name="connsiteY1325" fmla="*/ 1415498 h 2765205"/>
                <a:gd name="connsiteX1326" fmla="*/ 120010 w 8566434"/>
                <a:gd name="connsiteY1326" fmla="*/ 1430661 h 2765205"/>
                <a:gd name="connsiteX1327" fmla="*/ 116082 w 8566434"/>
                <a:gd name="connsiteY1327" fmla="*/ 1409639 h 2765205"/>
                <a:gd name="connsiteX1328" fmla="*/ 51293 w 8566434"/>
                <a:gd name="connsiteY1328" fmla="*/ 1436796 h 2765205"/>
                <a:gd name="connsiteX1329" fmla="*/ 51293 w 8566434"/>
                <a:gd name="connsiteY1329" fmla="*/ 1436796 h 2765205"/>
                <a:gd name="connsiteX1330" fmla="*/ 139931 w 8566434"/>
                <a:gd name="connsiteY1330" fmla="*/ 1463745 h 2765205"/>
                <a:gd name="connsiteX1331" fmla="*/ 144481 w 8566434"/>
                <a:gd name="connsiteY1331" fmla="*/ 1448651 h 2765205"/>
                <a:gd name="connsiteX1332" fmla="*/ 139931 w 8566434"/>
                <a:gd name="connsiteY1332" fmla="*/ 1463745 h 2765205"/>
                <a:gd name="connsiteX1333" fmla="*/ 111602 w 8566434"/>
                <a:gd name="connsiteY1333" fmla="*/ 1463745 h 2765205"/>
                <a:gd name="connsiteX1334" fmla="*/ 111257 w 8566434"/>
                <a:gd name="connsiteY1334" fmla="*/ 1444377 h 2765205"/>
                <a:gd name="connsiteX1335" fmla="*/ 111602 w 8566434"/>
                <a:gd name="connsiteY1335" fmla="*/ 1463745 h 2765205"/>
                <a:gd name="connsiteX1336" fmla="*/ 85139 w 8566434"/>
                <a:gd name="connsiteY1336" fmla="*/ 1518747 h 2765205"/>
                <a:gd name="connsiteX1337" fmla="*/ 89756 w 8566434"/>
                <a:gd name="connsiteY1337" fmla="*/ 1503308 h 2765205"/>
                <a:gd name="connsiteX1338" fmla="*/ 85139 w 8566434"/>
                <a:gd name="connsiteY1338" fmla="*/ 1518747 h 2765205"/>
                <a:gd name="connsiteX1339" fmla="*/ 110294 w 8566434"/>
                <a:gd name="connsiteY1339" fmla="*/ 1508960 h 2765205"/>
                <a:gd name="connsiteX1340" fmla="*/ 100852 w 8566434"/>
                <a:gd name="connsiteY1340" fmla="*/ 1496416 h 2765205"/>
                <a:gd name="connsiteX1341" fmla="*/ 104987 w 8566434"/>
                <a:gd name="connsiteY1341" fmla="*/ 1485732 h 2765205"/>
                <a:gd name="connsiteX1342" fmla="*/ 123526 w 8566434"/>
                <a:gd name="connsiteY1342" fmla="*/ 1505583 h 2765205"/>
                <a:gd name="connsiteX1343" fmla="*/ 117942 w 8566434"/>
                <a:gd name="connsiteY1343" fmla="*/ 1488282 h 2765205"/>
                <a:gd name="connsiteX1344" fmla="*/ 129040 w 8566434"/>
                <a:gd name="connsiteY1344" fmla="*/ 1495450 h 2765205"/>
                <a:gd name="connsiteX1345" fmla="*/ 129797 w 8566434"/>
                <a:gd name="connsiteY1345" fmla="*/ 1480287 h 2765205"/>
                <a:gd name="connsiteX1346" fmla="*/ 133518 w 8566434"/>
                <a:gd name="connsiteY1346" fmla="*/ 1501654 h 2765205"/>
                <a:gd name="connsiteX1347" fmla="*/ 129455 w 8566434"/>
                <a:gd name="connsiteY1347" fmla="*/ 1527914 h 2765205"/>
                <a:gd name="connsiteX1348" fmla="*/ 110294 w 8566434"/>
                <a:gd name="connsiteY1348" fmla="*/ 1508960 h 2765205"/>
                <a:gd name="connsiteX1349" fmla="*/ 84791 w 8566434"/>
                <a:gd name="connsiteY1349" fmla="*/ 1564513 h 2765205"/>
                <a:gd name="connsiteX1350" fmla="*/ 79417 w 8566434"/>
                <a:gd name="connsiteY1350" fmla="*/ 1538735 h 2765205"/>
                <a:gd name="connsiteX1351" fmla="*/ 70662 w 8566434"/>
                <a:gd name="connsiteY1351" fmla="*/ 1537357 h 2765205"/>
                <a:gd name="connsiteX1352" fmla="*/ 102575 w 8566434"/>
                <a:gd name="connsiteY1352" fmla="*/ 1527707 h 2765205"/>
                <a:gd name="connsiteX1353" fmla="*/ 96853 w 8566434"/>
                <a:gd name="connsiteY1353" fmla="*/ 1556724 h 2765205"/>
                <a:gd name="connsiteX1354" fmla="*/ 131795 w 8566434"/>
                <a:gd name="connsiteY1354" fmla="*/ 1551417 h 2765205"/>
                <a:gd name="connsiteX1355" fmla="*/ 84791 w 8566434"/>
                <a:gd name="connsiteY1355" fmla="*/ 1564513 h 2765205"/>
                <a:gd name="connsiteX1356" fmla="*/ 69695 w 8566434"/>
                <a:gd name="connsiteY1356" fmla="*/ 1587051 h 2765205"/>
                <a:gd name="connsiteX1357" fmla="*/ 81757 w 8566434"/>
                <a:gd name="connsiteY1357" fmla="*/ 1571337 h 2765205"/>
                <a:gd name="connsiteX1358" fmla="*/ 69695 w 8566434"/>
                <a:gd name="connsiteY1358" fmla="*/ 1587051 h 2765205"/>
                <a:gd name="connsiteX1359" fmla="*/ 106088 w 8566434"/>
                <a:gd name="connsiteY1359" fmla="*/ 1596494 h 2765205"/>
                <a:gd name="connsiteX1360" fmla="*/ 116979 w 8566434"/>
                <a:gd name="connsiteY1360" fmla="*/ 1585053 h 2765205"/>
                <a:gd name="connsiteX1361" fmla="*/ 106088 w 8566434"/>
                <a:gd name="connsiteY1361" fmla="*/ 1596494 h 2765205"/>
                <a:gd name="connsiteX1362" fmla="*/ 50262 w 8566434"/>
                <a:gd name="connsiteY1362" fmla="*/ 1623237 h 2765205"/>
                <a:gd name="connsiteX1363" fmla="*/ 50262 w 8566434"/>
                <a:gd name="connsiteY1363" fmla="*/ 1623237 h 2765205"/>
                <a:gd name="connsiteX1364" fmla="*/ 48538 w 8566434"/>
                <a:gd name="connsiteY1364" fmla="*/ 1681616 h 2765205"/>
                <a:gd name="connsiteX1365" fmla="*/ 60737 w 8566434"/>
                <a:gd name="connsiteY1365" fmla="*/ 1682719 h 2765205"/>
                <a:gd name="connsiteX1366" fmla="*/ 55773 w 8566434"/>
                <a:gd name="connsiteY1366" fmla="*/ 1665763 h 2765205"/>
                <a:gd name="connsiteX1367" fmla="*/ 73349 w 8566434"/>
                <a:gd name="connsiteY1367" fmla="*/ 1665143 h 2765205"/>
                <a:gd name="connsiteX1368" fmla="*/ 67008 w 8566434"/>
                <a:gd name="connsiteY1368" fmla="*/ 1654046 h 2765205"/>
                <a:gd name="connsiteX1369" fmla="*/ 80311 w 8566434"/>
                <a:gd name="connsiteY1369" fmla="*/ 1642536 h 2765205"/>
                <a:gd name="connsiteX1370" fmla="*/ 77762 w 8566434"/>
                <a:gd name="connsiteY1370" fmla="*/ 1626407 h 2765205"/>
                <a:gd name="connsiteX1371" fmla="*/ 83895 w 8566434"/>
                <a:gd name="connsiteY1371" fmla="*/ 1623375 h 2765205"/>
                <a:gd name="connsiteX1372" fmla="*/ 74248 w 8566434"/>
                <a:gd name="connsiteY1372" fmla="*/ 1610417 h 2765205"/>
                <a:gd name="connsiteX1373" fmla="*/ 94648 w 8566434"/>
                <a:gd name="connsiteY1373" fmla="*/ 1609865 h 2765205"/>
                <a:gd name="connsiteX1374" fmla="*/ 99332 w 8566434"/>
                <a:gd name="connsiteY1374" fmla="*/ 1613932 h 2765205"/>
                <a:gd name="connsiteX1375" fmla="*/ 92163 w 8566434"/>
                <a:gd name="connsiteY1375" fmla="*/ 1642467 h 2765205"/>
                <a:gd name="connsiteX1376" fmla="*/ 99680 w 8566434"/>
                <a:gd name="connsiteY1376" fmla="*/ 1646120 h 2765205"/>
                <a:gd name="connsiteX1377" fmla="*/ 109052 w 8566434"/>
                <a:gd name="connsiteY1377" fmla="*/ 1615104 h 2765205"/>
                <a:gd name="connsiteX1378" fmla="*/ 136070 w 8566434"/>
                <a:gd name="connsiteY1378" fmla="*/ 1606075 h 2765205"/>
                <a:gd name="connsiteX1379" fmla="*/ 121182 w 8566434"/>
                <a:gd name="connsiteY1379" fmla="*/ 1567063 h 2765205"/>
                <a:gd name="connsiteX1380" fmla="*/ 140825 w 8566434"/>
                <a:gd name="connsiteY1380" fmla="*/ 1571199 h 2765205"/>
                <a:gd name="connsiteX1381" fmla="*/ 130419 w 8566434"/>
                <a:gd name="connsiteY1381" fmla="*/ 1571337 h 2765205"/>
                <a:gd name="connsiteX1382" fmla="*/ 130696 w 8566434"/>
                <a:gd name="connsiteY1382" fmla="*/ 1594978 h 2765205"/>
                <a:gd name="connsiteX1383" fmla="*/ 146409 w 8566434"/>
                <a:gd name="connsiteY1383" fmla="*/ 1594633 h 2765205"/>
                <a:gd name="connsiteX1384" fmla="*/ 157714 w 8566434"/>
                <a:gd name="connsiteY1384" fmla="*/ 1391650 h 2765205"/>
                <a:gd name="connsiteX1385" fmla="*/ 149650 w 8566434"/>
                <a:gd name="connsiteY1385" fmla="*/ 1392546 h 2765205"/>
                <a:gd name="connsiteX1386" fmla="*/ 141587 w 8566434"/>
                <a:gd name="connsiteY1386" fmla="*/ 1363529 h 2765205"/>
                <a:gd name="connsiteX1387" fmla="*/ 154063 w 8566434"/>
                <a:gd name="connsiteY1387" fmla="*/ 1382552 h 2765205"/>
                <a:gd name="connsiteX1388" fmla="*/ 157437 w 8566434"/>
                <a:gd name="connsiteY1388" fmla="*/ 1382483 h 2765205"/>
                <a:gd name="connsiteX1389" fmla="*/ 161365 w 8566434"/>
                <a:gd name="connsiteY1389" fmla="*/ 1338647 h 2765205"/>
                <a:gd name="connsiteX1390" fmla="*/ 122974 w 8566434"/>
                <a:gd name="connsiteY1390" fmla="*/ 1346711 h 2765205"/>
                <a:gd name="connsiteX1391" fmla="*/ 127040 w 8566434"/>
                <a:gd name="connsiteY1391" fmla="*/ 1369594 h 2765205"/>
                <a:gd name="connsiteX1392" fmla="*/ 120217 w 8566434"/>
                <a:gd name="connsiteY1392" fmla="*/ 1376142 h 2765205"/>
                <a:gd name="connsiteX1393" fmla="*/ 120772 w 8566434"/>
                <a:gd name="connsiteY1393" fmla="*/ 1314248 h 2765205"/>
                <a:gd name="connsiteX1394" fmla="*/ 110912 w 8566434"/>
                <a:gd name="connsiteY1394" fmla="*/ 1313972 h 2765205"/>
                <a:gd name="connsiteX1395" fmla="*/ 110571 w 8566434"/>
                <a:gd name="connsiteY1395" fmla="*/ 1308458 h 2765205"/>
                <a:gd name="connsiteX1396" fmla="*/ 140825 w 8566434"/>
                <a:gd name="connsiteY1396" fmla="*/ 1272204 h 2765205"/>
                <a:gd name="connsiteX1397" fmla="*/ 136003 w 8566434"/>
                <a:gd name="connsiteY1397" fmla="*/ 1331548 h 2765205"/>
                <a:gd name="connsiteX1398" fmla="*/ 167086 w 8566434"/>
                <a:gd name="connsiteY1398" fmla="*/ 1318108 h 2765205"/>
                <a:gd name="connsiteX1399" fmla="*/ 149855 w 8566434"/>
                <a:gd name="connsiteY1399" fmla="*/ 1314523 h 2765205"/>
                <a:gd name="connsiteX1400" fmla="*/ 152267 w 8566434"/>
                <a:gd name="connsiteY1400" fmla="*/ 1309285 h 2765205"/>
                <a:gd name="connsiteX1401" fmla="*/ 164329 w 8566434"/>
                <a:gd name="connsiteY1401" fmla="*/ 1310664 h 2765205"/>
                <a:gd name="connsiteX1402" fmla="*/ 166330 w 8566434"/>
                <a:gd name="connsiteY1402" fmla="*/ 1288194 h 2765205"/>
                <a:gd name="connsiteX1403" fmla="*/ 155161 w 8566434"/>
                <a:gd name="connsiteY1403" fmla="*/ 1289711 h 2765205"/>
                <a:gd name="connsiteX1404" fmla="*/ 154472 w 8566434"/>
                <a:gd name="connsiteY1404" fmla="*/ 1272962 h 2765205"/>
                <a:gd name="connsiteX1405" fmla="*/ 157367 w 8566434"/>
                <a:gd name="connsiteY1405" fmla="*/ 1285162 h 2765205"/>
                <a:gd name="connsiteX1406" fmla="*/ 165778 w 8566434"/>
                <a:gd name="connsiteY1406" fmla="*/ 1285575 h 2765205"/>
                <a:gd name="connsiteX1407" fmla="*/ 184250 w 8566434"/>
                <a:gd name="connsiteY1407" fmla="*/ 1003329 h 2765205"/>
                <a:gd name="connsiteX1408" fmla="*/ 162401 w 8566434"/>
                <a:gd name="connsiteY1408" fmla="*/ 998642 h 2765205"/>
                <a:gd name="connsiteX1409" fmla="*/ 187697 w 8566434"/>
                <a:gd name="connsiteY1409" fmla="*/ 985064 h 2765205"/>
                <a:gd name="connsiteX1410" fmla="*/ 185351 w 8566434"/>
                <a:gd name="connsiteY1410" fmla="*/ 975483 h 2765205"/>
                <a:gd name="connsiteX1411" fmla="*/ 188868 w 8566434"/>
                <a:gd name="connsiteY1411" fmla="*/ 920137 h 2765205"/>
                <a:gd name="connsiteX1412" fmla="*/ 178874 w 8566434"/>
                <a:gd name="connsiteY1412" fmla="*/ 906765 h 2765205"/>
                <a:gd name="connsiteX1413" fmla="*/ 167433 w 8566434"/>
                <a:gd name="connsiteY1413" fmla="*/ 919172 h 2765205"/>
                <a:gd name="connsiteX1414" fmla="*/ 145994 w 8566434"/>
                <a:gd name="connsiteY1414" fmla="*/ 881884 h 2765205"/>
                <a:gd name="connsiteX1415" fmla="*/ 190795 w 8566434"/>
                <a:gd name="connsiteY1415" fmla="*/ 898839 h 2765205"/>
                <a:gd name="connsiteX1416" fmla="*/ 192933 w 8566434"/>
                <a:gd name="connsiteY1416" fmla="*/ 811167 h 2765205"/>
                <a:gd name="connsiteX1417" fmla="*/ 161850 w 8566434"/>
                <a:gd name="connsiteY1417" fmla="*/ 807100 h 2765205"/>
                <a:gd name="connsiteX1418" fmla="*/ 152198 w 8566434"/>
                <a:gd name="connsiteY1418" fmla="*/ 791523 h 2765205"/>
                <a:gd name="connsiteX1419" fmla="*/ 193070 w 8566434"/>
                <a:gd name="connsiteY1419" fmla="*/ 804206 h 2765205"/>
                <a:gd name="connsiteX1420" fmla="*/ 173426 w 8566434"/>
                <a:gd name="connsiteY1420" fmla="*/ 783252 h 2765205"/>
                <a:gd name="connsiteX1421" fmla="*/ 178734 w 8566434"/>
                <a:gd name="connsiteY1421" fmla="*/ 756854 h 2765205"/>
                <a:gd name="connsiteX1422" fmla="*/ 198587 w 8566434"/>
                <a:gd name="connsiteY1422" fmla="*/ 761886 h 2765205"/>
                <a:gd name="connsiteX1423" fmla="*/ 201759 w 8566434"/>
                <a:gd name="connsiteY1423" fmla="*/ 712949 h 2765205"/>
                <a:gd name="connsiteX1424" fmla="*/ 172945 w 8566434"/>
                <a:gd name="connsiteY1424" fmla="*/ 688274 h 2765205"/>
                <a:gd name="connsiteX1425" fmla="*/ 202927 w 8566434"/>
                <a:gd name="connsiteY1425" fmla="*/ 692134 h 2765205"/>
                <a:gd name="connsiteX1426" fmla="*/ 207337 w 8566434"/>
                <a:gd name="connsiteY1426" fmla="*/ 623830 h 2765205"/>
                <a:gd name="connsiteX1427" fmla="*/ 202375 w 8566434"/>
                <a:gd name="connsiteY1427" fmla="*/ 613560 h 2765205"/>
                <a:gd name="connsiteX1428" fmla="*/ 209819 w 8566434"/>
                <a:gd name="connsiteY1428" fmla="*/ 583991 h 2765205"/>
                <a:gd name="connsiteX1429" fmla="*/ 219813 w 8566434"/>
                <a:gd name="connsiteY1429" fmla="*/ 410922 h 2765205"/>
                <a:gd name="connsiteX1430" fmla="*/ 189624 w 8566434"/>
                <a:gd name="connsiteY1430" fmla="*/ 445384 h 2765205"/>
                <a:gd name="connsiteX1431" fmla="*/ 189901 w 8566434"/>
                <a:gd name="connsiteY1431" fmla="*/ 431048 h 2765205"/>
                <a:gd name="connsiteX1432" fmla="*/ 175287 w 8566434"/>
                <a:gd name="connsiteY1432" fmla="*/ 429876 h 2765205"/>
                <a:gd name="connsiteX1433" fmla="*/ 175772 w 8566434"/>
                <a:gd name="connsiteY1433" fmla="*/ 400238 h 2765205"/>
                <a:gd name="connsiteX1434" fmla="*/ 192177 w 8566434"/>
                <a:gd name="connsiteY1434" fmla="*/ 434011 h 2765205"/>
                <a:gd name="connsiteX1435" fmla="*/ 198722 w 8566434"/>
                <a:gd name="connsiteY1435" fmla="*/ 409474 h 2765205"/>
                <a:gd name="connsiteX1436" fmla="*/ 173774 w 8566434"/>
                <a:gd name="connsiteY1436" fmla="*/ 365914 h 2765205"/>
                <a:gd name="connsiteX1437" fmla="*/ 191762 w 8566434"/>
                <a:gd name="connsiteY1437" fmla="*/ 364397 h 2765205"/>
                <a:gd name="connsiteX1438" fmla="*/ 188316 w 8566434"/>
                <a:gd name="connsiteY1438" fmla="*/ 390313 h 2765205"/>
                <a:gd name="connsiteX1439" fmla="*/ 199481 w 8566434"/>
                <a:gd name="connsiteY1439" fmla="*/ 407544 h 2765205"/>
                <a:gd name="connsiteX1440" fmla="*/ 195276 w 8566434"/>
                <a:gd name="connsiteY1440" fmla="*/ 372875 h 2765205"/>
                <a:gd name="connsiteX1441" fmla="*/ 210511 w 8566434"/>
                <a:gd name="connsiteY1441" fmla="*/ 363984 h 2765205"/>
                <a:gd name="connsiteX1442" fmla="*/ 223535 w 8566434"/>
                <a:gd name="connsiteY1442" fmla="*/ 370532 h 2765205"/>
                <a:gd name="connsiteX1443" fmla="*/ 216367 w 8566434"/>
                <a:gd name="connsiteY1443" fmla="*/ 328763 h 2765205"/>
                <a:gd name="connsiteX1444" fmla="*/ 192728 w 8566434"/>
                <a:gd name="connsiteY1444" fmla="*/ 300229 h 2765205"/>
                <a:gd name="connsiteX1445" fmla="*/ 223193 w 8566434"/>
                <a:gd name="connsiteY1445" fmla="*/ 331107 h 2765205"/>
                <a:gd name="connsiteX1446" fmla="*/ 226087 w 8566434"/>
                <a:gd name="connsiteY1446" fmla="*/ 269764 h 2765205"/>
                <a:gd name="connsiteX1447" fmla="*/ 222021 w 8566434"/>
                <a:gd name="connsiteY1447" fmla="*/ 246054 h 2765205"/>
                <a:gd name="connsiteX1448" fmla="*/ 226706 w 8566434"/>
                <a:gd name="connsiteY1448" fmla="*/ 217381 h 2765205"/>
                <a:gd name="connsiteX1449" fmla="*/ 222915 w 8566434"/>
                <a:gd name="connsiteY1449" fmla="*/ 207939 h 2765205"/>
                <a:gd name="connsiteX1450" fmla="*/ 244352 w 8566434"/>
                <a:gd name="connsiteY1450" fmla="*/ 179266 h 2765205"/>
                <a:gd name="connsiteX1451" fmla="*/ 215953 w 8566434"/>
                <a:gd name="connsiteY1451" fmla="*/ 170719 h 2765205"/>
                <a:gd name="connsiteX1452" fmla="*/ 216504 w 8566434"/>
                <a:gd name="connsiteY1452" fmla="*/ 194223 h 2765205"/>
                <a:gd name="connsiteX1453" fmla="*/ 201826 w 8566434"/>
                <a:gd name="connsiteY1453" fmla="*/ 205664 h 2765205"/>
                <a:gd name="connsiteX1454" fmla="*/ 210442 w 8566434"/>
                <a:gd name="connsiteY1454" fmla="*/ 168514 h 2765205"/>
                <a:gd name="connsiteX1455" fmla="*/ 194589 w 8566434"/>
                <a:gd name="connsiteY1455" fmla="*/ 182574 h 2765205"/>
                <a:gd name="connsiteX1456" fmla="*/ 205272 w 8566434"/>
                <a:gd name="connsiteY1456" fmla="*/ 111513 h 2765205"/>
                <a:gd name="connsiteX1457" fmla="*/ 232775 w 8566434"/>
                <a:gd name="connsiteY1457" fmla="*/ 96350 h 2765205"/>
                <a:gd name="connsiteX1458" fmla="*/ 224711 w 8566434"/>
                <a:gd name="connsiteY1458" fmla="*/ 128469 h 2765205"/>
                <a:gd name="connsiteX1459" fmla="*/ 228084 w 8566434"/>
                <a:gd name="connsiteY1459" fmla="*/ 104758 h 2765205"/>
                <a:gd name="connsiteX1460" fmla="*/ 218850 w 8566434"/>
                <a:gd name="connsiteY1460" fmla="*/ 138256 h 2765205"/>
                <a:gd name="connsiteX1461" fmla="*/ 219194 w 8566434"/>
                <a:gd name="connsiteY1461" fmla="*/ 164447 h 2765205"/>
                <a:gd name="connsiteX1462" fmla="*/ 251104 w 8566434"/>
                <a:gd name="connsiteY1462" fmla="*/ 174028 h 2765205"/>
                <a:gd name="connsiteX1463" fmla="*/ 248692 w 8566434"/>
                <a:gd name="connsiteY1463" fmla="*/ 149904 h 2765205"/>
                <a:gd name="connsiteX1464" fmla="*/ 260549 w 8566434"/>
                <a:gd name="connsiteY1464" fmla="*/ 147285 h 2765205"/>
                <a:gd name="connsiteX1465" fmla="*/ 343878 w 8566434"/>
                <a:gd name="connsiteY1465" fmla="*/ 119370 h 2765205"/>
                <a:gd name="connsiteX1466" fmla="*/ 356284 w 8566434"/>
                <a:gd name="connsiteY1466" fmla="*/ 103242 h 2765205"/>
                <a:gd name="connsiteX1467" fmla="*/ 361109 w 8566434"/>
                <a:gd name="connsiteY1467" fmla="*/ 121990 h 2765205"/>
                <a:gd name="connsiteX1468" fmla="*/ 369862 w 8566434"/>
                <a:gd name="connsiteY1468" fmla="*/ 116545 h 2765205"/>
                <a:gd name="connsiteX1469" fmla="*/ 371932 w 8566434"/>
                <a:gd name="connsiteY1469" fmla="*/ 107171 h 2765205"/>
                <a:gd name="connsiteX1470" fmla="*/ 377995 w 8566434"/>
                <a:gd name="connsiteY1470" fmla="*/ 107102 h 2765205"/>
                <a:gd name="connsiteX1471" fmla="*/ 376687 w 8566434"/>
                <a:gd name="connsiteY1471" fmla="*/ 120818 h 2765205"/>
                <a:gd name="connsiteX1472" fmla="*/ 485174 w 8566434"/>
                <a:gd name="connsiteY1472" fmla="*/ 127848 h 2765205"/>
                <a:gd name="connsiteX1473" fmla="*/ 484967 w 8566434"/>
                <a:gd name="connsiteY1473" fmla="*/ 110479 h 2765205"/>
                <a:gd name="connsiteX1474" fmla="*/ 500889 w 8566434"/>
                <a:gd name="connsiteY1474" fmla="*/ 103173 h 2765205"/>
                <a:gd name="connsiteX1475" fmla="*/ 502267 w 8566434"/>
                <a:gd name="connsiteY1475" fmla="*/ 105999 h 2765205"/>
                <a:gd name="connsiteX1476" fmla="*/ 485794 w 8566434"/>
                <a:gd name="connsiteY1476" fmla="*/ 111720 h 2765205"/>
                <a:gd name="connsiteX1477" fmla="*/ 496340 w 8566434"/>
                <a:gd name="connsiteY1477" fmla="*/ 128262 h 2765205"/>
                <a:gd name="connsiteX1478" fmla="*/ 592696 w 8566434"/>
                <a:gd name="connsiteY1478" fmla="*/ 132053 h 2765205"/>
                <a:gd name="connsiteX1479" fmla="*/ 597452 w 8566434"/>
                <a:gd name="connsiteY1479" fmla="*/ 118199 h 2765205"/>
                <a:gd name="connsiteX1480" fmla="*/ 609927 w 8566434"/>
                <a:gd name="connsiteY1480" fmla="*/ 120956 h 2765205"/>
                <a:gd name="connsiteX1481" fmla="*/ 632948 w 8566434"/>
                <a:gd name="connsiteY1481" fmla="*/ 107171 h 2765205"/>
                <a:gd name="connsiteX1482" fmla="*/ 630191 w 8566434"/>
                <a:gd name="connsiteY1482" fmla="*/ 97866 h 2765205"/>
                <a:gd name="connsiteX1483" fmla="*/ 642942 w 8566434"/>
                <a:gd name="connsiteY1483" fmla="*/ 112133 h 2765205"/>
                <a:gd name="connsiteX1484" fmla="*/ 629157 w 8566434"/>
                <a:gd name="connsiteY1484" fmla="*/ 108618 h 2765205"/>
                <a:gd name="connsiteX1485" fmla="*/ 629847 w 8566434"/>
                <a:gd name="connsiteY1485" fmla="*/ 128882 h 2765205"/>
                <a:gd name="connsiteX1486" fmla="*/ 625435 w 8566434"/>
                <a:gd name="connsiteY1486" fmla="*/ 106482 h 2765205"/>
                <a:gd name="connsiteX1487" fmla="*/ 616269 w 8566434"/>
                <a:gd name="connsiteY1487" fmla="*/ 126056 h 2765205"/>
                <a:gd name="connsiteX1488" fmla="*/ 596970 w 8566434"/>
                <a:gd name="connsiteY1488" fmla="*/ 121438 h 2765205"/>
                <a:gd name="connsiteX1489" fmla="*/ 601174 w 8566434"/>
                <a:gd name="connsiteY1489" fmla="*/ 133431 h 2765205"/>
                <a:gd name="connsiteX1490" fmla="*/ 751568 w 8566434"/>
                <a:gd name="connsiteY1490" fmla="*/ 143839 h 2765205"/>
                <a:gd name="connsiteX1491" fmla="*/ 779068 w 8566434"/>
                <a:gd name="connsiteY1491" fmla="*/ 143218 h 2765205"/>
                <a:gd name="connsiteX1492" fmla="*/ 775209 w 8566434"/>
                <a:gd name="connsiteY1492" fmla="*/ 99382 h 2765205"/>
                <a:gd name="connsiteX1493" fmla="*/ 788511 w 8566434"/>
                <a:gd name="connsiteY1493" fmla="*/ 147629 h 2765205"/>
                <a:gd name="connsiteX1494" fmla="*/ 824214 w 8566434"/>
                <a:gd name="connsiteY1494" fmla="*/ 96556 h 2765205"/>
                <a:gd name="connsiteX1495" fmla="*/ 821250 w 8566434"/>
                <a:gd name="connsiteY1495" fmla="*/ 64437 h 2765205"/>
                <a:gd name="connsiteX1496" fmla="*/ 840067 w 8566434"/>
                <a:gd name="connsiteY1496" fmla="*/ 61336 h 2765205"/>
                <a:gd name="connsiteX1497" fmla="*/ 832347 w 8566434"/>
                <a:gd name="connsiteY1497" fmla="*/ 127986 h 2765205"/>
                <a:gd name="connsiteX1498" fmla="*/ 820492 w 8566434"/>
                <a:gd name="connsiteY1498" fmla="*/ 135292 h 2765205"/>
                <a:gd name="connsiteX1499" fmla="*/ 826971 w 8566434"/>
                <a:gd name="connsiteY1499" fmla="*/ 148663 h 2765205"/>
                <a:gd name="connsiteX1500" fmla="*/ 852611 w 8566434"/>
                <a:gd name="connsiteY1500" fmla="*/ 150662 h 2765205"/>
                <a:gd name="connsiteX1501" fmla="*/ 854472 w 8566434"/>
                <a:gd name="connsiteY1501" fmla="*/ 116062 h 2765205"/>
                <a:gd name="connsiteX1502" fmla="*/ 832761 w 8566434"/>
                <a:gd name="connsiteY1502" fmla="*/ 118130 h 2765205"/>
                <a:gd name="connsiteX1503" fmla="*/ 854472 w 8566434"/>
                <a:gd name="connsiteY1503" fmla="*/ 90353 h 2765205"/>
                <a:gd name="connsiteX1504" fmla="*/ 849509 w 8566434"/>
                <a:gd name="connsiteY1504" fmla="*/ 72019 h 2765205"/>
                <a:gd name="connsiteX1505" fmla="*/ 875149 w 8566434"/>
                <a:gd name="connsiteY1505" fmla="*/ 71123 h 2765205"/>
                <a:gd name="connsiteX1506" fmla="*/ 875287 w 8566434"/>
                <a:gd name="connsiteY1506" fmla="*/ 49136 h 2765205"/>
                <a:gd name="connsiteX1507" fmla="*/ 861640 w 8566434"/>
                <a:gd name="connsiteY1507" fmla="*/ 47827 h 2765205"/>
                <a:gd name="connsiteX1508" fmla="*/ 883834 w 8566434"/>
                <a:gd name="connsiteY1508" fmla="*/ 47482 h 2765205"/>
                <a:gd name="connsiteX1509" fmla="*/ 878182 w 8566434"/>
                <a:gd name="connsiteY1509" fmla="*/ 39349 h 2765205"/>
                <a:gd name="connsiteX1510" fmla="*/ 860193 w 8566434"/>
                <a:gd name="connsiteY1510" fmla="*/ 28872 h 2765205"/>
                <a:gd name="connsiteX1511" fmla="*/ 839033 w 8566434"/>
                <a:gd name="connsiteY1511" fmla="*/ 26943 h 2765205"/>
                <a:gd name="connsiteX1512" fmla="*/ 837448 w 8566434"/>
                <a:gd name="connsiteY1512" fmla="*/ 38729 h 2765205"/>
                <a:gd name="connsiteX1513" fmla="*/ 837723 w 8566434"/>
                <a:gd name="connsiteY1513" fmla="*/ 25564 h 2765205"/>
                <a:gd name="connsiteX1514" fmla="*/ 807259 w 8566434"/>
                <a:gd name="connsiteY1514" fmla="*/ 26943 h 2765205"/>
                <a:gd name="connsiteX1515" fmla="*/ 810429 w 8566434"/>
                <a:gd name="connsiteY1515" fmla="*/ 43002 h 2765205"/>
                <a:gd name="connsiteX1516" fmla="*/ 801814 w 8566434"/>
                <a:gd name="connsiteY1516" fmla="*/ 43140 h 2765205"/>
                <a:gd name="connsiteX1517" fmla="*/ 802089 w 8566434"/>
                <a:gd name="connsiteY1517" fmla="*/ 23634 h 2765205"/>
                <a:gd name="connsiteX1518" fmla="*/ 741160 w 8566434"/>
                <a:gd name="connsiteY1518" fmla="*/ 22669 h 2765205"/>
                <a:gd name="connsiteX1519" fmla="*/ 622885 w 8566434"/>
                <a:gd name="connsiteY1519" fmla="*/ 12606 h 2765205"/>
                <a:gd name="connsiteX1520" fmla="*/ 623023 w 8566434"/>
                <a:gd name="connsiteY1520" fmla="*/ 59613 h 2765205"/>
                <a:gd name="connsiteX1521" fmla="*/ 616958 w 8566434"/>
                <a:gd name="connsiteY1521" fmla="*/ 57890 h 2765205"/>
                <a:gd name="connsiteX1522" fmla="*/ 616889 w 8566434"/>
                <a:gd name="connsiteY1522" fmla="*/ 11779 h 2765205"/>
                <a:gd name="connsiteX1523" fmla="*/ 586148 w 8566434"/>
                <a:gd name="connsiteY1523" fmla="*/ 13847 h 2765205"/>
                <a:gd name="connsiteX1524" fmla="*/ 590904 w 8566434"/>
                <a:gd name="connsiteY1524" fmla="*/ 36316 h 2765205"/>
                <a:gd name="connsiteX1525" fmla="*/ 583943 w 8566434"/>
                <a:gd name="connsiteY1525" fmla="*/ 34111 h 2765205"/>
                <a:gd name="connsiteX1526" fmla="*/ 578567 w 8566434"/>
                <a:gd name="connsiteY1526" fmla="*/ 31629 h 2765205"/>
                <a:gd name="connsiteX1527" fmla="*/ 574500 w 8566434"/>
                <a:gd name="connsiteY1527" fmla="*/ 29148 h 2765205"/>
                <a:gd name="connsiteX1528" fmla="*/ 583391 w 8566434"/>
                <a:gd name="connsiteY1528" fmla="*/ 19568 h 2765205"/>
                <a:gd name="connsiteX1529" fmla="*/ 579945 w 8566434"/>
                <a:gd name="connsiteY1529" fmla="*/ 10676 h 2765205"/>
                <a:gd name="connsiteX1530" fmla="*/ 527287 w 8566434"/>
                <a:gd name="connsiteY1530" fmla="*/ 6472 h 2765205"/>
                <a:gd name="connsiteX1531" fmla="*/ 530457 w 8566434"/>
                <a:gd name="connsiteY1531" fmla="*/ 17155 h 2765205"/>
                <a:gd name="connsiteX1532" fmla="*/ 525288 w 8566434"/>
                <a:gd name="connsiteY1532" fmla="*/ 7230 h 2765205"/>
                <a:gd name="connsiteX1533" fmla="*/ 439063 w 8566434"/>
                <a:gd name="connsiteY1533" fmla="*/ 2612 h 2765205"/>
                <a:gd name="connsiteX1534" fmla="*/ 437065 w 8566434"/>
                <a:gd name="connsiteY1534" fmla="*/ 17569 h 2765205"/>
                <a:gd name="connsiteX1535" fmla="*/ 429690 w 8566434"/>
                <a:gd name="connsiteY1535" fmla="*/ 200 h 2765205"/>
                <a:gd name="connsiteX1536" fmla="*/ 287914 w 8566434"/>
                <a:gd name="connsiteY1536" fmla="*/ 2819 h 2765205"/>
                <a:gd name="connsiteX1537" fmla="*/ 279778 w 8566434"/>
                <a:gd name="connsiteY1537" fmla="*/ 17913 h 2765205"/>
                <a:gd name="connsiteX1538" fmla="*/ 268061 w 8566434"/>
                <a:gd name="connsiteY1538" fmla="*/ 5300 h 2765205"/>
                <a:gd name="connsiteX1539" fmla="*/ 265923 w 8566434"/>
                <a:gd name="connsiteY1539" fmla="*/ 12744 h 2765205"/>
                <a:gd name="connsiteX1540" fmla="*/ 258548 w 8566434"/>
                <a:gd name="connsiteY1540" fmla="*/ 47413 h 2765205"/>
                <a:gd name="connsiteX1541" fmla="*/ 232498 w 8566434"/>
                <a:gd name="connsiteY1541" fmla="*/ 21842 h 2765205"/>
                <a:gd name="connsiteX1542" fmla="*/ 226981 w 8566434"/>
                <a:gd name="connsiteY1542" fmla="*/ 55684 h 2765205"/>
                <a:gd name="connsiteX1543" fmla="*/ 203482 w 8566434"/>
                <a:gd name="connsiteY1543" fmla="*/ 41003 h 2765205"/>
                <a:gd name="connsiteX1544" fmla="*/ 111809 w 8566434"/>
                <a:gd name="connsiteY1544" fmla="*/ 265491 h 2765205"/>
                <a:gd name="connsiteX1545" fmla="*/ 102502 w 8566434"/>
                <a:gd name="connsiteY1545" fmla="*/ 362812 h 2765205"/>
                <a:gd name="connsiteX1546" fmla="*/ 95957 w 8566434"/>
                <a:gd name="connsiteY1546" fmla="*/ 398033 h 2765205"/>
                <a:gd name="connsiteX1547" fmla="*/ 79622 w 8566434"/>
                <a:gd name="connsiteY1547" fmla="*/ 659326 h 2765205"/>
                <a:gd name="connsiteX1548" fmla="*/ 77070 w 8566434"/>
                <a:gd name="connsiteY1548" fmla="*/ 727768 h 2765205"/>
                <a:gd name="connsiteX1549" fmla="*/ 88790 w 8566434"/>
                <a:gd name="connsiteY1549" fmla="*/ 757612 h 2765205"/>
                <a:gd name="connsiteX1550" fmla="*/ 75971 w 8566434"/>
                <a:gd name="connsiteY1550" fmla="*/ 728526 h 2765205"/>
                <a:gd name="connsiteX1551" fmla="*/ 70939 w 8566434"/>
                <a:gd name="connsiteY1551" fmla="*/ 794901 h 2765205"/>
                <a:gd name="connsiteX1552" fmla="*/ 80656 w 8566434"/>
                <a:gd name="connsiteY1552" fmla="*/ 794487 h 2765205"/>
                <a:gd name="connsiteX1553" fmla="*/ 81067 w 8566434"/>
                <a:gd name="connsiteY1553" fmla="*/ 800070 h 2765205"/>
                <a:gd name="connsiteX1554" fmla="*/ 69762 w 8566434"/>
                <a:gd name="connsiteY1554" fmla="*/ 800346 h 2765205"/>
                <a:gd name="connsiteX1555" fmla="*/ 73486 w 8566434"/>
                <a:gd name="connsiteY1555" fmla="*/ 847352 h 2765205"/>
                <a:gd name="connsiteX1556" fmla="*/ 78241 w 8566434"/>
                <a:gd name="connsiteY1556" fmla="*/ 857898 h 2765205"/>
                <a:gd name="connsiteX1557" fmla="*/ 87478 w 8566434"/>
                <a:gd name="connsiteY1557" fmla="*/ 823573 h 2765205"/>
                <a:gd name="connsiteX1558" fmla="*/ 86994 w 8566434"/>
                <a:gd name="connsiteY1558" fmla="*/ 864584 h 2765205"/>
                <a:gd name="connsiteX1559" fmla="*/ 106363 w 8566434"/>
                <a:gd name="connsiteY1559" fmla="*/ 828743 h 2765205"/>
                <a:gd name="connsiteX1560" fmla="*/ 97405 w 8566434"/>
                <a:gd name="connsiteY1560" fmla="*/ 831155 h 2765205"/>
                <a:gd name="connsiteX1561" fmla="*/ 101608 w 8566434"/>
                <a:gd name="connsiteY1561" fmla="*/ 818542 h 2765205"/>
                <a:gd name="connsiteX1562" fmla="*/ 122355 w 8566434"/>
                <a:gd name="connsiteY1562" fmla="*/ 801380 h 2765205"/>
                <a:gd name="connsiteX1563" fmla="*/ 96371 w 8566434"/>
                <a:gd name="connsiteY1563" fmla="*/ 800759 h 2765205"/>
                <a:gd name="connsiteX1564" fmla="*/ 134689 w 8566434"/>
                <a:gd name="connsiteY1564" fmla="*/ 787801 h 2765205"/>
                <a:gd name="connsiteX1565" fmla="*/ 121871 w 8566434"/>
                <a:gd name="connsiteY1565" fmla="*/ 804481 h 2765205"/>
                <a:gd name="connsiteX1566" fmla="*/ 128559 w 8566434"/>
                <a:gd name="connsiteY1566" fmla="*/ 826399 h 2765205"/>
                <a:gd name="connsiteX1567" fmla="*/ 111602 w 8566434"/>
                <a:gd name="connsiteY1567" fmla="*/ 827364 h 2765205"/>
                <a:gd name="connsiteX1568" fmla="*/ 110986 w 8566434"/>
                <a:gd name="connsiteY1568" fmla="*/ 855348 h 2765205"/>
                <a:gd name="connsiteX1569" fmla="*/ 122974 w 8566434"/>
                <a:gd name="connsiteY1569" fmla="*/ 853280 h 2765205"/>
                <a:gd name="connsiteX1570" fmla="*/ 107466 w 8566434"/>
                <a:gd name="connsiteY1570" fmla="*/ 871062 h 2765205"/>
                <a:gd name="connsiteX1571" fmla="*/ 123526 w 8566434"/>
                <a:gd name="connsiteY1571" fmla="*/ 870856 h 2765205"/>
                <a:gd name="connsiteX1572" fmla="*/ 109949 w 8566434"/>
                <a:gd name="connsiteY1572" fmla="*/ 878368 h 2765205"/>
                <a:gd name="connsiteX1573" fmla="*/ 98576 w 8566434"/>
                <a:gd name="connsiteY1573" fmla="*/ 887880 h 2765205"/>
                <a:gd name="connsiteX1574" fmla="*/ 83343 w 8566434"/>
                <a:gd name="connsiteY1574" fmla="*/ 901320 h 2765205"/>
                <a:gd name="connsiteX1575" fmla="*/ 81693 w 8566434"/>
                <a:gd name="connsiteY1575" fmla="*/ 924755 h 2765205"/>
                <a:gd name="connsiteX1576" fmla="*/ 72657 w 8566434"/>
                <a:gd name="connsiteY1576" fmla="*/ 876645 h 2765205"/>
                <a:gd name="connsiteX1577" fmla="*/ 72452 w 8566434"/>
                <a:gd name="connsiteY1577" fmla="*/ 875129 h 2765205"/>
                <a:gd name="connsiteX1578" fmla="*/ 64733 w 8566434"/>
                <a:gd name="connsiteY1578" fmla="*/ 900424 h 2765205"/>
                <a:gd name="connsiteX1579" fmla="*/ 59292 w 8566434"/>
                <a:gd name="connsiteY1579" fmla="*/ 1018630 h 2765205"/>
                <a:gd name="connsiteX1580" fmla="*/ 57291 w 8566434"/>
                <a:gd name="connsiteY1580" fmla="*/ 1104717 h 2765205"/>
                <a:gd name="connsiteX1581" fmla="*/ 54739 w 8566434"/>
                <a:gd name="connsiteY1581" fmla="*/ 1136698 h 2765205"/>
                <a:gd name="connsiteX1582" fmla="*/ 68594 w 8566434"/>
                <a:gd name="connsiteY1582" fmla="*/ 1125877 h 2765205"/>
                <a:gd name="connsiteX1583" fmla="*/ 72385 w 8566434"/>
                <a:gd name="connsiteY1583" fmla="*/ 1100444 h 2765205"/>
                <a:gd name="connsiteX1584" fmla="*/ 130486 w 8566434"/>
                <a:gd name="connsiteY1584" fmla="*/ 1096515 h 2765205"/>
                <a:gd name="connsiteX1585" fmla="*/ 99955 w 8566434"/>
                <a:gd name="connsiteY1585" fmla="*/ 1143866 h 2765205"/>
                <a:gd name="connsiteX1586" fmla="*/ 105054 w 8566434"/>
                <a:gd name="connsiteY1586" fmla="*/ 1117675 h 2765205"/>
                <a:gd name="connsiteX1587" fmla="*/ 78036 w 8566434"/>
                <a:gd name="connsiteY1587" fmla="*/ 1126221 h 2765205"/>
                <a:gd name="connsiteX1588" fmla="*/ 76865 w 8566434"/>
                <a:gd name="connsiteY1588" fmla="*/ 1175571 h 2765205"/>
                <a:gd name="connsiteX1589" fmla="*/ 89616 w 8566434"/>
                <a:gd name="connsiteY1589" fmla="*/ 1175365 h 2765205"/>
                <a:gd name="connsiteX1590" fmla="*/ 94301 w 8566434"/>
                <a:gd name="connsiteY1590" fmla="*/ 1155307 h 2765205"/>
                <a:gd name="connsiteX1591" fmla="*/ 95957 w 8566434"/>
                <a:gd name="connsiteY1591" fmla="*/ 1175709 h 2765205"/>
                <a:gd name="connsiteX1592" fmla="*/ 97201 w 8566434"/>
                <a:gd name="connsiteY1592" fmla="*/ 1204451 h 2765205"/>
                <a:gd name="connsiteX1593" fmla="*/ 75971 w 8566434"/>
                <a:gd name="connsiteY1593" fmla="*/ 1176261 h 2765205"/>
                <a:gd name="connsiteX1594" fmla="*/ 76108 w 8566434"/>
                <a:gd name="connsiteY1594" fmla="*/ 1185290 h 2765205"/>
                <a:gd name="connsiteX1595" fmla="*/ 76587 w 8566434"/>
                <a:gd name="connsiteY1595" fmla="*/ 1217340 h 2765205"/>
                <a:gd name="connsiteX1596" fmla="*/ 116155 w 8566434"/>
                <a:gd name="connsiteY1596" fmla="*/ 1206588 h 2765205"/>
                <a:gd name="connsiteX1597" fmla="*/ 117049 w 8566434"/>
                <a:gd name="connsiteY1597" fmla="*/ 1223267 h 2765205"/>
                <a:gd name="connsiteX1598" fmla="*/ 90513 w 8566434"/>
                <a:gd name="connsiteY1598" fmla="*/ 1216513 h 2765205"/>
                <a:gd name="connsiteX1599" fmla="*/ 133039 w 8566434"/>
                <a:gd name="connsiteY1599" fmla="*/ 1232227 h 2765205"/>
                <a:gd name="connsiteX1600" fmla="*/ 124350 w 8566434"/>
                <a:gd name="connsiteY1600" fmla="*/ 1291365 h 2765205"/>
                <a:gd name="connsiteX1601" fmla="*/ 108226 w 8566434"/>
                <a:gd name="connsiteY1601" fmla="*/ 1273031 h 2765205"/>
                <a:gd name="connsiteX1602" fmla="*/ 111117 w 8566434"/>
                <a:gd name="connsiteY1602" fmla="*/ 1237741 h 2765205"/>
                <a:gd name="connsiteX1603" fmla="*/ 83068 w 8566434"/>
                <a:gd name="connsiteY1603" fmla="*/ 1227127 h 2765205"/>
                <a:gd name="connsiteX1604" fmla="*/ 86926 w 8566434"/>
                <a:gd name="connsiteY1604" fmla="*/ 1243738 h 2765205"/>
                <a:gd name="connsiteX1605" fmla="*/ 62113 w 8566434"/>
                <a:gd name="connsiteY1605" fmla="*/ 1256144 h 2765205"/>
                <a:gd name="connsiteX1606" fmla="*/ 56462 w 8566434"/>
                <a:gd name="connsiteY1606" fmla="*/ 1259108 h 2765205"/>
                <a:gd name="connsiteX1607" fmla="*/ 44471 w 8566434"/>
                <a:gd name="connsiteY1607" fmla="*/ 1307217 h 2765205"/>
                <a:gd name="connsiteX1608" fmla="*/ 61909 w 8566434"/>
                <a:gd name="connsiteY1608" fmla="*/ 1325896 h 2765205"/>
                <a:gd name="connsiteX1609" fmla="*/ 51637 w 8566434"/>
                <a:gd name="connsiteY1609" fmla="*/ 1333202 h 2765205"/>
                <a:gd name="connsiteX1610" fmla="*/ 51500 w 8566434"/>
                <a:gd name="connsiteY1610" fmla="*/ 1315626 h 2765205"/>
                <a:gd name="connsiteX1611" fmla="*/ 38615 w 8566434"/>
                <a:gd name="connsiteY1611" fmla="*/ 1315213 h 2765205"/>
                <a:gd name="connsiteX1612" fmla="*/ 22692 w 8566434"/>
                <a:gd name="connsiteY1612" fmla="*/ 1572577 h 2765205"/>
                <a:gd name="connsiteX1613" fmla="*/ 32409 w 8566434"/>
                <a:gd name="connsiteY1613" fmla="*/ 1594495 h 2765205"/>
                <a:gd name="connsiteX1614" fmla="*/ 32338 w 8566434"/>
                <a:gd name="connsiteY1614" fmla="*/ 1610348 h 2765205"/>
                <a:gd name="connsiteX1615" fmla="*/ 21792 w 8566434"/>
                <a:gd name="connsiteY1615" fmla="*/ 1588016 h 2765205"/>
                <a:gd name="connsiteX1616" fmla="*/ 20347 w 8566434"/>
                <a:gd name="connsiteY1616" fmla="*/ 1610210 h 2765205"/>
                <a:gd name="connsiteX1617" fmla="*/ 21792 w 8566434"/>
                <a:gd name="connsiteY1617" fmla="*/ 1638469 h 2765205"/>
                <a:gd name="connsiteX1618" fmla="*/ 36407 w 8566434"/>
                <a:gd name="connsiteY1618" fmla="*/ 1616344 h 2765205"/>
                <a:gd name="connsiteX1619" fmla="*/ 48538 w 8566434"/>
                <a:gd name="connsiteY1619" fmla="*/ 1681616 h 2765205"/>
                <a:gd name="connsiteX1620" fmla="*/ 449402 w 8566434"/>
                <a:gd name="connsiteY1620" fmla="*/ 590332 h 2765205"/>
                <a:gd name="connsiteX1621" fmla="*/ 449402 w 8566434"/>
                <a:gd name="connsiteY1621" fmla="*/ 590332 h 2765205"/>
                <a:gd name="connsiteX1622" fmla="*/ 494754 w 8566434"/>
                <a:gd name="connsiteY1622" fmla="*/ 598741 h 2765205"/>
                <a:gd name="connsiteX1623" fmla="*/ 491101 w 8566434"/>
                <a:gd name="connsiteY1623" fmla="*/ 568276 h 2765205"/>
                <a:gd name="connsiteX1624" fmla="*/ 507919 w 8566434"/>
                <a:gd name="connsiteY1624" fmla="*/ 579442 h 2765205"/>
                <a:gd name="connsiteX1625" fmla="*/ 494754 w 8566434"/>
                <a:gd name="connsiteY1625" fmla="*/ 598741 h 2765205"/>
                <a:gd name="connsiteX1626" fmla="*/ 471044 w 8566434"/>
                <a:gd name="connsiteY1626" fmla="*/ 622934 h 2765205"/>
                <a:gd name="connsiteX1627" fmla="*/ 471044 w 8566434"/>
                <a:gd name="connsiteY1627" fmla="*/ 622934 h 2765205"/>
                <a:gd name="connsiteX1628" fmla="*/ 512606 w 8566434"/>
                <a:gd name="connsiteY1628" fmla="*/ 629826 h 2765205"/>
                <a:gd name="connsiteX1629" fmla="*/ 512606 w 8566434"/>
                <a:gd name="connsiteY1629" fmla="*/ 629826 h 2765205"/>
                <a:gd name="connsiteX1630" fmla="*/ 489792 w 8566434"/>
                <a:gd name="connsiteY1630" fmla="*/ 612044 h 2765205"/>
                <a:gd name="connsiteX1631" fmla="*/ 488344 w 8566434"/>
                <a:gd name="connsiteY1631" fmla="*/ 637201 h 2765205"/>
                <a:gd name="connsiteX1632" fmla="*/ 489792 w 8566434"/>
                <a:gd name="connsiteY1632" fmla="*/ 612044 h 2765205"/>
                <a:gd name="connsiteX1633" fmla="*/ 470631 w 8566434"/>
                <a:gd name="connsiteY1633" fmla="*/ 650297 h 2765205"/>
                <a:gd name="connsiteX1634" fmla="*/ 470631 w 8566434"/>
                <a:gd name="connsiteY1634" fmla="*/ 650297 h 2765205"/>
                <a:gd name="connsiteX1635" fmla="*/ 478350 w 8566434"/>
                <a:gd name="connsiteY1635" fmla="*/ 686482 h 2765205"/>
                <a:gd name="connsiteX1636" fmla="*/ 478350 w 8566434"/>
                <a:gd name="connsiteY1636" fmla="*/ 686482 h 2765205"/>
                <a:gd name="connsiteX1637" fmla="*/ 518671 w 8566434"/>
                <a:gd name="connsiteY1637" fmla="*/ 693099 h 2765205"/>
                <a:gd name="connsiteX1638" fmla="*/ 518671 w 8566434"/>
                <a:gd name="connsiteY1638" fmla="*/ 693099 h 2765205"/>
                <a:gd name="connsiteX1639" fmla="*/ 490068 w 8566434"/>
                <a:gd name="connsiteY1639" fmla="*/ 705988 h 2765205"/>
                <a:gd name="connsiteX1640" fmla="*/ 490068 w 8566434"/>
                <a:gd name="connsiteY1640" fmla="*/ 705988 h 2765205"/>
                <a:gd name="connsiteX1641" fmla="*/ 457122 w 8566434"/>
                <a:gd name="connsiteY1641" fmla="*/ 712260 h 2765205"/>
                <a:gd name="connsiteX1642" fmla="*/ 456777 w 8566434"/>
                <a:gd name="connsiteY1642" fmla="*/ 695098 h 2765205"/>
                <a:gd name="connsiteX1643" fmla="*/ 457122 w 8566434"/>
                <a:gd name="connsiteY1643" fmla="*/ 712260 h 2765205"/>
                <a:gd name="connsiteX1644" fmla="*/ 520050 w 8566434"/>
                <a:gd name="connsiteY1644" fmla="*/ 726734 h 2765205"/>
                <a:gd name="connsiteX1645" fmla="*/ 520601 w 8566434"/>
                <a:gd name="connsiteY1645" fmla="*/ 703989 h 2765205"/>
                <a:gd name="connsiteX1646" fmla="*/ 520050 w 8566434"/>
                <a:gd name="connsiteY1646" fmla="*/ 726734 h 2765205"/>
                <a:gd name="connsiteX1647" fmla="*/ 471527 w 8566434"/>
                <a:gd name="connsiteY1647" fmla="*/ 733144 h 2765205"/>
                <a:gd name="connsiteX1648" fmla="*/ 471527 w 8566434"/>
                <a:gd name="connsiteY1648" fmla="*/ 733144 h 2765205"/>
                <a:gd name="connsiteX1649" fmla="*/ 452021 w 8566434"/>
                <a:gd name="connsiteY1649" fmla="*/ 754855 h 2765205"/>
                <a:gd name="connsiteX1650" fmla="*/ 466840 w 8566434"/>
                <a:gd name="connsiteY1650" fmla="*/ 750031 h 2765205"/>
                <a:gd name="connsiteX1651" fmla="*/ 452021 w 8566434"/>
                <a:gd name="connsiteY1651" fmla="*/ 754855 h 2765205"/>
                <a:gd name="connsiteX1652" fmla="*/ 482899 w 8566434"/>
                <a:gd name="connsiteY1652" fmla="*/ 741484 h 2765205"/>
                <a:gd name="connsiteX1653" fmla="*/ 518464 w 8566434"/>
                <a:gd name="connsiteY1653" fmla="*/ 744793 h 2765205"/>
                <a:gd name="connsiteX1654" fmla="*/ 488138 w 8566434"/>
                <a:gd name="connsiteY1654" fmla="*/ 740588 h 2765205"/>
                <a:gd name="connsiteX1655" fmla="*/ 486483 w 8566434"/>
                <a:gd name="connsiteY1655" fmla="*/ 784631 h 2765205"/>
                <a:gd name="connsiteX1656" fmla="*/ 482899 w 8566434"/>
                <a:gd name="connsiteY1656" fmla="*/ 741484 h 2765205"/>
                <a:gd name="connsiteX1657" fmla="*/ 450436 w 8566434"/>
                <a:gd name="connsiteY1657" fmla="*/ 783183 h 2765205"/>
                <a:gd name="connsiteX1658" fmla="*/ 450436 w 8566434"/>
                <a:gd name="connsiteY1658" fmla="*/ 783183 h 2765205"/>
                <a:gd name="connsiteX1659" fmla="*/ 512744 w 8566434"/>
                <a:gd name="connsiteY1659" fmla="*/ 796762 h 2765205"/>
                <a:gd name="connsiteX1660" fmla="*/ 519981 w 8566434"/>
                <a:gd name="connsiteY1660" fmla="*/ 771328 h 2765205"/>
                <a:gd name="connsiteX1661" fmla="*/ 512744 w 8566434"/>
                <a:gd name="connsiteY1661" fmla="*/ 796762 h 2765205"/>
                <a:gd name="connsiteX1662" fmla="*/ 457053 w 8566434"/>
                <a:gd name="connsiteY1662" fmla="*/ 824469 h 2765205"/>
                <a:gd name="connsiteX1663" fmla="*/ 456501 w 8566434"/>
                <a:gd name="connsiteY1663" fmla="*/ 819645 h 2765205"/>
                <a:gd name="connsiteX1664" fmla="*/ 476903 w 8566434"/>
                <a:gd name="connsiteY1664" fmla="*/ 818266 h 2765205"/>
                <a:gd name="connsiteX1665" fmla="*/ 482693 w 8566434"/>
                <a:gd name="connsiteY1665" fmla="*/ 809030 h 2765205"/>
                <a:gd name="connsiteX1666" fmla="*/ 493721 w 8566434"/>
                <a:gd name="connsiteY1666" fmla="*/ 812476 h 2765205"/>
                <a:gd name="connsiteX1667" fmla="*/ 490964 w 8566434"/>
                <a:gd name="connsiteY1667" fmla="*/ 790696 h 2765205"/>
                <a:gd name="connsiteX1668" fmla="*/ 495237 w 8566434"/>
                <a:gd name="connsiteY1668" fmla="*/ 816267 h 2765205"/>
                <a:gd name="connsiteX1669" fmla="*/ 457053 w 8566434"/>
                <a:gd name="connsiteY1669" fmla="*/ 824469 h 2765205"/>
                <a:gd name="connsiteX1670" fmla="*/ 642736 w 8566434"/>
                <a:gd name="connsiteY1670" fmla="*/ 1140558 h 2765205"/>
                <a:gd name="connsiteX1671" fmla="*/ 642736 w 8566434"/>
                <a:gd name="connsiteY1671" fmla="*/ 1140558 h 2765205"/>
                <a:gd name="connsiteX1672" fmla="*/ 697117 w 8566434"/>
                <a:gd name="connsiteY1672" fmla="*/ 1196111 h 2765205"/>
                <a:gd name="connsiteX1673" fmla="*/ 697117 w 8566434"/>
                <a:gd name="connsiteY1673" fmla="*/ 1196111 h 2765205"/>
                <a:gd name="connsiteX1674" fmla="*/ 670995 w 8566434"/>
                <a:gd name="connsiteY1674" fmla="*/ 1214169 h 2765205"/>
                <a:gd name="connsiteX1675" fmla="*/ 692982 w 8566434"/>
                <a:gd name="connsiteY1675" fmla="*/ 1216237 h 2765205"/>
                <a:gd name="connsiteX1676" fmla="*/ 709661 w 8566434"/>
                <a:gd name="connsiteY1676" fmla="*/ 1230780 h 2765205"/>
                <a:gd name="connsiteX1677" fmla="*/ 696290 w 8566434"/>
                <a:gd name="connsiteY1677" fmla="*/ 1237604 h 2765205"/>
                <a:gd name="connsiteX1678" fmla="*/ 670995 w 8566434"/>
                <a:gd name="connsiteY1678" fmla="*/ 1214169 h 2765205"/>
                <a:gd name="connsiteX1679" fmla="*/ 664171 w 8566434"/>
                <a:gd name="connsiteY1679" fmla="*/ 1272479 h 2765205"/>
                <a:gd name="connsiteX1680" fmla="*/ 664171 w 8566434"/>
                <a:gd name="connsiteY1680" fmla="*/ 1272479 h 2765205"/>
                <a:gd name="connsiteX1681" fmla="*/ 674786 w 8566434"/>
                <a:gd name="connsiteY1681" fmla="*/ 1312249 h 2765205"/>
                <a:gd name="connsiteX1682" fmla="*/ 681885 w 8566434"/>
                <a:gd name="connsiteY1682" fmla="*/ 1283921 h 2765205"/>
                <a:gd name="connsiteX1683" fmla="*/ 704630 w 8566434"/>
                <a:gd name="connsiteY1683" fmla="*/ 1312731 h 2765205"/>
                <a:gd name="connsiteX1684" fmla="*/ 674786 w 8566434"/>
                <a:gd name="connsiteY1684" fmla="*/ 1312249 h 2765205"/>
                <a:gd name="connsiteX1685" fmla="*/ 664654 w 8566434"/>
                <a:gd name="connsiteY1685" fmla="*/ 1444998 h 2765205"/>
                <a:gd name="connsiteX1686" fmla="*/ 644321 w 8566434"/>
                <a:gd name="connsiteY1686" fmla="*/ 1427491 h 2765205"/>
                <a:gd name="connsiteX1687" fmla="*/ 651489 w 8566434"/>
                <a:gd name="connsiteY1687" fmla="*/ 1412948 h 2765205"/>
                <a:gd name="connsiteX1688" fmla="*/ 684849 w 8566434"/>
                <a:gd name="connsiteY1688" fmla="*/ 1422322 h 2765205"/>
                <a:gd name="connsiteX1689" fmla="*/ 687743 w 8566434"/>
                <a:gd name="connsiteY1689" fmla="*/ 1443826 h 2765205"/>
                <a:gd name="connsiteX1690" fmla="*/ 677680 w 8566434"/>
                <a:gd name="connsiteY1690" fmla="*/ 1439070 h 2765205"/>
                <a:gd name="connsiteX1691" fmla="*/ 664654 w 8566434"/>
                <a:gd name="connsiteY1691" fmla="*/ 1444998 h 2765205"/>
                <a:gd name="connsiteX1692" fmla="*/ 669892 w 8566434"/>
                <a:gd name="connsiteY1692" fmla="*/ 1542733 h 2765205"/>
                <a:gd name="connsiteX1693" fmla="*/ 666584 w 8566434"/>
                <a:gd name="connsiteY1693" fmla="*/ 1519023 h 2765205"/>
                <a:gd name="connsiteX1694" fmla="*/ 648663 w 8566434"/>
                <a:gd name="connsiteY1694" fmla="*/ 1517575 h 2765205"/>
                <a:gd name="connsiteX1695" fmla="*/ 668031 w 8566434"/>
                <a:gd name="connsiteY1695" fmla="*/ 1517093 h 2765205"/>
                <a:gd name="connsiteX1696" fmla="*/ 688157 w 8566434"/>
                <a:gd name="connsiteY1696" fmla="*/ 1507995 h 2765205"/>
                <a:gd name="connsiteX1697" fmla="*/ 669892 w 8566434"/>
                <a:gd name="connsiteY1697" fmla="*/ 1542733 h 2765205"/>
                <a:gd name="connsiteX1698" fmla="*/ 643356 w 8566434"/>
                <a:gd name="connsiteY1698" fmla="*/ 1540045 h 2765205"/>
                <a:gd name="connsiteX1699" fmla="*/ 643356 w 8566434"/>
                <a:gd name="connsiteY1699" fmla="*/ 1540045 h 2765205"/>
                <a:gd name="connsiteX1700" fmla="*/ 667411 w 8566434"/>
                <a:gd name="connsiteY1700" fmla="*/ 1557483 h 2765205"/>
                <a:gd name="connsiteX1701" fmla="*/ 682781 w 8566434"/>
                <a:gd name="connsiteY1701" fmla="*/ 1539838 h 2765205"/>
                <a:gd name="connsiteX1702" fmla="*/ 691672 w 8566434"/>
                <a:gd name="connsiteY1702" fmla="*/ 1539631 h 2765205"/>
                <a:gd name="connsiteX1703" fmla="*/ 680437 w 8566434"/>
                <a:gd name="connsiteY1703" fmla="*/ 1576575 h 2765205"/>
                <a:gd name="connsiteX1704" fmla="*/ 667411 w 8566434"/>
                <a:gd name="connsiteY1704" fmla="*/ 1557483 h 2765205"/>
                <a:gd name="connsiteX1705" fmla="*/ 400054 w 8566434"/>
                <a:gd name="connsiteY1705" fmla="*/ 1573956 h 2765205"/>
                <a:gd name="connsiteX1706" fmla="*/ 400054 w 8566434"/>
                <a:gd name="connsiteY1706" fmla="*/ 1573956 h 2765205"/>
                <a:gd name="connsiteX1707" fmla="*/ 636050 w 8566434"/>
                <a:gd name="connsiteY1707" fmla="*/ 1587809 h 2765205"/>
                <a:gd name="connsiteX1708" fmla="*/ 636050 w 8566434"/>
                <a:gd name="connsiteY1708" fmla="*/ 1587809 h 2765205"/>
                <a:gd name="connsiteX1709" fmla="*/ 629295 w 8566434"/>
                <a:gd name="connsiteY1709" fmla="*/ 1602353 h 2765205"/>
                <a:gd name="connsiteX1710" fmla="*/ 629295 w 8566434"/>
                <a:gd name="connsiteY1710" fmla="*/ 1602353 h 2765205"/>
                <a:gd name="connsiteX1711" fmla="*/ 657348 w 8566434"/>
                <a:gd name="connsiteY1711" fmla="*/ 1609728 h 2765205"/>
                <a:gd name="connsiteX1712" fmla="*/ 672993 w 8566434"/>
                <a:gd name="connsiteY1712" fmla="*/ 1604076 h 2765205"/>
                <a:gd name="connsiteX1713" fmla="*/ 657348 w 8566434"/>
                <a:gd name="connsiteY1713" fmla="*/ 1609728 h 2765205"/>
                <a:gd name="connsiteX1714" fmla="*/ 471251 w 8566434"/>
                <a:gd name="connsiteY1714" fmla="*/ 1651703 h 2765205"/>
                <a:gd name="connsiteX1715" fmla="*/ 481866 w 8566434"/>
                <a:gd name="connsiteY1715" fmla="*/ 1631508 h 2765205"/>
                <a:gd name="connsiteX1716" fmla="*/ 471251 w 8566434"/>
                <a:gd name="connsiteY1716" fmla="*/ 1651703 h 2765205"/>
                <a:gd name="connsiteX1717" fmla="*/ 588009 w 8566434"/>
                <a:gd name="connsiteY1717" fmla="*/ 1664798 h 2765205"/>
                <a:gd name="connsiteX1718" fmla="*/ 591042 w 8566434"/>
                <a:gd name="connsiteY1718" fmla="*/ 1640123 h 2765205"/>
                <a:gd name="connsiteX1719" fmla="*/ 579256 w 8566434"/>
                <a:gd name="connsiteY1719" fmla="*/ 1639434 h 2765205"/>
                <a:gd name="connsiteX1720" fmla="*/ 558027 w 8566434"/>
                <a:gd name="connsiteY1720" fmla="*/ 1632955 h 2765205"/>
                <a:gd name="connsiteX1721" fmla="*/ 540451 w 8566434"/>
                <a:gd name="connsiteY1721" fmla="*/ 1628061 h 2765205"/>
                <a:gd name="connsiteX1722" fmla="*/ 538797 w 8566434"/>
                <a:gd name="connsiteY1722" fmla="*/ 1577678 h 2765205"/>
                <a:gd name="connsiteX1723" fmla="*/ 483589 w 8566434"/>
                <a:gd name="connsiteY1723" fmla="*/ 1574232 h 2765205"/>
                <a:gd name="connsiteX1724" fmla="*/ 509091 w 8566434"/>
                <a:gd name="connsiteY1724" fmla="*/ 1176467 h 2765205"/>
                <a:gd name="connsiteX1725" fmla="*/ 599520 w 8566434"/>
                <a:gd name="connsiteY1725" fmla="*/ 1196800 h 2765205"/>
                <a:gd name="connsiteX1726" fmla="*/ 621162 w 8566434"/>
                <a:gd name="connsiteY1726" fmla="*/ 1324173 h 2765205"/>
                <a:gd name="connsiteX1727" fmla="*/ 635705 w 8566434"/>
                <a:gd name="connsiteY1727" fmla="*/ 1315902 h 2765205"/>
                <a:gd name="connsiteX1728" fmla="*/ 640392 w 8566434"/>
                <a:gd name="connsiteY1728" fmla="*/ 1335408 h 2765205"/>
                <a:gd name="connsiteX1729" fmla="*/ 623781 w 8566434"/>
                <a:gd name="connsiteY1729" fmla="*/ 1326654 h 2765205"/>
                <a:gd name="connsiteX1730" fmla="*/ 615924 w 8566434"/>
                <a:gd name="connsiteY1730" fmla="*/ 1382966 h 2765205"/>
                <a:gd name="connsiteX1731" fmla="*/ 581186 w 8566434"/>
                <a:gd name="connsiteY1731" fmla="*/ 1564099 h 2765205"/>
                <a:gd name="connsiteX1732" fmla="*/ 592834 w 8566434"/>
                <a:gd name="connsiteY1732" fmla="*/ 1564858 h 2765205"/>
                <a:gd name="connsiteX1733" fmla="*/ 579945 w 8566434"/>
                <a:gd name="connsiteY1733" fmla="*/ 1566305 h 2765205"/>
                <a:gd name="connsiteX1734" fmla="*/ 539418 w 8566434"/>
                <a:gd name="connsiteY1734" fmla="*/ 1580021 h 2765205"/>
                <a:gd name="connsiteX1735" fmla="*/ 562025 w 8566434"/>
                <a:gd name="connsiteY1735" fmla="*/ 1629647 h 2765205"/>
                <a:gd name="connsiteX1736" fmla="*/ 569193 w 8566434"/>
                <a:gd name="connsiteY1736" fmla="*/ 1606764 h 2765205"/>
                <a:gd name="connsiteX1737" fmla="*/ 584977 w 8566434"/>
                <a:gd name="connsiteY1737" fmla="*/ 1605316 h 2765205"/>
                <a:gd name="connsiteX1738" fmla="*/ 584356 w 8566434"/>
                <a:gd name="connsiteY1738" fmla="*/ 1607108 h 2765205"/>
                <a:gd name="connsiteX1739" fmla="*/ 591593 w 8566434"/>
                <a:gd name="connsiteY1739" fmla="*/ 1637091 h 2765205"/>
                <a:gd name="connsiteX1740" fmla="*/ 587941 w 8566434"/>
                <a:gd name="connsiteY1740" fmla="*/ 1620135 h 2765205"/>
                <a:gd name="connsiteX1741" fmla="*/ 600209 w 8566434"/>
                <a:gd name="connsiteY1741" fmla="*/ 1626545 h 2765205"/>
                <a:gd name="connsiteX1742" fmla="*/ 610755 w 8566434"/>
                <a:gd name="connsiteY1742" fmla="*/ 1619653 h 2765205"/>
                <a:gd name="connsiteX1743" fmla="*/ 608963 w 8566434"/>
                <a:gd name="connsiteY1743" fmla="*/ 1606075 h 2765205"/>
                <a:gd name="connsiteX1744" fmla="*/ 594902 w 8566434"/>
                <a:gd name="connsiteY1744" fmla="*/ 1606281 h 2765205"/>
                <a:gd name="connsiteX1745" fmla="*/ 623712 w 8566434"/>
                <a:gd name="connsiteY1745" fmla="*/ 1594633 h 2765205"/>
                <a:gd name="connsiteX1746" fmla="*/ 611099 w 8566434"/>
                <a:gd name="connsiteY1746" fmla="*/ 1618343 h 2765205"/>
                <a:gd name="connsiteX1747" fmla="*/ 645906 w 8566434"/>
                <a:gd name="connsiteY1747" fmla="*/ 1612485 h 2765205"/>
                <a:gd name="connsiteX1748" fmla="*/ 643356 w 8566434"/>
                <a:gd name="connsiteY1748" fmla="*/ 1635367 h 2765205"/>
                <a:gd name="connsiteX1749" fmla="*/ 609307 w 8566434"/>
                <a:gd name="connsiteY1749" fmla="*/ 1627510 h 2765205"/>
                <a:gd name="connsiteX1750" fmla="*/ 611306 w 8566434"/>
                <a:gd name="connsiteY1750" fmla="*/ 1650393 h 2765205"/>
                <a:gd name="connsiteX1751" fmla="*/ 605516 w 8566434"/>
                <a:gd name="connsiteY1751" fmla="*/ 1638331 h 2765205"/>
                <a:gd name="connsiteX1752" fmla="*/ 601656 w 8566434"/>
                <a:gd name="connsiteY1752" fmla="*/ 1638883 h 2765205"/>
                <a:gd name="connsiteX1753" fmla="*/ 594282 w 8566434"/>
                <a:gd name="connsiteY1753" fmla="*/ 1653495 h 2765205"/>
                <a:gd name="connsiteX1754" fmla="*/ 595936 w 8566434"/>
                <a:gd name="connsiteY1754" fmla="*/ 1664867 h 2765205"/>
                <a:gd name="connsiteX1755" fmla="*/ 588009 w 8566434"/>
                <a:gd name="connsiteY1755" fmla="*/ 1664798 h 2765205"/>
                <a:gd name="connsiteX1756" fmla="*/ 476972 w 8566434"/>
                <a:gd name="connsiteY1756" fmla="*/ 1671760 h 2765205"/>
                <a:gd name="connsiteX1757" fmla="*/ 488413 w 8566434"/>
                <a:gd name="connsiteY1757" fmla="*/ 1661697 h 2765205"/>
                <a:gd name="connsiteX1758" fmla="*/ 476972 w 8566434"/>
                <a:gd name="connsiteY1758" fmla="*/ 1671760 h 2765205"/>
                <a:gd name="connsiteX1759" fmla="*/ 522186 w 8566434"/>
                <a:gd name="connsiteY1759" fmla="*/ 1678445 h 2765205"/>
                <a:gd name="connsiteX1760" fmla="*/ 524530 w 8566434"/>
                <a:gd name="connsiteY1760" fmla="*/ 1651014 h 2765205"/>
                <a:gd name="connsiteX1761" fmla="*/ 522186 w 8566434"/>
                <a:gd name="connsiteY1761" fmla="*/ 1678445 h 2765205"/>
                <a:gd name="connsiteX1762" fmla="*/ 539762 w 8566434"/>
                <a:gd name="connsiteY1762" fmla="*/ 1685407 h 2765205"/>
                <a:gd name="connsiteX1763" fmla="*/ 550308 w 8566434"/>
                <a:gd name="connsiteY1763" fmla="*/ 1673483 h 2765205"/>
                <a:gd name="connsiteX1764" fmla="*/ 539762 w 8566434"/>
                <a:gd name="connsiteY1764" fmla="*/ 1685407 h 2765205"/>
                <a:gd name="connsiteX1765" fmla="*/ 402464 w 8566434"/>
                <a:gd name="connsiteY1765" fmla="*/ 1685200 h 2765205"/>
                <a:gd name="connsiteX1766" fmla="*/ 422592 w 8566434"/>
                <a:gd name="connsiteY1766" fmla="*/ 1616344 h 2765205"/>
                <a:gd name="connsiteX1767" fmla="*/ 438305 w 8566434"/>
                <a:gd name="connsiteY1767" fmla="*/ 1650669 h 2765205"/>
                <a:gd name="connsiteX1768" fmla="*/ 446714 w 8566434"/>
                <a:gd name="connsiteY1768" fmla="*/ 1624409 h 2765205"/>
                <a:gd name="connsiteX1769" fmla="*/ 439684 w 8566434"/>
                <a:gd name="connsiteY1769" fmla="*/ 1679686 h 2765205"/>
                <a:gd name="connsiteX1770" fmla="*/ 415285 w 8566434"/>
                <a:gd name="connsiteY1770" fmla="*/ 1670657 h 2765205"/>
                <a:gd name="connsiteX1771" fmla="*/ 415904 w 8566434"/>
                <a:gd name="connsiteY1771" fmla="*/ 1682719 h 2765205"/>
                <a:gd name="connsiteX1772" fmla="*/ 402464 w 8566434"/>
                <a:gd name="connsiteY1772" fmla="*/ 1685200 h 2765205"/>
                <a:gd name="connsiteX1773" fmla="*/ 626125 w 8566434"/>
                <a:gd name="connsiteY1773" fmla="*/ 1702707 h 2765205"/>
                <a:gd name="connsiteX1774" fmla="*/ 616337 w 8566434"/>
                <a:gd name="connsiteY1774" fmla="*/ 1665557 h 2765205"/>
                <a:gd name="connsiteX1775" fmla="*/ 633500 w 8566434"/>
                <a:gd name="connsiteY1775" fmla="*/ 1706084 h 2765205"/>
                <a:gd name="connsiteX1776" fmla="*/ 626125 w 8566434"/>
                <a:gd name="connsiteY1776" fmla="*/ 1702707 h 2765205"/>
                <a:gd name="connsiteX1777" fmla="*/ 596763 w 8566434"/>
                <a:gd name="connsiteY1777" fmla="*/ 1712149 h 2765205"/>
                <a:gd name="connsiteX1778" fmla="*/ 601656 w 8566434"/>
                <a:gd name="connsiteY1778" fmla="*/ 1694574 h 2765205"/>
                <a:gd name="connsiteX1779" fmla="*/ 593179 w 8566434"/>
                <a:gd name="connsiteY1779" fmla="*/ 1674655 h 2765205"/>
                <a:gd name="connsiteX1780" fmla="*/ 612478 w 8566434"/>
                <a:gd name="connsiteY1780" fmla="*/ 1683201 h 2765205"/>
                <a:gd name="connsiteX1781" fmla="*/ 596763 w 8566434"/>
                <a:gd name="connsiteY1781" fmla="*/ 1712149 h 2765205"/>
                <a:gd name="connsiteX1782" fmla="*/ 506127 w 8566434"/>
                <a:gd name="connsiteY1782" fmla="*/ 1729174 h 2765205"/>
                <a:gd name="connsiteX1783" fmla="*/ 498407 w 8566434"/>
                <a:gd name="connsiteY1783" fmla="*/ 1719180 h 2765205"/>
                <a:gd name="connsiteX1784" fmla="*/ 519223 w 8566434"/>
                <a:gd name="connsiteY1784" fmla="*/ 1712012 h 2765205"/>
                <a:gd name="connsiteX1785" fmla="*/ 490343 w 8566434"/>
                <a:gd name="connsiteY1785" fmla="*/ 1695056 h 2765205"/>
                <a:gd name="connsiteX1786" fmla="*/ 514260 w 8566434"/>
                <a:gd name="connsiteY1786" fmla="*/ 1699054 h 2765205"/>
                <a:gd name="connsiteX1787" fmla="*/ 524875 w 8566434"/>
                <a:gd name="connsiteY1787" fmla="*/ 1687681 h 2765205"/>
                <a:gd name="connsiteX1788" fmla="*/ 506127 w 8566434"/>
                <a:gd name="connsiteY1788" fmla="*/ 1729174 h 2765205"/>
                <a:gd name="connsiteX1789" fmla="*/ 450781 w 8566434"/>
                <a:gd name="connsiteY1789" fmla="*/ 1753367 h 2765205"/>
                <a:gd name="connsiteX1790" fmla="*/ 450781 w 8566434"/>
                <a:gd name="connsiteY1790" fmla="*/ 1753367 h 2765205"/>
                <a:gd name="connsiteX1791" fmla="*/ 507574 w 8566434"/>
                <a:gd name="connsiteY1791" fmla="*/ 1761500 h 2765205"/>
                <a:gd name="connsiteX1792" fmla="*/ 507574 w 8566434"/>
                <a:gd name="connsiteY1792" fmla="*/ 1761500 h 2765205"/>
                <a:gd name="connsiteX1793" fmla="*/ 436168 w 8566434"/>
                <a:gd name="connsiteY1793" fmla="*/ 1764739 h 2765205"/>
                <a:gd name="connsiteX1794" fmla="*/ 531422 w 8566434"/>
                <a:gd name="connsiteY1794" fmla="*/ 1765015 h 2765205"/>
                <a:gd name="connsiteX1795" fmla="*/ 569124 w 8566434"/>
                <a:gd name="connsiteY1795" fmla="*/ 1766807 h 2765205"/>
                <a:gd name="connsiteX1796" fmla="*/ 622058 w 8566434"/>
                <a:gd name="connsiteY1796" fmla="*/ 1735308 h 2765205"/>
                <a:gd name="connsiteX1797" fmla="*/ 611444 w 8566434"/>
                <a:gd name="connsiteY1797" fmla="*/ 1720558 h 2765205"/>
                <a:gd name="connsiteX1798" fmla="*/ 637911 w 8566434"/>
                <a:gd name="connsiteY1798" fmla="*/ 1717732 h 2765205"/>
                <a:gd name="connsiteX1799" fmla="*/ 688226 w 8566434"/>
                <a:gd name="connsiteY1799" fmla="*/ 1594495 h 2765205"/>
                <a:gd name="connsiteX1800" fmla="*/ 664929 w 8566434"/>
                <a:gd name="connsiteY1800" fmla="*/ 1594151 h 2765205"/>
                <a:gd name="connsiteX1801" fmla="*/ 651765 w 8566434"/>
                <a:gd name="connsiteY1801" fmla="*/ 1584501 h 2765205"/>
                <a:gd name="connsiteX1802" fmla="*/ 649283 w 8566434"/>
                <a:gd name="connsiteY1802" fmla="*/ 1579125 h 2765205"/>
                <a:gd name="connsiteX1803" fmla="*/ 694636 w 8566434"/>
                <a:gd name="connsiteY1803" fmla="*/ 1595598 h 2765205"/>
                <a:gd name="connsiteX1804" fmla="*/ 719311 w 8566434"/>
                <a:gd name="connsiteY1804" fmla="*/ 1331134 h 2765205"/>
                <a:gd name="connsiteX1805" fmla="*/ 647354 w 8566434"/>
                <a:gd name="connsiteY1805" fmla="*/ 1331410 h 2765205"/>
                <a:gd name="connsiteX1806" fmla="*/ 681195 w 8566434"/>
                <a:gd name="connsiteY1806" fmla="*/ 1328791 h 2765205"/>
                <a:gd name="connsiteX1807" fmla="*/ 718553 w 8566434"/>
                <a:gd name="connsiteY1807" fmla="*/ 1329756 h 2765205"/>
                <a:gd name="connsiteX1808" fmla="*/ 723791 w 8566434"/>
                <a:gd name="connsiteY1808" fmla="*/ 1282542 h 2765205"/>
                <a:gd name="connsiteX1809" fmla="*/ 703665 w 8566434"/>
                <a:gd name="connsiteY1809" fmla="*/ 1288263 h 2765205"/>
                <a:gd name="connsiteX1810" fmla="*/ 721103 w 8566434"/>
                <a:gd name="connsiteY1810" fmla="*/ 1224646 h 2765205"/>
                <a:gd name="connsiteX1811" fmla="*/ 640530 w 8566434"/>
                <a:gd name="connsiteY1811" fmla="*/ 1019388 h 2765205"/>
                <a:gd name="connsiteX1812" fmla="*/ 520119 w 8566434"/>
                <a:gd name="connsiteY1812" fmla="*/ 989682 h 2765205"/>
                <a:gd name="connsiteX1813" fmla="*/ 549205 w 8566434"/>
                <a:gd name="connsiteY1813" fmla="*/ 519891 h 2765205"/>
                <a:gd name="connsiteX1814" fmla="*/ 445404 w 8566434"/>
                <a:gd name="connsiteY1814" fmla="*/ 513481 h 2765205"/>
                <a:gd name="connsiteX1815" fmla="*/ 439959 w 8566434"/>
                <a:gd name="connsiteY1815" fmla="*/ 610596 h 2765205"/>
                <a:gd name="connsiteX1816" fmla="*/ 406532 w 8566434"/>
                <a:gd name="connsiteY1816" fmla="*/ 1140627 h 2765205"/>
                <a:gd name="connsiteX1817" fmla="*/ 442992 w 8566434"/>
                <a:gd name="connsiteY1817" fmla="*/ 1160477 h 2765205"/>
                <a:gd name="connsiteX1818" fmla="*/ 405496 w 8566434"/>
                <a:gd name="connsiteY1818" fmla="*/ 1150207 h 2765205"/>
                <a:gd name="connsiteX1819" fmla="*/ 380823 w 8566434"/>
                <a:gd name="connsiteY1819" fmla="*/ 1599940 h 2765205"/>
                <a:gd name="connsiteX1820" fmla="*/ 374964 w 8566434"/>
                <a:gd name="connsiteY1820" fmla="*/ 1632473 h 2765205"/>
                <a:gd name="connsiteX1821" fmla="*/ 390335 w 8566434"/>
                <a:gd name="connsiteY1821" fmla="*/ 1627786 h 2765205"/>
                <a:gd name="connsiteX1822" fmla="*/ 390194 w 8566434"/>
                <a:gd name="connsiteY1822" fmla="*/ 1644948 h 2765205"/>
                <a:gd name="connsiteX1823" fmla="*/ 388264 w 8566434"/>
                <a:gd name="connsiteY1823" fmla="*/ 1631163 h 2765205"/>
                <a:gd name="connsiteX1824" fmla="*/ 377791 w 8566434"/>
                <a:gd name="connsiteY1824" fmla="*/ 1635092 h 2765205"/>
                <a:gd name="connsiteX1825" fmla="*/ 371932 w 8566434"/>
                <a:gd name="connsiteY1825" fmla="*/ 1655563 h 2765205"/>
                <a:gd name="connsiteX1826" fmla="*/ 394885 w 8566434"/>
                <a:gd name="connsiteY1826" fmla="*/ 1652254 h 2765205"/>
                <a:gd name="connsiteX1827" fmla="*/ 390886 w 8566434"/>
                <a:gd name="connsiteY1827" fmla="*/ 1679617 h 2765205"/>
                <a:gd name="connsiteX1828" fmla="*/ 391369 w 8566434"/>
                <a:gd name="connsiteY1828" fmla="*/ 1654597 h 2765205"/>
                <a:gd name="connsiteX1829" fmla="*/ 373446 w 8566434"/>
                <a:gd name="connsiteY1829" fmla="*/ 1665212 h 2765205"/>
                <a:gd name="connsiteX1830" fmla="*/ 367657 w 8566434"/>
                <a:gd name="connsiteY1830" fmla="*/ 1760121 h 2765205"/>
                <a:gd name="connsiteX1831" fmla="*/ 427761 w 8566434"/>
                <a:gd name="connsiteY1831" fmla="*/ 1763705 h 2765205"/>
                <a:gd name="connsiteX1832" fmla="*/ 379029 w 8566434"/>
                <a:gd name="connsiteY1832" fmla="*/ 1734137 h 2765205"/>
                <a:gd name="connsiteX1833" fmla="*/ 402119 w 8566434"/>
                <a:gd name="connsiteY1833" fmla="*/ 1737445 h 2765205"/>
                <a:gd name="connsiteX1834" fmla="*/ 420384 w 8566434"/>
                <a:gd name="connsiteY1834" fmla="*/ 1734964 h 2765205"/>
                <a:gd name="connsiteX1835" fmla="*/ 438443 w 8566434"/>
                <a:gd name="connsiteY1835" fmla="*/ 1743648 h 2765205"/>
                <a:gd name="connsiteX1836" fmla="*/ 436168 w 8566434"/>
                <a:gd name="connsiteY1836" fmla="*/ 1764739 h 2765205"/>
                <a:gd name="connsiteX1837" fmla="*/ 876321 w 8566434"/>
                <a:gd name="connsiteY1837" fmla="*/ 581097 h 2765205"/>
                <a:gd name="connsiteX1838" fmla="*/ 876321 w 8566434"/>
                <a:gd name="connsiteY1838" fmla="*/ 581097 h 2765205"/>
                <a:gd name="connsiteX1839" fmla="*/ 877010 w 8566434"/>
                <a:gd name="connsiteY1839" fmla="*/ 596605 h 2765205"/>
                <a:gd name="connsiteX1840" fmla="*/ 877010 w 8566434"/>
                <a:gd name="connsiteY1840" fmla="*/ 596605 h 2765205"/>
                <a:gd name="connsiteX1841" fmla="*/ 891485 w 8566434"/>
                <a:gd name="connsiteY1841" fmla="*/ 575651 h 2765205"/>
                <a:gd name="connsiteX1842" fmla="*/ 912851 w 8566434"/>
                <a:gd name="connsiteY1842" fmla="*/ 594606 h 2765205"/>
                <a:gd name="connsiteX1843" fmla="*/ 910232 w 8566434"/>
                <a:gd name="connsiteY1843" fmla="*/ 602877 h 2765205"/>
                <a:gd name="connsiteX1844" fmla="*/ 914781 w 8566434"/>
                <a:gd name="connsiteY1844" fmla="*/ 617764 h 2765205"/>
                <a:gd name="connsiteX1845" fmla="*/ 891485 w 8566434"/>
                <a:gd name="connsiteY1845" fmla="*/ 575651 h 2765205"/>
                <a:gd name="connsiteX1846" fmla="*/ 856195 w 8566434"/>
                <a:gd name="connsiteY1846" fmla="*/ 623761 h 2765205"/>
                <a:gd name="connsiteX1847" fmla="*/ 856195 w 8566434"/>
                <a:gd name="connsiteY1847" fmla="*/ 623761 h 2765205"/>
                <a:gd name="connsiteX1848" fmla="*/ 1145265 w 8566434"/>
                <a:gd name="connsiteY1848" fmla="*/ 642370 h 2765205"/>
                <a:gd name="connsiteX1849" fmla="*/ 1156844 w 8566434"/>
                <a:gd name="connsiteY1849" fmla="*/ 625484 h 2765205"/>
                <a:gd name="connsiteX1850" fmla="*/ 1145265 w 8566434"/>
                <a:gd name="connsiteY1850" fmla="*/ 642370 h 2765205"/>
                <a:gd name="connsiteX1851" fmla="*/ 1132859 w 8566434"/>
                <a:gd name="connsiteY1851" fmla="*/ 650228 h 2765205"/>
                <a:gd name="connsiteX1852" fmla="*/ 1132790 w 8566434"/>
                <a:gd name="connsiteY1852" fmla="*/ 627621 h 2765205"/>
                <a:gd name="connsiteX1853" fmla="*/ 1132859 w 8566434"/>
                <a:gd name="connsiteY1853" fmla="*/ 650228 h 2765205"/>
                <a:gd name="connsiteX1854" fmla="*/ 898515 w 8566434"/>
                <a:gd name="connsiteY1854" fmla="*/ 658085 h 2765205"/>
                <a:gd name="connsiteX1855" fmla="*/ 898515 w 8566434"/>
                <a:gd name="connsiteY1855" fmla="*/ 658085 h 2765205"/>
                <a:gd name="connsiteX1856" fmla="*/ 865569 w 8566434"/>
                <a:gd name="connsiteY1856" fmla="*/ 679038 h 2765205"/>
                <a:gd name="connsiteX1857" fmla="*/ 874529 w 8566434"/>
                <a:gd name="connsiteY1857" fmla="*/ 639820 h 2765205"/>
                <a:gd name="connsiteX1858" fmla="*/ 847097 w 8566434"/>
                <a:gd name="connsiteY1858" fmla="*/ 640372 h 2765205"/>
                <a:gd name="connsiteX1859" fmla="*/ 880526 w 8566434"/>
                <a:gd name="connsiteY1859" fmla="*/ 635271 h 2765205"/>
                <a:gd name="connsiteX1860" fmla="*/ 872186 w 8566434"/>
                <a:gd name="connsiteY1860" fmla="*/ 677660 h 2765205"/>
                <a:gd name="connsiteX1861" fmla="*/ 865569 w 8566434"/>
                <a:gd name="connsiteY1861" fmla="*/ 679038 h 2765205"/>
                <a:gd name="connsiteX1862" fmla="*/ 849992 w 8566434"/>
                <a:gd name="connsiteY1862" fmla="*/ 685104 h 2765205"/>
                <a:gd name="connsiteX1863" fmla="*/ 849992 w 8566434"/>
                <a:gd name="connsiteY1863" fmla="*/ 685104 h 2765205"/>
                <a:gd name="connsiteX1864" fmla="*/ 1056628 w 8566434"/>
                <a:gd name="connsiteY1864" fmla="*/ 704472 h 2765205"/>
                <a:gd name="connsiteX1865" fmla="*/ 1066208 w 8566434"/>
                <a:gd name="connsiteY1865" fmla="*/ 686482 h 2765205"/>
                <a:gd name="connsiteX1866" fmla="*/ 1064416 w 8566434"/>
                <a:gd name="connsiteY1866" fmla="*/ 706677 h 2765205"/>
                <a:gd name="connsiteX1867" fmla="*/ 1084129 w 8566434"/>
                <a:gd name="connsiteY1867" fmla="*/ 701439 h 2765205"/>
                <a:gd name="connsiteX1868" fmla="*/ 1080958 w 8566434"/>
                <a:gd name="connsiteY1868" fmla="*/ 713501 h 2765205"/>
                <a:gd name="connsiteX1869" fmla="*/ 1056628 w 8566434"/>
                <a:gd name="connsiteY1869" fmla="*/ 704472 h 2765205"/>
                <a:gd name="connsiteX1870" fmla="*/ 869498 w 8566434"/>
                <a:gd name="connsiteY1870" fmla="*/ 719980 h 2765205"/>
                <a:gd name="connsiteX1871" fmla="*/ 869498 w 8566434"/>
                <a:gd name="connsiteY1871" fmla="*/ 719980 h 2765205"/>
                <a:gd name="connsiteX1872" fmla="*/ 1063520 w 8566434"/>
                <a:gd name="connsiteY1872" fmla="*/ 726596 h 2765205"/>
                <a:gd name="connsiteX1873" fmla="*/ 1063520 w 8566434"/>
                <a:gd name="connsiteY1873" fmla="*/ 726596 h 2765205"/>
                <a:gd name="connsiteX1874" fmla="*/ 862192 w 8566434"/>
                <a:gd name="connsiteY1874" fmla="*/ 746309 h 2765205"/>
                <a:gd name="connsiteX1875" fmla="*/ 862192 w 8566434"/>
                <a:gd name="connsiteY1875" fmla="*/ 746309 h 2765205"/>
                <a:gd name="connsiteX1876" fmla="*/ 910714 w 8566434"/>
                <a:gd name="connsiteY1876" fmla="*/ 781529 h 2765205"/>
                <a:gd name="connsiteX1877" fmla="*/ 910714 w 8566434"/>
                <a:gd name="connsiteY1877" fmla="*/ 781529 h 2765205"/>
                <a:gd name="connsiteX1878" fmla="*/ 1048219 w 8566434"/>
                <a:gd name="connsiteY1878" fmla="*/ 803930 h 2765205"/>
                <a:gd name="connsiteX1879" fmla="*/ 1057524 w 8566434"/>
                <a:gd name="connsiteY1879" fmla="*/ 770295 h 2765205"/>
                <a:gd name="connsiteX1880" fmla="*/ 1070275 w 8566434"/>
                <a:gd name="connsiteY1880" fmla="*/ 778290 h 2765205"/>
                <a:gd name="connsiteX1881" fmla="*/ 1080614 w 8566434"/>
                <a:gd name="connsiteY1881" fmla="*/ 756785 h 2765205"/>
                <a:gd name="connsiteX1882" fmla="*/ 1088609 w 8566434"/>
                <a:gd name="connsiteY1882" fmla="*/ 802207 h 2765205"/>
                <a:gd name="connsiteX1883" fmla="*/ 1077857 w 8566434"/>
                <a:gd name="connsiteY1883" fmla="*/ 792144 h 2765205"/>
                <a:gd name="connsiteX1884" fmla="*/ 1062349 w 8566434"/>
                <a:gd name="connsiteY1884" fmla="*/ 790972 h 2765205"/>
                <a:gd name="connsiteX1885" fmla="*/ 1048219 w 8566434"/>
                <a:gd name="connsiteY1885" fmla="*/ 803930 h 2765205"/>
                <a:gd name="connsiteX1886" fmla="*/ 1065726 w 8566434"/>
                <a:gd name="connsiteY1886" fmla="*/ 835980 h 2765205"/>
                <a:gd name="connsiteX1887" fmla="*/ 1065175 w 8566434"/>
                <a:gd name="connsiteY1887" fmla="*/ 803792 h 2765205"/>
                <a:gd name="connsiteX1888" fmla="*/ 1081441 w 8566434"/>
                <a:gd name="connsiteY1888" fmla="*/ 831017 h 2765205"/>
                <a:gd name="connsiteX1889" fmla="*/ 1065726 w 8566434"/>
                <a:gd name="connsiteY1889" fmla="*/ 835980 h 2765205"/>
                <a:gd name="connsiteX1890" fmla="*/ 1096880 w 8566434"/>
                <a:gd name="connsiteY1890" fmla="*/ 864997 h 2765205"/>
                <a:gd name="connsiteX1891" fmla="*/ 1096880 w 8566434"/>
                <a:gd name="connsiteY1891" fmla="*/ 864997 h 2765205"/>
                <a:gd name="connsiteX1892" fmla="*/ 898032 w 8566434"/>
                <a:gd name="connsiteY1892" fmla="*/ 899046 h 2765205"/>
                <a:gd name="connsiteX1893" fmla="*/ 901961 w 8566434"/>
                <a:gd name="connsiteY1893" fmla="*/ 882986 h 2765205"/>
                <a:gd name="connsiteX1894" fmla="*/ 898032 w 8566434"/>
                <a:gd name="connsiteY1894" fmla="*/ 899046 h 2765205"/>
                <a:gd name="connsiteX1895" fmla="*/ 905132 w 8566434"/>
                <a:gd name="connsiteY1895" fmla="*/ 926064 h 2765205"/>
                <a:gd name="connsiteX1896" fmla="*/ 905132 w 8566434"/>
                <a:gd name="connsiteY1896" fmla="*/ 926064 h 2765205"/>
                <a:gd name="connsiteX1897" fmla="*/ 973160 w 8566434"/>
                <a:gd name="connsiteY1897" fmla="*/ 1056607 h 2765205"/>
                <a:gd name="connsiteX1898" fmla="*/ 983361 w 8566434"/>
                <a:gd name="connsiteY1898" fmla="*/ 1046062 h 2765205"/>
                <a:gd name="connsiteX1899" fmla="*/ 973160 w 8566434"/>
                <a:gd name="connsiteY1899" fmla="*/ 1056607 h 2765205"/>
                <a:gd name="connsiteX1900" fmla="*/ 876528 w 8566434"/>
                <a:gd name="connsiteY1900" fmla="*/ 1139455 h 2765205"/>
                <a:gd name="connsiteX1901" fmla="*/ 876528 w 8566434"/>
                <a:gd name="connsiteY1901" fmla="*/ 1139455 h 2765205"/>
                <a:gd name="connsiteX1902" fmla="*/ 1079511 w 8566434"/>
                <a:gd name="connsiteY1902" fmla="*/ 1209689 h 2765205"/>
                <a:gd name="connsiteX1903" fmla="*/ 1066553 w 8566434"/>
                <a:gd name="connsiteY1903" fmla="*/ 1186944 h 2765205"/>
                <a:gd name="connsiteX1904" fmla="*/ 1075100 w 8566434"/>
                <a:gd name="connsiteY1904" fmla="*/ 1155997 h 2765205"/>
                <a:gd name="connsiteX1905" fmla="*/ 1062142 w 8566434"/>
                <a:gd name="connsiteY1905" fmla="*/ 1143108 h 2765205"/>
                <a:gd name="connsiteX1906" fmla="*/ 1092813 w 8566434"/>
                <a:gd name="connsiteY1906" fmla="*/ 1151034 h 2765205"/>
                <a:gd name="connsiteX1907" fmla="*/ 1068621 w 8566434"/>
                <a:gd name="connsiteY1907" fmla="*/ 1182050 h 2765205"/>
                <a:gd name="connsiteX1908" fmla="*/ 1079511 w 8566434"/>
                <a:gd name="connsiteY1908" fmla="*/ 1209689 h 2765205"/>
                <a:gd name="connsiteX1909" fmla="*/ 872875 w 8566434"/>
                <a:gd name="connsiteY1909" fmla="*/ 1292399 h 2765205"/>
                <a:gd name="connsiteX1910" fmla="*/ 878389 w 8566434"/>
                <a:gd name="connsiteY1910" fmla="*/ 1252905 h 2765205"/>
                <a:gd name="connsiteX1911" fmla="*/ 872875 w 8566434"/>
                <a:gd name="connsiteY1911" fmla="*/ 1292399 h 2765205"/>
                <a:gd name="connsiteX1912" fmla="*/ 1037536 w 8566434"/>
                <a:gd name="connsiteY1912" fmla="*/ 1258763 h 2765205"/>
                <a:gd name="connsiteX1913" fmla="*/ 1050838 w 8566434"/>
                <a:gd name="connsiteY1913" fmla="*/ 1326516 h 2765205"/>
                <a:gd name="connsiteX1914" fmla="*/ 1037536 w 8566434"/>
                <a:gd name="connsiteY1914" fmla="*/ 1258763 h 2765205"/>
                <a:gd name="connsiteX1915" fmla="*/ 1035882 w 8566434"/>
                <a:gd name="connsiteY1915" fmla="*/ 1344781 h 2765205"/>
                <a:gd name="connsiteX1916" fmla="*/ 1045531 w 8566434"/>
                <a:gd name="connsiteY1916" fmla="*/ 1369939 h 2765205"/>
                <a:gd name="connsiteX1917" fmla="*/ 1035882 w 8566434"/>
                <a:gd name="connsiteY1917" fmla="*/ 1344781 h 2765205"/>
                <a:gd name="connsiteX1918" fmla="*/ 1077305 w 8566434"/>
                <a:gd name="connsiteY1918" fmla="*/ 1381105 h 2765205"/>
                <a:gd name="connsiteX1919" fmla="*/ 1077305 w 8566434"/>
                <a:gd name="connsiteY1919" fmla="*/ 1381105 h 2765205"/>
                <a:gd name="connsiteX1920" fmla="*/ 1028300 w 8566434"/>
                <a:gd name="connsiteY1920" fmla="*/ 1457335 h 2765205"/>
                <a:gd name="connsiteX1921" fmla="*/ 1037674 w 8566434"/>
                <a:gd name="connsiteY1921" fmla="*/ 1448375 h 2765205"/>
                <a:gd name="connsiteX1922" fmla="*/ 1028300 w 8566434"/>
                <a:gd name="connsiteY1922" fmla="*/ 1457335 h 2765205"/>
                <a:gd name="connsiteX1923" fmla="*/ 1029334 w 8566434"/>
                <a:gd name="connsiteY1923" fmla="*/ 1478357 h 2765205"/>
                <a:gd name="connsiteX1924" fmla="*/ 1029334 w 8566434"/>
                <a:gd name="connsiteY1924" fmla="*/ 1478357 h 2765205"/>
                <a:gd name="connsiteX1925" fmla="*/ 822284 w 8566434"/>
                <a:gd name="connsiteY1925" fmla="*/ 1482010 h 2765205"/>
                <a:gd name="connsiteX1926" fmla="*/ 844133 w 8566434"/>
                <a:gd name="connsiteY1926" fmla="*/ 1500551 h 2765205"/>
                <a:gd name="connsiteX1927" fmla="*/ 822284 w 8566434"/>
                <a:gd name="connsiteY1927" fmla="*/ 1482010 h 2765205"/>
                <a:gd name="connsiteX1928" fmla="*/ 787960 w 8566434"/>
                <a:gd name="connsiteY1928" fmla="*/ 1520195 h 2765205"/>
                <a:gd name="connsiteX1929" fmla="*/ 787960 w 8566434"/>
                <a:gd name="connsiteY1929" fmla="*/ 1520195 h 2765205"/>
                <a:gd name="connsiteX1930" fmla="*/ 815254 w 8566434"/>
                <a:gd name="connsiteY1930" fmla="*/ 1521849 h 2765205"/>
                <a:gd name="connsiteX1931" fmla="*/ 835656 w 8566434"/>
                <a:gd name="connsiteY1931" fmla="*/ 1514336 h 2765205"/>
                <a:gd name="connsiteX1932" fmla="*/ 815254 w 8566434"/>
                <a:gd name="connsiteY1932" fmla="*/ 1521849 h 2765205"/>
                <a:gd name="connsiteX1933" fmla="*/ 814082 w 8566434"/>
                <a:gd name="connsiteY1933" fmla="*/ 1554243 h 2765205"/>
                <a:gd name="connsiteX1934" fmla="*/ 816012 w 8566434"/>
                <a:gd name="connsiteY1934" fmla="*/ 1537012 h 2765205"/>
                <a:gd name="connsiteX1935" fmla="*/ 843720 w 8566434"/>
                <a:gd name="connsiteY1935" fmla="*/ 1544939 h 2765205"/>
                <a:gd name="connsiteX1936" fmla="*/ 814082 w 8566434"/>
                <a:gd name="connsiteY1936" fmla="*/ 1554243 h 2765205"/>
                <a:gd name="connsiteX1937" fmla="*/ 794921 w 8566434"/>
                <a:gd name="connsiteY1937" fmla="*/ 1580917 h 2765205"/>
                <a:gd name="connsiteX1938" fmla="*/ 798298 w 8566434"/>
                <a:gd name="connsiteY1938" fmla="*/ 1550453 h 2765205"/>
                <a:gd name="connsiteX1939" fmla="*/ 794921 w 8566434"/>
                <a:gd name="connsiteY1939" fmla="*/ 1580917 h 2765205"/>
                <a:gd name="connsiteX1940" fmla="*/ 823111 w 8566434"/>
                <a:gd name="connsiteY1940" fmla="*/ 1600630 h 2765205"/>
                <a:gd name="connsiteX1941" fmla="*/ 816288 w 8566434"/>
                <a:gd name="connsiteY1941" fmla="*/ 1572577 h 2765205"/>
                <a:gd name="connsiteX1942" fmla="*/ 823111 w 8566434"/>
                <a:gd name="connsiteY1942" fmla="*/ 1600630 h 2765205"/>
                <a:gd name="connsiteX1943" fmla="*/ 963649 w 8566434"/>
                <a:gd name="connsiteY1943" fmla="*/ 1599320 h 2765205"/>
                <a:gd name="connsiteX1944" fmla="*/ 877355 w 8566434"/>
                <a:gd name="connsiteY1944" fmla="*/ 1599251 h 2765205"/>
                <a:gd name="connsiteX1945" fmla="*/ 894241 w 8566434"/>
                <a:gd name="connsiteY1945" fmla="*/ 1310664 h 2765205"/>
                <a:gd name="connsiteX1946" fmla="*/ 874047 w 8566434"/>
                <a:gd name="connsiteY1946" fmla="*/ 1302806 h 2765205"/>
                <a:gd name="connsiteX1947" fmla="*/ 894862 w 8566434"/>
                <a:gd name="connsiteY1947" fmla="*/ 1302255 h 2765205"/>
                <a:gd name="connsiteX1948" fmla="*/ 915815 w 8566434"/>
                <a:gd name="connsiteY1948" fmla="*/ 1184118 h 2765205"/>
                <a:gd name="connsiteX1949" fmla="*/ 912093 w 8566434"/>
                <a:gd name="connsiteY1949" fmla="*/ 1201074 h 2765205"/>
                <a:gd name="connsiteX1950" fmla="*/ 947727 w 8566434"/>
                <a:gd name="connsiteY1950" fmla="*/ 1202245 h 2765205"/>
                <a:gd name="connsiteX1951" fmla="*/ 948141 w 8566434"/>
                <a:gd name="connsiteY1951" fmla="*/ 1182257 h 2765205"/>
                <a:gd name="connsiteX1952" fmla="*/ 950070 w 8566434"/>
                <a:gd name="connsiteY1952" fmla="*/ 1201418 h 2765205"/>
                <a:gd name="connsiteX1953" fmla="*/ 999972 w 8566434"/>
                <a:gd name="connsiteY1953" fmla="*/ 1222578 h 2765205"/>
                <a:gd name="connsiteX1954" fmla="*/ 1015687 w 8566434"/>
                <a:gd name="connsiteY1954" fmla="*/ 1293433 h 2765205"/>
                <a:gd name="connsiteX1955" fmla="*/ 1009415 w 8566434"/>
                <a:gd name="connsiteY1955" fmla="*/ 1405504 h 2765205"/>
                <a:gd name="connsiteX1956" fmla="*/ 1024785 w 8566434"/>
                <a:gd name="connsiteY1956" fmla="*/ 1431075 h 2765205"/>
                <a:gd name="connsiteX1957" fmla="*/ 1009690 w 8566434"/>
                <a:gd name="connsiteY1957" fmla="*/ 1420116 h 2765205"/>
                <a:gd name="connsiteX1958" fmla="*/ 1008587 w 8566434"/>
                <a:gd name="connsiteY1958" fmla="*/ 1437209 h 2765205"/>
                <a:gd name="connsiteX1959" fmla="*/ 1022235 w 8566434"/>
                <a:gd name="connsiteY1959" fmla="*/ 1441000 h 2765205"/>
                <a:gd name="connsiteX1960" fmla="*/ 1007347 w 8566434"/>
                <a:gd name="connsiteY1960" fmla="*/ 1453820 h 2765205"/>
                <a:gd name="connsiteX1961" fmla="*/ 997560 w 8566434"/>
                <a:gd name="connsiteY1961" fmla="*/ 1543146 h 2765205"/>
                <a:gd name="connsiteX1962" fmla="*/ 982396 w 8566434"/>
                <a:gd name="connsiteY1962" fmla="*/ 1594564 h 2765205"/>
                <a:gd name="connsiteX1963" fmla="*/ 969576 w 8566434"/>
                <a:gd name="connsiteY1963" fmla="*/ 1591325 h 2765205"/>
                <a:gd name="connsiteX1964" fmla="*/ 969094 w 8566434"/>
                <a:gd name="connsiteY1964" fmla="*/ 1605868 h 2765205"/>
                <a:gd name="connsiteX1965" fmla="*/ 969507 w 8566434"/>
                <a:gd name="connsiteY1965" fmla="*/ 1608349 h 2765205"/>
                <a:gd name="connsiteX1966" fmla="*/ 969921 w 8566434"/>
                <a:gd name="connsiteY1966" fmla="*/ 1609728 h 2765205"/>
                <a:gd name="connsiteX1967" fmla="*/ 968129 w 8566434"/>
                <a:gd name="connsiteY1967" fmla="*/ 1624684 h 2765205"/>
                <a:gd name="connsiteX1968" fmla="*/ 963649 w 8566434"/>
                <a:gd name="connsiteY1968" fmla="*/ 1599320 h 2765205"/>
                <a:gd name="connsiteX1969" fmla="*/ 800987 w 8566434"/>
                <a:gd name="connsiteY1969" fmla="*/ 1623444 h 2765205"/>
                <a:gd name="connsiteX1970" fmla="*/ 805604 w 8566434"/>
                <a:gd name="connsiteY1970" fmla="*/ 1605248 h 2765205"/>
                <a:gd name="connsiteX1971" fmla="*/ 800987 w 8566434"/>
                <a:gd name="connsiteY1971" fmla="*/ 1623444 h 2765205"/>
                <a:gd name="connsiteX1972" fmla="*/ 911817 w 8566434"/>
                <a:gd name="connsiteY1972" fmla="*/ 1630681 h 2765205"/>
                <a:gd name="connsiteX1973" fmla="*/ 920019 w 8566434"/>
                <a:gd name="connsiteY1973" fmla="*/ 1611313 h 2765205"/>
                <a:gd name="connsiteX1974" fmla="*/ 911817 w 8566434"/>
                <a:gd name="connsiteY1974" fmla="*/ 1630681 h 2765205"/>
                <a:gd name="connsiteX1975" fmla="*/ 876390 w 8566434"/>
                <a:gd name="connsiteY1975" fmla="*/ 1630060 h 2765205"/>
                <a:gd name="connsiteX1976" fmla="*/ 876390 w 8566434"/>
                <a:gd name="connsiteY1976" fmla="*/ 1630060 h 2765205"/>
                <a:gd name="connsiteX1977" fmla="*/ 787408 w 8566434"/>
                <a:gd name="connsiteY1977" fmla="*/ 1635919 h 2765205"/>
                <a:gd name="connsiteX1978" fmla="*/ 787408 w 8566434"/>
                <a:gd name="connsiteY1978" fmla="*/ 1635919 h 2765205"/>
                <a:gd name="connsiteX1979" fmla="*/ 951863 w 8566434"/>
                <a:gd name="connsiteY1979" fmla="*/ 1643018 h 2765205"/>
                <a:gd name="connsiteX1980" fmla="*/ 951863 w 8566434"/>
                <a:gd name="connsiteY1980" fmla="*/ 1643018 h 2765205"/>
                <a:gd name="connsiteX1981" fmla="*/ 960133 w 8566434"/>
                <a:gd name="connsiteY1981" fmla="*/ 1665074 h 2765205"/>
                <a:gd name="connsiteX1982" fmla="*/ 959789 w 8566434"/>
                <a:gd name="connsiteY1982" fmla="*/ 1650945 h 2765205"/>
                <a:gd name="connsiteX1983" fmla="*/ 960133 w 8566434"/>
                <a:gd name="connsiteY1983" fmla="*/ 1665074 h 2765205"/>
                <a:gd name="connsiteX1984" fmla="*/ 802985 w 8566434"/>
                <a:gd name="connsiteY1984" fmla="*/ 1670105 h 2765205"/>
                <a:gd name="connsiteX1985" fmla="*/ 802641 w 8566434"/>
                <a:gd name="connsiteY1985" fmla="*/ 1645637 h 2765205"/>
                <a:gd name="connsiteX1986" fmla="*/ 808155 w 8566434"/>
                <a:gd name="connsiteY1986" fmla="*/ 1664798 h 2765205"/>
                <a:gd name="connsiteX1987" fmla="*/ 820079 w 8566434"/>
                <a:gd name="connsiteY1987" fmla="*/ 1651634 h 2765205"/>
                <a:gd name="connsiteX1988" fmla="*/ 819872 w 8566434"/>
                <a:gd name="connsiteY1988" fmla="*/ 1672173 h 2765205"/>
                <a:gd name="connsiteX1989" fmla="*/ 802985 w 8566434"/>
                <a:gd name="connsiteY1989" fmla="*/ 1670105 h 2765205"/>
                <a:gd name="connsiteX1990" fmla="*/ 927670 w 8566434"/>
                <a:gd name="connsiteY1990" fmla="*/ 1657010 h 2765205"/>
                <a:gd name="connsiteX1991" fmla="*/ 903340 w 8566434"/>
                <a:gd name="connsiteY1991" fmla="*/ 1658388 h 2765205"/>
                <a:gd name="connsiteX1992" fmla="*/ 918089 w 8566434"/>
                <a:gd name="connsiteY1992" fmla="*/ 1654873 h 2765205"/>
                <a:gd name="connsiteX1993" fmla="*/ 910094 w 8566434"/>
                <a:gd name="connsiteY1993" fmla="*/ 1639710 h 2765205"/>
                <a:gd name="connsiteX1994" fmla="*/ 947727 w 8566434"/>
                <a:gd name="connsiteY1994" fmla="*/ 1655700 h 2765205"/>
                <a:gd name="connsiteX1995" fmla="*/ 934493 w 8566434"/>
                <a:gd name="connsiteY1995" fmla="*/ 1659560 h 2765205"/>
                <a:gd name="connsiteX1996" fmla="*/ 943660 w 8566434"/>
                <a:gd name="connsiteY1996" fmla="*/ 1700019 h 2765205"/>
                <a:gd name="connsiteX1997" fmla="*/ 927670 w 8566434"/>
                <a:gd name="connsiteY1997" fmla="*/ 1657010 h 2765205"/>
                <a:gd name="connsiteX1998" fmla="*/ 896585 w 8566434"/>
                <a:gd name="connsiteY1998" fmla="*/ 1683477 h 2765205"/>
                <a:gd name="connsiteX1999" fmla="*/ 907613 w 8566434"/>
                <a:gd name="connsiteY1999" fmla="*/ 1682994 h 2765205"/>
                <a:gd name="connsiteX2000" fmla="*/ 906372 w 8566434"/>
                <a:gd name="connsiteY2000" fmla="*/ 1666591 h 2765205"/>
                <a:gd name="connsiteX2001" fmla="*/ 925809 w 8566434"/>
                <a:gd name="connsiteY2001" fmla="*/ 1673138 h 2765205"/>
                <a:gd name="connsiteX2002" fmla="*/ 906234 w 8566434"/>
                <a:gd name="connsiteY2002" fmla="*/ 1697951 h 2765205"/>
                <a:gd name="connsiteX2003" fmla="*/ 896585 w 8566434"/>
                <a:gd name="connsiteY2003" fmla="*/ 1683477 h 2765205"/>
                <a:gd name="connsiteX2004" fmla="*/ 885212 w 8566434"/>
                <a:gd name="connsiteY2004" fmla="*/ 1698296 h 2765205"/>
                <a:gd name="connsiteX2005" fmla="*/ 885212 w 8566434"/>
                <a:gd name="connsiteY2005" fmla="*/ 1698296 h 2765205"/>
                <a:gd name="connsiteX2006" fmla="*/ 1029816 w 8566434"/>
                <a:gd name="connsiteY2006" fmla="*/ 1712149 h 2765205"/>
                <a:gd name="connsiteX2007" fmla="*/ 1029816 w 8566434"/>
                <a:gd name="connsiteY2007" fmla="*/ 1712149 h 2765205"/>
                <a:gd name="connsiteX2008" fmla="*/ 925120 w 8566434"/>
                <a:gd name="connsiteY2008" fmla="*/ 1711460 h 2765205"/>
                <a:gd name="connsiteX2009" fmla="*/ 925120 w 8566434"/>
                <a:gd name="connsiteY2009" fmla="*/ 1711460 h 2765205"/>
                <a:gd name="connsiteX2010" fmla="*/ 883214 w 8566434"/>
                <a:gd name="connsiteY2010" fmla="*/ 1720007 h 2765205"/>
                <a:gd name="connsiteX2011" fmla="*/ 883214 w 8566434"/>
                <a:gd name="connsiteY2011" fmla="*/ 1720007 h 2765205"/>
                <a:gd name="connsiteX2012" fmla="*/ 985705 w 8566434"/>
                <a:gd name="connsiteY2012" fmla="*/ 1729312 h 2765205"/>
                <a:gd name="connsiteX2013" fmla="*/ 995216 w 8566434"/>
                <a:gd name="connsiteY2013" fmla="*/ 1698916 h 2765205"/>
                <a:gd name="connsiteX2014" fmla="*/ 990874 w 8566434"/>
                <a:gd name="connsiteY2014" fmla="*/ 1671139 h 2765205"/>
                <a:gd name="connsiteX2015" fmla="*/ 1002936 w 8566434"/>
                <a:gd name="connsiteY2015" fmla="*/ 1705533 h 2765205"/>
                <a:gd name="connsiteX2016" fmla="*/ 985705 w 8566434"/>
                <a:gd name="connsiteY2016" fmla="*/ 1729312 h 2765205"/>
                <a:gd name="connsiteX2017" fmla="*/ 906097 w 8566434"/>
                <a:gd name="connsiteY2017" fmla="*/ 1711254 h 2765205"/>
                <a:gd name="connsiteX2018" fmla="*/ 909887 w 8566434"/>
                <a:gd name="connsiteY2018" fmla="*/ 1741374 h 2765205"/>
                <a:gd name="connsiteX2019" fmla="*/ 899962 w 8566434"/>
                <a:gd name="connsiteY2019" fmla="*/ 1762189 h 2765205"/>
                <a:gd name="connsiteX2020" fmla="*/ 906097 w 8566434"/>
                <a:gd name="connsiteY2020" fmla="*/ 1711254 h 2765205"/>
                <a:gd name="connsiteX2021" fmla="*/ 793543 w 8566434"/>
                <a:gd name="connsiteY2021" fmla="*/ 1761500 h 2765205"/>
                <a:gd name="connsiteX2022" fmla="*/ 803054 w 8566434"/>
                <a:gd name="connsiteY2022" fmla="*/ 1752264 h 2765205"/>
                <a:gd name="connsiteX2023" fmla="*/ 793543 w 8566434"/>
                <a:gd name="connsiteY2023" fmla="*/ 1761500 h 2765205"/>
                <a:gd name="connsiteX2024" fmla="*/ 987359 w 8566434"/>
                <a:gd name="connsiteY2024" fmla="*/ 1767978 h 2765205"/>
                <a:gd name="connsiteX2025" fmla="*/ 998731 w 8566434"/>
                <a:gd name="connsiteY2025" fmla="*/ 1749438 h 2765205"/>
                <a:gd name="connsiteX2026" fmla="*/ 987359 w 8566434"/>
                <a:gd name="connsiteY2026" fmla="*/ 1767978 h 2765205"/>
                <a:gd name="connsiteX2027" fmla="*/ 878251 w 8566434"/>
                <a:gd name="connsiteY2027" fmla="*/ 1766531 h 2765205"/>
                <a:gd name="connsiteX2028" fmla="*/ 876804 w 8566434"/>
                <a:gd name="connsiteY2028" fmla="*/ 1748197 h 2765205"/>
                <a:gd name="connsiteX2029" fmla="*/ 878251 w 8566434"/>
                <a:gd name="connsiteY2029" fmla="*/ 1766531 h 2765205"/>
                <a:gd name="connsiteX2030" fmla="*/ 855092 w 8566434"/>
                <a:gd name="connsiteY2030" fmla="*/ 1770460 h 2765205"/>
                <a:gd name="connsiteX2031" fmla="*/ 851577 w 8566434"/>
                <a:gd name="connsiteY2031" fmla="*/ 1738617 h 2765205"/>
                <a:gd name="connsiteX2032" fmla="*/ 859366 w 8566434"/>
                <a:gd name="connsiteY2032" fmla="*/ 1741442 h 2765205"/>
                <a:gd name="connsiteX2033" fmla="*/ 855092 w 8566434"/>
                <a:gd name="connsiteY2033" fmla="*/ 1770460 h 2765205"/>
                <a:gd name="connsiteX2034" fmla="*/ 774382 w 8566434"/>
                <a:gd name="connsiteY2034" fmla="*/ 1769012 h 2765205"/>
                <a:gd name="connsiteX2035" fmla="*/ 786443 w 8566434"/>
                <a:gd name="connsiteY2035" fmla="*/ 1759018 h 2765205"/>
                <a:gd name="connsiteX2036" fmla="*/ 774382 w 8566434"/>
                <a:gd name="connsiteY2036" fmla="*/ 1769012 h 2765205"/>
                <a:gd name="connsiteX2037" fmla="*/ 808568 w 8566434"/>
                <a:gd name="connsiteY2037" fmla="*/ 1788518 h 2765205"/>
                <a:gd name="connsiteX2038" fmla="*/ 931116 w 8566434"/>
                <a:gd name="connsiteY2038" fmla="*/ 1795273 h 2765205"/>
                <a:gd name="connsiteX2039" fmla="*/ 1024233 w 8566434"/>
                <a:gd name="connsiteY2039" fmla="*/ 1759225 h 2765205"/>
                <a:gd name="connsiteX2040" fmla="*/ 1086197 w 8566434"/>
                <a:gd name="connsiteY2040" fmla="*/ 1636953 h 2765205"/>
                <a:gd name="connsiteX2041" fmla="*/ 1076409 w 8566434"/>
                <a:gd name="connsiteY2041" fmla="*/ 1617309 h 2765205"/>
                <a:gd name="connsiteX2042" fmla="*/ 1073377 w 8566434"/>
                <a:gd name="connsiteY2042" fmla="*/ 1611382 h 2765205"/>
                <a:gd name="connsiteX2043" fmla="*/ 1074617 w 8566434"/>
                <a:gd name="connsiteY2043" fmla="*/ 1605248 h 2765205"/>
                <a:gd name="connsiteX2044" fmla="*/ 1074479 w 8566434"/>
                <a:gd name="connsiteY2044" fmla="*/ 1568097 h 2765205"/>
                <a:gd name="connsiteX2045" fmla="*/ 1096742 w 8566434"/>
                <a:gd name="connsiteY2045" fmla="*/ 1585190 h 2765205"/>
                <a:gd name="connsiteX2046" fmla="*/ 1101015 w 8566434"/>
                <a:gd name="connsiteY2046" fmla="*/ 1553485 h 2765205"/>
                <a:gd name="connsiteX2047" fmla="*/ 1073446 w 8566434"/>
                <a:gd name="connsiteY2047" fmla="*/ 1559895 h 2765205"/>
                <a:gd name="connsiteX2048" fmla="*/ 1094812 w 8566434"/>
                <a:gd name="connsiteY2048" fmla="*/ 1546386 h 2765205"/>
                <a:gd name="connsiteX2049" fmla="*/ 1087368 w 8566434"/>
                <a:gd name="connsiteY2049" fmla="*/ 1536461 h 2765205"/>
                <a:gd name="connsiteX2050" fmla="*/ 1103083 w 8566434"/>
                <a:gd name="connsiteY2050" fmla="*/ 1529017 h 2765205"/>
                <a:gd name="connsiteX2051" fmla="*/ 1115421 w 8566434"/>
                <a:gd name="connsiteY2051" fmla="*/ 1316936 h 2765205"/>
                <a:gd name="connsiteX2052" fmla="*/ 1103703 w 8566434"/>
                <a:gd name="connsiteY2052" fmla="*/ 1312042 h 2765205"/>
                <a:gd name="connsiteX2053" fmla="*/ 1096329 w 8566434"/>
                <a:gd name="connsiteY2053" fmla="*/ 1249252 h 2765205"/>
                <a:gd name="connsiteX2054" fmla="*/ 1114662 w 8566434"/>
                <a:gd name="connsiteY2054" fmla="*/ 1250079 h 2765205"/>
                <a:gd name="connsiteX2055" fmla="*/ 1115559 w 8566434"/>
                <a:gd name="connsiteY2055" fmla="*/ 1234020 h 2765205"/>
                <a:gd name="connsiteX2056" fmla="*/ 1104944 w 8566434"/>
                <a:gd name="connsiteY2056" fmla="*/ 1234157 h 2765205"/>
                <a:gd name="connsiteX2057" fmla="*/ 1112870 w 8566434"/>
                <a:gd name="connsiteY2057" fmla="*/ 1220235 h 2765205"/>
                <a:gd name="connsiteX2058" fmla="*/ 1076340 w 8566434"/>
                <a:gd name="connsiteY2058" fmla="*/ 1100030 h 2765205"/>
                <a:gd name="connsiteX2059" fmla="*/ 1120521 w 8566434"/>
                <a:gd name="connsiteY2059" fmla="*/ 877403 h 2765205"/>
                <a:gd name="connsiteX2060" fmla="*/ 1109149 w 8566434"/>
                <a:gd name="connsiteY2060" fmla="*/ 869132 h 2765205"/>
                <a:gd name="connsiteX2061" fmla="*/ 1122244 w 8566434"/>
                <a:gd name="connsiteY2061" fmla="*/ 871062 h 2765205"/>
                <a:gd name="connsiteX2062" fmla="*/ 1184759 w 8566434"/>
                <a:gd name="connsiteY2062" fmla="*/ 559592 h 2765205"/>
                <a:gd name="connsiteX2063" fmla="*/ 1072963 w 8566434"/>
                <a:gd name="connsiteY2063" fmla="*/ 553251 h 2765205"/>
                <a:gd name="connsiteX2064" fmla="*/ 1043257 w 8566434"/>
                <a:gd name="connsiteY2064" fmla="*/ 710399 h 2765205"/>
                <a:gd name="connsiteX2065" fmla="*/ 1057937 w 8566434"/>
                <a:gd name="connsiteY2065" fmla="*/ 720876 h 2765205"/>
                <a:gd name="connsiteX2066" fmla="*/ 1033331 w 8566434"/>
                <a:gd name="connsiteY2066" fmla="*/ 756165 h 2765205"/>
                <a:gd name="connsiteX2067" fmla="*/ 980328 w 8566434"/>
                <a:gd name="connsiteY2067" fmla="*/ 1017596 h 2765205"/>
                <a:gd name="connsiteX2068" fmla="*/ 913058 w 8566434"/>
                <a:gd name="connsiteY2068" fmla="*/ 1014012 h 2765205"/>
                <a:gd name="connsiteX2069" fmla="*/ 914505 w 8566434"/>
                <a:gd name="connsiteY2069" fmla="*/ 994989 h 2765205"/>
                <a:gd name="connsiteX2070" fmla="*/ 902926 w 8566434"/>
                <a:gd name="connsiteY2070" fmla="*/ 992645 h 2765205"/>
                <a:gd name="connsiteX2071" fmla="*/ 914299 w 8566434"/>
                <a:gd name="connsiteY2071" fmla="*/ 993404 h 2765205"/>
                <a:gd name="connsiteX2072" fmla="*/ 916780 w 8566434"/>
                <a:gd name="connsiteY2072" fmla="*/ 970314 h 2765205"/>
                <a:gd name="connsiteX2073" fmla="*/ 905338 w 8566434"/>
                <a:gd name="connsiteY2073" fmla="*/ 972451 h 2765205"/>
                <a:gd name="connsiteX2074" fmla="*/ 905614 w 8566434"/>
                <a:gd name="connsiteY2074" fmla="*/ 966661 h 2765205"/>
                <a:gd name="connsiteX2075" fmla="*/ 916573 w 8566434"/>
                <a:gd name="connsiteY2075" fmla="*/ 968935 h 2765205"/>
                <a:gd name="connsiteX2076" fmla="*/ 936975 w 8566434"/>
                <a:gd name="connsiteY2076" fmla="*/ 631825 h 2765205"/>
                <a:gd name="connsiteX2077" fmla="*/ 926223 w 8566434"/>
                <a:gd name="connsiteY2077" fmla="*/ 577444 h 2765205"/>
                <a:gd name="connsiteX2078" fmla="*/ 942075 w 8566434"/>
                <a:gd name="connsiteY2078" fmla="*/ 577512 h 2765205"/>
                <a:gd name="connsiteX2079" fmla="*/ 941386 w 8566434"/>
                <a:gd name="connsiteY2079" fmla="*/ 550839 h 2765205"/>
                <a:gd name="connsiteX2080" fmla="*/ 929048 w 8566434"/>
                <a:gd name="connsiteY2080" fmla="*/ 541258 h 2765205"/>
                <a:gd name="connsiteX2081" fmla="*/ 925258 w 8566434"/>
                <a:gd name="connsiteY2081" fmla="*/ 568276 h 2765205"/>
                <a:gd name="connsiteX2082" fmla="*/ 917538 w 8566434"/>
                <a:gd name="connsiteY2082" fmla="*/ 539053 h 2765205"/>
                <a:gd name="connsiteX2083" fmla="*/ 885488 w 8566434"/>
                <a:gd name="connsiteY2083" fmla="*/ 546152 h 2765205"/>
                <a:gd name="connsiteX2084" fmla="*/ 877148 w 8566434"/>
                <a:gd name="connsiteY2084" fmla="*/ 540086 h 2765205"/>
                <a:gd name="connsiteX2085" fmla="*/ 839309 w 8566434"/>
                <a:gd name="connsiteY2085" fmla="*/ 538501 h 2765205"/>
                <a:gd name="connsiteX2086" fmla="*/ 829935 w 8566434"/>
                <a:gd name="connsiteY2086" fmla="*/ 687034 h 2765205"/>
                <a:gd name="connsiteX2087" fmla="*/ 830693 w 8566434"/>
                <a:gd name="connsiteY2087" fmla="*/ 749824 h 2765205"/>
                <a:gd name="connsiteX2088" fmla="*/ 842203 w 8566434"/>
                <a:gd name="connsiteY2088" fmla="*/ 760921 h 2765205"/>
                <a:gd name="connsiteX2089" fmla="*/ 826833 w 8566434"/>
                <a:gd name="connsiteY2089" fmla="*/ 749962 h 2765205"/>
                <a:gd name="connsiteX2090" fmla="*/ 823663 w 8566434"/>
                <a:gd name="connsiteY2090" fmla="*/ 772776 h 2765205"/>
                <a:gd name="connsiteX2091" fmla="*/ 831865 w 8566434"/>
                <a:gd name="connsiteY2091" fmla="*/ 772776 h 2765205"/>
                <a:gd name="connsiteX2092" fmla="*/ 824490 w 8566434"/>
                <a:gd name="connsiteY2092" fmla="*/ 780496 h 2765205"/>
                <a:gd name="connsiteX2093" fmla="*/ 817046 w 8566434"/>
                <a:gd name="connsiteY2093" fmla="*/ 933715 h 2765205"/>
                <a:gd name="connsiteX2094" fmla="*/ 824972 w 8566434"/>
                <a:gd name="connsiteY2094" fmla="*/ 940676 h 2765205"/>
                <a:gd name="connsiteX2095" fmla="*/ 818493 w 8566434"/>
                <a:gd name="connsiteY2095" fmla="*/ 985477 h 2765205"/>
                <a:gd name="connsiteX2096" fmla="*/ 810429 w 8566434"/>
                <a:gd name="connsiteY2096" fmla="*/ 986649 h 2765205"/>
                <a:gd name="connsiteX2097" fmla="*/ 803606 w 8566434"/>
                <a:gd name="connsiteY2097" fmla="*/ 1137663 h 2765205"/>
                <a:gd name="connsiteX2098" fmla="*/ 806776 w 8566434"/>
                <a:gd name="connsiteY2098" fmla="*/ 1141936 h 2765205"/>
                <a:gd name="connsiteX2099" fmla="*/ 810981 w 8566434"/>
                <a:gd name="connsiteY2099" fmla="*/ 1146347 h 2765205"/>
                <a:gd name="connsiteX2100" fmla="*/ 798643 w 8566434"/>
                <a:gd name="connsiteY2100" fmla="*/ 1203486 h 2765205"/>
                <a:gd name="connsiteX2101" fmla="*/ 804433 w 8566434"/>
                <a:gd name="connsiteY2101" fmla="*/ 1208448 h 2765205"/>
                <a:gd name="connsiteX2102" fmla="*/ 797127 w 8566434"/>
                <a:gd name="connsiteY2102" fmla="*/ 1216375 h 2765205"/>
                <a:gd name="connsiteX2103" fmla="*/ 774588 w 8566434"/>
                <a:gd name="connsiteY2103" fmla="*/ 1578918 h 2765205"/>
                <a:gd name="connsiteX2104" fmla="*/ 783617 w 8566434"/>
                <a:gd name="connsiteY2104" fmla="*/ 1617516 h 2765205"/>
                <a:gd name="connsiteX2105" fmla="*/ 773968 w 8566434"/>
                <a:gd name="connsiteY2105" fmla="*/ 1592428 h 2765205"/>
                <a:gd name="connsiteX2106" fmla="*/ 763974 w 8566434"/>
                <a:gd name="connsiteY2106" fmla="*/ 1738203 h 2765205"/>
                <a:gd name="connsiteX2107" fmla="*/ 783066 w 8566434"/>
                <a:gd name="connsiteY2107" fmla="*/ 1710495 h 2765205"/>
                <a:gd name="connsiteX2108" fmla="*/ 797127 w 8566434"/>
                <a:gd name="connsiteY2108" fmla="*/ 1680099 h 2765205"/>
                <a:gd name="connsiteX2109" fmla="*/ 801055 w 8566434"/>
                <a:gd name="connsiteY2109" fmla="*/ 1684166 h 2765205"/>
                <a:gd name="connsiteX2110" fmla="*/ 809326 w 8566434"/>
                <a:gd name="connsiteY2110" fmla="*/ 1711323 h 2765205"/>
                <a:gd name="connsiteX2111" fmla="*/ 807052 w 8566434"/>
                <a:gd name="connsiteY2111" fmla="*/ 1732758 h 2765205"/>
                <a:gd name="connsiteX2112" fmla="*/ 789959 w 8566434"/>
                <a:gd name="connsiteY2112" fmla="*/ 1723729 h 2765205"/>
                <a:gd name="connsiteX2113" fmla="*/ 791199 w 8566434"/>
                <a:gd name="connsiteY2113" fmla="*/ 1745923 h 2765205"/>
                <a:gd name="connsiteX2114" fmla="*/ 763560 w 8566434"/>
                <a:gd name="connsiteY2114" fmla="*/ 1743510 h 2765205"/>
                <a:gd name="connsiteX2115" fmla="*/ 761631 w 8566434"/>
                <a:gd name="connsiteY2115" fmla="*/ 1784589 h 2765205"/>
                <a:gd name="connsiteX2116" fmla="*/ 793474 w 8566434"/>
                <a:gd name="connsiteY2116" fmla="*/ 1786588 h 2765205"/>
                <a:gd name="connsiteX2117" fmla="*/ 810016 w 8566434"/>
                <a:gd name="connsiteY2117" fmla="*/ 1772321 h 2765205"/>
                <a:gd name="connsiteX2118" fmla="*/ 808568 w 8566434"/>
                <a:gd name="connsiteY2118" fmla="*/ 1788518 h 2765205"/>
                <a:gd name="connsiteX2119" fmla="*/ 1324883 w 8566434"/>
                <a:gd name="connsiteY2119" fmla="*/ 656569 h 2765205"/>
                <a:gd name="connsiteX2120" fmla="*/ 1335083 w 8566434"/>
                <a:gd name="connsiteY2120" fmla="*/ 646230 h 2765205"/>
                <a:gd name="connsiteX2121" fmla="*/ 1324883 w 8566434"/>
                <a:gd name="connsiteY2121" fmla="*/ 656569 h 2765205"/>
                <a:gd name="connsiteX2122" fmla="*/ 1321919 w 8566434"/>
                <a:gd name="connsiteY2122" fmla="*/ 705161 h 2765205"/>
                <a:gd name="connsiteX2123" fmla="*/ 1320609 w 8566434"/>
                <a:gd name="connsiteY2123" fmla="*/ 673938 h 2765205"/>
                <a:gd name="connsiteX2124" fmla="*/ 1335842 w 8566434"/>
                <a:gd name="connsiteY2124" fmla="*/ 697855 h 2765205"/>
                <a:gd name="connsiteX2125" fmla="*/ 1321919 w 8566434"/>
                <a:gd name="connsiteY2125" fmla="*/ 705161 h 2765205"/>
                <a:gd name="connsiteX2126" fmla="*/ 1289938 w 8566434"/>
                <a:gd name="connsiteY2126" fmla="*/ 714121 h 2765205"/>
                <a:gd name="connsiteX2127" fmla="*/ 1301655 w 8566434"/>
                <a:gd name="connsiteY2127" fmla="*/ 701301 h 2765205"/>
                <a:gd name="connsiteX2128" fmla="*/ 1289938 w 8566434"/>
                <a:gd name="connsiteY2128" fmla="*/ 714121 h 2765205"/>
                <a:gd name="connsiteX2129" fmla="*/ 1261817 w 8566434"/>
                <a:gd name="connsiteY2129" fmla="*/ 740106 h 2765205"/>
                <a:gd name="connsiteX2130" fmla="*/ 1261817 w 8566434"/>
                <a:gd name="connsiteY2130" fmla="*/ 740106 h 2765205"/>
                <a:gd name="connsiteX2131" fmla="*/ 1284906 w 8566434"/>
                <a:gd name="connsiteY2131" fmla="*/ 789180 h 2765205"/>
                <a:gd name="connsiteX2132" fmla="*/ 1285733 w 8566434"/>
                <a:gd name="connsiteY2132" fmla="*/ 765401 h 2765205"/>
                <a:gd name="connsiteX2133" fmla="*/ 1318128 w 8566434"/>
                <a:gd name="connsiteY2133" fmla="*/ 740726 h 2765205"/>
                <a:gd name="connsiteX2134" fmla="*/ 1318473 w 8566434"/>
                <a:gd name="connsiteY2134" fmla="*/ 748859 h 2765205"/>
                <a:gd name="connsiteX2135" fmla="*/ 1284906 w 8566434"/>
                <a:gd name="connsiteY2135" fmla="*/ 789180 h 2765205"/>
                <a:gd name="connsiteX2136" fmla="*/ 1271121 w 8566434"/>
                <a:gd name="connsiteY2136" fmla="*/ 771053 h 2765205"/>
                <a:gd name="connsiteX2137" fmla="*/ 1282701 w 8566434"/>
                <a:gd name="connsiteY2137" fmla="*/ 820265 h 2765205"/>
                <a:gd name="connsiteX2138" fmla="*/ 1271121 w 8566434"/>
                <a:gd name="connsiteY2138" fmla="*/ 771053 h 2765205"/>
                <a:gd name="connsiteX2139" fmla="*/ 1249410 w 8566434"/>
                <a:gd name="connsiteY2139" fmla="*/ 927029 h 2765205"/>
                <a:gd name="connsiteX2140" fmla="*/ 1249410 w 8566434"/>
                <a:gd name="connsiteY2140" fmla="*/ 927029 h 2765205"/>
                <a:gd name="connsiteX2141" fmla="*/ 1284286 w 8566434"/>
                <a:gd name="connsiteY2141" fmla="*/ 1133665 h 2765205"/>
                <a:gd name="connsiteX2142" fmla="*/ 1284286 w 8566434"/>
                <a:gd name="connsiteY2142" fmla="*/ 1133665 h 2765205"/>
                <a:gd name="connsiteX2143" fmla="*/ 1229767 w 8566434"/>
                <a:gd name="connsiteY2143" fmla="*/ 1159374 h 2765205"/>
                <a:gd name="connsiteX2144" fmla="*/ 1229767 w 8566434"/>
                <a:gd name="connsiteY2144" fmla="*/ 1159374 h 2765205"/>
                <a:gd name="connsiteX2145" fmla="*/ 1284975 w 8566434"/>
                <a:gd name="connsiteY2145" fmla="*/ 1188185 h 2765205"/>
                <a:gd name="connsiteX2146" fmla="*/ 1284975 w 8566434"/>
                <a:gd name="connsiteY2146" fmla="*/ 1188185 h 2765205"/>
                <a:gd name="connsiteX2147" fmla="*/ 1305032 w 8566434"/>
                <a:gd name="connsiteY2147" fmla="*/ 1201832 h 2765205"/>
                <a:gd name="connsiteX2148" fmla="*/ 1305653 w 8566434"/>
                <a:gd name="connsiteY2148" fmla="*/ 1171505 h 2765205"/>
                <a:gd name="connsiteX2149" fmla="*/ 1305032 w 8566434"/>
                <a:gd name="connsiteY2149" fmla="*/ 1201832 h 2765205"/>
                <a:gd name="connsiteX2150" fmla="*/ 1232593 w 8566434"/>
                <a:gd name="connsiteY2150" fmla="*/ 1200453 h 2765205"/>
                <a:gd name="connsiteX2151" fmla="*/ 1228250 w 8566434"/>
                <a:gd name="connsiteY2151" fmla="*/ 1176743 h 2765205"/>
                <a:gd name="connsiteX2152" fmla="*/ 1257888 w 8566434"/>
                <a:gd name="connsiteY2152" fmla="*/ 1157444 h 2765205"/>
                <a:gd name="connsiteX2153" fmla="*/ 1266986 w 8566434"/>
                <a:gd name="connsiteY2153" fmla="*/ 1172677 h 2765205"/>
                <a:gd name="connsiteX2154" fmla="*/ 1247411 w 8566434"/>
                <a:gd name="connsiteY2154" fmla="*/ 1179638 h 2765205"/>
                <a:gd name="connsiteX2155" fmla="*/ 1264298 w 8566434"/>
                <a:gd name="connsiteY2155" fmla="*/ 1197696 h 2765205"/>
                <a:gd name="connsiteX2156" fmla="*/ 1273534 w 8566434"/>
                <a:gd name="connsiteY2156" fmla="*/ 1184945 h 2765205"/>
                <a:gd name="connsiteX2157" fmla="*/ 1272293 w 8566434"/>
                <a:gd name="connsiteY2157" fmla="*/ 1198868 h 2765205"/>
                <a:gd name="connsiteX2158" fmla="*/ 1252374 w 8566434"/>
                <a:gd name="connsiteY2158" fmla="*/ 1202659 h 2765205"/>
                <a:gd name="connsiteX2159" fmla="*/ 1237900 w 8566434"/>
                <a:gd name="connsiteY2159" fmla="*/ 1190666 h 2765205"/>
                <a:gd name="connsiteX2160" fmla="*/ 1232593 w 8566434"/>
                <a:gd name="connsiteY2160" fmla="*/ 1200453 h 2765205"/>
                <a:gd name="connsiteX2161" fmla="*/ 1276360 w 8566434"/>
                <a:gd name="connsiteY2161" fmla="*/ 1269516 h 2765205"/>
                <a:gd name="connsiteX2162" fmla="*/ 1287181 w 8566434"/>
                <a:gd name="connsiteY2162" fmla="*/ 1259384 h 2765205"/>
                <a:gd name="connsiteX2163" fmla="*/ 1276360 w 8566434"/>
                <a:gd name="connsiteY2163" fmla="*/ 1269516 h 2765205"/>
                <a:gd name="connsiteX2164" fmla="*/ 1284975 w 8566434"/>
                <a:gd name="connsiteY2164" fmla="*/ 1340508 h 2765205"/>
                <a:gd name="connsiteX2165" fmla="*/ 1284975 w 8566434"/>
                <a:gd name="connsiteY2165" fmla="*/ 1340508 h 2765205"/>
                <a:gd name="connsiteX2166" fmla="*/ 1283459 w 8566434"/>
                <a:gd name="connsiteY2166" fmla="*/ 1359945 h 2765205"/>
                <a:gd name="connsiteX2167" fmla="*/ 1283459 w 8566434"/>
                <a:gd name="connsiteY2167" fmla="*/ 1359945 h 2765205"/>
                <a:gd name="connsiteX2168" fmla="*/ 1256854 w 8566434"/>
                <a:gd name="connsiteY2168" fmla="*/ 1381587 h 2765205"/>
                <a:gd name="connsiteX2169" fmla="*/ 1256854 w 8566434"/>
                <a:gd name="connsiteY2169" fmla="*/ 1381587 h 2765205"/>
                <a:gd name="connsiteX2170" fmla="*/ 1272776 w 8566434"/>
                <a:gd name="connsiteY2170" fmla="*/ 1387446 h 2765205"/>
                <a:gd name="connsiteX2171" fmla="*/ 1286560 w 8566434"/>
                <a:gd name="connsiteY2171" fmla="*/ 1402471 h 2765205"/>
                <a:gd name="connsiteX2172" fmla="*/ 1272776 w 8566434"/>
                <a:gd name="connsiteY2172" fmla="*/ 1387446 h 2765205"/>
                <a:gd name="connsiteX2173" fmla="*/ 1255682 w 8566434"/>
                <a:gd name="connsiteY2173" fmla="*/ 1409088 h 2765205"/>
                <a:gd name="connsiteX2174" fmla="*/ 1255682 w 8566434"/>
                <a:gd name="connsiteY2174" fmla="*/ 1409088 h 2765205"/>
                <a:gd name="connsiteX2175" fmla="*/ 1214948 w 8566434"/>
                <a:gd name="connsiteY2175" fmla="*/ 1498414 h 2765205"/>
                <a:gd name="connsiteX2176" fmla="*/ 1214948 w 8566434"/>
                <a:gd name="connsiteY2176" fmla="*/ 1498414 h 2765205"/>
                <a:gd name="connsiteX2177" fmla="*/ 1235487 w 8566434"/>
                <a:gd name="connsiteY2177" fmla="*/ 1505858 h 2765205"/>
                <a:gd name="connsiteX2178" fmla="*/ 1235487 w 8566434"/>
                <a:gd name="connsiteY2178" fmla="*/ 1505858 h 2765205"/>
                <a:gd name="connsiteX2179" fmla="*/ 1257957 w 8566434"/>
                <a:gd name="connsiteY2179" fmla="*/ 1514336 h 2765205"/>
                <a:gd name="connsiteX2180" fmla="*/ 1258370 w 8566434"/>
                <a:gd name="connsiteY2180" fmla="*/ 1493452 h 2765205"/>
                <a:gd name="connsiteX2181" fmla="*/ 1239554 w 8566434"/>
                <a:gd name="connsiteY2181" fmla="*/ 1478426 h 2765205"/>
                <a:gd name="connsiteX2182" fmla="*/ 1240726 w 8566434"/>
                <a:gd name="connsiteY2182" fmla="*/ 1456508 h 2765205"/>
                <a:gd name="connsiteX2183" fmla="*/ 1252994 w 8566434"/>
                <a:gd name="connsiteY2183" fmla="*/ 1471672 h 2765205"/>
                <a:gd name="connsiteX2184" fmla="*/ 1257199 w 8566434"/>
                <a:gd name="connsiteY2184" fmla="*/ 1460023 h 2765205"/>
                <a:gd name="connsiteX2185" fmla="*/ 1275257 w 8566434"/>
                <a:gd name="connsiteY2185" fmla="*/ 1473119 h 2765205"/>
                <a:gd name="connsiteX2186" fmla="*/ 1263884 w 8566434"/>
                <a:gd name="connsiteY2186" fmla="*/ 1480701 h 2765205"/>
                <a:gd name="connsiteX2187" fmla="*/ 1257957 w 8566434"/>
                <a:gd name="connsiteY2187" fmla="*/ 1514336 h 2765205"/>
                <a:gd name="connsiteX2188" fmla="*/ 1207642 w 8566434"/>
                <a:gd name="connsiteY2188" fmla="*/ 1527914 h 2765205"/>
                <a:gd name="connsiteX2189" fmla="*/ 1207642 w 8566434"/>
                <a:gd name="connsiteY2189" fmla="*/ 1527914 h 2765205"/>
                <a:gd name="connsiteX2190" fmla="*/ 1229767 w 8566434"/>
                <a:gd name="connsiteY2190" fmla="*/ 1533428 h 2765205"/>
                <a:gd name="connsiteX2191" fmla="*/ 1244930 w 8566434"/>
                <a:gd name="connsiteY2191" fmla="*/ 1528810 h 2765205"/>
                <a:gd name="connsiteX2192" fmla="*/ 1229767 w 8566434"/>
                <a:gd name="connsiteY2192" fmla="*/ 1533428 h 2765205"/>
                <a:gd name="connsiteX2193" fmla="*/ 1242587 w 8566434"/>
                <a:gd name="connsiteY2193" fmla="*/ 1580503 h 2765205"/>
                <a:gd name="connsiteX2194" fmla="*/ 1259956 w 8566434"/>
                <a:gd name="connsiteY2194" fmla="*/ 1552589 h 2765205"/>
                <a:gd name="connsiteX2195" fmla="*/ 1242587 w 8566434"/>
                <a:gd name="connsiteY2195" fmla="*/ 1580503 h 2765205"/>
                <a:gd name="connsiteX2196" fmla="*/ 1222392 w 8566434"/>
                <a:gd name="connsiteY2196" fmla="*/ 1582365 h 2765205"/>
                <a:gd name="connsiteX2197" fmla="*/ 1214328 w 8566434"/>
                <a:gd name="connsiteY2197" fmla="*/ 1574232 h 2765205"/>
                <a:gd name="connsiteX2198" fmla="*/ 1222392 w 8566434"/>
                <a:gd name="connsiteY2198" fmla="*/ 1582365 h 2765205"/>
                <a:gd name="connsiteX2199" fmla="*/ 1254993 w 8566434"/>
                <a:gd name="connsiteY2199" fmla="*/ 1594082 h 2765205"/>
                <a:gd name="connsiteX2200" fmla="*/ 1254993 w 8566434"/>
                <a:gd name="connsiteY2200" fmla="*/ 1594082 h 2765205"/>
                <a:gd name="connsiteX2201" fmla="*/ 1223219 w 8566434"/>
                <a:gd name="connsiteY2201" fmla="*/ 1630956 h 2765205"/>
                <a:gd name="connsiteX2202" fmla="*/ 1225493 w 8566434"/>
                <a:gd name="connsiteY2202" fmla="*/ 1593599 h 2765205"/>
                <a:gd name="connsiteX2203" fmla="*/ 1248238 w 8566434"/>
                <a:gd name="connsiteY2203" fmla="*/ 1590635 h 2765205"/>
                <a:gd name="connsiteX2204" fmla="*/ 1240795 w 8566434"/>
                <a:gd name="connsiteY2204" fmla="*/ 1652874 h 2765205"/>
                <a:gd name="connsiteX2205" fmla="*/ 1223219 w 8566434"/>
                <a:gd name="connsiteY2205" fmla="*/ 1630956 h 2765205"/>
                <a:gd name="connsiteX2206" fmla="*/ 1251616 w 8566434"/>
                <a:gd name="connsiteY2206" fmla="*/ 1630612 h 2765205"/>
                <a:gd name="connsiteX2207" fmla="*/ 1251271 w 8566434"/>
                <a:gd name="connsiteY2207" fmla="*/ 1708083 h 2765205"/>
                <a:gd name="connsiteX2208" fmla="*/ 1251616 w 8566434"/>
                <a:gd name="connsiteY2208" fmla="*/ 1630612 h 2765205"/>
                <a:gd name="connsiteX2209" fmla="*/ 1201714 w 8566434"/>
                <a:gd name="connsiteY2209" fmla="*/ 1707463 h 2765205"/>
                <a:gd name="connsiteX2210" fmla="*/ 1209847 w 8566434"/>
                <a:gd name="connsiteY2210" fmla="*/ 1670037 h 2765205"/>
                <a:gd name="connsiteX2211" fmla="*/ 1216878 w 8566434"/>
                <a:gd name="connsiteY2211" fmla="*/ 1702362 h 2765205"/>
                <a:gd name="connsiteX2212" fmla="*/ 1201714 w 8566434"/>
                <a:gd name="connsiteY2212" fmla="*/ 1707463 h 2765205"/>
                <a:gd name="connsiteX2213" fmla="*/ 1270157 w 8566434"/>
                <a:gd name="connsiteY2213" fmla="*/ 1718973 h 2765205"/>
                <a:gd name="connsiteX2214" fmla="*/ 1270157 w 8566434"/>
                <a:gd name="connsiteY2214" fmla="*/ 1718973 h 2765205"/>
                <a:gd name="connsiteX2215" fmla="*/ 1235556 w 8566434"/>
                <a:gd name="connsiteY2215" fmla="*/ 1768875 h 2765205"/>
                <a:gd name="connsiteX2216" fmla="*/ 1234109 w 8566434"/>
                <a:gd name="connsiteY2216" fmla="*/ 1754952 h 2765205"/>
                <a:gd name="connsiteX2217" fmla="*/ 1235556 w 8566434"/>
                <a:gd name="connsiteY2217" fmla="*/ 1768875 h 2765205"/>
                <a:gd name="connsiteX2218" fmla="*/ 1232799 w 8566434"/>
                <a:gd name="connsiteY2218" fmla="*/ 1814434 h 2765205"/>
                <a:gd name="connsiteX2219" fmla="*/ 1280840 w 8566434"/>
                <a:gd name="connsiteY2219" fmla="*/ 1817122 h 2765205"/>
                <a:gd name="connsiteX2220" fmla="*/ 1299725 w 8566434"/>
                <a:gd name="connsiteY2220" fmla="*/ 1513578 h 2765205"/>
                <a:gd name="connsiteX2221" fmla="*/ 1300828 w 8566434"/>
                <a:gd name="connsiteY2221" fmla="*/ 1458576 h 2765205"/>
                <a:gd name="connsiteX2222" fmla="*/ 1289662 w 8566434"/>
                <a:gd name="connsiteY2222" fmla="*/ 1453820 h 2765205"/>
                <a:gd name="connsiteX2223" fmla="*/ 1303102 w 8566434"/>
                <a:gd name="connsiteY2223" fmla="*/ 1456508 h 2765205"/>
                <a:gd name="connsiteX2224" fmla="*/ 1307100 w 8566434"/>
                <a:gd name="connsiteY2224" fmla="*/ 1401231 h 2765205"/>
                <a:gd name="connsiteX2225" fmla="*/ 1297313 w 8566434"/>
                <a:gd name="connsiteY2225" fmla="*/ 1392546 h 2765205"/>
                <a:gd name="connsiteX2226" fmla="*/ 1306204 w 8566434"/>
                <a:gd name="connsiteY2226" fmla="*/ 1393925 h 2765205"/>
                <a:gd name="connsiteX2227" fmla="*/ 1307927 w 8566434"/>
                <a:gd name="connsiteY2227" fmla="*/ 1357463 h 2765205"/>
                <a:gd name="connsiteX2228" fmla="*/ 1298484 w 8566434"/>
                <a:gd name="connsiteY2228" fmla="*/ 1358566 h 2765205"/>
                <a:gd name="connsiteX2229" fmla="*/ 1298484 w 8566434"/>
                <a:gd name="connsiteY2229" fmla="*/ 1353466 h 2765205"/>
                <a:gd name="connsiteX2230" fmla="*/ 1310064 w 8566434"/>
                <a:gd name="connsiteY2230" fmla="*/ 1352983 h 2765205"/>
                <a:gd name="connsiteX2231" fmla="*/ 1308961 w 8566434"/>
                <a:gd name="connsiteY2231" fmla="*/ 1328033 h 2765205"/>
                <a:gd name="connsiteX2232" fmla="*/ 1337703 w 8566434"/>
                <a:gd name="connsiteY2232" fmla="*/ 889603 h 2765205"/>
                <a:gd name="connsiteX2233" fmla="*/ 1318473 w 8566434"/>
                <a:gd name="connsiteY2233" fmla="*/ 893808 h 2765205"/>
                <a:gd name="connsiteX2234" fmla="*/ 1326054 w 8566434"/>
                <a:gd name="connsiteY2234" fmla="*/ 886433 h 2765205"/>
                <a:gd name="connsiteX2235" fmla="*/ 1321712 w 8566434"/>
                <a:gd name="connsiteY2235" fmla="*/ 879609 h 2765205"/>
                <a:gd name="connsiteX2236" fmla="*/ 1339632 w 8566434"/>
                <a:gd name="connsiteY2236" fmla="*/ 889396 h 2765205"/>
                <a:gd name="connsiteX2237" fmla="*/ 1347766 w 8566434"/>
                <a:gd name="connsiteY2237" fmla="*/ 747205 h 2765205"/>
                <a:gd name="connsiteX2238" fmla="*/ 1331017 w 8566434"/>
                <a:gd name="connsiteY2238" fmla="*/ 735901 h 2765205"/>
                <a:gd name="connsiteX2239" fmla="*/ 1347490 w 8566434"/>
                <a:gd name="connsiteY2239" fmla="*/ 729629 h 2765205"/>
                <a:gd name="connsiteX2240" fmla="*/ 1358656 w 8566434"/>
                <a:gd name="connsiteY2240" fmla="*/ 570551 h 2765205"/>
                <a:gd name="connsiteX2241" fmla="*/ 1255613 w 8566434"/>
                <a:gd name="connsiteY2241" fmla="*/ 564003 h 2765205"/>
                <a:gd name="connsiteX2242" fmla="*/ 1221151 w 8566434"/>
                <a:gd name="connsiteY2242" fmla="*/ 1124223 h 2765205"/>
                <a:gd name="connsiteX2243" fmla="*/ 1233764 w 8566434"/>
                <a:gd name="connsiteY2243" fmla="*/ 1121603 h 2765205"/>
                <a:gd name="connsiteX2244" fmla="*/ 1233282 w 8566434"/>
                <a:gd name="connsiteY2244" fmla="*/ 1147519 h 2765205"/>
                <a:gd name="connsiteX2245" fmla="*/ 1221496 w 8566434"/>
                <a:gd name="connsiteY2245" fmla="*/ 1147864 h 2765205"/>
                <a:gd name="connsiteX2246" fmla="*/ 1213914 w 8566434"/>
                <a:gd name="connsiteY2246" fmla="*/ 1217271 h 2765205"/>
                <a:gd name="connsiteX2247" fmla="*/ 1239416 w 8566434"/>
                <a:gd name="connsiteY2247" fmla="*/ 1213756 h 2765205"/>
                <a:gd name="connsiteX2248" fmla="*/ 1222874 w 8566434"/>
                <a:gd name="connsiteY2248" fmla="*/ 1238982 h 2765205"/>
                <a:gd name="connsiteX2249" fmla="*/ 1222805 w 8566434"/>
                <a:gd name="connsiteY2249" fmla="*/ 1219201 h 2765205"/>
                <a:gd name="connsiteX2250" fmla="*/ 1214052 w 8566434"/>
                <a:gd name="connsiteY2250" fmla="*/ 1218649 h 2765205"/>
                <a:gd name="connsiteX2251" fmla="*/ 1202817 w 8566434"/>
                <a:gd name="connsiteY2251" fmla="*/ 1406262 h 2765205"/>
                <a:gd name="connsiteX2252" fmla="*/ 1203575 w 8566434"/>
                <a:gd name="connsiteY2252" fmla="*/ 1427422 h 2765205"/>
                <a:gd name="connsiteX2253" fmla="*/ 1200267 w 8566434"/>
                <a:gd name="connsiteY2253" fmla="*/ 1456784 h 2765205"/>
                <a:gd name="connsiteX2254" fmla="*/ 1232386 w 8566434"/>
                <a:gd name="connsiteY2254" fmla="*/ 1455405 h 2765205"/>
                <a:gd name="connsiteX2255" fmla="*/ 1223426 w 8566434"/>
                <a:gd name="connsiteY2255" fmla="*/ 1485181 h 2765205"/>
                <a:gd name="connsiteX2256" fmla="*/ 1205229 w 8566434"/>
                <a:gd name="connsiteY2256" fmla="*/ 1485043 h 2765205"/>
                <a:gd name="connsiteX2257" fmla="*/ 1220531 w 8566434"/>
                <a:gd name="connsiteY2257" fmla="*/ 1462780 h 2765205"/>
                <a:gd name="connsiteX2258" fmla="*/ 1196407 w 8566434"/>
                <a:gd name="connsiteY2258" fmla="*/ 1507374 h 2765205"/>
                <a:gd name="connsiteX2259" fmla="*/ 1197372 w 8566434"/>
                <a:gd name="connsiteY2259" fmla="*/ 1584984 h 2765205"/>
                <a:gd name="connsiteX2260" fmla="*/ 1205574 w 8566434"/>
                <a:gd name="connsiteY2260" fmla="*/ 1567821 h 2765205"/>
                <a:gd name="connsiteX2261" fmla="*/ 1204333 w 8566434"/>
                <a:gd name="connsiteY2261" fmla="*/ 1586845 h 2765205"/>
                <a:gd name="connsiteX2262" fmla="*/ 1196890 w 8566434"/>
                <a:gd name="connsiteY2262" fmla="*/ 1585811 h 2765205"/>
                <a:gd name="connsiteX2263" fmla="*/ 1190686 w 8566434"/>
                <a:gd name="connsiteY2263" fmla="*/ 1609865 h 2765205"/>
                <a:gd name="connsiteX2264" fmla="*/ 1187309 w 8566434"/>
                <a:gd name="connsiteY2264" fmla="*/ 1654391 h 2765205"/>
                <a:gd name="connsiteX2265" fmla="*/ 1198199 w 8566434"/>
                <a:gd name="connsiteY2265" fmla="*/ 1663558 h 2765205"/>
                <a:gd name="connsiteX2266" fmla="*/ 1186344 w 8566434"/>
                <a:gd name="connsiteY2266" fmla="*/ 1660801 h 2765205"/>
                <a:gd name="connsiteX2267" fmla="*/ 1177522 w 8566434"/>
                <a:gd name="connsiteY2267" fmla="*/ 1810781 h 2765205"/>
                <a:gd name="connsiteX2268" fmla="*/ 1223288 w 8566434"/>
                <a:gd name="connsiteY2268" fmla="*/ 1814020 h 2765205"/>
                <a:gd name="connsiteX2269" fmla="*/ 1232799 w 8566434"/>
                <a:gd name="connsiteY2269" fmla="*/ 1814434 h 2765205"/>
                <a:gd name="connsiteX2270" fmla="*/ 1676674 w 8566434"/>
                <a:gd name="connsiteY2270" fmla="*/ 609907 h 2765205"/>
                <a:gd name="connsiteX2271" fmla="*/ 1676674 w 8566434"/>
                <a:gd name="connsiteY2271" fmla="*/ 609907 h 2765205"/>
                <a:gd name="connsiteX2272" fmla="*/ 1623119 w 8566434"/>
                <a:gd name="connsiteY2272" fmla="*/ 638028 h 2765205"/>
                <a:gd name="connsiteX2273" fmla="*/ 1633734 w 8566434"/>
                <a:gd name="connsiteY2273" fmla="*/ 627414 h 2765205"/>
                <a:gd name="connsiteX2274" fmla="*/ 1623119 w 8566434"/>
                <a:gd name="connsiteY2274" fmla="*/ 638028 h 2765205"/>
                <a:gd name="connsiteX2275" fmla="*/ 1649380 w 8566434"/>
                <a:gd name="connsiteY2275" fmla="*/ 645472 h 2765205"/>
                <a:gd name="connsiteX2276" fmla="*/ 1648070 w 8566434"/>
                <a:gd name="connsiteY2276" fmla="*/ 631274 h 2765205"/>
                <a:gd name="connsiteX2277" fmla="*/ 1649380 w 8566434"/>
                <a:gd name="connsiteY2277" fmla="*/ 645472 h 2765205"/>
                <a:gd name="connsiteX2278" fmla="*/ 1537860 w 8566434"/>
                <a:gd name="connsiteY2278" fmla="*/ 767675 h 2765205"/>
                <a:gd name="connsiteX2279" fmla="*/ 1529933 w 8566434"/>
                <a:gd name="connsiteY2279" fmla="*/ 750169 h 2765205"/>
                <a:gd name="connsiteX2280" fmla="*/ 1545097 w 8566434"/>
                <a:gd name="connsiteY2280" fmla="*/ 755820 h 2765205"/>
                <a:gd name="connsiteX2281" fmla="*/ 1545855 w 8566434"/>
                <a:gd name="connsiteY2281" fmla="*/ 744241 h 2765205"/>
                <a:gd name="connsiteX2282" fmla="*/ 1548957 w 8566434"/>
                <a:gd name="connsiteY2282" fmla="*/ 743621 h 2765205"/>
                <a:gd name="connsiteX2283" fmla="*/ 1545786 w 8566434"/>
                <a:gd name="connsiteY2283" fmla="*/ 764229 h 2765205"/>
                <a:gd name="connsiteX2284" fmla="*/ 1556814 w 8566434"/>
                <a:gd name="connsiteY2284" fmla="*/ 766435 h 2765205"/>
                <a:gd name="connsiteX2285" fmla="*/ 1537860 w 8566434"/>
                <a:gd name="connsiteY2285" fmla="*/ 767675 h 2765205"/>
                <a:gd name="connsiteX2286" fmla="*/ 1615951 w 8566434"/>
                <a:gd name="connsiteY2286" fmla="*/ 824263 h 2765205"/>
                <a:gd name="connsiteX2287" fmla="*/ 1631459 w 8566434"/>
                <a:gd name="connsiteY2287" fmla="*/ 819576 h 2765205"/>
                <a:gd name="connsiteX2288" fmla="*/ 1615951 w 8566434"/>
                <a:gd name="connsiteY2288" fmla="*/ 824263 h 2765205"/>
                <a:gd name="connsiteX2289" fmla="*/ 1605544 w 8566434"/>
                <a:gd name="connsiteY2289" fmla="*/ 839426 h 2765205"/>
                <a:gd name="connsiteX2290" fmla="*/ 1630219 w 8566434"/>
                <a:gd name="connsiteY2290" fmla="*/ 841149 h 2765205"/>
                <a:gd name="connsiteX2291" fmla="*/ 1605544 w 8566434"/>
                <a:gd name="connsiteY2291" fmla="*/ 839426 h 2765205"/>
                <a:gd name="connsiteX2292" fmla="*/ 1676467 w 8566434"/>
                <a:gd name="connsiteY2292" fmla="*/ 865204 h 2765205"/>
                <a:gd name="connsiteX2293" fmla="*/ 1676467 w 8566434"/>
                <a:gd name="connsiteY2293" fmla="*/ 865204 h 2765205"/>
                <a:gd name="connsiteX2294" fmla="*/ 1650827 w 8566434"/>
                <a:gd name="connsiteY2294" fmla="*/ 909178 h 2765205"/>
                <a:gd name="connsiteX2295" fmla="*/ 1648346 w 8566434"/>
                <a:gd name="connsiteY2295" fmla="*/ 873682 h 2765205"/>
                <a:gd name="connsiteX2296" fmla="*/ 1681705 w 8566434"/>
                <a:gd name="connsiteY2296" fmla="*/ 876439 h 2765205"/>
                <a:gd name="connsiteX2297" fmla="*/ 1656548 w 8566434"/>
                <a:gd name="connsiteY2297" fmla="*/ 907110 h 2765205"/>
                <a:gd name="connsiteX2298" fmla="*/ 1687909 w 8566434"/>
                <a:gd name="connsiteY2298" fmla="*/ 894359 h 2765205"/>
                <a:gd name="connsiteX2299" fmla="*/ 1686117 w 8566434"/>
                <a:gd name="connsiteY2299" fmla="*/ 912348 h 2765205"/>
                <a:gd name="connsiteX2300" fmla="*/ 1650827 w 8566434"/>
                <a:gd name="connsiteY2300" fmla="*/ 909178 h 2765205"/>
                <a:gd name="connsiteX2301" fmla="*/ 1637387 w 8566434"/>
                <a:gd name="connsiteY2301" fmla="*/ 925237 h 2765205"/>
                <a:gd name="connsiteX2302" fmla="*/ 1622223 w 8566434"/>
                <a:gd name="connsiteY2302" fmla="*/ 908902 h 2765205"/>
                <a:gd name="connsiteX2303" fmla="*/ 1637387 w 8566434"/>
                <a:gd name="connsiteY2303" fmla="*/ 925237 h 2765205"/>
                <a:gd name="connsiteX2304" fmla="*/ 1628771 w 8566434"/>
                <a:gd name="connsiteY2304" fmla="*/ 947362 h 2765205"/>
                <a:gd name="connsiteX2305" fmla="*/ 1628771 w 8566434"/>
                <a:gd name="connsiteY2305" fmla="*/ 947362 h 2765205"/>
                <a:gd name="connsiteX2306" fmla="*/ 1559226 w 8566434"/>
                <a:gd name="connsiteY2306" fmla="*/ 973071 h 2765205"/>
                <a:gd name="connsiteX2307" fmla="*/ 1570185 w 8566434"/>
                <a:gd name="connsiteY2307" fmla="*/ 956943 h 2765205"/>
                <a:gd name="connsiteX2308" fmla="*/ 1559226 w 8566434"/>
                <a:gd name="connsiteY2308" fmla="*/ 973071 h 2765205"/>
                <a:gd name="connsiteX2309" fmla="*/ 1671229 w 8566434"/>
                <a:gd name="connsiteY2309" fmla="*/ 986029 h 2765205"/>
                <a:gd name="connsiteX2310" fmla="*/ 1665026 w 8566434"/>
                <a:gd name="connsiteY2310" fmla="*/ 942744 h 2765205"/>
                <a:gd name="connsiteX2311" fmla="*/ 1671229 w 8566434"/>
                <a:gd name="connsiteY2311" fmla="*/ 986029 h 2765205"/>
                <a:gd name="connsiteX2312" fmla="*/ 1642901 w 8566434"/>
                <a:gd name="connsiteY2312" fmla="*/ 987683 h 2765205"/>
                <a:gd name="connsiteX2313" fmla="*/ 1638145 w 8566434"/>
                <a:gd name="connsiteY2313" fmla="*/ 957080 h 2765205"/>
                <a:gd name="connsiteX2314" fmla="*/ 1642901 w 8566434"/>
                <a:gd name="connsiteY2314" fmla="*/ 987683 h 2765205"/>
                <a:gd name="connsiteX2315" fmla="*/ 1558813 w 8566434"/>
                <a:gd name="connsiteY2315" fmla="*/ 1001744 h 2765205"/>
                <a:gd name="connsiteX2316" fmla="*/ 1558813 w 8566434"/>
                <a:gd name="connsiteY2316" fmla="*/ 1001744 h 2765205"/>
                <a:gd name="connsiteX2317" fmla="*/ 1491473 w 8566434"/>
                <a:gd name="connsiteY2317" fmla="*/ 1029865 h 2765205"/>
                <a:gd name="connsiteX2318" fmla="*/ 1491473 w 8566434"/>
                <a:gd name="connsiteY2318" fmla="*/ 1029865 h 2765205"/>
                <a:gd name="connsiteX2319" fmla="*/ 1642556 w 8566434"/>
                <a:gd name="connsiteY2319" fmla="*/ 1064327 h 2765205"/>
                <a:gd name="connsiteX2320" fmla="*/ 1642556 w 8566434"/>
                <a:gd name="connsiteY2320" fmla="*/ 1064327 h 2765205"/>
                <a:gd name="connsiteX2321" fmla="*/ 1482375 w 8566434"/>
                <a:gd name="connsiteY2321" fmla="*/ 1118846 h 2765205"/>
                <a:gd name="connsiteX2322" fmla="*/ 1482375 w 8566434"/>
                <a:gd name="connsiteY2322" fmla="*/ 1118846 h 2765205"/>
                <a:gd name="connsiteX2323" fmla="*/ 1476930 w 8566434"/>
                <a:gd name="connsiteY2323" fmla="*/ 1197352 h 2765205"/>
                <a:gd name="connsiteX2324" fmla="*/ 1493541 w 8566434"/>
                <a:gd name="connsiteY2324" fmla="*/ 1185979 h 2765205"/>
                <a:gd name="connsiteX2325" fmla="*/ 1476930 w 8566434"/>
                <a:gd name="connsiteY2325" fmla="*/ 1197352 h 2765205"/>
                <a:gd name="connsiteX2326" fmla="*/ 1476792 w 8566434"/>
                <a:gd name="connsiteY2326" fmla="*/ 1230160 h 2765205"/>
                <a:gd name="connsiteX2327" fmla="*/ 1470727 w 8566434"/>
                <a:gd name="connsiteY2327" fmla="*/ 1223405 h 2765205"/>
                <a:gd name="connsiteX2328" fmla="*/ 1476792 w 8566434"/>
                <a:gd name="connsiteY2328" fmla="*/ 1230160 h 2765205"/>
                <a:gd name="connsiteX2329" fmla="*/ 1669368 w 8566434"/>
                <a:gd name="connsiteY2329" fmla="*/ 1360703 h 2765205"/>
                <a:gd name="connsiteX2330" fmla="*/ 1669368 w 8566434"/>
                <a:gd name="connsiteY2330" fmla="*/ 1360703 h 2765205"/>
                <a:gd name="connsiteX2331" fmla="*/ 1463835 w 8566434"/>
                <a:gd name="connsiteY2331" fmla="*/ 1395234 h 2765205"/>
                <a:gd name="connsiteX2332" fmla="*/ 1463835 w 8566434"/>
                <a:gd name="connsiteY2332" fmla="*/ 1395234 h 2765205"/>
                <a:gd name="connsiteX2333" fmla="*/ 1476034 w 8566434"/>
                <a:gd name="connsiteY2333" fmla="*/ 1416394 h 2765205"/>
                <a:gd name="connsiteX2334" fmla="*/ 1476034 w 8566434"/>
                <a:gd name="connsiteY2334" fmla="*/ 1416394 h 2765205"/>
                <a:gd name="connsiteX2335" fmla="*/ 1491749 w 8566434"/>
                <a:gd name="connsiteY2335" fmla="*/ 1400335 h 2765205"/>
                <a:gd name="connsiteX2336" fmla="*/ 1495333 w 8566434"/>
                <a:gd name="connsiteY2336" fmla="*/ 1423493 h 2765205"/>
                <a:gd name="connsiteX2337" fmla="*/ 1491749 w 8566434"/>
                <a:gd name="connsiteY2337" fmla="*/ 1400335 h 2765205"/>
                <a:gd name="connsiteX2338" fmla="*/ 1628909 w 8566434"/>
                <a:gd name="connsiteY2338" fmla="*/ 1450029 h 2765205"/>
                <a:gd name="connsiteX2339" fmla="*/ 1628909 w 8566434"/>
                <a:gd name="connsiteY2339" fmla="*/ 1450029 h 2765205"/>
                <a:gd name="connsiteX2340" fmla="*/ 1696386 w 8566434"/>
                <a:gd name="connsiteY2340" fmla="*/ 1456991 h 2765205"/>
                <a:gd name="connsiteX2341" fmla="*/ 1696386 w 8566434"/>
                <a:gd name="connsiteY2341" fmla="*/ 1456991 h 2765205"/>
                <a:gd name="connsiteX2342" fmla="*/ 1459699 w 8566434"/>
                <a:gd name="connsiteY2342" fmla="*/ 1465193 h 2765205"/>
                <a:gd name="connsiteX2343" fmla="*/ 1443088 w 8566434"/>
                <a:gd name="connsiteY2343" fmla="*/ 1425561 h 2765205"/>
                <a:gd name="connsiteX2344" fmla="*/ 1465902 w 8566434"/>
                <a:gd name="connsiteY2344" fmla="*/ 1402816 h 2765205"/>
                <a:gd name="connsiteX2345" fmla="*/ 1481066 w 8566434"/>
                <a:gd name="connsiteY2345" fmla="*/ 1433901 h 2765205"/>
                <a:gd name="connsiteX2346" fmla="*/ 1486442 w 8566434"/>
                <a:gd name="connsiteY2346" fmla="*/ 1435486 h 2765205"/>
                <a:gd name="connsiteX2347" fmla="*/ 1489681 w 8566434"/>
                <a:gd name="connsiteY2347" fmla="*/ 1438450 h 2765205"/>
                <a:gd name="connsiteX2348" fmla="*/ 1486373 w 8566434"/>
                <a:gd name="connsiteY2348" fmla="*/ 1441414 h 2765205"/>
                <a:gd name="connsiteX2349" fmla="*/ 1481272 w 8566434"/>
                <a:gd name="connsiteY2349" fmla="*/ 1443344 h 2765205"/>
                <a:gd name="connsiteX2350" fmla="*/ 1459699 w 8566434"/>
                <a:gd name="connsiteY2350" fmla="*/ 1465193 h 2765205"/>
                <a:gd name="connsiteX2351" fmla="*/ 1689838 w 8566434"/>
                <a:gd name="connsiteY2351" fmla="*/ 1490902 h 2765205"/>
                <a:gd name="connsiteX2352" fmla="*/ 1689838 w 8566434"/>
                <a:gd name="connsiteY2352" fmla="*/ 1490902 h 2765205"/>
                <a:gd name="connsiteX2353" fmla="*/ 1699212 w 8566434"/>
                <a:gd name="connsiteY2353" fmla="*/ 1531429 h 2765205"/>
                <a:gd name="connsiteX2354" fmla="*/ 1705209 w 8566434"/>
                <a:gd name="connsiteY2354" fmla="*/ 1498966 h 2765205"/>
                <a:gd name="connsiteX2355" fmla="*/ 1717064 w 8566434"/>
                <a:gd name="connsiteY2355" fmla="*/ 1534945 h 2765205"/>
                <a:gd name="connsiteX2356" fmla="*/ 1699212 w 8566434"/>
                <a:gd name="connsiteY2356" fmla="*/ 1531429 h 2765205"/>
                <a:gd name="connsiteX2357" fmla="*/ 1691079 w 8566434"/>
                <a:gd name="connsiteY2357" fmla="*/ 1595460 h 2765205"/>
                <a:gd name="connsiteX2358" fmla="*/ 1687909 w 8566434"/>
                <a:gd name="connsiteY2358" fmla="*/ 1576506 h 2765205"/>
                <a:gd name="connsiteX2359" fmla="*/ 1691079 w 8566434"/>
                <a:gd name="connsiteY2359" fmla="*/ 1595460 h 2765205"/>
                <a:gd name="connsiteX2360" fmla="*/ 1657030 w 8566434"/>
                <a:gd name="connsiteY2360" fmla="*/ 1602422 h 2765205"/>
                <a:gd name="connsiteX2361" fmla="*/ 1657030 w 8566434"/>
                <a:gd name="connsiteY2361" fmla="*/ 1602422 h 2765205"/>
                <a:gd name="connsiteX2362" fmla="*/ 1400493 w 8566434"/>
                <a:gd name="connsiteY2362" fmla="*/ 1615448 h 2765205"/>
                <a:gd name="connsiteX2363" fmla="*/ 1400493 w 8566434"/>
                <a:gd name="connsiteY2363" fmla="*/ 1615448 h 2765205"/>
                <a:gd name="connsiteX2364" fmla="*/ 1414140 w 8566434"/>
                <a:gd name="connsiteY2364" fmla="*/ 1629923 h 2765205"/>
                <a:gd name="connsiteX2365" fmla="*/ 1425168 w 8566434"/>
                <a:gd name="connsiteY2365" fmla="*/ 1613243 h 2765205"/>
                <a:gd name="connsiteX2366" fmla="*/ 1414140 w 8566434"/>
                <a:gd name="connsiteY2366" fmla="*/ 1629923 h 2765205"/>
                <a:gd name="connsiteX2367" fmla="*/ 1676674 w 8566434"/>
                <a:gd name="connsiteY2367" fmla="*/ 1650738 h 2765205"/>
                <a:gd name="connsiteX2368" fmla="*/ 1688460 w 8566434"/>
                <a:gd name="connsiteY2368" fmla="*/ 1639296 h 2765205"/>
                <a:gd name="connsiteX2369" fmla="*/ 1676674 w 8566434"/>
                <a:gd name="connsiteY2369" fmla="*/ 1650738 h 2765205"/>
                <a:gd name="connsiteX2370" fmla="*/ 1414898 w 8566434"/>
                <a:gd name="connsiteY2370" fmla="*/ 1650393 h 2765205"/>
                <a:gd name="connsiteX2371" fmla="*/ 1414898 w 8566434"/>
                <a:gd name="connsiteY2371" fmla="*/ 1650393 h 2765205"/>
                <a:gd name="connsiteX2372" fmla="*/ 1643039 w 8566434"/>
                <a:gd name="connsiteY2372" fmla="*/ 1670588 h 2765205"/>
                <a:gd name="connsiteX2373" fmla="*/ 1643039 w 8566434"/>
                <a:gd name="connsiteY2373" fmla="*/ 1670588 h 2765205"/>
                <a:gd name="connsiteX2374" fmla="*/ 1399804 w 8566434"/>
                <a:gd name="connsiteY2374" fmla="*/ 1709048 h 2765205"/>
                <a:gd name="connsiteX2375" fmla="*/ 1393876 w 8566434"/>
                <a:gd name="connsiteY2375" fmla="*/ 1703947 h 2765205"/>
                <a:gd name="connsiteX2376" fmla="*/ 1405455 w 8566434"/>
                <a:gd name="connsiteY2376" fmla="*/ 1702087 h 2765205"/>
                <a:gd name="connsiteX2377" fmla="*/ 1393669 w 8566434"/>
                <a:gd name="connsiteY2377" fmla="*/ 1679755 h 2765205"/>
                <a:gd name="connsiteX2378" fmla="*/ 1409867 w 8566434"/>
                <a:gd name="connsiteY2378" fmla="*/ 1696848 h 2765205"/>
                <a:gd name="connsiteX2379" fmla="*/ 1422411 w 8566434"/>
                <a:gd name="connsiteY2379" fmla="*/ 1671967 h 2765205"/>
                <a:gd name="connsiteX2380" fmla="*/ 1419654 w 8566434"/>
                <a:gd name="connsiteY2380" fmla="*/ 1704637 h 2765205"/>
                <a:gd name="connsiteX2381" fmla="*/ 1399804 w 8566434"/>
                <a:gd name="connsiteY2381" fmla="*/ 1709048 h 2765205"/>
                <a:gd name="connsiteX2382" fmla="*/ 1407317 w 8566434"/>
                <a:gd name="connsiteY2382" fmla="*/ 1773699 h 2765205"/>
                <a:gd name="connsiteX2383" fmla="*/ 1407317 w 8566434"/>
                <a:gd name="connsiteY2383" fmla="*/ 1773699 h 2765205"/>
                <a:gd name="connsiteX2384" fmla="*/ 1372441 w 8566434"/>
                <a:gd name="connsiteY2384" fmla="*/ 1774389 h 2765205"/>
                <a:gd name="connsiteX2385" fmla="*/ 1372441 w 8566434"/>
                <a:gd name="connsiteY2385" fmla="*/ 1774389 h 2765205"/>
                <a:gd name="connsiteX2386" fmla="*/ 1386363 w 8566434"/>
                <a:gd name="connsiteY2386" fmla="*/ 1786588 h 2765205"/>
                <a:gd name="connsiteX2387" fmla="*/ 1396909 w 8566434"/>
                <a:gd name="connsiteY2387" fmla="*/ 1769702 h 2765205"/>
                <a:gd name="connsiteX2388" fmla="*/ 1386363 w 8566434"/>
                <a:gd name="connsiteY2388" fmla="*/ 1786588 h 2765205"/>
                <a:gd name="connsiteX2389" fmla="*/ 1408488 w 8566434"/>
                <a:gd name="connsiteY2389" fmla="*/ 1794377 h 2765205"/>
                <a:gd name="connsiteX2390" fmla="*/ 1408488 w 8566434"/>
                <a:gd name="connsiteY2390" fmla="*/ 1794377 h 2765205"/>
                <a:gd name="connsiteX2391" fmla="*/ 1711274 w 8566434"/>
                <a:gd name="connsiteY2391" fmla="*/ 1810160 h 2765205"/>
                <a:gd name="connsiteX2392" fmla="*/ 1711274 w 8566434"/>
                <a:gd name="connsiteY2392" fmla="*/ 1810160 h 2765205"/>
                <a:gd name="connsiteX2393" fmla="*/ 1414347 w 8566434"/>
                <a:gd name="connsiteY2393" fmla="*/ 1815881 h 2765205"/>
                <a:gd name="connsiteX2394" fmla="*/ 1425513 w 8566434"/>
                <a:gd name="connsiteY2394" fmla="*/ 1804302 h 2765205"/>
                <a:gd name="connsiteX2395" fmla="*/ 1414347 w 8566434"/>
                <a:gd name="connsiteY2395" fmla="*/ 1815881 h 2765205"/>
                <a:gd name="connsiteX2396" fmla="*/ 1631046 w 8566434"/>
                <a:gd name="connsiteY2396" fmla="*/ 1839315 h 2765205"/>
                <a:gd name="connsiteX2397" fmla="*/ 1738637 w 8566434"/>
                <a:gd name="connsiteY2397" fmla="*/ 1846001 h 2765205"/>
                <a:gd name="connsiteX2398" fmla="*/ 1730504 w 8566434"/>
                <a:gd name="connsiteY2398" fmla="*/ 1612622 h 2765205"/>
                <a:gd name="connsiteX2399" fmla="*/ 1720855 w 8566434"/>
                <a:gd name="connsiteY2399" fmla="*/ 1624547 h 2765205"/>
                <a:gd name="connsiteX2400" fmla="*/ 1711412 w 8566434"/>
                <a:gd name="connsiteY2400" fmla="*/ 1614966 h 2765205"/>
                <a:gd name="connsiteX2401" fmla="*/ 1731676 w 8566434"/>
                <a:gd name="connsiteY2401" fmla="*/ 1610348 h 2765205"/>
                <a:gd name="connsiteX2402" fmla="*/ 1719269 w 8566434"/>
                <a:gd name="connsiteY2402" fmla="*/ 1598355 h 2765205"/>
                <a:gd name="connsiteX2403" fmla="*/ 1730228 w 8566434"/>
                <a:gd name="connsiteY2403" fmla="*/ 1605454 h 2765205"/>
                <a:gd name="connsiteX2404" fmla="*/ 1720717 w 8566434"/>
                <a:gd name="connsiteY2404" fmla="*/ 1487455 h 2765205"/>
                <a:gd name="connsiteX2405" fmla="*/ 1721682 w 8566434"/>
                <a:gd name="connsiteY2405" fmla="*/ 1387721 h 2765205"/>
                <a:gd name="connsiteX2406" fmla="*/ 1710240 w 8566434"/>
                <a:gd name="connsiteY2406" fmla="*/ 1386825 h 2765205"/>
                <a:gd name="connsiteX2407" fmla="*/ 1722026 w 8566434"/>
                <a:gd name="connsiteY2407" fmla="*/ 1386619 h 2765205"/>
                <a:gd name="connsiteX2408" fmla="*/ 1708724 w 8566434"/>
                <a:gd name="connsiteY2408" fmla="*/ 1032897 h 2765205"/>
                <a:gd name="connsiteX2409" fmla="*/ 1681016 w 8566434"/>
                <a:gd name="connsiteY2409" fmla="*/ 1032828 h 2765205"/>
                <a:gd name="connsiteX2410" fmla="*/ 1672194 w 8566434"/>
                <a:gd name="connsiteY2410" fmla="*/ 1008222 h 2765205"/>
                <a:gd name="connsiteX2411" fmla="*/ 1654204 w 8566434"/>
                <a:gd name="connsiteY2411" fmla="*/ 997539 h 2765205"/>
                <a:gd name="connsiteX2412" fmla="*/ 1708517 w 8566434"/>
                <a:gd name="connsiteY2412" fmla="*/ 1026281 h 2765205"/>
                <a:gd name="connsiteX2413" fmla="*/ 1701418 w 8566434"/>
                <a:gd name="connsiteY2413" fmla="*/ 866375 h 2765205"/>
                <a:gd name="connsiteX2414" fmla="*/ 1689149 w 8566434"/>
                <a:gd name="connsiteY2414" fmla="*/ 862309 h 2765205"/>
                <a:gd name="connsiteX2415" fmla="*/ 1702452 w 8566434"/>
                <a:gd name="connsiteY2415" fmla="*/ 860448 h 2765205"/>
                <a:gd name="connsiteX2416" fmla="*/ 1691355 w 8566434"/>
                <a:gd name="connsiteY2416" fmla="*/ 591642 h 2765205"/>
                <a:gd name="connsiteX2417" fmla="*/ 1550680 w 8566434"/>
                <a:gd name="connsiteY2417" fmla="*/ 582544 h 2765205"/>
                <a:gd name="connsiteX2418" fmla="*/ 1511255 w 8566434"/>
                <a:gd name="connsiteY2418" fmla="*/ 827157 h 2765205"/>
                <a:gd name="connsiteX2419" fmla="*/ 1523523 w 8566434"/>
                <a:gd name="connsiteY2419" fmla="*/ 828949 h 2765205"/>
                <a:gd name="connsiteX2420" fmla="*/ 1510497 w 8566434"/>
                <a:gd name="connsiteY2420" fmla="*/ 827985 h 2765205"/>
                <a:gd name="connsiteX2421" fmla="*/ 1430337 w 8566434"/>
                <a:gd name="connsiteY2421" fmla="*/ 1328446 h 2765205"/>
                <a:gd name="connsiteX2422" fmla="*/ 1438746 w 8566434"/>
                <a:gd name="connsiteY2422" fmla="*/ 1353328 h 2765205"/>
                <a:gd name="connsiteX2423" fmla="*/ 1428476 w 8566434"/>
                <a:gd name="connsiteY2423" fmla="*/ 1352501 h 2765205"/>
                <a:gd name="connsiteX2424" fmla="*/ 1375473 w 8566434"/>
                <a:gd name="connsiteY2424" fmla="*/ 1676033 h 2765205"/>
                <a:gd name="connsiteX2425" fmla="*/ 1379815 w 8566434"/>
                <a:gd name="connsiteY2425" fmla="*/ 1680306 h 2765205"/>
                <a:gd name="connsiteX2426" fmla="*/ 1383538 w 8566434"/>
                <a:gd name="connsiteY2426" fmla="*/ 1682856 h 2765205"/>
                <a:gd name="connsiteX2427" fmla="*/ 1373474 w 8566434"/>
                <a:gd name="connsiteY2427" fmla="*/ 1684235 h 2765205"/>
                <a:gd name="connsiteX2428" fmla="*/ 1351763 w 8566434"/>
                <a:gd name="connsiteY2428" fmla="*/ 1824428 h 2765205"/>
                <a:gd name="connsiteX2429" fmla="*/ 1368512 w 8566434"/>
                <a:gd name="connsiteY2429" fmla="*/ 1810919 h 2765205"/>
                <a:gd name="connsiteX2430" fmla="*/ 1385950 w 8566434"/>
                <a:gd name="connsiteY2430" fmla="*/ 1808506 h 2765205"/>
                <a:gd name="connsiteX2431" fmla="*/ 1382090 w 8566434"/>
                <a:gd name="connsiteY2431" fmla="*/ 1824083 h 2765205"/>
                <a:gd name="connsiteX2432" fmla="*/ 1458321 w 8566434"/>
                <a:gd name="connsiteY2432" fmla="*/ 1828839 h 2765205"/>
                <a:gd name="connsiteX2433" fmla="*/ 1472657 w 8566434"/>
                <a:gd name="connsiteY2433" fmla="*/ 1739513 h 2765205"/>
                <a:gd name="connsiteX2434" fmla="*/ 1472312 w 8566434"/>
                <a:gd name="connsiteY2434" fmla="*/ 1731724 h 2765205"/>
                <a:gd name="connsiteX2435" fmla="*/ 1497194 w 8566434"/>
                <a:gd name="connsiteY2435" fmla="*/ 1575886 h 2765205"/>
                <a:gd name="connsiteX2436" fmla="*/ 1483202 w 8566434"/>
                <a:gd name="connsiteY2436" fmla="*/ 1517162 h 2765205"/>
                <a:gd name="connsiteX2437" fmla="*/ 1485408 w 8566434"/>
                <a:gd name="connsiteY2437" fmla="*/ 1487042 h 2765205"/>
                <a:gd name="connsiteX2438" fmla="*/ 1510014 w 8566434"/>
                <a:gd name="connsiteY2438" fmla="*/ 1489592 h 2765205"/>
                <a:gd name="connsiteX2439" fmla="*/ 1516700 w 8566434"/>
                <a:gd name="connsiteY2439" fmla="*/ 1427146 h 2765205"/>
                <a:gd name="connsiteX2440" fmla="*/ 1500158 w 8566434"/>
                <a:gd name="connsiteY2440" fmla="*/ 1428663 h 2765205"/>
                <a:gd name="connsiteX2441" fmla="*/ 1520766 w 8566434"/>
                <a:gd name="connsiteY2441" fmla="*/ 1420805 h 2765205"/>
                <a:gd name="connsiteX2442" fmla="*/ 1542822 w 8566434"/>
                <a:gd name="connsiteY2442" fmla="*/ 1263588 h 2765205"/>
                <a:gd name="connsiteX2443" fmla="*/ 1526349 w 8566434"/>
                <a:gd name="connsiteY2443" fmla="*/ 1263037 h 2765205"/>
                <a:gd name="connsiteX2444" fmla="*/ 1519732 w 8566434"/>
                <a:gd name="connsiteY2444" fmla="*/ 1284059 h 2765205"/>
                <a:gd name="connsiteX2445" fmla="*/ 1497746 w 8566434"/>
                <a:gd name="connsiteY2445" fmla="*/ 1268895 h 2765205"/>
                <a:gd name="connsiteX2446" fmla="*/ 1488992 w 8566434"/>
                <a:gd name="connsiteY2446" fmla="*/ 1257247 h 2765205"/>
                <a:gd name="connsiteX2447" fmla="*/ 1472312 w 8566434"/>
                <a:gd name="connsiteY2447" fmla="*/ 1258901 h 2765205"/>
                <a:gd name="connsiteX2448" fmla="*/ 1510772 w 8566434"/>
                <a:gd name="connsiteY2448" fmla="*/ 1249665 h 2765205"/>
                <a:gd name="connsiteX2449" fmla="*/ 1521593 w 8566434"/>
                <a:gd name="connsiteY2449" fmla="*/ 1213411 h 2765205"/>
                <a:gd name="connsiteX2450" fmla="*/ 1518561 w 8566434"/>
                <a:gd name="connsiteY2450" fmla="*/ 1169368 h 2765205"/>
                <a:gd name="connsiteX2451" fmla="*/ 1527383 w 8566434"/>
                <a:gd name="connsiteY2451" fmla="*/ 1182326 h 2765205"/>
                <a:gd name="connsiteX2452" fmla="*/ 1524902 w 8566434"/>
                <a:gd name="connsiteY2452" fmla="*/ 1195973 h 2765205"/>
                <a:gd name="connsiteX2453" fmla="*/ 1517389 w 8566434"/>
                <a:gd name="connsiteY2453" fmla="*/ 1246771 h 2765205"/>
                <a:gd name="connsiteX2454" fmla="*/ 1535103 w 8566434"/>
                <a:gd name="connsiteY2454" fmla="*/ 1255731 h 2765205"/>
                <a:gd name="connsiteX2455" fmla="*/ 1544339 w 8566434"/>
                <a:gd name="connsiteY2455" fmla="*/ 1263450 h 2765205"/>
                <a:gd name="connsiteX2456" fmla="*/ 1577629 w 8566434"/>
                <a:gd name="connsiteY2456" fmla="*/ 1047854 h 2765205"/>
                <a:gd name="connsiteX2457" fmla="*/ 1543580 w 8566434"/>
                <a:gd name="connsiteY2457" fmla="*/ 1033656 h 2765205"/>
                <a:gd name="connsiteX2458" fmla="*/ 1572736 w 8566434"/>
                <a:gd name="connsiteY2458" fmla="*/ 1044063 h 2765205"/>
                <a:gd name="connsiteX2459" fmla="*/ 1597755 w 8566434"/>
                <a:gd name="connsiteY2459" fmla="*/ 912210 h 2765205"/>
                <a:gd name="connsiteX2460" fmla="*/ 1592655 w 8566434"/>
                <a:gd name="connsiteY2460" fmla="*/ 908420 h 2765205"/>
                <a:gd name="connsiteX2461" fmla="*/ 1574183 w 8566434"/>
                <a:gd name="connsiteY2461" fmla="*/ 886364 h 2765205"/>
                <a:gd name="connsiteX2462" fmla="*/ 1592517 w 8566434"/>
                <a:gd name="connsiteY2462" fmla="*/ 855554 h 2765205"/>
                <a:gd name="connsiteX2463" fmla="*/ 1611747 w 8566434"/>
                <a:gd name="connsiteY2463" fmla="*/ 887260 h 2765205"/>
                <a:gd name="connsiteX2464" fmla="*/ 1625118 w 8566434"/>
                <a:gd name="connsiteY2464" fmla="*/ 882297 h 2765205"/>
                <a:gd name="connsiteX2465" fmla="*/ 1625670 w 8566434"/>
                <a:gd name="connsiteY2465" fmla="*/ 891120 h 2765205"/>
                <a:gd name="connsiteX2466" fmla="*/ 1622982 w 8566434"/>
                <a:gd name="connsiteY2466" fmla="*/ 883813 h 2765205"/>
                <a:gd name="connsiteX2467" fmla="*/ 1608852 w 8566434"/>
                <a:gd name="connsiteY2467" fmla="*/ 893325 h 2765205"/>
                <a:gd name="connsiteX2468" fmla="*/ 1612574 w 8566434"/>
                <a:gd name="connsiteY2468" fmla="*/ 1174606 h 2765205"/>
                <a:gd name="connsiteX2469" fmla="*/ 1640351 w 8566434"/>
                <a:gd name="connsiteY2469" fmla="*/ 1172952 h 2765205"/>
                <a:gd name="connsiteX2470" fmla="*/ 1612643 w 8566434"/>
                <a:gd name="connsiteY2470" fmla="*/ 1178535 h 2765205"/>
                <a:gd name="connsiteX2471" fmla="*/ 1624360 w 8566434"/>
                <a:gd name="connsiteY2471" fmla="*/ 1629440 h 2765205"/>
                <a:gd name="connsiteX2472" fmla="*/ 1662406 w 8566434"/>
                <a:gd name="connsiteY2472" fmla="*/ 1627510 h 2765205"/>
                <a:gd name="connsiteX2473" fmla="*/ 1623051 w 8566434"/>
                <a:gd name="connsiteY2473" fmla="*/ 1633851 h 2765205"/>
                <a:gd name="connsiteX2474" fmla="*/ 1630150 w 8566434"/>
                <a:gd name="connsiteY2474" fmla="*/ 1652392 h 2765205"/>
                <a:gd name="connsiteX2475" fmla="*/ 1628220 w 8566434"/>
                <a:gd name="connsiteY2475" fmla="*/ 1796100 h 2765205"/>
                <a:gd name="connsiteX2476" fmla="*/ 1649035 w 8566434"/>
                <a:gd name="connsiteY2476" fmla="*/ 1789621 h 2765205"/>
                <a:gd name="connsiteX2477" fmla="*/ 1627186 w 8566434"/>
                <a:gd name="connsiteY2477" fmla="*/ 1815881 h 2765205"/>
                <a:gd name="connsiteX2478" fmla="*/ 1650551 w 8566434"/>
                <a:gd name="connsiteY2478" fmla="*/ 1814640 h 2765205"/>
                <a:gd name="connsiteX2479" fmla="*/ 1630839 w 8566434"/>
                <a:gd name="connsiteY2479" fmla="*/ 1818362 h 2765205"/>
                <a:gd name="connsiteX2480" fmla="*/ 1631046 w 8566434"/>
                <a:gd name="connsiteY2480" fmla="*/ 1839315 h 2765205"/>
                <a:gd name="connsiteX2481" fmla="*/ 1944997 w 8566434"/>
                <a:gd name="connsiteY2481" fmla="*/ 644645 h 2765205"/>
                <a:gd name="connsiteX2482" fmla="*/ 1954716 w 8566434"/>
                <a:gd name="connsiteY2482" fmla="*/ 635065 h 2765205"/>
                <a:gd name="connsiteX2483" fmla="*/ 1944997 w 8566434"/>
                <a:gd name="connsiteY2483" fmla="*/ 644645 h 2765205"/>
                <a:gd name="connsiteX2484" fmla="*/ 1952372 w 8566434"/>
                <a:gd name="connsiteY2484" fmla="*/ 685724 h 2765205"/>
                <a:gd name="connsiteX2485" fmla="*/ 1963607 w 8566434"/>
                <a:gd name="connsiteY2485" fmla="*/ 674076 h 2765205"/>
                <a:gd name="connsiteX2486" fmla="*/ 1952372 w 8566434"/>
                <a:gd name="connsiteY2486" fmla="*/ 685724 h 2765205"/>
                <a:gd name="connsiteX2487" fmla="*/ 2165970 w 8566434"/>
                <a:gd name="connsiteY2487" fmla="*/ 699371 h 2765205"/>
                <a:gd name="connsiteX2488" fmla="*/ 2165970 w 8566434"/>
                <a:gd name="connsiteY2488" fmla="*/ 699371 h 2765205"/>
                <a:gd name="connsiteX2489" fmla="*/ 1966571 w 8566434"/>
                <a:gd name="connsiteY2489" fmla="*/ 698751 h 2765205"/>
                <a:gd name="connsiteX2490" fmla="*/ 1966571 w 8566434"/>
                <a:gd name="connsiteY2490" fmla="*/ 698751 h 2765205"/>
                <a:gd name="connsiteX2491" fmla="*/ 1953062 w 8566434"/>
                <a:gd name="connsiteY2491" fmla="*/ 699509 h 2765205"/>
                <a:gd name="connsiteX2492" fmla="*/ 1953062 w 8566434"/>
                <a:gd name="connsiteY2492" fmla="*/ 699509 h 2765205"/>
                <a:gd name="connsiteX2493" fmla="*/ 1932384 w 8566434"/>
                <a:gd name="connsiteY2493" fmla="*/ 711709 h 2765205"/>
                <a:gd name="connsiteX2494" fmla="*/ 1932315 w 8566434"/>
                <a:gd name="connsiteY2494" fmla="*/ 688688 h 2765205"/>
                <a:gd name="connsiteX2495" fmla="*/ 1932384 w 8566434"/>
                <a:gd name="connsiteY2495" fmla="*/ 711709 h 2765205"/>
                <a:gd name="connsiteX2496" fmla="*/ 2145775 w 8566434"/>
                <a:gd name="connsiteY2496" fmla="*/ 726321 h 2765205"/>
                <a:gd name="connsiteX2497" fmla="*/ 2145775 w 8566434"/>
                <a:gd name="connsiteY2497" fmla="*/ 726321 h 2765205"/>
                <a:gd name="connsiteX2498" fmla="*/ 2160732 w 8566434"/>
                <a:gd name="connsiteY2498" fmla="*/ 802345 h 2765205"/>
                <a:gd name="connsiteX2499" fmla="*/ 2138538 w 8566434"/>
                <a:gd name="connsiteY2499" fmla="*/ 774568 h 2765205"/>
                <a:gd name="connsiteX2500" fmla="*/ 2154115 w 8566434"/>
                <a:gd name="connsiteY2500" fmla="*/ 745137 h 2765205"/>
                <a:gd name="connsiteX2501" fmla="*/ 2181960 w 8566434"/>
                <a:gd name="connsiteY2501" fmla="*/ 745689 h 2765205"/>
                <a:gd name="connsiteX2502" fmla="*/ 2183683 w 8566434"/>
                <a:gd name="connsiteY2502" fmla="*/ 753270 h 2765205"/>
                <a:gd name="connsiteX2503" fmla="*/ 2157423 w 8566434"/>
                <a:gd name="connsiteY2503" fmla="*/ 748721 h 2765205"/>
                <a:gd name="connsiteX2504" fmla="*/ 2165212 w 8566434"/>
                <a:gd name="connsiteY2504" fmla="*/ 802276 h 2765205"/>
                <a:gd name="connsiteX2505" fmla="*/ 2160732 w 8566434"/>
                <a:gd name="connsiteY2505" fmla="*/ 802345 h 2765205"/>
                <a:gd name="connsiteX2506" fmla="*/ 1931833 w 8566434"/>
                <a:gd name="connsiteY2506" fmla="*/ 817853 h 2765205"/>
                <a:gd name="connsiteX2507" fmla="*/ 1931833 w 8566434"/>
                <a:gd name="connsiteY2507" fmla="*/ 817853 h 2765205"/>
                <a:gd name="connsiteX2508" fmla="*/ 1955819 w 8566434"/>
                <a:gd name="connsiteY2508" fmla="*/ 819783 h 2765205"/>
                <a:gd name="connsiteX2509" fmla="*/ 1955336 w 8566434"/>
                <a:gd name="connsiteY2509" fmla="*/ 803723 h 2765205"/>
                <a:gd name="connsiteX2510" fmla="*/ 1980356 w 8566434"/>
                <a:gd name="connsiteY2510" fmla="*/ 789111 h 2765205"/>
                <a:gd name="connsiteX2511" fmla="*/ 1966226 w 8566434"/>
                <a:gd name="connsiteY2511" fmla="*/ 822126 h 2765205"/>
                <a:gd name="connsiteX2512" fmla="*/ 1955819 w 8566434"/>
                <a:gd name="connsiteY2512" fmla="*/ 819783 h 2765205"/>
                <a:gd name="connsiteX2513" fmla="*/ 2160869 w 8566434"/>
                <a:gd name="connsiteY2513" fmla="*/ 843217 h 2765205"/>
                <a:gd name="connsiteX2514" fmla="*/ 2172035 w 8566434"/>
                <a:gd name="connsiteY2514" fmla="*/ 828467 h 2765205"/>
                <a:gd name="connsiteX2515" fmla="*/ 2160869 w 8566434"/>
                <a:gd name="connsiteY2515" fmla="*/ 843217 h 2765205"/>
                <a:gd name="connsiteX2516" fmla="*/ 2173207 w 8566434"/>
                <a:gd name="connsiteY2516" fmla="*/ 886433 h 2765205"/>
                <a:gd name="connsiteX2517" fmla="*/ 2173207 w 8566434"/>
                <a:gd name="connsiteY2517" fmla="*/ 886433 h 2765205"/>
                <a:gd name="connsiteX2518" fmla="*/ 2050176 w 8566434"/>
                <a:gd name="connsiteY2518" fmla="*/ 955495 h 2765205"/>
                <a:gd name="connsiteX2519" fmla="*/ 2065684 w 8566434"/>
                <a:gd name="connsiteY2519" fmla="*/ 937506 h 2765205"/>
                <a:gd name="connsiteX2520" fmla="*/ 2050176 w 8566434"/>
                <a:gd name="connsiteY2520" fmla="*/ 955495 h 2765205"/>
                <a:gd name="connsiteX2521" fmla="*/ 2144879 w 8566434"/>
                <a:gd name="connsiteY2521" fmla="*/ 967005 h 2765205"/>
                <a:gd name="connsiteX2522" fmla="*/ 2144879 w 8566434"/>
                <a:gd name="connsiteY2522" fmla="*/ 967005 h 2765205"/>
                <a:gd name="connsiteX2523" fmla="*/ 2105385 w 8566434"/>
                <a:gd name="connsiteY2523" fmla="*/ 999331 h 2765205"/>
                <a:gd name="connsiteX2524" fmla="*/ 2070992 w 8566434"/>
                <a:gd name="connsiteY2524" fmla="*/ 1003880 h 2765205"/>
                <a:gd name="connsiteX2525" fmla="*/ 2054312 w 8566434"/>
                <a:gd name="connsiteY2525" fmla="*/ 989682 h 2765205"/>
                <a:gd name="connsiteX2526" fmla="*/ 2048453 w 8566434"/>
                <a:gd name="connsiteY2526" fmla="*/ 960320 h 2765205"/>
                <a:gd name="connsiteX2527" fmla="*/ 2084363 w 8566434"/>
                <a:gd name="connsiteY2527" fmla="*/ 987545 h 2765205"/>
                <a:gd name="connsiteX2528" fmla="*/ 2083605 w 8566434"/>
                <a:gd name="connsiteY2528" fmla="*/ 970934 h 2765205"/>
                <a:gd name="connsiteX2529" fmla="*/ 2087327 w 8566434"/>
                <a:gd name="connsiteY2529" fmla="*/ 971003 h 2765205"/>
                <a:gd name="connsiteX2530" fmla="*/ 2084156 w 8566434"/>
                <a:gd name="connsiteY2530" fmla="*/ 994782 h 2765205"/>
                <a:gd name="connsiteX2531" fmla="*/ 2110072 w 8566434"/>
                <a:gd name="connsiteY2531" fmla="*/ 993059 h 2765205"/>
                <a:gd name="connsiteX2532" fmla="*/ 2115793 w 8566434"/>
                <a:gd name="connsiteY2532" fmla="*/ 1011944 h 2765205"/>
                <a:gd name="connsiteX2533" fmla="*/ 2105385 w 8566434"/>
                <a:gd name="connsiteY2533" fmla="*/ 999331 h 2765205"/>
                <a:gd name="connsiteX2534" fmla="*/ 1930799 w 8566434"/>
                <a:gd name="connsiteY2534" fmla="*/ 1031795 h 2765205"/>
                <a:gd name="connsiteX2535" fmla="*/ 1938312 w 8566434"/>
                <a:gd name="connsiteY2535" fmla="*/ 974587 h 2765205"/>
                <a:gd name="connsiteX2536" fmla="*/ 1950167 w 8566434"/>
                <a:gd name="connsiteY2536" fmla="*/ 1008567 h 2765205"/>
                <a:gd name="connsiteX2537" fmla="*/ 1958300 w 8566434"/>
                <a:gd name="connsiteY2537" fmla="*/ 1008567 h 2765205"/>
                <a:gd name="connsiteX2538" fmla="*/ 1962366 w 8566434"/>
                <a:gd name="connsiteY2538" fmla="*/ 983479 h 2765205"/>
                <a:gd name="connsiteX2539" fmla="*/ 1951270 w 8566434"/>
                <a:gd name="connsiteY2539" fmla="*/ 1050473 h 2765205"/>
                <a:gd name="connsiteX2540" fmla="*/ 1930799 w 8566434"/>
                <a:gd name="connsiteY2540" fmla="*/ 1031795 h 2765205"/>
                <a:gd name="connsiteX2541" fmla="*/ 2056173 w 8566434"/>
                <a:gd name="connsiteY2541" fmla="*/ 1049508 h 2765205"/>
                <a:gd name="connsiteX2542" fmla="*/ 2060791 w 8566434"/>
                <a:gd name="connsiteY2542" fmla="*/ 1034414 h 2765205"/>
                <a:gd name="connsiteX2543" fmla="*/ 2056173 w 8566434"/>
                <a:gd name="connsiteY2543" fmla="*/ 1049508 h 2765205"/>
                <a:gd name="connsiteX2544" fmla="*/ 2133437 w 8566434"/>
                <a:gd name="connsiteY2544" fmla="*/ 1032622 h 2765205"/>
                <a:gd name="connsiteX2545" fmla="*/ 2148808 w 8566434"/>
                <a:gd name="connsiteY2545" fmla="*/ 1039376 h 2765205"/>
                <a:gd name="connsiteX2546" fmla="*/ 2147980 w 8566434"/>
                <a:gd name="connsiteY2546" fmla="*/ 1069634 h 2765205"/>
                <a:gd name="connsiteX2547" fmla="*/ 2133437 w 8566434"/>
                <a:gd name="connsiteY2547" fmla="*/ 1032622 h 2765205"/>
                <a:gd name="connsiteX2548" fmla="*/ 2112140 w 8566434"/>
                <a:gd name="connsiteY2548" fmla="*/ 1075700 h 2765205"/>
                <a:gd name="connsiteX2549" fmla="*/ 2111037 w 8566434"/>
                <a:gd name="connsiteY2549" fmla="*/ 1035448 h 2765205"/>
                <a:gd name="connsiteX2550" fmla="*/ 2112140 w 8566434"/>
                <a:gd name="connsiteY2550" fmla="*/ 1075700 h 2765205"/>
                <a:gd name="connsiteX2551" fmla="*/ 2117929 w 8566434"/>
                <a:gd name="connsiteY2551" fmla="*/ 1134561 h 2765205"/>
                <a:gd name="connsiteX2552" fmla="*/ 2117929 w 8566434"/>
                <a:gd name="connsiteY2552" fmla="*/ 1134561 h 2765205"/>
                <a:gd name="connsiteX2553" fmla="*/ 2111657 w 8566434"/>
                <a:gd name="connsiteY2553" fmla="*/ 1147312 h 2765205"/>
                <a:gd name="connsiteX2554" fmla="*/ 2111657 w 8566434"/>
                <a:gd name="connsiteY2554" fmla="*/ 1147312 h 2765205"/>
                <a:gd name="connsiteX2555" fmla="*/ 1952166 w 8566434"/>
                <a:gd name="connsiteY2555" fmla="*/ 1202659 h 2765205"/>
                <a:gd name="connsiteX2556" fmla="*/ 1952166 w 8566434"/>
                <a:gd name="connsiteY2556" fmla="*/ 1202659 h 2765205"/>
                <a:gd name="connsiteX2557" fmla="*/ 2090842 w 8566434"/>
                <a:gd name="connsiteY2557" fmla="*/ 1264829 h 2765205"/>
                <a:gd name="connsiteX2558" fmla="*/ 2099733 w 8566434"/>
                <a:gd name="connsiteY2558" fmla="*/ 1255524 h 2765205"/>
                <a:gd name="connsiteX2559" fmla="*/ 2090842 w 8566434"/>
                <a:gd name="connsiteY2559" fmla="*/ 1264829 h 2765205"/>
                <a:gd name="connsiteX2560" fmla="*/ 1958713 w 8566434"/>
                <a:gd name="connsiteY2560" fmla="*/ 1279096 h 2765205"/>
                <a:gd name="connsiteX2561" fmla="*/ 1958713 w 8566434"/>
                <a:gd name="connsiteY2561" fmla="*/ 1279096 h 2765205"/>
                <a:gd name="connsiteX2562" fmla="*/ 2075541 w 8566434"/>
                <a:gd name="connsiteY2562" fmla="*/ 1306252 h 2765205"/>
                <a:gd name="connsiteX2563" fmla="*/ 2075541 w 8566434"/>
                <a:gd name="connsiteY2563" fmla="*/ 1306252 h 2765205"/>
                <a:gd name="connsiteX2564" fmla="*/ 1918737 w 8566434"/>
                <a:gd name="connsiteY2564" fmla="*/ 1319072 h 2765205"/>
                <a:gd name="connsiteX2565" fmla="*/ 1918737 w 8566434"/>
                <a:gd name="connsiteY2565" fmla="*/ 1319072 h 2765205"/>
                <a:gd name="connsiteX2566" fmla="*/ 2069889 w 8566434"/>
                <a:gd name="connsiteY2566" fmla="*/ 1345746 h 2765205"/>
                <a:gd name="connsiteX2567" fmla="*/ 2080090 w 8566434"/>
                <a:gd name="connsiteY2567" fmla="*/ 1323070 h 2765205"/>
                <a:gd name="connsiteX2568" fmla="*/ 2069889 w 8566434"/>
                <a:gd name="connsiteY2568" fmla="*/ 1345746 h 2765205"/>
                <a:gd name="connsiteX2569" fmla="*/ 1925078 w 8566434"/>
                <a:gd name="connsiteY2569" fmla="*/ 1345884 h 2765205"/>
                <a:gd name="connsiteX2570" fmla="*/ 1929765 w 8566434"/>
                <a:gd name="connsiteY2570" fmla="*/ 1330790 h 2765205"/>
                <a:gd name="connsiteX2571" fmla="*/ 1925078 w 8566434"/>
                <a:gd name="connsiteY2571" fmla="*/ 1345884 h 2765205"/>
                <a:gd name="connsiteX2572" fmla="*/ 2107591 w 8566434"/>
                <a:gd name="connsiteY2572" fmla="*/ 1352915 h 2765205"/>
                <a:gd name="connsiteX2573" fmla="*/ 2094288 w 8566434"/>
                <a:gd name="connsiteY2573" fmla="*/ 1341818 h 2765205"/>
                <a:gd name="connsiteX2574" fmla="*/ 2093875 w 8566434"/>
                <a:gd name="connsiteY2574" fmla="*/ 1316936 h 2765205"/>
                <a:gd name="connsiteX2575" fmla="*/ 2122272 w 8566434"/>
                <a:gd name="connsiteY2575" fmla="*/ 1315833 h 2765205"/>
                <a:gd name="connsiteX2576" fmla="*/ 2121858 w 8566434"/>
                <a:gd name="connsiteY2576" fmla="*/ 1317763 h 2765205"/>
                <a:gd name="connsiteX2577" fmla="*/ 2094977 w 8566434"/>
                <a:gd name="connsiteY2577" fmla="*/ 1325000 h 2765205"/>
                <a:gd name="connsiteX2578" fmla="*/ 2107591 w 8566434"/>
                <a:gd name="connsiteY2578" fmla="*/ 1352915 h 2765205"/>
                <a:gd name="connsiteX2579" fmla="*/ 1960299 w 8566434"/>
                <a:gd name="connsiteY2579" fmla="*/ 1351329 h 2765205"/>
                <a:gd name="connsiteX2580" fmla="*/ 1959609 w 8566434"/>
                <a:gd name="connsiteY2580" fmla="*/ 1329411 h 2765205"/>
                <a:gd name="connsiteX2581" fmla="*/ 2002618 w 8566434"/>
                <a:gd name="connsiteY2581" fmla="*/ 1339957 h 2765205"/>
                <a:gd name="connsiteX2582" fmla="*/ 1997725 w 8566434"/>
                <a:gd name="connsiteY2582" fmla="*/ 1359187 h 2765205"/>
                <a:gd name="connsiteX2583" fmla="*/ 1960299 w 8566434"/>
                <a:gd name="connsiteY2583" fmla="*/ 1351329 h 2765205"/>
                <a:gd name="connsiteX2584" fmla="*/ 1942654 w 8566434"/>
                <a:gd name="connsiteY2584" fmla="*/ 1363942 h 2765205"/>
                <a:gd name="connsiteX2585" fmla="*/ 1978839 w 8566434"/>
                <a:gd name="connsiteY2585" fmla="*/ 1384551 h 2765205"/>
                <a:gd name="connsiteX2586" fmla="*/ 1942654 w 8566434"/>
                <a:gd name="connsiteY2586" fmla="*/ 1363942 h 2765205"/>
                <a:gd name="connsiteX2587" fmla="*/ 1932453 w 8566434"/>
                <a:gd name="connsiteY2587" fmla="*/ 1396682 h 2765205"/>
                <a:gd name="connsiteX2588" fmla="*/ 1943274 w 8566434"/>
                <a:gd name="connsiteY2588" fmla="*/ 1386550 h 2765205"/>
                <a:gd name="connsiteX2589" fmla="*/ 1932453 w 8566434"/>
                <a:gd name="connsiteY2589" fmla="*/ 1396682 h 2765205"/>
                <a:gd name="connsiteX2590" fmla="*/ 2043215 w 8566434"/>
                <a:gd name="connsiteY2590" fmla="*/ 1458369 h 2765205"/>
                <a:gd name="connsiteX2591" fmla="*/ 2043215 w 8566434"/>
                <a:gd name="connsiteY2591" fmla="*/ 1458369 h 2765205"/>
                <a:gd name="connsiteX2592" fmla="*/ 2055484 w 8566434"/>
                <a:gd name="connsiteY2592" fmla="*/ 1478495 h 2765205"/>
                <a:gd name="connsiteX2593" fmla="*/ 2073473 w 8566434"/>
                <a:gd name="connsiteY2593" fmla="*/ 1467605 h 2765205"/>
                <a:gd name="connsiteX2594" fmla="*/ 2055484 w 8566434"/>
                <a:gd name="connsiteY2594" fmla="*/ 1478495 h 2765205"/>
                <a:gd name="connsiteX2595" fmla="*/ 1937347 w 8566434"/>
                <a:gd name="connsiteY2595" fmla="*/ 1477323 h 2765205"/>
                <a:gd name="connsiteX2596" fmla="*/ 1937347 w 8566434"/>
                <a:gd name="connsiteY2596" fmla="*/ 1477323 h 2765205"/>
                <a:gd name="connsiteX2597" fmla="*/ 1961057 w 8566434"/>
                <a:gd name="connsiteY2597" fmla="*/ 1490212 h 2765205"/>
                <a:gd name="connsiteX2598" fmla="*/ 1959678 w 8566434"/>
                <a:gd name="connsiteY2598" fmla="*/ 1466847 h 2765205"/>
                <a:gd name="connsiteX2599" fmla="*/ 1982975 w 8566434"/>
                <a:gd name="connsiteY2599" fmla="*/ 1461057 h 2765205"/>
                <a:gd name="connsiteX2600" fmla="*/ 1978633 w 8566434"/>
                <a:gd name="connsiteY2600" fmla="*/ 1487042 h 2765205"/>
                <a:gd name="connsiteX2601" fmla="*/ 1961057 w 8566434"/>
                <a:gd name="connsiteY2601" fmla="*/ 1490212 h 2765205"/>
                <a:gd name="connsiteX2602" fmla="*/ 1952510 w 8566434"/>
                <a:gd name="connsiteY2602" fmla="*/ 1520263 h 2765205"/>
                <a:gd name="connsiteX2603" fmla="*/ 1964089 w 8566434"/>
                <a:gd name="connsiteY2603" fmla="*/ 1502550 h 2765205"/>
                <a:gd name="connsiteX2604" fmla="*/ 1952510 w 8566434"/>
                <a:gd name="connsiteY2604" fmla="*/ 1520263 h 2765205"/>
                <a:gd name="connsiteX2605" fmla="*/ 1932522 w 8566434"/>
                <a:gd name="connsiteY2605" fmla="*/ 1533566 h 2765205"/>
                <a:gd name="connsiteX2606" fmla="*/ 1932522 w 8566434"/>
                <a:gd name="connsiteY2606" fmla="*/ 1533566 h 2765205"/>
                <a:gd name="connsiteX2607" fmla="*/ 2015990 w 8566434"/>
                <a:gd name="connsiteY2607" fmla="*/ 1575265 h 2765205"/>
                <a:gd name="connsiteX2608" fmla="*/ 2012061 w 8566434"/>
                <a:gd name="connsiteY2608" fmla="*/ 1486284 h 2765205"/>
                <a:gd name="connsiteX2609" fmla="*/ 2007305 w 8566434"/>
                <a:gd name="connsiteY2609" fmla="*/ 1083626 h 2765205"/>
                <a:gd name="connsiteX2610" fmla="*/ 2081468 w 8566434"/>
                <a:gd name="connsiteY2610" fmla="*/ 1088864 h 2765205"/>
                <a:gd name="connsiteX2611" fmla="*/ 2058723 w 8566434"/>
                <a:gd name="connsiteY2611" fmla="*/ 1247735 h 2765205"/>
                <a:gd name="connsiteX2612" fmla="*/ 2066856 w 8566434"/>
                <a:gd name="connsiteY2612" fmla="*/ 1259315 h 2765205"/>
                <a:gd name="connsiteX2613" fmla="*/ 2064306 w 8566434"/>
                <a:gd name="connsiteY2613" fmla="*/ 1277028 h 2765205"/>
                <a:gd name="connsiteX2614" fmla="*/ 2055001 w 8566434"/>
                <a:gd name="connsiteY2614" fmla="*/ 1274271 h 2765205"/>
                <a:gd name="connsiteX2615" fmla="*/ 2053209 w 8566434"/>
                <a:gd name="connsiteY2615" fmla="*/ 1334167 h 2765205"/>
                <a:gd name="connsiteX2616" fmla="*/ 2042181 w 8566434"/>
                <a:gd name="connsiteY2616" fmla="*/ 1368767 h 2765205"/>
                <a:gd name="connsiteX2617" fmla="*/ 2016403 w 8566434"/>
                <a:gd name="connsiteY2617" fmla="*/ 1558034 h 2765205"/>
                <a:gd name="connsiteX2618" fmla="*/ 2027707 w 8566434"/>
                <a:gd name="connsiteY2618" fmla="*/ 1574369 h 2765205"/>
                <a:gd name="connsiteX2619" fmla="*/ 2015990 w 8566434"/>
                <a:gd name="connsiteY2619" fmla="*/ 1575265 h 2765205"/>
                <a:gd name="connsiteX2620" fmla="*/ 2058378 w 8566434"/>
                <a:gd name="connsiteY2620" fmla="*/ 1582847 h 2765205"/>
                <a:gd name="connsiteX2621" fmla="*/ 2060170 w 8566434"/>
                <a:gd name="connsiteY2621" fmla="*/ 1549005 h 2765205"/>
                <a:gd name="connsiteX2622" fmla="*/ 2074920 w 8566434"/>
                <a:gd name="connsiteY2622" fmla="*/ 1564030 h 2765205"/>
                <a:gd name="connsiteX2623" fmla="*/ 2058378 w 8566434"/>
                <a:gd name="connsiteY2623" fmla="*/ 1582847 h 2765205"/>
                <a:gd name="connsiteX2624" fmla="*/ 2083674 w 8566434"/>
                <a:gd name="connsiteY2624" fmla="*/ 1609521 h 2765205"/>
                <a:gd name="connsiteX2625" fmla="*/ 2083674 w 8566434"/>
                <a:gd name="connsiteY2625" fmla="*/ 1609521 h 2765205"/>
                <a:gd name="connsiteX2626" fmla="*/ 2050797 w 8566434"/>
                <a:gd name="connsiteY2626" fmla="*/ 1602835 h 2765205"/>
                <a:gd name="connsiteX2627" fmla="*/ 2026811 w 8566434"/>
                <a:gd name="connsiteY2627" fmla="*/ 1599802 h 2765205"/>
                <a:gd name="connsiteX2628" fmla="*/ 2051555 w 8566434"/>
                <a:gd name="connsiteY2628" fmla="*/ 1600836 h 2765205"/>
                <a:gd name="connsiteX2629" fmla="*/ 2061342 w 8566434"/>
                <a:gd name="connsiteY2629" fmla="*/ 1591256 h 2765205"/>
                <a:gd name="connsiteX2630" fmla="*/ 2058723 w 8566434"/>
                <a:gd name="connsiteY2630" fmla="*/ 1620342 h 2765205"/>
                <a:gd name="connsiteX2631" fmla="*/ 2050797 w 8566434"/>
                <a:gd name="connsiteY2631" fmla="*/ 1602835 h 2765205"/>
                <a:gd name="connsiteX2632" fmla="*/ 2042112 w 8566434"/>
                <a:gd name="connsiteY2632" fmla="*/ 1629647 h 2765205"/>
                <a:gd name="connsiteX2633" fmla="*/ 2042112 w 8566434"/>
                <a:gd name="connsiteY2633" fmla="*/ 1629647 h 2765205"/>
                <a:gd name="connsiteX2634" fmla="*/ 2048315 w 8566434"/>
                <a:gd name="connsiteY2634" fmla="*/ 1670519 h 2765205"/>
                <a:gd name="connsiteX2635" fmla="*/ 2048315 w 8566434"/>
                <a:gd name="connsiteY2635" fmla="*/ 1670519 h 2765205"/>
                <a:gd name="connsiteX2636" fmla="*/ 2055828 w 8566434"/>
                <a:gd name="connsiteY2636" fmla="*/ 1685269 h 2765205"/>
                <a:gd name="connsiteX2637" fmla="*/ 2055828 w 8566434"/>
                <a:gd name="connsiteY2637" fmla="*/ 1685269 h 2765205"/>
                <a:gd name="connsiteX2638" fmla="*/ 2034048 w 8566434"/>
                <a:gd name="connsiteY2638" fmla="*/ 1671415 h 2765205"/>
                <a:gd name="connsiteX2639" fmla="*/ 2032532 w 8566434"/>
                <a:gd name="connsiteY2639" fmla="*/ 1701122 h 2765205"/>
                <a:gd name="connsiteX2640" fmla="*/ 2034048 w 8566434"/>
                <a:gd name="connsiteY2640" fmla="*/ 1671415 h 2765205"/>
                <a:gd name="connsiteX2641" fmla="*/ 2042319 w 8566434"/>
                <a:gd name="connsiteY2641" fmla="*/ 1712425 h 2765205"/>
                <a:gd name="connsiteX2642" fmla="*/ 2042319 w 8566434"/>
                <a:gd name="connsiteY2642" fmla="*/ 1712425 h 2765205"/>
                <a:gd name="connsiteX2643" fmla="*/ 2014680 w 8566434"/>
                <a:gd name="connsiteY2643" fmla="*/ 1737238 h 2765205"/>
                <a:gd name="connsiteX2644" fmla="*/ 2034255 w 8566434"/>
                <a:gd name="connsiteY2644" fmla="*/ 1729243 h 2765205"/>
                <a:gd name="connsiteX2645" fmla="*/ 2014680 w 8566434"/>
                <a:gd name="connsiteY2645" fmla="*/ 1737238 h 2765205"/>
                <a:gd name="connsiteX2646" fmla="*/ 2014818 w 8566434"/>
                <a:gd name="connsiteY2646" fmla="*/ 1767703 h 2765205"/>
                <a:gd name="connsiteX2647" fmla="*/ 2025501 w 8566434"/>
                <a:gd name="connsiteY2647" fmla="*/ 1749782 h 2765205"/>
                <a:gd name="connsiteX2648" fmla="*/ 2014818 w 8566434"/>
                <a:gd name="connsiteY2648" fmla="*/ 1767703 h 2765205"/>
                <a:gd name="connsiteX2649" fmla="*/ 2029361 w 8566434"/>
                <a:gd name="connsiteY2649" fmla="*/ 1808851 h 2765205"/>
                <a:gd name="connsiteX2650" fmla="*/ 2028189 w 8566434"/>
                <a:gd name="connsiteY2650" fmla="*/ 1795480 h 2765205"/>
                <a:gd name="connsiteX2651" fmla="*/ 2029361 w 8566434"/>
                <a:gd name="connsiteY2651" fmla="*/ 1808851 h 2765205"/>
                <a:gd name="connsiteX2652" fmla="*/ 1925009 w 8566434"/>
                <a:gd name="connsiteY2652" fmla="*/ 1857649 h 2765205"/>
                <a:gd name="connsiteX2653" fmla="*/ 2066994 w 8566434"/>
                <a:gd name="connsiteY2653" fmla="*/ 1866127 h 2765205"/>
                <a:gd name="connsiteX2654" fmla="*/ 2073266 w 8566434"/>
                <a:gd name="connsiteY2654" fmla="*/ 1787553 h 2765205"/>
                <a:gd name="connsiteX2655" fmla="*/ 2057551 w 8566434"/>
                <a:gd name="connsiteY2655" fmla="*/ 1809678 h 2765205"/>
                <a:gd name="connsiteX2656" fmla="*/ 2050797 w 8566434"/>
                <a:gd name="connsiteY2656" fmla="*/ 1801683 h 2765205"/>
                <a:gd name="connsiteX2657" fmla="*/ 2051210 w 8566434"/>
                <a:gd name="connsiteY2657" fmla="*/ 1786381 h 2765205"/>
                <a:gd name="connsiteX2658" fmla="*/ 2076506 w 8566434"/>
                <a:gd name="connsiteY2658" fmla="*/ 1778386 h 2765205"/>
                <a:gd name="connsiteX2659" fmla="*/ 2087947 w 8566434"/>
                <a:gd name="connsiteY2659" fmla="*/ 1727726 h 2765205"/>
                <a:gd name="connsiteX2660" fmla="*/ 2056931 w 8566434"/>
                <a:gd name="connsiteY2660" fmla="*/ 1726900 h 2765205"/>
                <a:gd name="connsiteX2661" fmla="*/ 2051486 w 8566434"/>
                <a:gd name="connsiteY2661" fmla="*/ 1763981 h 2765205"/>
                <a:gd name="connsiteX2662" fmla="*/ 2065960 w 8566434"/>
                <a:gd name="connsiteY2662" fmla="*/ 1725521 h 2765205"/>
                <a:gd name="connsiteX2663" fmla="*/ 2056724 w 8566434"/>
                <a:gd name="connsiteY2663" fmla="*/ 1712081 h 2765205"/>
                <a:gd name="connsiteX2664" fmla="*/ 2089188 w 8566434"/>
                <a:gd name="connsiteY2664" fmla="*/ 1724900 h 2765205"/>
                <a:gd name="connsiteX2665" fmla="*/ 2100009 w 8566434"/>
                <a:gd name="connsiteY2665" fmla="*/ 1652943 h 2765205"/>
                <a:gd name="connsiteX2666" fmla="*/ 2134058 w 8566434"/>
                <a:gd name="connsiteY2666" fmla="*/ 1435831 h 2765205"/>
                <a:gd name="connsiteX2667" fmla="*/ 2121307 w 8566434"/>
                <a:gd name="connsiteY2667" fmla="*/ 1425147 h 2765205"/>
                <a:gd name="connsiteX2668" fmla="*/ 2119721 w 8566434"/>
                <a:gd name="connsiteY2668" fmla="*/ 1405228 h 2765205"/>
                <a:gd name="connsiteX2669" fmla="*/ 2137297 w 8566434"/>
                <a:gd name="connsiteY2669" fmla="*/ 1414326 h 2765205"/>
                <a:gd name="connsiteX2670" fmla="*/ 2149083 w 8566434"/>
                <a:gd name="connsiteY2670" fmla="*/ 1336166 h 2765205"/>
                <a:gd name="connsiteX2671" fmla="*/ 2134196 w 8566434"/>
                <a:gd name="connsiteY2671" fmla="*/ 1330238 h 2765205"/>
                <a:gd name="connsiteX2672" fmla="*/ 2131301 w 8566434"/>
                <a:gd name="connsiteY2672" fmla="*/ 1314523 h 2765205"/>
                <a:gd name="connsiteX2673" fmla="*/ 2145223 w 8566434"/>
                <a:gd name="connsiteY2673" fmla="*/ 1326103 h 2765205"/>
                <a:gd name="connsiteX2674" fmla="*/ 2149773 w 8566434"/>
                <a:gd name="connsiteY2674" fmla="*/ 1304047 h 2765205"/>
                <a:gd name="connsiteX2675" fmla="*/ 2164660 w 8566434"/>
                <a:gd name="connsiteY2675" fmla="*/ 1230918 h 2765205"/>
                <a:gd name="connsiteX2676" fmla="*/ 2149221 w 8566434"/>
                <a:gd name="connsiteY2676" fmla="*/ 1210930 h 2765205"/>
                <a:gd name="connsiteX2677" fmla="*/ 2168175 w 8566434"/>
                <a:gd name="connsiteY2677" fmla="*/ 1214789 h 2765205"/>
                <a:gd name="connsiteX2678" fmla="*/ 2183752 w 8566434"/>
                <a:gd name="connsiteY2678" fmla="*/ 1116572 h 2765205"/>
                <a:gd name="connsiteX2679" fmla="*/ 2156941 w 8566434"/>
                <a:gd name="connsiteY2679" fmla="*/ 1116848 h 2765205"/>
                <a:gd name="connsiteX2680" fmla="*/ 2143500 w 8566434"/>
                <a:gd name="connsiteY2680" fmla="*/ 1091414 h 2765205"/>
                <a:gd name="connsiteX2681" fmla="*/ 2123719 w 8566434"/>
                <a:gd name="connsiteY2681" fmla="*/ 1091552 h 2765205"/>
                <a:gd name="connsiteX2682" fmla="*/ 2136263 w 8566434"/>
                <a:gd name="connsiteY2682" fmla="*/ 1081007 h 2765205"/>
                <a:gd name="connsiteX2683" fmla="*/ 2159904 w 8566434"/>
                <a:gd name="connsiteY2683" fmla="*/ 1101822 h 2765205"/>
                <a:gd name="connsiteX2684" fmla="*/ 2181616 w 8566434"/>
                <a:gd name="connsiteY2684" fmla="*/ 1115262 h 2765205"/>
                <a:gd name="connsiteX2685" fmla="*/ 2200984 w 8566434"/>
                <a:gd name="connsiteY2685" fmla="*/ 955771 h 2765205"/>
                <a:gd name="connsiteX2686" fmla="*/ 2192575 w 8566434"/>
                <a:gd name="connsiteY2686" fmla="*/ 961560 h 2765205"/>
                <a:gd name="connsiteX2687" fmla="*/ 2187957 w 8566434"/>
                <a:gd name="connsiteY2687" fmla="*/ 973622 h 2765205"/>
                <a:gd name="connsiteX2688" fmla="*/ 2163420 w 8566434"/>
                <a:gd name="connsiteY2688" fmla="*/ 969969 h 2765205"/>
                <a:gd name="connsiteX2689" fmla="*/ 2155493 w 8566434"/>
                <a:gd name="connsiteY2689" fmla="*/ 1000158 h 2765205"/>
                <a:gd name="connsiteX2690" fmla="*/ 2123788 w 8566434"/>
                <a:gd name="connsiteY2690" fmla="*/ 991474 h 2765205"/>
                <a:gd name="connsiteX2691" fmla="*/ 2127303 w 8566434"/>
                <a:gd name="connsiteY2691" fmla="*/ 975139 h 2765205"/>
                <a:gd name="connsiteX2692" fmla="*/ 2116344 w 8566434"/>
                <a:gd name="connsiteY2692" fmla="*/ 959768 h 2765205"/>
                <a:gd name="connsiteX2693" fmla="*/ 2136953 w 8566434"/>
                <a:gd name="connsiteY2693" fmla="*/ 957976 h 2765205"/>
                <a:gd name="connsiteX2694" fmla="*/ 2131301 w 8566434"/>
                <a:gd name="connsiteY2694" fmla="*/ 990233 h 2765205"/>
                <a:gd name="connsiteX2695" fmla="*/ 2150531 w 8566434"/>
                <a:gd name="connsiteY2695" fmla="*/ 992783 h 2765205"/>
                <a:gd name="connsiteX2696" fmla="*/ 2160663 w 8566434"/>
                <a:gd name="connsiteY2696" fmla="*/ 968591 h 2765205"/>
                <a:gd name="connsiteX2697" fmla="*/ 2180582 w 8566434"/>
                <a:gd name="connsiteY2697" fmla="*/ 963490 h 2765205"/>
                <a:gd name="connsiteX2698" fmla="*/ 2145292 w 8566434"/>
                <a:gd name="connsiteY2698" fmla="*/ 944398 h 2765205"/>
                <a:gd name="connsiteX2699" fmla="*/ 2202155 w 8566434"/>
                <a:gd name="connsiteY2699" fmla="*/ 951222 h 2765205"/>
                <a:gd name="connsiteX2700" fmla="*/ 2203327 w 8566434"/>
                <a:gd name="connsiteY2700" fmla="*/ 932681 h 2765205"/>
                <a:gd name="connsiteX2701" fmla="*/ 2179203 w 8566434"/>
                <a:gd name="connsiteY2701" fmla="*/ 933026 h 2765205"/>
                <a:gd name="connsiteX2702" fmla="*/ 2185751 w 8566434"/>
                <a:gd name="connsiteY2702" fmla="*/ 922687 h 2765205"/>
                <a:gd name="connsiteX2703" fmla="*/ 2214424 w 8566434"/>
                <a:gd name="connsiteY2703" fmla="*/ 933508 h 2765205"/>
                <a:gd name="connsiteX2704" fmla="*/ 2208427 w 8566434"/>
                <a:gd name="connsiteY2704" fmla="*/ 909178 h 2765205"/>
                <a:gd name="connsiteX2705" fmla="*/ 2214493 w 8566434"/>
                <a:gd name="connsiteY2705" fmla="*/ 840667 h 2765205"/>
                <a:gd name="connsiteX2706" fmla="*/ 2224831 w 8566434"/>
                <a:gd name="connsiteY2706" fmla="*/ 844664 h 2765205"/>
                <a:gd name="connsiteX2707" fmla="*/ 2229518 w 8566434"/>
                <a:gd name="connsiteY2707" fmla="*/ 795659 h 2765205"/>
                <a:gd name="connsiteX2708" fmla="*/ 2213045 w 8566434"/>
                <a:gd name="connsiteY2708" fmla="*/ 783528 h 2765205"/>
                <a:gd name="connsiteX2709" fmla="*/ 2204154 w 8566434"/>
                <a:gd name="connsiteY2709" fmla="*/ 838116 h 2765205"/>
                <a:gd name="connsiteX2710" fmla="*/ 2185889 w 8566434"/>
                <a:gd name="connsiteY2710" fmla="*/ 804826 h 2765205"/>
                <a:gd name="connsiteX2711" fmla="*/ 2192506 w 8566434"/>
                <a:gd name="connsiteY2711" fmla="*/ 790490 h 2765205"/>
                <a:gd name="connsiteX2712" fmla="*/ 2188853 w 8566434"/>
                <a:gd name="connsiteY2712" fmla="*/ 778152 h 2765205"/>
                <a:gd name="connsiteX2713" fmla="*/ 2194711 w 8566434"/>
                <a:gd name="connsiteY2713" fmla="*/ 767744 h 2765205"/>
                <a:gd name="connsiteX2714" fmla="*/ 2203258 w 8566434"/>
                <a:gd name="connsiteY2714" fmla="*/ 745413 h 2765205"/>
                <a:gd name="connsiteX2715" fmla="*/ 2201604 w 8566434"/>
                <a:gd name="connsiteY2715" fmla="*/ 729560 h 2765205"/>
                <a:gd name="connsiteX2716" fmla="*/ 2204774 w 8566434"/>
                <a:gd name="connsiteY2716" fmla="*/ 728251 h 2765205"/>
                <a:gd name="connsiteX2717" fmla="*/ 2227037 w 8566434"/>
                <a:gd name="connsiteY2717" fmla="*/ 720738 h 2765205"/>
                <a:gd name="connsiteX2718" fmla="*/ 2237514 w 8566434"/>
                <a:gd name="connsiteY2718" fmla="*/ 715155 h 2765205"/>
                <a:gd name="connsiteX2719" fmla="*/ 2245647 w 8566434"/>
                <a:gd name="connsiteY2719" fmla="*/ 713018 h 2765205"/>
                <a:gd name="connsiteX2720" fmla="*/ 2241236 w 8566434"/>
                <a:gd name="connsiteY2720" fmla="*/ 697648 h 2765205"/>
                <a:gd name="connsiteX2721" fmla="*/ 2204499 w 8566434"/>
                <a:gd name="connsiteY2721" fmla="*/ 704127 h 2765205"/>
                <a:gd name="connsiteX2722" fmla="*/ 2186854 w 8566434"/>
                <a:gd name="connsiteY2722" fmla="*/ 699716 h 2765205"/>
                <a:gd name="connsiteX2723" fmla="*/ 2186578 w 8566434"/>
                <a:gd name="connsiteY2723" fmla="*/ 691583 h 2765205"/>
                <a:gd name="connsiteX2724" fmla="*/ 2216078 w 8566434"/>
                <a:gd name="connsiteY2724" fmla="*/ 690549 h 2765205"/>
                <a:gd name="connsiteX2725" fmla="*/ 2217250 w 8566434"/>
                <a:gd name="connsiteY2725" fmla="*/ 685517 h 2765205"/>
                <a:gd name="connsiteX2726" fmla="*/ 2237927 w 8566434"/>
                <a:gd name="connsiteY2726" fmla="*/ 669044 h 2765205"/>
                <a:gd name="connsiteX2727" fmla="*/ 2254469 w 8566434"/>
                <a:gd name="connsiteY2727" fmla="*/ 671250 h 2765205"/>
                <a:gd name="connsiteX2728" fmla="*/ 2252884 w 8566434"/>
                <a:gd name="connsiteY2728" fmla="*/ 650159 h 2765205"/>
                <a:gd name="connsiteX2729" fmla="*/ 2208496 w 8566434"/>
                <a:gd name="connsiteY2729" fmla="*/ 668148 h 2765205"/>
                <a:gd name="connsiteX2730" fmla="*/ 2206222 w 8566434"/>
                <a:gd name="connsiteY2730" fmla="*/ 646230 h 2765205"/>
                <a:gd name="connsiteX2731" fmla="*/ 2195263 w 8566434"/>
                <a:gd name="connsiteY2731" fmla="*/ 636512 h 2765205"/>
                <a:gd name="connsiteX2732" fmla="*/ 2194160 w 8566434"/>
                <a:gd name="connsiteY2732" fmla="*/ 621073 h 2765205"/>
                <a:gd name="connsiteX2733" fmla="*/ 2178238 w 8566434"/>
                <a:gd name="connsiteY2733" fmla="*/ 636925 h 2765205"/>
                <a:gd name="connsiteX2734" fmla="*/ 2181271 w 8566434"/>
                <a:gd name="connsiteY2734" fmla="*/ 620108 h 2765205"/>
                <a:gd name="connsiteX2735" fmla="*/ 2151427 w 8566434"/>
                <a:gd name="connsiteY2735" fmla="*/ 621555 h 2765205"/>
                <a:gd name="connsiteX2736" fmla="*/ 2140399 w 8566434"/>
                <a:gd name="connsiteY2736" fmla="*/ 684759 h 2765205"/>
                <a:gd name="connsiteX2737" fmla="*/ 2152530 w 8566434"/>
                <a:gd name="connsiteY2737" fmla="*/ 699647 h 2765205"/>
                <a:gd name="connsiteX2738" fmla="*/ 2156665 w 8566434"/>
                <a:gd name="connsiteY2738" fmla="*/ 687792 h 2765205"/>
                <a:gd name="connsiteX2739" fmla="*/ 2156665 w 8566434"/>
                <a:gd name="connsiteY2739" fmla="*/ 700060 h 2765205"/>
                <a:gd name="connsiteX2740" fmla="*/ 2138262 w 8566434"/>
                <a:gd name="connsiteY2740" fmla="*/ 698337 h 2765205"/>
                <a:gd name="connsiteX2741" fmla="*/ 2121100 w 8566434"/>
                <a:gd name="connsiteY2741" fmla="*/ 802276 h 2765205"/>
                <a:gd name="connsiteX2742" fmla="*/ 2134471 w 8566434"/>
                <a:gd name="connsiteY2742" fmla="*/ 816819 h 2765205"/>
                <a:gd name="connsiteX2743" fmla="*/ 2119859 w 8566434"/>
                <a:gd name="connsiteY2743" fmla="*/ 819300 h 2765205"/>
                <a:gd name="connsiteX2744" fmla="*/ 2108900 w 8566434"/>
                <a:gd name="connsiteY2744" fmla="*/ 905387 h 2765205"/>
                <a:gd name="connsiteX2745" fmla="*/ 2001653 w 8566434"/>
                <a:gd name="connsiteY2745" fmla="*/ 898908 h 2765205"/>
                <a:gd name="connsiteX2746" fmla="*/ 1998483 w 8566434"/>
                <a:gd name="connsiteY2746" fmla="*/ 786905 h 2765205"/>
                <a:gd name="connsiteX2747" fmla="*/ 1986421 w 8566434"/>
                <a:gd name="connsiteY2747" fmla="*/ 790283 h 2765205"/>
                <a:gd name="connsiteX2748" fmla="*/ 1999379 w 8566434"/>
                <a:gd name="connsiteY2748" fmla="*/ 736177 h 2765205"/>
                <a:gd name="connsiteX2749" fmla="*/ 1964434 w 8566434"/>
                <a:gd name="connsiteY2749" fmla="*/ 738107 h 2765205"/>
                <a:gd name="connsiteX2750" fmla="*/ 1960299 w 8566434"/>
                <a:gd name="connsiteY2750" fmla="*/ 778290 h 2765205"/>
                <a:gd name="connsiteX2751" fmla="*/ 1951338 w 8566434"/>
                <a:gd name="connsiteY2751" fmla="*/ 741208 h 2765205"/>
                <a:gd name="connsiteX2752" fmla="*/ 1938794 w 8566434"/>
                <a:gd name="connsiteY2752" fmla="*/ 752374 h 2765205"/>
                <a:gd name="connsiteX2753" fmla="*/ 1925767 w 8566434"/>
                <a:gd name="connsiteY2753" fmla="*/ 747412 h 2765205"/>
                <a:gd name="connsiteX2754" fmla="*/ 1952166 w 8566434"/>
                <a:gd name="connsiteY2754" fmla="*/ 722116 h 2765205"/>
                <a:gd name="connsiteX2755" fmla="*/ 1997380 w 8566434"/>
                <a:gd name="connsiteY2755" fmla="*/ 735763 h 2765205"/>
                <a:gd name="connsiteX2756" fmla="*/ 1995657 w 8566434"/>
                <a:gd name="connsiteY2756" fmla="*/ 629206 h 2765205"/>
                <a:gd name="connsiteX2757" fmla="*/ 1987110 w 8566434"/>
                <a:gd name="connsiteY2757" fmla="*/ 621417 h 2765205"/>
                <a:gd name="connsiteX2758" fmla="*/ 1998552 w 8566434"/>
                <a:gd name="connsiteY2758" fmla="*/ 620384 h 2765205"/>
                <a:gd name="connsiteX2759" fmla="*/ 1973463 w 8566434"/>
                <a:gd name="connsiteY2759" fmla="*/ 608253 h 2765205"/>
                <a:gd name="connsiteX2760" fmla="*/ 1960712 w 8566434"/>
                <a:gd name="connsiteY2760" fmla="*/ 633686 h 2765205"/>
                <a:gd name="connsiteX2761" fmla="*/ 1960574 w 8566434"/>
                <a:gd name="connsiteY2761" fmla="*/ 608253 h 2765205"/>
                <a:gd name="connsiteX2762" fmla="*/ 1950443 w 8566434"/>
                <a:gd name="connsiteY2762" fmla="*/ 607081 h 2765205"/>
                <a:gd name="connsiteX2763" fmla="*/ 1945962 w 8566434"/>
                <a:gd name="connsiteY2763" fmla="*/ 620177 h 2765205"/>
                <a:gd name="connsiteX2764" fmla="*/ 1946238 w 8566434"/>
                <a:gd name="connsiteY2764" fmla="*/ 603910 h 2765205"/>
                <a:gd name="connsiteX2765" fmla="*/ 1931833 w 8566434"/>
                <a:gd name="connsiteY2765" fmla="*/ 616248 h 2765205"/>
                <a:gd name="connsiteX2766" fmla="*/ 1935210 w 8566434"/>
                <a:gd name="connsiteY2766" fmla="*/ 605978 h 2765205"/>
                <a:gd name="connsiteX2767" fmla="*/ 1886894 w 8566434"/>
                <a:gd name="connsiteY2767" fmla="*/ 603704 h 2765205"/>
                <a:gd name="connsiteX2768" fmla="*/ 1900334 w 8566434"/>
                <a:gd name="connsiteY2768" fmla="*/ 1010842 h 2765205"/>
                <a:gd name="connsiteX2769" fmla="*/ 1903712 w 8566434"/>
                <a:gd name="connsiteY2769" fmla="*/ 1089967 h 2765205"/>
                <a:gd name="connsiteX2770" fmla="*/ 1952924 w 8566434"/>
                <a:gd name="connsiteY2770" fmla="*/ 1105889 h 2765205"/>
                <a:gd name="connsiteX2771" fmla="*/ 1952510 w 8566434"/>
                <a:gd name="connsiteY2771" fmla="*/ 1126153 h 2765205"/>
                <a:gd name="connsiteX2772" fmla="*/ 1931557 w 8566434"/>
                <a:gd name="connsiteY2772" fmla="*/ 1113608 h 2765205"/>
                <a:gd name="connsiteX2773" fmla="*/ 1924940 w 8566434"/>
                <a:gd name="connsiteY2773" fmla="*/ 1097687 h 2765205"/>
                <a:gd name="connsiteX2774" fmla="*/ 1901782 w 8566434"/>
                <a:gd name="connsiteY2774" fmla="*/ 1099617 h 2765205"/>
                <a:gd name="connsiteX2775" fmla="*/ 1903367 w 8566434"/>
                <a:gd name="connsiteY2775" fmla="*/ 1134148 h 2765205"/>
                <a:gd name="connsiteX2776" fmla="*/ 1919633 w 8566434"/>
                <a:gd name="connsiteY2776" fmla="*/ 1154136 h 2765205"/>
                <a:gd name="connsiteX2777" fmla="*/ 1903229 w 8566434"/>
                <a:gd name="connsiteY2777" fmla="*/ 1152895 h 2765205"/>
                <a:gd name="connsiteX2778" fmla="*/ 1905297 w 8566434"/>
                <a:gd name="connsiteY2778" fmla="*/ 1203486 h 2765205"/>
                <a:gd name="connsiteX2779" fmla="*/ 1913154 w 8566434"/>
                <a:gd name="connsiteY2779" fmla="*/ 1474842 h 2765205"/>
                <a:gd name="connsiteX2780" fmla="*/ 1923700 w 8566434"/>
                <a:gd name="connsiteY2780" fmla="*/ 1474980 h 2765205"/>
                <a:gd name="connsiteX2781" fmla="*/ 1919013 w 8566434"/>
                <a:gd name="connsiteY2781" fmla="*/ 1503170 h 2765205"/>
                <a:gd name="connsiteX2782" fmla="*/ 1927559 w 8566434"/>
                <a:gd name="connsiteY2782" fmla="*/ 1546248 h 2765205"/>
                <a:gd name="connsiteX2783" fmla="*/ 1916187 w 8566434"/>
                <a:gd name="connsiteY2783" fmla="*/ 1569062 h 2765205"/>
                <a:gd name="connsiteX2784" fmla="*/ 1925009 w 8566434"/>
                <a:gd name="connsiteY2784" fmla="*/ 1857649 h 2765205"/>
                <a:gd name="connsiteX2785" fmla="*/ 2461656 w 8566434"/>
                <a:gd name="connsiteY2785" fmla="*/ 712811 h 2765205"/>
                <a:gd name="connsiteX2786" fmla="*/ 2461656 w 8566434"/>
                <a:gd name="connsiteY2786" fmla="*/ 712811 h 2765205"/>
                <a:gd name="connsiteX2787" fmla="*/ 2469169 w 8566434"/>
                <a:gd name="connsiteY2787" fmla="*/ 810271 h 2765205"/>
                <a:gd name="connsiteX2788" fmla="*/ 2471099 w 8566434"/>
                <a:gd name="connsiteY2788" fmla="*/ 762506 h 2765205"/>
                <a:gd name="connsiteX2789" fmla="*/ 2476406 w 8566434"/>
                <a:gd name="connsiteY2789" fmla="*/ 789180 h 2765205"/>
                <a:gd name="connsiteX2790" fmla="*/ 2473236 w 8566434"/>
                <a:gd name="connsiteY2790" fmla="*/ 811029 h 2765205"/>
                <a:gd name="connsiteX2791" fmla="*/ 2469169 w 8566434"/>
                <a:gd name="connsiteY2791" fmla="*/ 810271 h 2765205"/>
                <a:gd name="connsiteX2792" fmla="*/ 2460967 w 8566434"/>
                <a:gd name="connsiteY2792" fmla="*/ 877679 h 2765205"/>
                <a:gd name="connsiteX2793" fmla="*/ 2469031 w 8566434"/>
                <a:gd name="connsiteY2793" fmla="*/ 851626 h 2765205"/>
                <a:gd name="connsiteX2794" fmla="*/ 2460967 w 8566434"/>
                <a:gd name="connsiteY2794" fmla="*/ 877679 h 2765205"/>
                <a:gd name="connsiteX2795" fmla="*/ 2455936 w 8566434"/>
                <a:gd name="connsiteY2795" fmla="*/ 906559 h 2765205"/>
                <a:gd name="connsiteX2796" fmla="*/ 2467239 w 8566434"/>
                <a:gd name="connsiteY2796" fmla="*/ 894428 h 2765205"/>
                <a:gd name="connsiteX2797" fmla="*/ 2455936 w 8566434"/>
                <a:gd name="connsiteY2797" fmla="*/ 906559 h 2765205"/>
                <a:gd name="connsiteX2798" fmla="*/ 2456349 w 8566434"/>
                <a:gd name="connsiteY2798" fmla="*/ 928270 h 2765205"/>
                <a:gd name="connsiteX2799" fmla="*/ 2456349 w 8566434"/>
                <a:gd name="connsiteY2799" fmla="*/ 928270 h 2765205"/>
                <a:gd name="connsiteX2800" fmla="*/ 2435327 w 8566434"/>
                <a:gd name="connsiteY2800" fmla="*/ 988648 h 2765205"/>
                <a:gd name="connsiteX2801" fmla="*/ 2444219 w 8566434"/>
                <a:gd name="connsiteY2801" fmla="*/ 977551 h 2765205"/>
                <a:gd name="connsiteX2802" fmla="*/ 2443805 w 8566434"/>
                <a:gd name="connsiteY2802" fmla="*/ 956046 h 2765205"/>
                <a:gd name="connsiteX2803" fmla="*/ 2448561 w 8566434"/>
                <a:gd name="connsiteY2803" fmla="*/ 971210 h 2765205"/>
                <a:gd name="connsiteX2804" fmla="*/ 2456694 w 8566434"/>
                <a:gd name="connsiteY2804" fmla="*/ 964524 h 2765205"/>
                <a:gd name="connsiteX2805" fmla="*/ 2466550 w 8566434"/>
                <a:gd name="connsiteY2805" fmla="*/ 981824 h 2765205"/>
                <a:gd name="connsiteX2806" fmla="*/ 2435327 w 8566434"/>
                <a:gd name="connsiteY2806" fmla="*/ 988648 h 2765205"/>
                <a:gd name="connsiteX2807" fmla="*/ 2448630 w 8566434"/>
                <a:gd name="connsiteY2807" fmla="*/ 1050542 h 2765205"/>
                <a:gd name="connsiteX2808" fmla="*/ 2458210 w 8566434"/>
                <a:gd name="connsiteY2808" fmla="*/ 1039376 h 2765205"/>
                <a:gd name="connsiteX2809" fmla="*/ 2448630 w 8566434"/>
                <a:gd name="connsiteY2809" fmla="*/ 1050542 h 2765205"/>
                <a:gd name="connsiteX2810" fmla="*/ 2421956 w 8566434"/>
                <a:gd name="connsiteY2810" fmla="*/ 1201142 h 2765205"/>
                <a:gd name="connsiteX2811" fmla="*/ 2425609 w 8566434"/>
                <a:gd name="connsiteY2811" fmla="*/ 1179293 h 2765205"/>
                <a:gd name="connsiteX2812" fmla="*/ 2421956 w 8566434"/>
                <a:gd name="connsiteY2812" fmla="*/ 1201142 h 2765205"/>
                <a:gd name="connsiteX2813" fmla="*/ 2428090 w 8566434"/>
                <a:gd name="connsiteY2813" fmla="*/ 1223405 h 2765205"/>
                <a:gd name="connsiteX2814" fmla="*/ 2437326 w 8566434"/>
                <a:gd name="connsiteY2814" fmla="*/ 1214031 h 2765205"/>
                <a:gd name="connsiteX2815" fmla="*/ 2428090 w 8566434"/>
                <a:gd name="connsiteY2815" fmla="*/ 1223405 h 2765205"/>
                <a:gd name="connsiteX2816" fmla="*/ 2469721 w 8566434"/>
                <a:gd name="connsiteY2816" fmla="*/ 1228574 h 2765205"/>
                <a:gd name="connsiteX2817" fmla="*/ 2473856 w 8566434"/>
                <a:gd name="connsiteY2817" fmla="*/ 1213962 h 2765205"/>
                <a:gd name="connsiteX2818" fmla="*/ 2469721 w 8566434"/>
                <a:gd name="connsiteY2818" fmla="*/ 1228574 h 2765205"/>
                <a:gd name="connsiteX2819" fmla="*/ 2434431 w 8566434"/>
                <a:gd name="connsiteY2819" fmla="*/ 1249872 h 2765205"/>
                <a:gd name="connsiteX2820" fmla="*/ 2434431 w 8566434"/>
                <a:gd name="connsiteY2820" fmla="*/ 1249872 h 2765205"/>
                <a:gd name="connsiteX2821" fmla="*/ 2470065 w 8566434"/>
                <a:gd name="connsiteY2821" fmla="*/ 1326379 h 2765205"/>
                <a:gd name="connsiteX2822" fmla="*/ 2455315 w 8566434"/>
                <a:gd name="connsiteY2822" fmla="*/ 1309078 h 2765205"/>
                <a:gd name="connsiteX2823" fmla="*/ 2470065 w 8566434"/>
                <a:gd name="connsiteY2823" fmla="*/ 1326379 h 2765205"/>
                <a:gd name="connsiteX2824" fmla="*/ 2483712 w 8566434"/>
                <a:gd name="connsiteY2824" fmla="*/ 1340232 h 2765205"/>
                <a:gd name="connsiteX2825" fmla="*/ 2488055 w 8566434"/>
                <a:gd name="connsiteY2825" fmla="*/ 1324586 h 2765205"/>
                <a:gd name="connsiteX2826" fmla="*/ 2483712 w 8566434"/>
                <a:gd name="connsiteY2826" fmla="*/ 1340232 h 2765205"/>
                <a:gd name="connsiteX2827" fmla="*/ 2447872 w 8566434"/>
                <a:gd name="connsiteY2827" fmla="*/ 1346849 h 2765205"/>
                <a:gd name="connsiteX2828" fmla="*/ 2447872 w 8566434"/>
                <a:gd name="connsiteY2828" fmla="*/ 1346849 h 2765205"/>
                <a:gd name="connsiteX2829" fmla="*/ 2484953 w 8566434"/>
                <a:gd name="connsiteY2829" fmla="*/ 1381105 h 2765205"/>
                <a:gd name="connsiteX2830" fmla="*/ 2480680 w 8566434"/>
                <a:gd name="connsiteY2830" fmla="*/ 1364770 h 2765205"/>
                <a:gd name="connsiteX2831" fmla="*/ 2484953 w 8566434"/>
                <a:gd name="connsiteY2831" fmla="*/ 1381105 h 2765205"/>
                <a:gd name="connsiteX2832" fmla="*/ 2420784 w 8566434"/>
                <a:gd name="connsiteY2832" fmla="*/ 1402058 h 2765205"/>
                <a:gd name="connsiteX2833" fmla="*/ 2420784 w 8566434"/>
                <a:gd name="connsiteY2833" fmla="*/ 1402058 h 2765205"/>
                <a:gd name="connsiteX2834" fmla="*/ 2421473 w 8566434"/>
                <a:gd name="connsiteY2834" fmla="*/ 1450581 h 2765205"/>
                <a:gd name="connsiteX2835" fmla="*/ 2421473 w 8566434"/>
                <a:gd name="connsiteY2835" fmla="*/ 1450581 h 2765205"/>
                <a:gd name="connsiteX2836" fmla="*/ 2448423 w 8566434"/>
                <a:gd name="connsiteY2836" fmla="*/ 1533979 h 2765205"/>
                <a:gd name="connsiteX2837" fmla="*/ 2457107 w 8566434"/>
                <a:gd name="connsiteY2837" fmla="*/ 1514818 h 2765205"/>
                <a:gd name="connsiteX2838" fmla="*/ 2448423 w 8566434"/>
                <a:gd name="connsiteY2838" fmla="*/ 1533979 h 2765205"/>
                <a:gd name="connsiteX2839" fmla="*/ 2407688 w 8566434"/>
                <a:gd name="connsiteY2839" fmla="*/ 1538804 h 2765205"/>
                <a:gd name="connsiteX2840" fmla="*/ 2423403 w 8566434"/>
                <a:gd name="connsiteY2840" fmla="*/ 1522262 h 2765205"/>
                <a:gd name="connsiteX2841" fmla="*/ 2407688 w 8566434"/>
                <a:gd name="connsiteY2841" fmla="*/ 1538804 h 2765205"/>
                <a:gd name="connsiteX2842" fmla="*/ 2422300 w 8566434"/>
                <a:gd name="connsiteY2842" fmla="*/ 1601525 h 2765205"/>
                <a:gd name="connsiteX2843" fmla="*/ 2422300 w 8566434"/>
                <a:gd name="connsiteY2843" fmla="*/ 1601525 h 2765205"/>
                <a:gd name="connsiteX2844" fmla="*/ 2462690 w 8566434"/>
                <a:gd name="connsiteY2844" fmla="*/ 1608487 h 2765205"/>
                <a:gd name="connsiteX2845" fmla="*/ 2462690 w 8566434"/>
                <a:gd name="connsiteY2845" fmla="*/ 1608487 h 2765205"/>
                <a:gd name="connsiteX2846" fmla="*/ 2420302 w 8566434"/>
                <a:gd name="connsiteY2846" fmla="*/ 1623099 h 2765205"/>
                <a:gd name="connsiteX2847" fmla="*/ 2420302 w 8566434"/>
                <a:gd name="connsiteY2847" fmla="*/ 1623099 h 2765205"/>
                <a:gd name="connsiteX2848" fmla="*/ 2438291 w 8566434"/>
                <a:gd name="connsiteY2848" fmla="*/ 1618964 h 2765205"/>
                <a:gd name="connsiteX2849" fmla="*/ 2443943 w 8566434"/>
                <a:gd name="connsiteY2849" fmla="*/ 1611933 h 2765205"/>
                <a:gd name="connsiteX2850" fmla="*/ 2446700 w 8566434"/>
                <a:gd name="connsiteY2850" fmla="*/ 1644535 h 2765205"/>
                <a:gd name="connsiteX2851" fmla="*/ 2436430 w 8566434"/>
                <a:gd name="connsiteY2851" fmla="*/ 1665143 h 2765205"/>
                <a:gd name="connsiteX2852" fmla="*/ 2438291 w 8566434"/>
                <a:gd name="connsiteY2852" fmla="*/ 1618964 h 2765205"/>
                <a:gd name="connsiteX2853" fmla="*/ 2414305 w 8566434"/>
                <a:gd name="connsiteY2853" fmla="*/ 1665212 h 2765205"/>
                <a:gd name="connsiteX2854" fmla="*/ 2413961 w 8566434"/>
                <a:gd name="connsiteY2854" fmla="*/ 1651151 h 2765205"/>
                <a:gd name="connsiteX2855" fmla="*/ 2414305 w 8566434"/>
                <a:gd name="connsiteY2855" fmla="*/ 1665212 h 2765205"/>
                <a:gd name="connsiteX2856" fmla="*/ 2393007 w 8566434"/>
                <a:gd name="connsiteY2856" fmla="*/ 1672242 h 2765205"/>
                <a:gd name="connsiteX2857" fmla="*/ 2392180 w 8566434"/>
                <a:gd name="connsiteY2857" fmla="*/ 1638814 h 2765205"/>
                <a:gd name="connsiteX2858" fmla="*/ 2393007 w 8566434"/>
                <a:gd name="connsiteY2858" fmla="*/ 1672242 h 2765205"/>
                <a:gd name="connsiteX2859" fmla="*/ 2434845 w 8566434"/>
                <a:gd name="connsiteY2859" fmla="*/ 1704912 h 2765205"/>
                <a:gd name="connsiteX2860" fmla="*/ 2446424 w 8566434"/>
                <a:gd name="connsiteY2860" fmla="*/ 1693747 h 2765205"/>
                <a:gd name="connsiteX2861" fmla="*/ 2434845 w 8566434"/>
                <a:gd name="connsiteY2861" fmla="*/ 1704912 h 2765205"/>
                <a:gd name="connsiteX2862" fmla="*/ 2338695 w 8566434"/>
                <a:gd name="connsiteY2862" fmla="*/ 1705395 h 2765205"/>
                <a:gd name="connsiteX2863" fmla="*/ 2338695 w 8566434"/>
                <a:gd name="connsiteY2863" fmla="*/ 1705395 h 2765205"/>
                <a:gd name="connsiteX2864" fmla="*/ 2427332 w 8566434"/>
                <a:gd name="connsiteY2864" fmla="*/ 1726555 h 2765205"/>
                <a:gd name="connsiteX2865" fmla="*/ 2427332 w 8566434"/>
                <a:gd name="connsiteY2865" fmla="*/ 1726555 h 2765205"/>
                <a:gd name="connsiteX2866" fmla="*/ 2516727 w 8566434"/>
                <a:gd name="connsiteY2866" fmla="*/ 1733309 h 2765205"/>
                <a:gd name="connsiteX2867" fmla="*/ 2516727 w 8566434"/>
                <a:gd name="connsiteY2867" fmla="*/ 1733309 h 2765205"/>
                <a:gd name="connsiteX2868" fmla="*/ 2401347 w 8566434"/>
                <a:gd name="connsiteY2868" fmla="*/ 1740753 h 2765205"/>
                <a:gd name="connsiteX2869" fmla="*/ 2396798 w 8566434"/>
                <a:gd name="connsiteY2869" fmla="*/ 1722419 h 2765205"/>
                <a:gd name="connsiteX2870" fmla="*/ 2401347 w 8566434"/>
                <a:gd name="connsiteY2870" fmla="*/ 1740753 h 2765205"/>
                <a:gd name="connsiteX2871" fmla="*/ 2525136 w 8566434"/>
                <a:gd name="connsiteY2871" fmla="*/ 1759156 h 2765205"/>
                <a:gd name="connsiteX2872" fmla="*/ 2537129 w 8566434"/>
                <a:gd name="connsiteY2872" fmla="*/ 1737790 h 2765205"/>
                <a:gd name="connsiteX2873" fmla="*/ 2525136 w 8566434"/>
                <a:gd name="connsiteY2873" fmla="*/ 1759156 h 2765205"/>
                <a:gd name="connsiteX2874" fmla="*/ 2396178 w 8566434"/>
                <a:gd name="connsiteY2874" fmla="*/ 1773699 h 2765205"/>
                <a:gd name="connsiteX2875" fmla="*/ 2380808 w 8566434"/>
                <a:gd name="connsiteY2875" fmla="*/ 1720283 h 2765205"/>
                <a:gd name="connsiteX2876" fmla="*/ 2386046 w 8566434"/>
                <a:gd name="connsiteY2876" fmla="*/ 1737031 h 2765205"/>
                <a:gd name="connsiteX2877" fmla="*/ 2397763 w 8566434"/>
                <a:gd name="connsiteY2877" fmla="*/ 1773355 h 2765205"/>
                <a:gd name="connsiteX2878" fmla="*/ 2396178 w 8566434"/>
                <a:gd name="connsiteY2878" fmla="*/ 1773699 h 2765205"/>
                <a:gd name="connsiteX2879" fmla="*/ 2372675 w 8566434"/>
                <a:gd name="connsiteY2879" fmla="*/ 1773492 h 2765205"/>
                <a:gd name="connsiteX2880" fmla="*/ 2377913 w 8566434"/>
                <a:gd name="connsiteY2880" fmla="*/ 1758191 h 2765205"/>
                <a:gd name="connsiteX2881" fmla="*/ 2372675 w 8566434"/>
                <a:gd name="connsiteY2881" fmla="*/ 1773492 h 2765205"/>
                <a:gd name="connsiteX2882" fmla="*/ 2477027 w 8566434"/>
                <a:gd name="connsiteY2882" fmla="*/ 1780385 h 2765205"/>
                <a:gd name="connsiteX2883" fmla="*/ 2476958 w 8566434"/>
                <a:gd name="connsiteY2883" fmla="*/ 1752057 h 2765205"/>
                <a:gd name="connsiteX2884" fmla="*/ 2477027 w 8566434"/>
                <a:gd name="connsiteY2884" fmla="*/ 1780385 h 2765205"/>
                <a:gd name="connsiteX2885" fmla="*/ 2507698 w 8566434"/>
                <a:gd name="connsiteY2885" fmla="*/ 1812986 h 2765205"/>
                <a:gd name="connsiteX2886" fmla="*/ 2516658 w 8566434"/>
                <a:gd name="connsiteY2886" fmla="*/ 1788242 h 2765205"/>
                <a:gd name="connsiteX2887" fmla="*/ 2509559 w 8566434"/>
                <a:gd name="connsiteY2887" fmla="*/ 1837386 h 2765205"/>
                <a:gd name="connsiteX2888" fmla="*/ 2507698 w 8566434"/>
                <a:gd name="connsiteY2888" fmla="*/ 1812986 h 2765205"/>
                <a:gd name="connsiteX2889" fmla="*/ 2290517 w 8566434"/>
                <a:gd name="connsiteY2889" fmla="*/ 1850275 h 2765205"/>
                <a:gd name="connsiteX2890" fmla="*/ 2290517 w 8566434"/>
                <a:gd name="connsiteY2890" fmla="*/ 1850275 h 2765205"/>
                <a:gd name="connsiteX2891" fmla="*/ 2537405 w 8566434"/>
                <a:gd name="connsiteY2891" fmla="*/ 1877707 h 2765205"/>
                <a:gd name="connsiteX2892" fmla="*/ 2537405 w 8566434"/>
                <a:gd name="connsiteY2892" fmla="*/ 1877707 h 2765205"/>
                <a:gd name="connsiteX2893" fmla="*/ 2471444 w 8566434"/>
                <a:gd name="connsiteY2893" fmla="*/ 1889079 h 2765205"/>
                <a:gd name="connsiteX2894" fmla="*/ 2504252 w 8566434"/>
                <a:gd name="connsiteY2894" fmla="*/ 1896316 h 2765205"/>
                <a:gd name="connsiteX2895" fmla="*/ 2504665 w 8566434"/>
                <a:gd name="connsiteY2895" fmla="*/ 1866610 h 2765205"/>
                <a:gd name="connsiteX2896" fmla="*/ 2513763 w 8566434"/>
                <a:gd name="connsiteY2896" fmla="*/ 1873088 h 2765205"/>
                <a:gd name="connsiteX2897" fmla="*/ 2514315 w 8566434"/>
                <a:gd name="connsiteY2897" fmla="*/ 1893559 h 2765205"/>
                <a:gd name="connsiteX2898" fmla="*/ 2553878 w 8566434"/>
                <a:gd name="connsiteY2898" fmla="*/ 1897212 h 2765205"/>
                <a:gd name="connsiteX2899" fmla="*/ 2550845 w 8566434"/>
                <a:gd name="connsiteY2899" fmla="*/ 1879774 h 2765205"/>
                <a:gd name="connsiteX2900" fmla="*/ 2555807 w 8566434"/>
                <a:gd name="connsiteY2900" fmla="*/ 1879912 h 2765205"/>
                <a:gd name="connsiteX2901" fmla="*/ 2563734 w 8566434"/>
                <a:gd name="connsiteY2901" fmla="*/ 1900038 h 2765205"/>
                <a:gd name="connsiteX2902" fmla="*/ 2572418 w 8566434"/>
                <a:gd name="connsiteY2902" fmla="*/ 1895903 h 2765205"/>
                <a:gd name="connsiteX2903" fmla="*/ 2584342 w 8566434"/>
                <a:gd name="connsiteY2903" fmla="*/ 1708772 h 2765205"/>
                <a:gd name="connsiteX2904" fmla="*/ 2476544 w 8566434"/>
                <a:gd name="connsiteY2904" fmla="*/ 1702983 h 2765205"/>
                <a:gd name="connsiteX2905" fmla="*/ 2481300 w 8566434"/>
                <a:gd name="connsiteY2905" fmla="*/ 1617930 h 2765205"/>
                <a:gd name="connsiteX2906" fmla="*/ 2463380 w 8566434"/>
                <a:gd name="connsiteY2906" fmla="*/ 1561480 h 2765205"/>
                <a:gd name="connsiteX2907" fmla="*/ 2483919 w 8566434"/>
                <a:gd name="connsiteY2907" fmla="*/ 1576161 h 2765205"/>
                <a:gd name="connsiteX2908" fmla="*/ 2486263 w 8566434"/>
                <a:gd name="connsiteY2908" fmla="*/ 1468432 h 2765205"/>
                <a:gd name="connsiteX2909" fmla="*/ 2494189 w 8566434"/>
                <a:gd name="connsiteY2909" fmla="*/ 1449547 h 2765205"/>
                <a:gd name="connsiteX2910" fmla="*/ 2463448 w 8566434"/>
                <a:gd name="connsiteY2910" fmla="*/ 1434659 h 2765205"/>
                <a:gd name="connsiteX2911" fmla="*/ 2464620 w 8566434"/>
                <a:gd name="connsiteY2911" fmla="*/ 1450649 h 2765205"/>
                <a:gd name="connsiteX2912" fmla="*/ 2457659 w 8566434"/>
                <a:gd name="connsiteY2912" fmla="*/ 1448375 h 2765205"/>
                <a:gd name="connsiteX2913" fmla="*/ 2463380 w 8566434"/>
                <a:gd name="connsiteY2913" fmla="*/ 1425010 h 2765205"/>
                <a:gd name="connsiteX2914" fmla="*/ 2490743 w 8566434"/>
                <a:gd name="connsiteY2914" fmla="*/ 1436038 h 2765205"/>
                <a:gd name="connsiteX2915" fmla="*/ 2494396 w 8566434"/>
                <a:gd name="connsiteY2915" fmla="*/ 1424114 h 2765205"/>
                <a:gd name="connsiteX2916" fmla="*/ 2480197 w 8566434"/>
                <a:gd name="connsiteY2916" fmla="*/ 1414464 h 2765205"/>
                <a:gd name="connsiteX2917" fmla="*/ 2475441 w 8566434"/>
                <a:gd name="connsiteY2917" fmla="*/ 1397233 h 2765205"/>
                <a:gd name="connsiteX2918" fmla="*/ 2494533 w 8566434"/>
                <a:gd name="connsiteY2918" fmla="*/ 1397578 h 2765205"/>
                <a:gd name="connsiteX2919" fmla="*/ 2532442 w 8566434"/>
                <a:gd name="connsiteY2919" fmla="*/ 801518 h 2765205"/>
                <a:gd name="connsiteX2920" fmla="*/ 2526583 w 8566434"/>
                <a:gd name="connsiteY2920" fmla="*/ 794074 h 2765205"/>
                <a:gd name="connsiteX2921" fmla="*/ 2537129 w 8566434"/>
                <a:gd name="connsiteY2921" fmla="*/ 718050 h 2765205"/>
                <a:gd name="connsiteX2922" fmla="*/ 2532304 w 8566434"/>
                <a:gd name="connsiteY2922" fmla="*/ 718946 h 2765205"/>
                <a:gd name="connsiteX2923" fmla="*/ 2507422 w 8566434"/>
                <a:gd name="connsiteY2923" fmla="*/ 746860 h 2765205"/>
                <a:gd name="connsiteX2924" fmla="*/ 2500254 w 8566434"/>
                <a:gd name="connsiteY2924" fmla="*/ 739416 h 2765205"/>
                <a:gd name="connsiteX2925" fmla="*/ 2493844 w 8566434"/>
                <a:gd name="connsiteY2925" fmla="*/ 722185 h 2765205"/>
                <a:gd name="connsiteX2926" fmla="*/ 2481507 w 8566434"/>
                <a:gd name="connsiteY2926" fmla="*/ 701921 h 2765205"/>
                <a:gd name="connsiteX2927" fmla="*/ 2503080 w 8566434"/>
                <a:gd name="connsiteY2927" fmla="*/ 694684 h 2765205"/>
                <a:gd name="connsiteX2928" fmla="*/ 2512178 w 8566434"/>
                <a:gd name="connsiteY2928" fmla="*/ 687861 h 2765205"/>
                <a:gd name="connsiteX2929" fmla="*/ 2540437 w 8566434"/>
                <a:gd name="connsiteY2929" fmla="*/ 674076 h 2765205"/>
                <a:gd name="connsiteX2930" fmla="*/ 2541954 w 8566434"/>
                <a:gd name="connsiteY2930" fmla="*/ 644438 h 2765205"/>
                <a:gd name="connsiteX2931" fmla="*/ 2509490 w 8566434"/>
                <a:gd name="connsiteY2931" fmla="*/ 643129 h 2765205"/>
                <a:gd name="connsiteX2932" fmla="*/ 2512040 w 8566434"/>
                <a:gd name="connsiteY2932" fmla="*/ 673456 h 2765205"/>
                <a:gd name="connsiteX2933" fmla="*/ 2505630 w 8566434"/>
                <a:gd name="connsiteY2933" fmla="*/ 641612 h 2765205"/>
                <a:gd name="connsiteX2934" fmla="*/ 2467860 w 8566434"/>
                <a:gd name="connsiteY2934" fmla="*/ 646368 h 2765205"/>
                <a:gd name="connsiteX2935" fmla="*/ 2465654 w 8566434"/>
                <a:gd name="connsiteY2935" fmla="*/ 649745 h 2765205"/>
                <a:gd name="connsiteX2936" fmla="*/ 2436775 w 8566434"/>
                <a:gd name="connsiteY2936" fmla="*/ 637546 h 2765205"/>
                <a:gd name="connsiteX2937" fmla="*/ 2453730 w 8566434"/>
                <a:gd name="connsiteY2937" fmla="*/ 660842 h 2765205"/>
                <a:gd name="connsiteX2938" fmla="*/ 2434500 w 8566434"/>
                <a:gd name="connsiteY2938" fmla="*/ 687999 h 2765205"/>
                <a:gd name="connsiteX2939" fmla="*/ 2445804 w 8566434"/>
                <a:gd name="connsiteY2939" fmla="*/ 700543 h 2765205"/>
                <a:gd name="connsiteX2940" fmla="*/ 2432364 w 8566434"/>
                <a:gd name="connsiteY2940" fmla="*/ 755820 h 2765205"/>
                <a:gd name="connsiteX2941" fmla="*/ 2430227 w 8566434"/>
                <a:gd name="connsiteY2941" fmla="*/ 783873 h 2765205"/>
                <a:gd name="connsiteX2942" fmla="*/ 2428504 w 8566434"/>
                <a:gd name="connsiteY2942" fmla="*/ 817990 h 2765205"/>
                <a:gd name="connsiteX2943" fmla="*/ 2426987 w 8566434"/>
                <a:gd name="connsiteY2943" fmla="*/ 887191 h 2765205"/>
                <a:gd name="connsiteX2944" fmla="*/ 2445390 w 8566434"/>
                <a:gd name="connsiteY2944" fmla="*/ 874784 h 2765205"/>
                <a:gd name="connsiteX2945" fmla="*/ 2450491 w 8566434"/>
                <a:gd name="connsiteY2945" fmla="*/ 882090 h 2765205"/>
                <a:gd name="connsiteX2946" fmla="*/ 2437464 w 8566434"/>
                <a:gd name="connsiteY2946" fmla="*/ 902975 h 2765205"/>
                <a:gd name="connsiteX2947" fmla="*/ 2427677 w 8566434"/>
                <a:gd name="connsiteY2947" fmla="*/ 902285 h 2765205"/>
                <a:gd name="connsiteX2948" fmla="*/ 2419130 w 8566434"/>
                <a:gd name="connsiteY2948" fmla="*/ 956322 h 2765205"/>
                <a:gd name="connsiteX2949" fmla="*/ 2372951 w 8566434"/>
                <a:gd name="connsiteY2949" fmla="*/ 1695332 h 2765205"/>
                <a:gd name="connsiteX2950" fmla="*/ 2325048 w 8566434"/>
                <a:gd name="connsiteY2950" fmla="*/ 1693264 h 2765205"/>
                <a:gd name="connsiteX2951" fmla="*/ 2326495 w 8566434"/>
                <a:gd name="connsiteY2951" fmla="*/ 1705740 h 2765205"/>
                <a:gd name="connsiteX2952" fmla="*/ 2320499 w 8566434"/>
                <a:gd name="connsiteY2952" fmla="*/ 1705050 h 2765205"/>
                <a:gd name="connsiteX2953" fmla="*/ 2321671 w 8566434"/>
                <a:gd name="connsiteY2953" fmla="*/ 1692506 h 2765205"/>
                <a:gd name="connsiteX2954" fmla="*/ 2286726 w 8566434"/>
                <a:gd name="connsiteY2954" fmla="*/ 1690163 h 2765205"/>
                <a:gd name="connsiteX2955" fmla="*/ 2286312 w 8566434"/>
                <a:gd name="connsiteY2955" fmla="*/ 1696779 h 2765205"/>
                <a:gd name="connsiteX2956" fmla="*/ 2263222 w 8566434"/>
                <a:gd name="connsiteY2956" fmla="*/ 1692368 h 2765205"/>
                <a:gd name="connsiteX2957" fmla="*/ 2254883 w 8566434"/>
                <a:gd name="connsiteY2957" fmla="*/ 1822842 h 2765205"/>
                <a:gd name="connsiteX2958" fmla="*/ 2272458 w 8566434"/>
                <a:gd name="connsiteY2958" fmla="*/ 1820499 h 2765205"/>
                <a:gd name="connsiteX2959" fmla="*/ 2271562 w 8566434"/>
                <a:gd name="connsiteY2959" fmla="*/ 1826702 h 2765205"/>
                <a:gd name="connsiteX2960" fmla="*/ 2254469 w 8566434"/>
                <a:gd name="connsiteY2960" fmla="*/ 1825324 h 2765205"/>
                <a:gd name="connsiteX2961" fmla="*/ 2251574 w 8566434"/>
                <a:gd name="connsiteY2961" fmla="*/ 1878396 h 2765205"/>
                <a:gd name="connsiteX2962" fmla="*/ 2298719 w 8566434"/>
                <a:gd name="connsiteY2962" fmla="*/ 1877982 h 2765205"/>
                <a:gd name="connsiteX2963" fmla="*/ 2317397 w 8566434"/>
                <a:gd name="connsiteY2963" fmla="*/ 1871297 h 2765205"/>
                <a:gd name="connsiteX2964" fmla="*/ 2278730 w 8566434"/>
                <a:gd name="connsiteY2964" fmla="*/ 1793343 h 2765205"/>
                <a:gd name="connsiteX2965" fmla="*/ 2282383 w 8566434"/>
                <a:gd name="connsiteY2965" fmla="*/ 1766945 h 2765205"/>
                <a:gd name="connsiteX2966" fmla="*/ 2292240 w 8566434"/>
                <a:gd name="connsiteY2966" fmla="*/ 1714838 h 2765205"/>
                <a:gd name="connsiteX2967" fmla="*/ 2316363 w 8566434"/>
                <a:gd name="connsiteY2967" fmla="*/ 1715458 h 2765205"/>
                <a:gd name="connsiteX2968" fmla="*/ 2306231 w 8566434"/>
                <a:gd name="connsiteY2968" fmla="*/ 1826564 h 2765205"/>
                <a:gd name="connsiteX2969" fmla="*/ 2323807 w 8566434"/>
                <a:gd name="connsiteY2969" fmla="*/ 1807748 h 2765205"/>
                <a:gd name="connsiteX2970" fmla="*/ 2327874 w 8566434"/>
                <a:gd name="connsiteY2970" fmla="*/ 1817053 h 2765205"/>
                <a:gd name="connsiteX2971" fmla="*/ 2327116 w 8566434"/>
                <a:gd name="connsiteY2971" fmla="*/ 1808368 h 2765205"/>
                <a:gd name="connsiteX2972" fmla="*/ 2321602 w 8566434"/>
                <a:gd name="connsiteY2972" fmla="*/ 1765221 h 2765205"/>
                <a:gd name="connsiteX2973" fmla="*/ 2301338 w 8566434"/>
                <a:gd name="connsiteY2973" fmla="*/ 1766531 h 2765205"/>
                <a:gd name="connsiteX2974" fmla="*/ 2322704 w 8566434"/>
                <a:gd name="connsiteY2974" fmla="*/ 1727037 h 2765205"/>
                <a:gd name="connsiteX2975" fmla="*/ 2346208 w 8566434"/>
                <a:gd name="connsiteY2975" fmla="*/ 1718077 h 2765205"/>
                <a:gd name="connsiteX2976" fmla="*/ 2369849 w 8566434"/>
                <a:gd name="connsiteY2976" fmla="*/ 1724074 h 2765205"/>
                <a:gd name="connsiteX2977" fmla="*/ 2361509 w 8566434"/>
                <a:gd name="connsiteY2977" fmla="*/ 1739788 h 2765205"/>
                <a:gd name="connsiteX2978" fmla="*/ 2359924 w 8566434"/>
                <a:gd name="connsiteY2978" fmla="*/ 1767634 h 2765205"/>
                <a:gd name="connsiteX2979" fmla="*/ 2378051 w 8566434"/>
                <a:gd name="connsiteY2979" fmla="*/ 1792585 h 2765205"/>
                <a:gd name="connsiteX2980" fmla="*/ 2354754 w 8566434"/>
                <a:gd name="connsiteY2980" fmla="*/ 1808299 h 2765205"/>
                <a:gd name="connsiteX2981" fmla="*/ 2353376 w 8566434"/>
                <a:gd name="connsiteY2981" fmla="*/ 1810643 h 2765205"/>
                <a:gd name="connsiteX2982" fmla="*/ 2349034 w 8566434"/>
                <a:gd name="connsiteY2982" fmla="*/ 1820154 h 2765205"/>
                <a:gd name="connsiteX2983" fmla="*/ 2348551 w 8566434"/>
                <a:gd name="connsiteY2983" fmla="*/ 1823325 h 2765205"/>
                <a:gd name="connsiteX2984" fmla="*/ 2349447 w 8566434"/>
                <a:gd name="connsiteY2984" fmla="*/ 1829528 h 2765205"/>
                <a:gd name="connsiteX2985" fmla="*/ 2363094 w 8566434"/>
                <a:gd name="connsiteY2985" fmla="*/ 1826633 h 2765205"/>
                <a:gd name="connsiteX2986" fmla="*/ 2370952 w 8566434"/>
                <a:gd name="connsiteY2986" fmla="*/ 1840005 h 2765205"/>
                <a:gd name="connsiteX2987" fmla="*/ 2376810 w 8566434"/>
                <a:gd name="connsiteY2987" fmla="*/ 1832837 h 2765205"/>
                <a:gd name="connsiteX2988" fmla="*/ 2392387 w 8566434"/>
                <a:gd name="connsiteY2988" fmla="*/ 1818431 h 2765205"/>
                <a:gd name="connsiteX2989" fmla="*/ 2385633 w 8566434"/>
                <a:gd name="connsiteY2989" fmla="*/ 1843727 h 2765205"/>
                <a:gd name="connsiteX2990" fmla="*/ 2392594 w 8566434"/>
                <a:gd name="connsiteY2990" fmla="*/ 1846346 h 2765205"/>
                <a:gd name="connsiteX2991" fmla="*/ 2401141 w 8566434"/>
                <a:gd name="connsiteY2991" fmla="*/ 1853997 h 2765205"/>
                <a:gd name="connsiteX2992" fmla="*/ 2399211 w 8566434"/>
                <a:gd name="connsiteY2992" fmla="*/ 1859235 h 2765205"/>
                <a:gd name="connsiteX2993" fmla="*/ 2392111 w 8566434"/>
                <a:gd name="connsiteY2993" fmla="*/ 1876397 h 2765205"/>
                <a:gd name="connsiteX2994" fmla="*/ 2379360 w 8566434"/>
                <a:gd name="connsiteY2994" fmla="*/ 1882462 h 2765205"/>
                <a:gd name="connsiteX2995" fmla="*/ 2373915 w 8566434"/>
                <a:gd name="connsiteY2995" fmla="*/ 1886184 h 2765205"/>
                <a:gd name="connsiteX2996" fmla="*/ 2463724 w 8566434"/>
                <a:gd name="connsiteY2996" fmla="*/ 1888183 h 2765205"/>
                <a:gd name="connsiteX2997" fmla="*/ 2465034 w 8566434"/>
                <a:gd name="connsiteY2997" fmla="*/ 1868057 h 2765205"/>
                <a:gd name="connsiteX2998" fmla="*/ 2471237 w 8566434"/>
                <a:gd name="connsiteY2998" fmla="*/ 1867574 h 2765205"/>
                <a:gd name="connsiteX2999" fmla="*/ 2471444 w 8566434"/>
                <a:gd name="connsiteY2999" fmla="*/ 1889079 h 2765205"/>
                <a:gd name="connsiteX3000" fmla="*/ 2945507 w 8566434"/>
                <a:gd name="connsiteY3000" fmla="*/ 712949 h 2765205"/>
                <a:gd name="connsiteX3001" fmla="*/ 2945507 w 8566434"/>
                <a:gd name="connsiteY3001" fmla="*/ 712949 h 2765205"/>
                <a:gd name="connsiteX3002" fmla="*/ 2856112 w 8566434"/>
                <a:gd name="connsiteY3002" fmla="*/ 712467 h 2765205"/>
                <a:gd name="connsiteX3003" fmla="*/ 2856112 w 8566434"/>
                <a:gd name="connsiteY3003" fmla="*/ 712467 h 2765205"/>
                <a:gd name="connsiteX3004" fmla="*/ 2764098 w 8566434"/>
                <a:gd name="connsiteY3004" fmla="*/ 712329 h 2765205"/>
                <a:gd name="connsiteX3005" fmla="*/ 2776091 w 8566434"/>
                <a:gd name="connsiteY3005" fmla="*/ 696063 h 2765205"/>
                <a:gd name="connsiteX3006" fmla="*/ 2764098 w 8566434"/>
                <a:gd name="connsiteY3006" fmla="*/ 712329 h 2765205"/>
                <a:gd name="connsiteX3007" fmla="*/ 2785947 w 8566434"/>
                <a:gd name="connsiteY3007" fmla="*/ 726665 h 2765205"/>
                <a:gd name="connsiteX3008" fmla="*/ 2803936 w 8566434"/>
                <a:gd name="connsiteY3008" fmla="*/ 715362 h 2765205"/>
                <a:gd name="connsiteX3009" fmla="*/ 2785947 w 8566434"/>
                <a:gd name="connsiteY3009" fmla="*/ 726665 h 2765205"/>
                <a:gd name="connsiteX3010" fmla="*/ 2861902 w 8566434"/>
                <a:gd name="connsiteY3010" fmla="*/ 732731 h 2765205"/>
                <a:gd name="connsiteX3011" fmla="*/ 2861902 w 8566434"/>
                <a:gd name="connsiteY3011" fmla="*/ 732731 h 2765205"/>
                <a:gd name="connsiteX3012" fmla="*/ 2979005 w 8566434"/>
                <a:gd name="connsiteY3012" fmla="*/ 761059 h 2765205"/>
                <a:gd name="connsiteX3013" fmla="*/ 2979005 w 8566434"/>
                <a:gd name="connsiteY3013" fmla="*/ 761059 h 2765205"/>
                <a:gd name="connsiteX3014" fmla="*/ 2814068 w 8566434"/>
                <a:gd name="connsiteY3014" fmla="*/ 762989 h 2765205"/>
                <a:gd name="connsiteX3015" fmla="*/ 2806900 w 8566434"/>
                <a:gd name="connsiteY3015" fmla="*/ 734040 h 2765205"/>
                <a:gd name="connsiteX3016" fmla="*/ 2821236 w 8566434"/>
                <a:gd name="connsiteY3016" fmla="*/ 709641 h 2765205"/>
                <a:gd name="connsiteX3017" fmla="*/ 2836951 w 8566434"/>
                <a:gd name="connsiteY3017" fmla="*/ 725976 h 2765205"/>
                <a:gd name="connsiteX3018" fmla="*/ 2814068 w 8566434"/>
                <a:gd name="connsiteY3018" fmla="*/ 762989 h 2765205"/>
                <a:gd name="connsiteX3019" fmla="*/ 2921246 w 8566434"/>
                <a:gd name="connsiteY3019" fmla="*/ 775119 h 2765205"/>
                <a:gd name="connsiteX3020" fmla="*/ 2901051 w 8566434"/>
                <a:gd name="connsiteY3020" fmla="*/ 765608 h 2765205"/>
                <a:gd name="connsiteX3021" fmla="*/ 2910907 w 8566434"/>
                <a:gd name="connsiteY3021" fmla="*/ 745620 h 2765205"/>
                <a:gd name="connsiteX3022" fmla="*/ 2921246 w 8566434"/>
                <a:gd name="connsiteY3022" fmla="*/ 775119 h 2765205"/>
                <a:gd name="connsiteX3023" fmla="*/ 2758997 w 8566434"/>
                <a:gd name="connsiteY3023" fmla="*/ 774568 h 2765205"/>
                <a:gd name="connsiteX3024" fmla="*/ 2768853 w 8566434"/>
                <a:gd name="connsiteY3024" fmla="*/ 752443 h 2765205"/>
                <a:gd name="connsiteX3025" fmla="*/ 2765476 w 8566434"/>
                <a:gd name="connsiteY3025" fmla="*/ 735626 h 2765205"/>
                <a:gd name="connsiteX3026" fmla="*/ 2778503 w 8566434"/>
                <a:gd name="connsiteY3026" fmla="*/ 743552 h 2765205"/>
                <a:gd name="connsiteX3027" fmla="*/ 2792908 w 8566434"/>
                <a:gd name="connsiteY3027" fmla="*/ 737418 h 2765205"/>
                <a:gd name="connsiteX3028" fmla="*/ 2797044 w 8566434"/>
                <a:gd name="connsiteY3028" fmla="*/ 769261 h 2765205"/>
                <a:gd name="connsiteX3029" fmla="*/ 2778227 w 8566434"/>
                <a:gd name="connsiteY3029" fmla="*/ 755338 h 2765205"/>
                <a:gd name="connsiteX3030" fmla="*/ 2773954 w 8566434"/>
                <a:gd name="connsiteY3030" fmla="*/ 770570 h 2765205"/>
                <a:gd name="connsiteX3031" fmla="*/ 2758997 w 8566434"/>
                <a:gd name="connsiteY3031" fmla="*/ 774568 h 2765205"/>
                <a:gd name="connsiteX3032" fmla="*/ 2978315 w 8566434"/>
                <a:gd name="connsiteY3032" fmla="*/ 781323 h 2765205"/>
                <a:gd name="connsiteX3033" fmla="*/ 2978315 w 8566434"/>
                <a:gd name="connsiteY3033" fmla="*/ 781323 h 2765205"/>
                <a:gd name="connsiteX3034" fmla="*/ 2936823 w 8566434"/>
                <a:gd name="connsiteY3034" fmla="*/ 791385 h 2765205"/>
                <a:gd name="connsiteX3035" fmla="*/ 2955157 w 8566434"/>
                <a:gd name="connsiteY3035" fmla="*/ 764987 h 2765205"/>
                <a:gd name="connsiteX3036" fmla="*/ 2936823 w 8566434"/>
                <a:gd name="connsiteY3036" fmla="*/ 791385 h 2765205"/>
                <a:gd name="connsiteX3037" fmla="*/ 2957845 w 8566434"/>
                <a:gd name="connsiteY3037" fmla="*/ 796279 h 2765205"/>
                <a:gd name="connsiteX3038" fmla="*/ 2957845 w 8566434"/>
                <a:gd name="connsiteY3038" fmla="*/ 796279 h 2765205"/>
                <a:gd name="connsiteX3039" fmla="*/ 2815309 w 8566434"/>
                <a:gd name="connsiteY3039" fmla="*/ 802276 h 2765205"/>
                <a:gd name="connsiteX3040" fmla="*/ 2823235 w 8566434"/>
                <a:gd name="connsiteY3040" fmla="*/ 787043 h 2765205"/>
                <a:gd name="connsiteX3041" fmla="*/ 2815309 w 8566434"/>
                <a:gd name="connsiteY3041" fmla="*/ 802276 h 2765205"/>
                <a:gd name="connsiteX3042" fmla="*/ 2861557 w 8566434"/>
                <a:gd name="connsiteY3042" fmla="*/ 808892 h 2765205"/>
                <a:gd name="connsiteX3043" fmla="*/ 2861557 w 8566434"/>
                <a:gd name="connsiteY3043" fmla="*/ 808892 h 2765205"/>
                <a:gd name="connsiteX3044" fmla="*/ 2807589 w 8566434"/>
                <a:gd name="connsiteY3044" fmla="*/ 823160 h 2765205"/>
                <a:gd name="connsiteX3045" fmla="*/ 2807589 w 8566434"/>
                <a:gd name="connsiteY3045" fmla="*/ 823160 h 2765205"/>
                <a:gd name="connsiteX3046" fmla="*/ 2775126 w 8566434"/>
                <a:gd name="connsiteY3046" fmla="*/ 872854 h 2765205"/>
                <a:gd name="connsiteX3047" fmla="*/ 2752036 w 8566434"/>
                <a:gd name="connsiteY3047" fmla="*/ 842665 h 2765205"/>
                <a:gd name="connsiteX3048" fmla="*/ 2758308 w 8566434"/>
                <a:gd name="connsiteY3048" fmla="*/ 823367 h 2765205"/>
                <a:gd name="connsiteX3049" fmla="*/ 2769681 w 8566434"/>
                <a:gd name="connsiteY3049" fmla="*/ 837220 h 2765205"/>
                <a:gd name="connsiteX3050" fmla="*/ 2773334 w 8566434"/>
                <a:gd name="connsiteY3050" fmla="*/ 816888 h 2765205"/>
                <a:gd name="connsiteX3051" fmla="*/ 2780915 w 8566434"/>
                <a:gd name="connsiteY3051" fmla="*/ 832120 h 2765205"/>
                <a:gd name="connsiteX3052" fmla="*/ 2792357 w 8566434"/>
                <a:gd name="connsiteY3052" fmla="*/ 828053 h 2765205"/>
                <a:gd name="connsiteX3053" fmla="*/ 2778434 w 8566434"/>
                <a:gd name="connsiteY3053" fmla="*/ 846732 h 2765205"/>
                <a:gd name="connsiteX3054" fmla="*/ 2775126 w 8566434"/>
                <a:gd name="connsiteY3054" fmla="*/ 872854 h 2765205"/>
                <a:gd name="connsiteX3055" fmla="*/ 2751071 w 8566434"/>
                <a:gd name="connsiteY3055" fmla="*/ 871338 h 2765205"/>
                <a:gd name="connsiteX3056" fmla="*/ 2751071 w 8566434"/>
                <a:gd name="connsiteY3056" fmla="*/ 871338 h 2765205"/>
                <a:gd name="connsiteX3057" fmla="*/ 2718194 w 8566434"/>
                <a:gd name="connsiteY3057" fmla="*/ 870856 h 2765205"/>
                <a:gd name="connsiteX3058" fmla="*/ 2718194 w 8566434"/>
                <a:gd name="connsiteY3058" fmla="*/ 870856 h 2765205"/>
                <a:gd name="connsiteX3059" fmla="*/ 2793666 w 8566434"/>
                <a:gd name="connsiteY3059" fmla="*/ 898701 h 2765205"/>
                <a:gd name="connsiteX3060" fmla="*/ 2793666 w 8566434"/>
                <a:gd name="connsiteY3060" fmla="*/ 898701 h 2765205"/>
                <a:gd name="connsiteX3061" fmla="*/ 2715988 w 8566434"/>
                <a:gd name="connsiteY3061" fmla="*/ 910970 h 2765205"/>
                <a:gd name="connsiteX3062" fmla="*/ 2715230 w 8566434"/>
                <a:gd name="connsiteY3062" fmla="*/ 880092 h 2765205"/>
                <a:gd name="connsiteX3063" fmla="*/ 2728808 w 8566434"/>
                <a:gd name="connsiteY3063" fmla="*/ 881884 h 2765205"/>
                <a:gd name="connsiteX3064" fmla="*/ 2725638 w 8566434"/>
                <a:gd name="connsiteY3064" fmla="*/ 897047 h 2765205"/>
                <a:gd name="connsiteX3065" fmla="*/ 2735908 w 8566434"/>
                <a:gd name="connsiteY3065" fmla="*/ 901734 h 2765205"/>
                <a:gd name="connsiteX3066" fmla="*/ 2737493 w 8566434"/>
                <a:gd name="connsiteY3066" fmla="*/ 908557 h 2765205"/>
                <a:gd name="connsiteX3067" fmla="*/ 2715988 w 8566434"/>
                <a:gd name="connsiteY3067" fmla="*/ 910970 h 2765205"/>
                <a:gd name="connsiteX3068" fmla="*/ 2758515 w 8566434"/>
                <a:gd name="connsiteY3068" fmla="*/ 940056 h 2765205"/>
                <a:gd name="connsiteX3069" fmla="*/ 2775057 w 8566434"/>
                <a:gd name="connsiteY3069" fmla="*/ 916346 h 2765205"/>
                <a:gd name="connsiteX3070" fmla="*/ 2758515 w 8566434"/>
                <a:gd name="connsiteY3070" fmla="*/ 940056 h 2765205"/>
                <a:gd name="connsiteX3071" fmla="*/ 2771266 w 8566434"/>
                <a:gd name="connsiteY3071" fmla="*/ 955150 h 2765205"/>
                <a:gd name="connsiteX3072" fmla="*/ 2771266 w 8566434"/>
                <a:gd name="connsiteY3072" fmla="*/ 955150 h 2765205"/>
                <a:gd name="connsiteX3073" fmla="*/ 2737286 w 8566434"/>
                <a:gd name="connsiteY3073" fmla="*/ 996988 h 2765205"/>
                <a:gd name="connsiteX3074" fmla="*/ 2747625 w 8566434"/>
                <a:gd name="connsiteY3074" fmla="*/ 947500 h 2765205"/>
                <a:gd name="connsiteX3075" fmla="*/ 2728395 w 8566434"/>
                <a:gd name="connsiteY3075" fmla="*/ 939229 h 2765205"/>
                <a:gd name="connsiteX3076" fmla="*/ 2738665 w 8566434"/>
                <a:gd name="connsiteY3076" fmla="*/ 928821 h 2765205"/>
                <a:gd name="connsiteX3077" fmla="*/ 2755069 w 8566434"/>
                <a:gd name="connsiteY3077" fmla="*/ 982996 h 2765205"/>
                <a:gd name="connsiteX3078" fmla="*/ 2758721 w 8566434"/>
                <a:gd name="connsiteY3078" fmla="*/ 1012565 h 2765205"/>
                <a:gd name="connsiteX3079" fmla="*/ 2737286 w 8566434"/>
                <a:gd name="connsiteY3079" fmla="*/ 996988 h 2765205"/>
                <a:gd name="connsiteX3080" fmla="*/ 2759549 w 8566434"/>
                <a:gd name="connsiteY3080" fmla="*/ 1063431 h 2765205"/>
                <a:gd name="connsiteX3081" fmla="*/ 2768371 w 8566434"/>
                <a:gd name="connsiteY3081" fmla="*/ 990026 h 2765205"/>
                <a:gd name="connsiteX3082" fmla="*/ 2767475 w 8566434"/>
                <a:gd name="connsiteY3082" fmla="*/ 1064051 h 2765205"/>
                <a:gd name="connsiteX3083" fmla="*/ 2759549 w 8566434"/>
                <a:gd name="connsiteY3083" fmla="*/ 1063431 h 2765205"/>
                <a:gd name="connsiteX3084" fmla="*/ 2752312 w 8566434"/>
                <a:gd name="connsiteY3084" fmla="*/ 1133114 h 2765205"/>
                <a:gd name="connsiteX3085" fmla="*/ 2740663 w 8566434"/>
                <a:gd name="connsiteY3085" fmla="*/ 1118157 h 2765205"/>
                <a:gd name="connsiteX3086" fmla="*/ 2752312 w 8566434"/>
                <a:gd name="connsiteY3086" fmla="*/ 1133114 h 2765205"/>
                <a:gd name="connsiteX3087" fmla="*/ 2695311 w 8566434"/>
                <a:gd name="connsiteY3087" fmla="*/ 1194664 h 2765205"/>
                <a:gd name="connsiteX3088" fmla="*/ 2706477 w 8566434"/>
                <a:gd name="connsiteY3088" fmla="*/ 1174744 h 2765205"/>
                <a:gd name="connsiteX3089" fmla="*/ 2719641 w 8566434"/>
                <a:gd name="connsiteY3089" fmla="*/ 1158340 h 2765205"/>
                <a:gd name="connsiteX3090" fmla="*/ 2738458 w 8566434"/>
                <a:gd name="connsiteY3090" fmla="*/ 1156962 h 2765205"/>
                <a:gd name="connsiteX3091" fmla="*/ 2721158 w 8566434"/>
                <a:gd name="connsiteY3091" fmla="*/ 1187013 h 2765205"/>
                <a:gd name="connsiteX3092" fmla="*/ 2695311 w 8566434"/>
                <a:gd name="connsiteY3092" fmla="*/ 1194664 h 2765205"/>
                <a:gd name="connsiteX3093" fmla="*/ 2748590 w 8566434"/>
                <a:gd name="connsiteY3093" fmla="*/ 1180327 h 2765205"/>
                <a:gd name="connsiteX3094" fmla="*/ 2737837 w 8566434"/>
                <a:gd name="connsiteY3094" fmla="*/ 1201556 h 2765205"/>
                <a:gd name="connsiteX3095" fmla="*/ 2748590 w 8566434"/>
                <a:gd name="connsiteY3095" fmla="*/ 1180327 h 2765205"/>
                <a:gd name="connsiteX3096" fmla="*/ 2889541 w 8566434"/>
                <a:gd name="connsiteY3096" fmla="*/ 1230918 h 2765205"/>
                <a:gd name="connsiteX3097" fmla="*/ 2886921 w 8566434"/>
                <a:gd name="connsiteY3097" fmla="*/ 1212998 h 2765205"/>
                <a:gd name="connsiteX3098" fmla="*/ 2889541 w 8566434"/>
                <a:gd name="connsiteY3098" fmla="*/ 1230918 h 2765205"/>
                <a:gd name="connsiteX3099" fmla="*/ 2876445 w 8566434"/>
                <a:gd name="connsiteY3099" fmla="*/ 1278476 h 2765205"/>
                <a:gd name="connsiteX3100" fmla="*/ 2876445 w 8566434"/>
                <a:gd name="connsiteY3100" fmla="*/ 1278476 h 2765205"/>
                <a:gd name="connsiteX3101" fmla="*/ 2896226 w 8566434"/>
                <a:gd name="connsiteY3101" fmla="*/ 1286471 h 2765205"/>
                <a:gd name="connsiteX3102" fmla="*/ 2893400 w 8566434"/>
                <a:gd name="connsiteY3102" fmla="*/ 1252009 h 2765205"/>
                <a:gd name="connsiteX3103" fmla="*/ 2896226 w 8566434"/>
                <a:gd name="connsiteY3103" fmla="*/ 1286471 h 2765205"/>
                <a:gd name="connsiteX3104" fmla="*/ 2877065 w 8566434"/>
                <a:gd name="connsiteY3104" fmla="*/ 1305494 h 2765205"/>
                <a:gd name="connsiteX3105" fmla="*/ 2877065 w 8566434"/>
                <a:gd name="connsiteY3105" fmla="*/ 1305494 h 2765205"/>
                <a:gd name="connsiteX3106" fmla="*/ 2890092 w 8566434"/>
                <a:gd name="connsiteY3106" fmla="*/ 1317556 h 2765205"/>
                <a:gd name="connsiteX3107" fmla="*/ 2901464 w 8566434"/>
                <a:gd name="connsiteY3107" fmla="*/ 1295983 h 2765205"/>
                <a:gd name="connsiteX3108" fmla="*/ 2890092 w 8566434"/>
                <a:gd name="connsiteY3108" fmla="*/ 1317556 h 2765205"/>
                <a:gd name="connsiteX3109" fmla="*/ 2759549 w 8566434"/>
                <a:gd name="connsiteY3109" fmla="*/ 1478013 h 2765205"/>
                <a:gd name="connsiteX3110" fmla="*/ 2759549 w 8566434"/>
                <a:gd name="connsiteY3110" fmla="*/ 1478013 h 2765205"/>
                <a:gd name="connsiteX3111" fmla="*/ 2738665 w 8566434"/>
                <a:gd name="connsiteY3111" fmla="*/ 1610348 h 2765205"/>
                <a:gd name="connsiteX3112" fmla="*/ 2747418 w 8566434"/>
                <a:gd name="connsiteY3112" fmla="*/ 1572922 h 2765205"/>
                <a:gd name="connsiteX3113" fmla="*/ 2754310 w 8566434"/>
                <a:gd name="connsiteY3113" fmla="*/ 1604007 h 2765205"/>
                <a:gd name="connsiteX3114" fmla="*/ 2738665 w 8566434"/>
                <a:gd name="connsiteY3114" fmla="*/ 1610348 h 2765205"/>
                <a:gd name="connsiteX3115" fmla="*/ 2717574 w 8566434"/>
                <a:gd name="connsiteY3115" fmla="*/ 1621790 h 2765205"/>
                <a:gd name="connsiteX3116" fmla="*/ 2721709 w 8566434"/>
                <a:gd name="connsiteY3116" fmla="*/ 1605730 h 2765205"/>
                <a:gd name="connsiteX3117" fmla="*/ 2717574 w 8566434"/>
                <a:gd name="connsiteY3117" fmla="*/ 1621790 h 2765205"/>
                <a:gd name="connsiteX3118" fmla="*/ 2698068 w 8566434"/>
                <a:gd name="connsiteY3118" fmla="*/ 1634747 h 2765205"/>
                <a:gd name="connsiteX3119" fmla="*/ 2701652 w 8566434"/>
                <a:gd name="connsiteY3119" fmla="*/ 1611451 h 2765205"/>
                <a:gd name="connsiteX3120" fmla="*/ 2698068 w 8566434"/>
                <a:gd name="connsiteY3120" fmla="*/ 1634747 h 2765205"/>
                <a:gd name="connsiteX3121" fmla="*/ 2836331 w 8566434"/>
                <a:gd name="connsiteY3121" fmla="*/ 1798994 h 2765205"/>
                <a:gd name="connsiteX3122" fmla="*/ 2837433 w 8566434"/>
                <a:gd name="connsiteY3122" fmla="*/ 1757571 h 2765205"/>
                <a:gd name="connsiteX3123" fmla="*/ 2857904 w 8566434"/>
                <a:gd name="connsiteY3123" fmla="*/ 1756330 h 2765205"/>
                <a:gd name="connsiteX3124" fmla="*/ 2854458 w 8566434"/>
                <a:gd name="connsiteY3124" fmla="*/ 1744682 h 2765205"/>
                <a:gd name="connsiteX3125" fmla="*/ 2865693 w 8566434"/>
                <a:gd name="connsiteY3125" fmla="*/ 1743924 h 2765205"/>
                <a:gd name="connsiteX3126" fmla="*/ 2861074 w 8566434"/>
                <a:gd name="connsiteY3126" fmla="*/ 1756193 h 2765205"/>
                <a:gd name="connsiteX3127" fmla="*/ 2840811 w 8566434"/>
                <a:gd name="connsiteY3127" fmla="*/ 1769702 h 2765205"/>
                <a:gd name="connsiteX3128" fmla="*/ 2852804 w 8566434"/>
                <a:gd name="connsiteY3128" fmla="*/ 1798099 h 2765205"/>
                <a:gd name="connsiteX3129" fmla="*/ 2836331 w 8566434"/>
                <a:gd name="connsiteY3129" fmla="*/ 1798994 h 2765205"/>
                <a:gd name="connsiteX3130" fmla="*/ 2820961 w 8566434"/>
                <a:gd name="connsiteY3130" fmla="*/ 1843520 h 2765205"/>
                <a:gd name="connsiteX3131" fmla="*/ 2820961 w 8566434"/>
                <a:gd name="connsiteY3131" fmla="*/ 1843520 h 2765205"/>
                <a:gd name="connsiteX3132" fmla="*/ 2676494 w 8566434"/>
                <a:gd name="connsiteY3132" fmla="*/ 1857718 h 2765205"/>
                <a:gd name="connsiteX3133" fmla="*/ 2687384 w 8566434"/>
                <a:gd name="connsiteY3133" fmla="*/ 1847104 h 2765205"/>
                <a:gd name="connsiteX3134" fmla="*/ 2676494 w 8566434"/>
                <a:gd name="connsiteY3134" fmla="*/ 1857718 h 2765205"/>
                <a:gd name="connsiteX3135" fmla="*/ 2890643 w 8566434"/>
                <a:gd name="connsiteY3135" fmla="*/ 1870125 h 2765205"/>
                <a:gd name="connsiteX3136" fmla="*/ 2890643 w 8566434"/>
                <a:gd name="connsiteY3136" fmla="*/ 1870125 h 2765205"/>
                <a:gd name="connsiteX3137" fmla="*/ 2924348 w 8566434"/>
                <a:gd name="connsiteY3137" fmla="*/ 1877913 h 2765205"/>
                <a:gd name="connsiteX3138" fmla="*/ 2924348 w 8566434"/>
                <a:gd name="connsiteY3138" fmla="*/ 1877913 h 2765205"/>
                <a:gd name="connsiteX3139" fmla="*/ 2910907 w 8566434"/>
                <a:gd name="connsiteY3139" fmla="*/ 1898729 h 2765205"/>
                <a:gd name="connsiteX3140" fmla="*/ 2910907 w 8566434"/>
                <a:gd name="connsiteY3140" fmla="*/ 1898729 h 2765205"/>
                <a:gd name="connsiteX3141" fmla="*/ 2765752 w 8566434"/>
                <a:gd name="connsiteY3141" fmla="*/ 1897695 h 2765205"/>
                <a:gd name="connsiteX3142" fmla="*/ 2792426 w 8566434"/>
                <a:gd name="connsiteY3142" fmla="*/ 1895696 h 2765205"/>
                <a:gd name="connsiteX3143" fmla="*/ 2765752 w 8566434"/>
                <a:gd name="connsiteY3143" fmla="*/ 1897695 h 2765205"/>
                <a:gd name="connsiteX3144" fmla="*/ 2872102 w 8566434"/>
                <a:gd name="connsiteY3144" fmla="*/ 1918923 h 2765205"/>
                <a:gd name="connsiteX3145" fmla="*/ 2936685 w 8566434"/>
                <a:gd name="connsiteY3145" fmla="*/ 1922439 h 2765205"/>
                <a:gd name="connsiteX3146" fmla="*/ 2947782 w 8566434"/>
                <a:gd name="connsiteY3146" fmla="*/ 1733240 h 2765205"/>
                <a:gd name="connsiteX3147" fmla="*/ 2758239 w 8566434"/>
                <a:gd name="connsiteY3147" fmla="*/ 1721386 h 2765205"/>
                <a:gd name="connsiteX3148" fmla="*/ 2779606 w 8566434"/>
                <a:gd name="connsiteY3148" fmla="*/ 1381242 h 2765205"/>
                <a:gd name="connsiteX3149" fmla="*/ 2918144 w 8566434"/>
                <a:gd name="connsiteY3149" fmla="*/ 1389789 h 2765205"/>
                <a:gd name="connsiteX3150" fmla="*/ 2921660 w 8566434"/>
                <a:gd name="connsiteY3150" fmla="*/ 1343610 h 2765205"/>
                <a:gd name="connsiteX3151" fmla="*/ 2907116 w 8566434"/>
                <a:gd name="connsiteY3151" fmla="*/ 1329825 h 2765205"/>
                <a:gd name="connsiteX3152" fmla="*/ 2904980 w 8566434"/>
                <a:gd name="connsiteY3152" fmla="*/ 1323897 h 2765205"/>
                <a:gd name="connsiteX3153" fmla="*/ 2922211 w 8566434"/>
                <a:gd name="connsiteY3153" fmla="*/ 1322725 h 2765205"/>
                <a:gd name="connsiteX3154" fmla="*/ 2929103 w 8566434"/>
                <a:gd name="connsiteY3154" fmla="*/ 1200177 h 2765205"/>
                <a:gd name="connsiteX3155" fmla="*/ 2835641 w 8566434"/>
                <a:gd name="connsiteY3155" fmla="*/ 1194388 h 2765205"/>
                <a:gd name="connsiteX3156" fmla="*/ 2828404 w 8566434"/>
                <a:gd name="connsiteY3156" fmla="*/ 1219132 h 2765205"/>
                <a:gd name="connsiteX3157" fmla="*/ 2830058 w 8566434"/>
                <a:gd name="connsiteY3157" fmla="*/ 1192871 h 2765205"/>
                <a:gd name="connsiteX3158" fmla="*/ 2799732 w 8566434"/>
                <a:gd name="connsiteY3158" fmla="*/ 1197076 h 2765205"/>
                <a:gd name="connsiteX3159" fmla="*/ 2775953 w 8566434"/>
                <a:gd name="connsiteY3159" fmla="*/ 1199971 h 2765205"/>
                <a:gd name="connsiteX3160" fmla="*/ 2782018 w 8566434"/>
                <a:gd name="connsiteY3160" fmla="*/ 1161855 h 2765205"/>
                <a:gd name="connsiteX3161" fmla="*/ 2786154 w 8566434"/>
                <a:gd name="connsiteY3161" fmla="*/ 1197007 h 2765205"/>
                <a:gd name="connsiteX3162" fmla="*/ 2790220 w 8566434"/>
                <a:gd name="connsiteY3162" fmla="*/ 1195835 h 2765205"/>
                <a:gd name="connsiteX3163" fmla="*/ 2810829 w 8566434"/>
                <a:gd name="connsiteY3163" fmla="*/ 880092 h 2765205"/>
                <a:gd name="connsiteX3164" fmla="*/ 2792219 w 8566434"/>
                <a:gd name="connsiteY3164" fmla="*/ 882435 h 2765205"/>
                <a:gd name="connsiteX3165" fmla="*/ 2811793 w 8566434"/>
                <a:gd name="connsiteY3165" fmla="*/ 877335 h 2765205"/>
                <a:gd name="connsiteX3166" fmla="*/ 2812345 w 8566434"/>
                <a:gd name="connsiteY3166" fmla="*/ 851488 h 2765205"/>
                <a:gd name="connsiteX3167" fmla="*/ 2905186 w 8566434"/>
                <a:gd name="connsiteY3167" fmla="*/ 857622 h 2765205"/>
                <a:gd name="connsiteX3168" fmla="*/ 2913871 w 8566434"/>
                <a:gd name="connsiteY3168" fmla="*/ 837083 h 2765205"/>
                <a:gd name="connsiteX3169" fmla="*/ 2910494 w 8566434"/>
                <a:gd name="connsiteY3169" fmla="*/ 858863 h 2765205"/>
                <a:gd name="connsiteX3170" fmla="*/ 2937168 w 8566434"/>
                <a:gd name="connsiteY3170" fmla="*/ 857829 h 2765205"/>
                <a:gd name="connsiteX3171" fmla="*/ 2963635 w 8566434"/>
                <a:gd name="connsiteY3171" fmla="*/ 839564 h 2765205"/>
                <a:gd name="connsiteX3172" fmla="*/ 2947368 w 8566434"/>
                <a:gd name="connsiteY3172" fmla="*/ 859070 h 2765205"/>
                <a:gd name="connsiteX3173" fmla="*/ 3002163 w 8566434"/>
                <a:gd name="connsiteY3173" fmla="*/ 863343 h 2765205"/>
                <a:gd name="connsiteX3174" fmla="*/ 3004438 w 8566434"/>
                <a:gd name="connsiteY3174" fmla="*/ 802207 h 2765205"/>
                <a:gd name="connsiteX3175" fmla="*/ 2987483 w 8566434"/>
                <a:gd name="connsiteY3175" fmla="*/ 798209 h 2765205"/>
                <a:gd name="connsiteX3176" fmla="*/ 2957707 w 8566434"/>
                <a:gd name="connsiteY3176" fmla="*/ 829708 h 2765205"/>
                <a:gd name="connsiteX3177" fmla="*/ 2974938 w 8566434"/>
                <a:gd name="connsiteY3177" fmla="*/ 799105 h 2765205"/>
                <a:gd name="connsiteX3178" fmla="*/ 2985966 w 8566434"/>
                <a:gd name="connsiteY3178" fmla="*/ 803378 h 2765205"/>
                <a:gd name="connsiteX3179" fmla="*/ 2985277 w 8566434"/>
                <a:gd name="connsiteY3179" fmla="*/ 791799 h 2765205"/>
                <a:gd name="connsiteX3180" fmla="*/ 3006299 w 8566434"/>
                <a:gd name="connsiteY3180" fmla="*/ 794970 h 2765205"/>
                <a:gd name="connsiteX3181" fmla="*/ 2991687 w 8566434"/>
                <a:gd name="connsiteY3181" fmla="*/ 772293 h 2765205"/>
                <a:gd name="connsiteX3182" fmla="*/ 2997614 w 8566434"/>
                <a:gd name="connsiteY3182" fmla="*/ 771053 h 2765205"/>
                <a:gd name="connsiteX3183" fmla="*/ 2999200 w 8566434"/>
                <a:gd name="connsiteY3183" fmla="*/ 781116 h 2765205"/>
                <a:gd name="connsiteX3184" fmla="*/ 3007057 w 8566434"/>
                <a:gd name="connsiteY3184" fmla="*/ 780702 h 2765205"/>
                <a:gd name="connsiteX3185" fmla="*/ 3014432 w 8566434"/>
                <a:gd name="connsiteY3185" fmla="*/ 674007 h 2765205"/>
                <a:gd name="connsiteX3186" fmla="*/ 2921315 w 8566434"/>
                <a:gd name="connsiteY3186" fmla="*/ 671457 h 2765205"/>
                <a:gd name="connsiteX3187" fmla="*/ 2929723 w 8566434"/>
                <a:gd name="connsiteY3187" fmla="*/ 706057 h 2765205"/>
                <a:gd name="connsiteX3188" fmla="*/ 2926898 w 8566434"/>
                <a:gd name="connsiteY3188" fmla="*/ 711502 h 2765205"/>
                <a:gd name="connsiteX3189" fmla="*/ 2902636 w 8566434"/>
                <a:gd name="connsiteY3189" fmla="*/ 728251 h 2765205"/>
                <a:gd name="connsiteX3190" fmla="*/ 2913871 w 8566434"/>
                <a:gd name="connsiteY3190" fmla="*/ 692823 h 2765205"/>
                <a:gd name="connsiteX3191" fmla="*/ 2902016 w 8566434"/>
                <a:gd name="connsiteY3191" fmla="*/ 668010 h 2765205"/>
                <a:gd name="connsiteX3192" fmla="*/ 2854734 w 8566434"/>
                <a:gd name="connsiteY3192" fmla="*/ 663944 h 2765205"/>
                <a:gd name="connsiteX3193" fmla="*/ 2861212 w 8566434"/>
                <a:gd name="connsiteY3193" fmla="*/ 699923 h 2765205"/>
                <a:gd name="connsiteX3194" fmla="*/ 2850943 w 8566434"/>
                <a:gd name="connsiteY3194" fmla="*/ 691514 h 2765205"/>
                <a:gd name="connsiteX3195" fmla="*/ 2846118 w 8566434"/>
                <a:gd name="connsiteY3195" fmla="*/ 712329 h 2765205"/>
                <a:gd name="connsiteX3196" fmla="*/ 2811931 w 8566434"/>
                <a:gd name="connsiteY3196" fmla="*/ 694546 h 2765205"/>
                <a:gd name="connsiteX3197" fmla="*/ 2799456 w 8566434"/>
                <a:gd name="connsiteY3197" fmla="*/ 699302 h 2765205"/>
                <a:gd name="connsiteX3198" fmla="*/ 2800076 w 8566434"/>
                <a:gd name="connsiteY3198" fmla="*/ 672490 h 2765205"/>
                <a:gd name="connsiteX3199" fmla="*/ 2791599 w 8566434"/>
                <a:gd name="connsiteY3199" fmla="*/ 659877 h 2765205"/>
                <a:gd name="connsiteX3200" fmla="*/ 2735080 w 8566434"/>
                <a:gd name="connsiteY3200" fmla="*/ 656707 h 2765205"/>
                <a:gd name="connsiteX3201" fmla="*/ 2733288 w 8566434"/>
                <a:gd name="connsiteY3201" fmla="*/ 675041 h 2765205"/>
                <a:gd name="connsiteX3202" fmla="*/ 2731290 w 8566434"/>
                <a:gd name="connsiteY3202" fmla="*/ 656431 h 2765205"/>
                <a:gd name="connsiteX3203" fmla="*/ 2720813 w 8566434"/>
                <a:gd name="connsiteY3203" fmla="*/ 655742 h 2765205"/>
                <a:gd name="connsiteX3204" fmla="*/ 2719159 w 8566434"/>
                <a:gd name="connsiteY3204" fmla="*/ 709296 h 2765205"/>
                <a:gd name="connsiteX3205" fmla="*/ 2729704 w 8566434"/>
                <a:gd name="connsiteY3205" fmla="*/ 710813 h 2765205"/>
                <a:gd name="connsiteX3206" fmla="*/ 2717436 w 8566434"/>
                <a:gd name="connsiteY3206" fmla="*/ 710950 h 2765205"/>
                <a:gd name="connsiteX3207" fmla="*/ 2716609 w 8566434"/>
                <a:gd name="connsiteY3207" fmla="*/ 731283 h 2765205"/>
                <a:gd name="connsiteX3208" fmla="*/ 2729291 w 8566434"/>
                <a:gd name="connsiteY3208" fmla="*/ 730249 h 2765205"/>
                <a:gd name="connsiteX3209" fmla="*/ 2711439 w 8566434"/>
                <a:gd name="connsiteY3209" fmla="*/ 771260 h 2765205"/>
                <a:gd name="connsiteX3210" fmla="*/ 2730462 w 8566434"/>
                <a:gd name="connsiteY3210" fmla="*/ 782150 h 2765205"/>
                <a:gd name="connsiteX3211" fmla="*/ 2712611 w 8566434"/>
                <a:gd name="connsiteY3211" fmla="*/ 789042 h 2765205"/>
                <a:gd name="connsiteX3212" fmla="*/ 2710750 w 8566434"/>
                <a:gd name="connsiteY3212" fmla="*/ 801518 h 2765205"/>
                <a:gd name="connsiteX3213" fmla="*/ 2711991 w 8566434"/>
                <a:gd name="connsiteY3213" fmla="*/ 826951 h 2765205"/>
                <a:gd name="connsiteX3214" fmla="*/ 2726189 w 8566434"/>
                <a:gd name="connsiteY3214" fmla="*/ 814682 h 2765205"/>
                <a:gd name="connsiteX3215" fmla="*/ 2749693 w 8566434"/>
                <a:gd name="connsiteY3215" fmla="*/ 816957 h 2765205"/>
                <a:gd name="connsiteX3216" fmla="*/ 2746384 w 8566434"/>
                <a:gd name="connsiteY3216" fmla="*/ 769261 h 2765205"/>
                <a:gd name="connsiteX3217" fmla="*/ 2755482 w 8566434"/>
                <a:gd name="connsiteY3217" fmla="*/ 809306 h 2765205"/>
                <a:gd name="connsiteX3218" fmla="*/ 2739147 w 8566434"/>
                <a:gd name="connsiteY3218" fmla="*/ 839357 h 2765205"/>
                <a:gd name="connsiteX3219" fmla="*/ 2730807 w 8566434"/>
                <a:gd name="connsiteY3219" fmla="*/ 865686 h 2765205"/>
                <a:gd name="connsiteX3220" fmla="*/ 2714334 w 8566434"/>
                <a:gd name="connsiteY3220" fmla="*/ 840391 h 2765205"/>
                <a:gd name="connsiteX3221" fmla="*/ 2735080 w 8566434"/>
                <a:gd name="connsiteY3221" fmla="*/ 844251 h 2765205"/>
                <a:gd name="connsiteX3222" fmla="*/ 2711301 w 8566434"/>
                <a:gd name="connsiteY3222" fmla="*/ 838806 h 2765205"/>
                <a:gd name="connsiteX3223" fmla="*/ 2703513 w 8566434"/>
                <a:gd name="connsiteY3223" fmla="*/ 990853 h 2765205"/>
                <a:gd name="connsiteX3224" fmla="*/ 2707373 w 8566434"/>
                <a:gd name="connsiteY3224" fmla="*/ 990991 h 2765205"/>
                <a:gd name="connsiteX3225" fmla="*/ 2713094 w 8566434"/>
                <a:gd name="connsiteY3225" fmla="*/ 978585 h 2765205"/>
                <a:gd name="connsiteX3226" fmla="*/ 2715920 w 8566434"/>
                <a:gd name="connsiteY3226" fmla="*/ 979205 h 2765205"/>
                <a:gd name="connsiteX3227" fmla="*/ 2695793 w 8566434"/>
                <a:gd name="connsiteY3227" fmla="*/ 1022834 h 2765205"/>
                <a:gd name="connsiteX3228" fmla="*/ 2708958 w 8566434"/>
                <a:gd name="connsiteY3228" fmla="*/ 1020491 h 2765205"/>
                <a:gd name="connsiteX3229" fmla="*/ 2697448 w 8566434"/>
                <a:gd name="connsiteY3229" fmla="*/ 1029313 h 2765205"/>
                <a:gd name="connsiteX3230" fmla="*/ 2692416 w 8566434"/>
                <a:gd name="connsiteY3230" fmla="*/ 1119329 h 2765205"/>
                <a:gd name="connsiteX3231" fmla="*/ 2708544 w 8566434"/>
                <a:gd name="connsiteY3231" fmla="*/ 1115262 h 2765205"/>
                <a:gd name="connsiteX3232" fmla="*/ 2707717 w 8566434"/>
                <a:gd name="connsiteY3232" fmla="*/ 1142901 h 2765205"/>
                <a:gd name="connsiteX3233" fmla="*/ 2686764 w 8566434"/>
                <a:gd name="connsiteY3233" fmla="*/ 1157375 h 2765205"/>
                <a:gd name="connsiteX3234" fmla="*/ 2703995 w 8566434"/>
                <a:gd name="connsiteY3234" fmla="*/ 1160684 h 2765205"/>
                <a:gd name="connsiteX3235" fmla="*/ 2690555 w 8566434"/>
                <a:gd name="connsiteY3235" fmla="*/ 1184394 h 2765205"/>
                <a:gd name="connsiteX3236" fmla="*/ 2677322 w 8566434"/>
                <a:gd name="connsiteY3236" fmla="*/ 1344781 h 2765205"/>
                <a:gd name="connsiteX3237" fmla="*/ 2687040 w 8566434"/>
                <a:gd name="connsiteY3237" fmla="*/ 1346642 h 2765205"/>
                <a:gd name="connsiteX3238" fmla="*/ 2692416 w 8566434"/>
                <a:gd name="connsiteY3238" fmla="*/ 1332237 h 2765205"/>
                <a:gd name="connsiteX3239" fmla="*/ 2700342 w 8566434"/>
                <a:gd name="connsiteY3239" fmla="*/ 1336373 h 2765205"/>
                <a:gd name="connsiteX3240" fmla="*/ 2693243 w 8566434"/>
                <a:gd name="connsiteY3240" fmla="*/ 1335821 h 2765205"/>
                <a:gd name="connsiteX3241" fmla="*/ 2693588 w 8566434"/>
                <a:gd name="connsiteY3241" fmla="*/ 1353948 h 2765205"/>
                <a:gd name="connsiteX3242" fmla="*/ 2676563 w 8566434"/>
                <a:gd name="connsiteY3242" fmla="*/ 1353259 h 2765205"/>
                <a:gd name="connsiteX3243" fmla="*/ 2642997 w 8566434"/>
                <a:gd name="connsiteY3243" fmla="*/ 1904311 h 2765205"/>
                <a:gd name="connsiteX3244" fmla="*/ 2819444 w 8566434"/>
                <a:gd name="connsiteY3244" fmla="*/ 1915270 h 2765205"/>
                <a:gd name="connsiteX3245" fmla="*/ 2815447 w 8566434"/>
                <a:gd name="connsiteY3245" fmla="*/ 1901761 h 2765205"/>
                <a:gd name="connsiteX3246" fmla="*/ 2823924 w 8566434"/>
                <a:gd name="connsiteY3246" fmla="*/ 1915684 h 2765205"/>
                <a:gd name="connsiteX3247" fmla="*/ 2860454 w 8566434"/>
                <a:gd name="connsiteY3247" fmla="*/ 1918648 h 2765205"/>
                <a:gd name="connsiteX3248" fmla="*/ 2872309 w 8566434"/>
                <a:gd name="connsiteY3248" fmla="*/ 1902244 h 2765205"/>
                <a:gd name="connsiteX3249" fmla="*/ 2872102 w 8566434"/>
                <a:gd name="connsiteY3249" fmla="*/ 1918923 h 2765205"/>
                <a:gd name="connsiteX3250" fmla="*/ 3944777 w 8566434"/>
                <a:gd name="connsiteY3250" fmla="*/ 1677480 h 2765205"/>
                <a:gd name="connsiteX3251" fmla="*/ 3944777 w 8566434"/>
                <a:gd name="connsiteY3251" fmla="*/ 1677480 h 2765205"/>
                <a:gd name="connsiteX3252" fmla="*/ 4191596 w 8566434"/>
                <a:gd name="connsiteY3252" fmla="*/ 1705464 h 2765205"/>
                <a:gd name="connsiteX3253" fmla="*/ 4191596 w 8566434"/>
                <a:gd name="connsiteY3253" fmla="*/ 1705464 h 2765205"/>
                <a:gd name="connsiteX3254" fmla="*/ 4205587 w 8566434"/>
                <a:gd name="connsiteY3254" fmla="*/ 1718904 h 2765205"/>
                <a:gd name="connsiteX3255" fmla="*/ 4205587 w 8566434"/>
                <a:gd name="connsiteY3255" fmla="*/ 1718904 h 2765205"/>
                <a:gd name="connsiteX3256" fmla="*/ 3949877 w 8566434"/>
                <a:gd name="connsiteY3256" fmla="*/ 1729312 h 2765205"/>
                <a:gd name="connsiteX3257" fmla="*/ 3965247 w 8566434"/>
                <a:gd name="connsiteY3257" fmla="*/ 1712701 h 2765205"/>
                <a:gd name="connsiteX3258" fmla="*/ 3983099 w 8566434"/>
                <a:gd name="connsiteY3258" fmla="*/ 1717457 h 2765205"/>
                <a:gd name="connsiteX3259" fmla="*/ 3992128 w 8566434"/>
                <a:gd name="connsiteY3259" fmla="*/ 1707669 h 2765205"/>
                <a:gd name="connsiteX3260" fmla="*/ 3978550 w 8566434"/>
                <a:gd name="connsiteY3260" fmla="*/ 1726003 h 2765205"/>
                <a:gd name="connsiteX3261" fmla="*/ 3981582 w 8566434"/>
                <a:gd name="connsiteY3261" fmla="*/ 1736273 h 2765205"/>
                <a:gd name="connsiteX3262" fmla="*/ 3969589 w 8566434"/>
                <a:gd name="connsiteY3262" fmla="*/ 1724969 h 2765205"/>
                <a:gd name="connsiteX3263" fmla="*/ 3949877 w 8566434"/>
                <a:gd name="connsiteY3263" fmla="*/ 1729312 h 2765205"/>
                <a:gd name="connsiteX3264" fmla="*/ 4206690 w 8566434"/>
                <a:gd name="connsiteY3264" fmla="*/ 1739926 h 2765205"/>
                <a:gd name="connsiteX3265" fmla="*/ 4206690 w 8566434"/>
                <a:gd name="connsiteY3265" fmla="*/ 1739926 h 2765205"/>
                <a:gd name="connsiteX3266" fmla="*/ 4164232 w 8566434"/>
                <a:gd name="connsiteY3266" fmla="*/ 1744544 h 2765205"/>
                <a:gd name="connsiteX3267" fmla="*/ 4156926 w 8566434"/>
                <a:gd name="connsiteY3267" fmla="*/ 1692230 h 2765205"/>
                <a:gd name="connsiteX3268" fmla="*/ 4170849 w 8566434"/>
                <a:gd name="connsiteY3268" fmla="*/ 1693333 h 2765205"/>
                <a:gd name="connsiteX3269" fmla="*/ 4163750 w 8566434"/>
                <a:gd name="connsiteY3269" fmla="*/ 1714080 h 2765205"/>
                <a:gd name="connsiteX3270" fmla="*/ 4177742 w 8566434"/>
                <a:gd name="connsiteY3270" fmla="*/ 1734205 h 2765205"/>
                <a:gd name="connsiteX3271" fmla="*/ 4164232 w 8566434"/>
                <a:gd name="connsiteY3271" fmla="*/ 1744544 h 2765205"/>
                <a:gd name="connsiteX3272" fmla="*/ 3951876 w 8566434"/>
                <a:gd name="connsiteY3272" fmla="*/ 1782039 h 2765205"/>
                <a:gd name="connsiteX3273" fmla="*/ 3953874 w 8566434"/>
                <a:gd name="connsiteY3273" fmla="*/ 1740547 h 2765205"/>
                <a:gd name="connsiteX3274" fmla="*/ 3954840 w 8566434"/>
                <a:gd name="connsiteY3274" fmla="*/ 1762533 h 2765205"/>
                <a:gd name="connsiteX3275" fmla="*/ 3985511 w 8566434"/>
                <a:gd name="connsiteY3275" fmla="*/ 1745233 h 2765205"/>
                <a:gd name="connsiteX3276" fmla="*/ 3951531 w 8566434"/>
                <a:gd name="connsiteY3276" fmla="*/ 1767289 h 2765205"/>
                <a:gd name="connsiteX3277" fmla="*/ 3956287 w 8566434"/>
                <a:gd name="connsiteY3277" fmla="*/ 1781212 h 2765205"/>
                <a:gd name="connsiteX3278" fmla="*/ 3951876 w 8566434"/>
                <a:gd name="connsiteY3278" fmla="*/ 1782039 h 2765205"/>
                <a:gd name="connsiteX3279" fmla="*/ 4191527 w 8566434"/>
                <a:gd name="connsiteY3279" fmla="*/ 1801889 h 2765205"/>
                <a:gd name="connsiteX3280" fmla="*/ 4188425 w 8566434"/>
                <a:gd name="connsiteY3280" fmla="*/ 1791689 h 2765205"/>
                <a:gd name="connsiteX3281" fmla="*/ 4190010 w 8566434"/>
                <a:gd name="connsiteY3281" fmla="*/ 1788380 h 2765205"/>
                <a:gd name="connsiteX3282" fmla="*/ 4185806 w 8566434"/>
                <a:gd name="connsiteY3282" fmla="*/ 1770804 h 2765205"/>
                <a:gd name="connsiteX3283" fmla="*/ 4206828 w 8566434"/>
                <a:gd name="connsiteY3283" fmla="*/ 1794790 h 2765205"/>
                <a:gd name="connsiteX3284" fmla="*/ 4208344 w 8566434"/>
                <a:gd name="connsiteY3284" fmla="*/ 1762533 h 2765205"/>
                <a:gd name="connsiteX3285" fmla="*/ 4210895 w 8566434"/>
                <a:gd name="connsiteY3285" fmla="*/ 1796444 h 2765205"/>
                <a:gd name="connsiteX3286" fmla="*/ 4191527 w 8566434"/>
                <a:gd name="connsiteY3286" fmla="*/ 1794446 h 2765205"/>
                <a:gd name="connsiteX3287" fmla="*/ 4191527 w 8566434"/>
                <a:gd name="connsiteY3287" fmla="*/ 1801889 h 2765205"/>
                <a:gd name="connsiteX3288" fmla="*/ 4123084 w 8566434"/>
                <a:gd name="connsiteY3288" fmla="*/ 1808713 h 2765205"/>
                <a:gd name="connsiteX3289" fmla="*/ 4123084 w 8566434"/>
                <a:gd name="connsiteY3289" fmla="*/ 1808713 h 2765205"/>
                <a:gd name="connsiteX3290" fmla="*/ 4198006 w 8566434"/>
                <a:gd name="connsiteY3290" fmla="*/ 1863991 h 2765205"/>
                <a:gd name="connsiteX3291" fmla="*/ 4198006 w 8566434"/>
                <a:gd name="connsiteY3291" fmla="*/ 1863991 h 2765205"/>
                <a:gd name="connsiteX3292" fmla="*/ 4027210 w 8566434"/>
                <a:gd name="connsiteY3292" fmla="*/ 1863922 h 2765205"/>
                <a:gd name="connsiteX3293" fmla="*/ 4014597 w 8566434"/>
                <a:gd name="connsiteY3293" fmla="*/ 1846690 h 2765205"/>
                <a:gd name="connsiteX3294" fmla="*/ 4027210 w 8566434"/>
                <a:gd name="connsiteY3294" fmla="*/ 1863922 h 2765205"/>
                <a:gd name="connsiteX3295" fmla="*/ 3957941 w 8566434"/>
                <a:gd name="connsiteY3295" fmla="*/ 1891147 h 2765205"/>
                <a:gd name="connsiteX3296" fmla="*/ 3957941 w 8566434"/>
                <a:gd name="connsiteY3296" fmla="*/ 1891147 h 2765205"/>
                <a:gd name="connsiteX3297" fmla="*/ 3992955 w 8566434"/>
                <a:gd name="connsiteY3297" fmla="*/ 1967929 h 2765205"/>
                <a:gd name="connsiteX3298" fmla="*/ 4124739 w 8566434"/>
                <a:gd name="connsiteY3298" fmla="*/ 1991708 h 2765205"/>
                <a:gd name="connsiteX3299" fmla="*/ 4221923 w 8566434"/>
                <a:gd name="connsiteY3299" fmla="*/ 1854134 h 2765205"/>
                <a:gd name="connsiteX3300" fmla="*/ 4257281 w 8566434"/>
                <a:gd name="connsiteY3300" fmla="*/ 1574783 h 2765205"/>
                <a:gd name="connsiteX3301" fmla="*/ 4239636 w 8566434"/>
                <a:gd name="connsiteY3301" fmla="*/ 1588706 h 2765205"/>
                <a:gd name="connsiteX3302" fmla="*/ 4189528 w 8566434"/>
                <a:gd name="connsiteY3302" fmla="*/ 1571061 h 2765205"/>
                <a:gd name="connsiteX3303" fmla="*/ 4180843 w 8566434"/>
                <a:gd name="connsiteY3303" fmla="*/ 1589188 h 2765205"/>
                <a:gd name="connsiteX3304" fmla="*/ 4150034 w 8566434"/>
                <a:gd name="connsiteY3304" fmla="*/ 1568235 h 2765205"/>
                <a:gd name="connsiteX3305" fmla="*/ 4148311 w 8566434"/>
                <a:gd name="connsiteY3305" fmla="*/ 1596908 h 2765205"/>
                <a:gd name="connsiteX3306" fmla="*/ 4160373 w 8566434"/>
                <a:gd name="connsiteY3306" fmla="*/ 1647705 h 2765205"/>
                <a:gd name="connsiteX3307" fmla="*/ 4170229 w 8566434"/>
                <a:gd name="connsiteY3307" fmla="*/ 1614139 h 2765205"/>
                <a:gd name="connsiteX3308" fmla="*/ 4164922 w 8566434"/>
                <a:gd name="connsiteY3308" fmla="*/ 1664178 h 2765205"/>
                <a:gd name="connsiteX3309" fmla="*/ 4142866 w 8566434"/>
                <a:gd name="connsiteY3309" fmla="*/ 1661834 h 2765205"/>
                <a:gd name="connsiteX3310" fmla="*/ 4117708 w 8566434"/>
                <a:gd name="connsiteY3310" fmla="*/ 1791964 h 2765205"/>
                <a:gd name="connsiteX3311" fmla="*/ 4066842 w 8566434"/>
                <a:gd name="connsiteY3311" fmla="*/ 1817811 h 2765205"/>
                <a:gd name="connsiteX3312" fmla="*/ 4029829 w 8566434"/>
                <a:gd name="connsiteY3312" fmla="*/ 1771356 h 2765205"/>
                <a:gd name="connsiteX3313" fmla="*/ 4017285 w 8566434"/>
                <a:gd name="connsiteY3313" fmla="*/ 1678997 h 2765205"/>
                <a:gd name="connsiteX3314" fmla="*/ 3999227 w 8566434"/>
                <a:gd name="connsiteY3314" fmla="*/ 1685407 h 2765205"/>
                <a:gd name="connsiteX3315" fmla="*/ 4002742 w 8566434"/>
                <a:gd name="connsiteY3315" fmla="*/ 1675688 h 2765205"/>
                <a:gd name="connsiteX3316" fmla="*/ 3989853 w 8566434"/>
                <a:gd name="connsiteY3316" fmla="*/ 1676929 h 2765205"/>
                <a:gd name="connsiteX3317" fmla="*/ 3974896 w 8566434"/>
                <a:gd name="connsiteY3317" fmla="*/ 1676516 h 2765205"/>
                <a:gd name="connsiteX3318" fmla="*/ 3976689 w 8566434"/>
                <a:gd name="connsiteY3318" fmla="*/ 1702500 h 2765205"/>
                <a:gd name="connsiteX3319" fmla="*/ 3935127 w 8566434"/>
                <a:gd name="connsiteY3319" fmla="*/ 1717526 h 2765205"/>
                <a:gd name="connsiteX3320" fmla="*/ 3971106 w 8566434"/>
                <a:gd name="connsiteY3320" fmla="*/ 1700501 h 2765205"/>
                <a:gd name="connsiteX3321" fmla="*/ 3973242 w 8566434"/>
                <a:gd name="connsiteY3321" fmla="*/ 1675413 h 2765205"/>
                <a:gd name="connsiteX3322" fmla="*/ 3966143 w 8566434"/>
                <a:gd name="connsiteY3322" fmla="*/ 1670657 h 2765205"/>
                <a:gd name="connsiteX3323" fmla="*/ 3930095 w 8566434"/>
                <a:gd name="connsiteY3323" fmla="*/ 1620135 h 2765205"/>
                <a:gd name="connsiteX3324" fmla="*/ 3923134 w 8566434"/>
                <a:gd name="connsiteY3324" fmla="*/ 1680858 h 2765205"/>
                <a:gd name="connsiteX3325" fmla="*/ 3920653 w 8566434"/>
                <a:gd name="connsiteY3325" fmla="*/ 1747990 h 2765205"/>
                <a:gd name="connsiteX3326" fmla="*/ 3943880 w 8566434"/>
                <a:gd name="connsiteY3326" fmla="*/ 1745302 h 2765205"/>
                <a:gd name="connsiteX3327" fmla="*/ 3921411 w 8566434"/>
                <a:gd name="connsiteY3327" fmla="*/ 1761775 h 2765205"/>
                <a:gd name="connsiteX3328" fmla="*/ 3992955 w 8566434"/>
                <a:gd name="connsiteY3328" fmla="*/ 1967929 h 2765205"/>
                <a:gd name="connsiteX3329" fmla="*/ 3656672 w 8566434"/>
                <a:gd name="connsiteY3329" fmla="*/ 754373 h 2765205"/>
                <a:gd name="connsiteX3330" fmla="*/ 3665976 w 8566434"/>
                <a:gd name="connsiteY3330" fmla="*/ 744793 h 2765205"/>
                <a:gd name="connsiteX3331" fmla="*/ 3656672 w 8566434"/>
                <a:gd name="connsiteY3331" fmla="*/ 754373 h 2765205"/>
                <a:gd name="connsiteX3332" fmla="*/ 3447692 w 8566434"/>
                <a:gd name="connsiteY3332" fmla="*/ 759749 h 2765205"/>
                <a:gd name="connsiteX3333" fmla="*/ 3458720 w 8566434"/>
                <a:gd name="connsiteY3333" fmla="*/ 749893 h 2765205"/>
                <a:gd name="connsiteX3334" fmla="*/ 3447692 w 8566434"/>
                <a:gd name="connsiteY3334" fmla="*/ 759749 h 2765205"/>
                <a:gd name="connsiteX3335" fmla="*/ 3662530 w 8566434"/>
                <a:gd name="connsiteY3335" fmla="*/ 767882 h 2765205"/>
                <a:gd name="connsiteX3336" fmla="*/ 3662530 w 8566434"/>
                <a:gd name="connsiteY3336" fmla="*/ 767882 h 2765205"/>
                <a:gd name="connsiteX3337" fmla="*/ 3626896 w 8566434"/>
                <a:gd name="connsiteY3337" fmla="*/ 793522 h 2765205"/>
                <a:gd name="connsiteX3338" fmla="*/ 3631376 w 8566434"/>
                <a:gd name="connsiteY3338" fmla="*/ 777463 h 2765205"/>
                <a:gd name="connsiteX3339" fmla="*/ 3626896 w 8566434"/>
                <a:gd name="connsiteY3339" fmla="*/ 793522 h 2765205"/>
                <a:gd name="connsiteX3340" fmla="*/ 3653570 w 8566434"/>
                <a:gd name="connsiteY3340" fmla="*/ 802207 h 2765205"/>
                <a:gd name="connsiteX3341" fmla="*/ 3653570 w 8566434"/>
                <a:gd name="connsiteY3341" fmla="*/ 802207 h 2765205"/>
                <a:gd name="connsiteX3342" fmla="*/ 3613663 w 8566434"/>
                <a:gd name="connsiteY3342" fmla="*/ 809375 h 2765205"/>
                <a:gd name="connsiteX3343" fmla="*/ 3623381 w 8566434"/>
                <a:gd name="connsiteY3343" fmla="*/ 799588 h 2765205"/>
                <a:gd name="connsiteX3344" fmla="*/ 3613663 w 8566434"/>
                <a:gd name="connsiteY3344" fmla="*/ 809375 h 2765205"/>
                <a:gd name="connsiteX3345" fmla="*/ 3330934 w 8566434"/>
                <a:gd name="connsiteY3345" fmla="*/ 815923 h 2765205"/>
                <a:gd name="connsiteX3346" fmla="*/ 3340514 w 8566434"/>
                <a:gd name="connsiteY3346" fmla="*/ 806894 h 2765205"/>
                <a:gd name="connsiteX3347" fmla="*/ 3330934 w 8566434"/>
                <a:gd name="connsiteY3347" fmla="*/ 815923 h 2765205"/>
                <a:gd name="connsiteX3348" fmla="*/ 3559005 w 8566434"/>
                <a:gd name="connsiteY3348" fmla="*/ 852315 h 2765205"/>
                <a:gd name="connsiteX3349" fmla="*/ 3559005 w 8566434"/>
                <a:gd name="connsiteY3349" fmla="*/ 852315 h 2765205"/>
                <a:gd name="connsiteX3350" fmla="*/ 3544186 w 8566434"/>
                <a:gd name="connsiteY3350" fmla="*/ 851005 h 2765205"/>
                <a:gd name="connsiteX3351" fmla="*/ 3544186 w 8566434"/>
                <a:gd name="connsiteY3351" fmla="*/ 851005 h 2765205"/>
                <a:gd name="connsiteX3352" fmla="*/ 3463407 w 8566434"/>
                <a:gd name="connsiteY3352" fmla="*/ 848731 h 2765205"/>
                <a:gd name="connsiteX3353" fmla="*/ 3462855 w 8566434"/>
                <a:gd name="connsiteY3353" fmla="*/ 832809 h 2765205"/>
                <a:gd name="connsiteX3354" fmla="*/ 3473401 w 8566434"/>
                <a:gd name="connsiteY3354" fmla="*/ 845974 h 2765205"/>
                <a:gd name="connsiteX3355" fmla="*/ 3475262 w 8566434"/>
                <a:gd name="connsiteY3355" fmla="*/ 826951 h 2765205"/>
                <a:gd name="connsiteX3356" fmla="*/ 3486428 w 8566434"/>
                <a:gd name="connsiteY3356" fmla="*/ 830741 h 2765205"/>
                <a:gd name="connsiteX3357" fmla="*/ 3492148 w 8566434"/>
                <a:gd name="connsiteY3357" fmla="*/ 818128 h 2765205"/>
                <a:gd name="connsiteX3358" fmla="*/ 3495043 w 8566434"/>
                <a:gd name="connsiteY3358" fmla="*/ 850454 h 2765205"/>
                <a:gd name="connsiteX3359" fmla="*/ 3463407 w 8566434"/>
                <a:gd name="connsiteY3359" fmla="*/ 848731 h 2765205"/>
                <a:gd name="connsiteX3360" fmla="*/ 3579476 w 8566434"/>
                <a:gd name="connsiteY3360" fmla="*/ 853762 h 2765205"/>
                <a:gd name="connsiteX3361" fmla="*/ 3579338 w 8566434"/>
                <a:gd name="connsiteY3361" fmla="*/ 849144 h 2765205"/>
                <a:gd name="connsiteX3362" fmla="*/ 3644679 w 8566434"/>
                <a:gd name="connsiteY3362" fmla="*/ 843837 h 2765205"/>
                <a:gd name="connsiteX3363" fmla="*/ 3645023 w 8566434"/>
                <a:gd name="connsiteY3363" fmla="*/ 865617 h 2765205"/>
                <a:gd name="connsiteX3364" fmla="*/ 3624346 w 8566434"/>
                <a:gd name="connsiteY3364" fmla="*/ 848110 h 2765205"/>
                <a:gd name="connsiteX3365" fmla="*/ 3609458 w 8566434"/>
                <a:gd name="connsiteY3365" fmla="*/ 862585 h 2765205"/>
                <a:gd name="connsiteX3366" fmla="*/ 3579476 w 8566434"/>
                <a:gd name="connsiteY3366" fmla="*/ 853762 h 2765205"/>
                <a:gd name="connsiteX3367" fmla="*/ 3475882 w 8566434"/>
                <a:gd name="connsiteY3367" fmla="*/ 863963 h 2765205"/>
                <a:gd name="connsiteX3368" fmla="*/ 3475882 w 8566434"/>
                <a:gd name="connsiteY3368" fmla="*/ 863963 h 2765205"/>
                <a:gd name="connsiteX3369" fmla="*/ 3518615 w 8566434"/>
                <a:gd name="connsiteY3369" fmla="*/ 884778 h 2765205"/>
                <a:gd name="connsiteX3370" fmla="*/ 3489805 w 8566434"/>
                <a:gd name="connsiteY3370" fmla="*/ 874026 h 2765205"/>
                <a:gd name="connsiteX3371" fmla="*/ 3518615 w 8566434"/>
                <a:gd name="connsiteY3371" fmla="*/ 884778 h 2765205"/>
                <a:gd name="connsiteX3372" fmla="*/ 3331347 w 8566434"/>
                <a:gd name="connsiteY3372" fmla="*/ 1022697 h 2765205"/>
                <a:gd name="connsiteX3373" fmla="*/ 3331347 w 8566434"/>
                <a:gd name="connsiteY3373" fmla="*/ 1022697 h 2765205"/>
                <a:gd name="connsiteX3374" fmla="*/ 3483671 w 8566434"/>
                <a:gd name="connsiteY3374" fmla="*/ 1065223 h 2765205"/>
                <a:gd name="connsiteX3375" fmla="*/ 3498903 w 8566434"/>
                <a:gd name="connsiteY3375" fmla="*/ 1060467 h 2765205"/>
                <a:gd name="connsiteX3376" fmla="*/ 3483671 w 8566434"/>
                <a:gd name="connsiteY3376" fmla="*/ 1065223 h 2765205"/>
                <a:gd name="connsiteX3377" fmla="*/ 3473814 w 8566434"/>
                <a:gd name="connsiteY3377" fmla="*/ 1086176 h 2765205"/>
                <a:gd name="connsiteX3378" fmla="*/ 3498559 w 8566434"/>
                <a:gd name="connsiteY3378" fmla="*/ 1084453 h 2765205"/>
                <a:gd name="connsiteX3379" fmla="*/ 3473814 w 8566434"/>
                <a:gd name="connsiteY3379" fmla="*/ 1086176 h 2765205"/>
                <a:gd name="connsiteX3380" fmla="*/ 3530126 w 8566434"/>
                <a:gd name="connsiteY3380" fmla="*/ 1098514 h 2765205"/>
                <a:gd name="connsiteX3381" fmla="*/ 3530126 w 8566434"/>
                <a:gd name="connsiteY3381" fmla="*/ 1098514 h 2765205"/>
                <a:gd name="connsiteX3382" fmla="*/ 3544324 w 8566434"/>
                <a:gd name="connsiteY3382" fmla="*/ 1105958 h 2765205"/>
                <a:gd name="connsiteX3383" fmla="*/ 3544324 w 8566434"/>
                <a:gd name="connsiteY3383" fmla="*/ 1105958 h 2765205"/>
                <a:gd name="connsiteX3384" fmla="*/ 3556179 w 8566434"/>
                <a:gd name="connsiteY3384" fmla="*/ 1102442 h 2765205"/>
                <a:gd name="connsiteX3385" fmla="*/ 3598568 w 8566434"/>
                <a:gd name="connsiteY3385" fmla="*/ 1106991 h 2765205"/>
                <a:gd name="connsiteX3386" fmla="*/ 3556179 w 8566434"/>
                <a:gd name="connsiteY3386" fmla="*/ 1102442 h 2765205"/>
                <a:gd name="connsiteX3387" fmla="*/ 3323283 w 8566434"/>
                <a:gd name="connsiteY3387" fmla="*/ 1113332 h 2765205"/>
                <a:gd name="connsiteX3388" fmla="*/ 3323283 w 8566434"/>
                <a:gd name="connsiteY3388" fmla="*/ 1113332 h 2765205"/>
                <a:gd name="connsiteX3389" fmla="*/ 3566587 w 8566434"/>
                <a:gd name="connsiteY3389" fmla="*/ 1132080 h 2765205"/>
                <a:gd name="connsiteX3390" fmla="*/ 3579269 w 8566434"/>
                <a:gd name="connsiteY3390" fmla="*/ 1120501 h 2765205"/>
                <a:gd name="connsiteX3391" fmla="*/ 3566587 w 8566434"/>
                <a:gd name="connsiteY3391" fmla="*/ 1132080 h 2765205"/>
                <a:gd name="connsiteX3392" fmla="*/ 3600705 w 8566434"/>
                <a:gd name="connsiteY3392" fmla="*/ 1139179 h 2765205"/>
                <a:gd name="connsiteX3393" fmla="*/ 3608493 w 8566434"/>
                <a:gd name="connsiteY3393" fmla="*/ 1116089 h 2765205"/>
                <a:gd name="connsiteX3394" fmla="*/ 3600705 w 8566434"/>
                <a:gd name="connsiteY3394" fmla="*/ 1139179 h 2765205"/>
                <a:gd name="connsiteX3395" fmla="*/ 3295507 w 8566434"/>
                <a:gd name="connsiteY3395" fmla="*/ 1160063 h 2765205"/>
                <a:gd name="connsiteX3396" fmla="*/ 3300193 w 8566434"/>
                <a:gd name="connsiteY3396" fmla="*/ 1144831 h 2765205"/>
                <a:gd name="connsiteX3397" fmla="*/ 3295507 w 8566434"/>
                <a:gd name="connsiteY3397" fmla="*/ 1160063 h 2765205"/>
                <a:gd name="connsiteX3398" fmla="*/ 3501729 w 8566434"/>
                <a:gd name="connsiteY3398" fmla="*/ 1157444 h 2765205"/>
                <a:gd name="connsiteX3399" fmla="*/ 3462304 w 8566434"/>
                <a:gd name="connsiteY3399" fmla="*/ 1161304 h 2765205"/>
                <a:gd name="connsiteX3400" fmla="*/ 3465268 w 8566434"/>
                <a:gd name="connsiteY3400" fmla="*/ 1146692 h 2765205"/>
                <a:gd name="connsiteX3401" fmla="*/ 3441144 w 8566434"/>
                <a:gd name="connsiteY3401" fmla="*/ 1133872 h 2765205"/>
                <a:gd name="connsiteX3402" fmla="*/ 3451759 w 8566434"/>
                <a:gd name="connsiteY3402" fmla="*/ 1096997 h 2765205"/>
                <a:gd name="connsiteX3403" fmla="*/ 3473401 w 8566434"/>
                <a:gd name="connsiteY3403" fmla="*/ 1102925 h 2765205"/>
                <a:gd name="connsiteX3404" fmla="*/ 3450035 w 8566434"/>
                <a:gd name="connsiteY3404" fmla="*/ 1102029 h 2765205"/>
                <a:gd name="connsiteX3405" fmla="*/ 3477261 w 8566434"/>
                <a:gd name="connsiteY3405" fmla="*/ 1146347 h 2765205"/>
                <a:gd name="connsiteX3406" fmla="*/ 3477399 w 8566434"/>
                <a:gd name="connsiteY3406" fmla="*/ 1123671 h 2765205"/>
                <a:gd name="connsiteX3407" fmla="*/ 3491735 w 8566434"/>
                <a:gd name="connsiteY3407" fmla="*/ 1124498 h 2765205"/>
                <a:gd name="connsiteX3408" fmla="*/ 3492700 w 8566434"/>
                <a:gd name="connsiteY3408" fmla="*/ 1130770 h 2765205"/>
                <a:gd name="connsiteX3409" fmla="*/ 3482154 w 8566434"/>
                <a:gd name="connsiteY3409" fmla="*/ 1129530 h 2765205"/>
                <a:gd name="connsiteX3410" fmla="*/ 3484842 w 8566434"/>
                <a:gd name="connsiteY3410" fmla="*/ 1153378 h 2765205"/>
                <a:gd name="connsiteX3411" fmla="*/ 3507381 w 8566434"/>
                <a:gd name="connsiteY3411" fmla="*/ 1150414 h 2765205"/>
                <a:gd name="connsiteX3412" fmla="*/ 3507243 w 8566434"/>
                <a:gd name="connsiteY3412" fmla="*/ 1170333 h 2765205"/>
                <a:gd name="connsiteX3413" fmla="*/ 3501729 w 8566434"/>
                <a:gd name="connsiteY3413" fmla="*/ 1157444 h 2765205"/>
                <a:gd name="connsiteX3414" fmla="*/ 3396550 w 8566434"/>
                <a:gd name="connsiteY3414" fmla="*/ 1170816 h 2765205"/>
                <a:gd name="connsiteX3415" fmla="*/ 3376355 w 8566434"/>
                <a:gd name="connsiteY3415" fmla="*/ 963077 h 2765205"/>
                <a:gd name="connsiteX3416" fmla="*/ 3432942 w 8566434"/>
                <a:gd name="connsiteY3416" fmla="*/ 846043 h 2765205"/>
                <a:gd name="connsiteX3417" fmla="*/ 3419295 w 8566434"/>
                <a:gd name="connsiteY3417" fmla="*/ 867341 h 2765205"/>
                <a:gd name="connsiteX3418" fmla="*/ 3465612 w 8566434"/>
                <a:gd name="connsiteY3418" fmla="*/ 884641 h 2765205"/>
                <a:gd name="connsiteX3419" fmla="*/ 3472505 w 8566434"/>
                <a:gd name="connsiteY3419" fmla="*/ 870993 h 2765205"/>
                <a:gd name="connsiteX3420" fmla="*/ 3497318 w 8566434"/>
                <a:gd name="connsiteY3420" fmla="*/ 941848 h 2765205"/>
                <a:gd name="connsiteX3421" fmla="*/ 3413712 w 8566434"/>
                <a:gd name="connsiteY3421" fmla="*/ 1135526 h 2765205"/>
                <a:gd name="connsiteX3422" fmla="*/ 3396550 w 8566434"/>
                <a:gd name="connsiteY3422" fmla="*/ 1170816 h 2765205"/>
                <a:gd name="connsiteX3423" fmla="*/ 3454860 w 8566434"/>
                <a:gd name="connsiteY3423" fmla="*/ 1209551 h 2765205"/>
                <a:gd name="connsiteX3424" fmla="*/ 3454722 w 8566434"/>
                <a:gd name="connsiteY3424" fmla="*/ 1189563 h 2765205"/>
                <a:gd name="connsiteX3425" fmla="*/ 3454860 w 8566434"/>
                <a:gd name="connsiteY3425" fmla="*/ 1209551 h 2765205"/>
                <a:gd name="connsiteX3426" fmla="*/ 3309223 w 8566434"/>
                <a:gd name="connsiteY3426" fmla="*/ 1200108 h 2765205"/>
                <a:gd name="connsiteX3427" fmla="*/ 3324731 w 8566434"/>
                <a:gd name="connsiteY3427" fmla="*/ 1201142 h 2765205"/>
                <a:gd name="connsiteX3428" fmla="*/ 3332864 w 8566434"/>
                <a:gd name="connsiteY3428" fmla="*/ 1133734 h 2765205"/>
                <a:gd name="connsiteX3429" fmla="*/ 3346442 w 8566434"/>
                <a:gd name="connsiteY3429" fmla="*/ 1169368 h 2765205"/>
                <a:gd name="connsiteX3430" fmla="*/ 3353748 w 8566434"/>
                <a:gd name="connsiteY3430" fmla="*/ 1144624 h 2765205"/>
                <a:gd name="connsiteX3431" fmla="*/ 3354851 w 8566434"/>
                <a:gd name="connsiteY3431" fmla="*/ 1144280 h 2765205"/>
                <a:gd name="connsiteX3432" fmla="*/ 3345270 w 8566434"/>
                <a:gd name="connsiteY3432" fmla="*/ 1205485 h 2765205"/>
                <a:gd name="connsiteX3433" fmla="*/ 3328108 w 8566434"/>
                <a:gd name="connsiteY3433" fmla="*/ 1195077 h 2765205"/>
                <a:gd name="connsiteX3434" fmla="*/ 3327970 w 8566434"/>
                <a:gd name="connsiteY3434" fmla="*/ 1207484 h 2765205"/>
                <a:gd name="connsiteX3435" fmla="*/ 3309223 w 8566434"/>
                <a:gd name="connsiteY3435" fmla="*/ 1200108 h 2765205"/>
                <a:gd name="connsiteX3436" fmla="*/ 3426877 w 8566434"/>
                <a:gd name="connsiteY3436" fmla="*/ 1214514 h 2765205"/>
                <a:gd name="connsiteX3437" fmla="*/ 3438250 w 8566434"/>
                <a:gd name="connsiteY3437" fmla="*/ 1198523 h 2765205"/>
                <a:gd name="connsiteX3438" fmla="*/ 3426877 w 8566434"/>
                <a:gd name="connsiteY3438" fmla="*/ 1214514 h 2765205"/>
                <a:gd name="connsiteX3439" fmla="*/ 3358297 w 8566434"/>
                <a:gd name="connsiteY3439" fmla="*/ 1237879 h 2765205"/>
                <a:gd name="connsiteX3440" fmla="*/ 3358297 w 8566434"/>
                <a:gd name="connsiteY3440" fmla="*/ 1237879 h 2765205"/>
                <a:gd name="connsiteX3441" fmla="*/ 3426119 w 8566434"/>
                <a:gd name="connsiteY3441" fmla="*/ 1242911 h 2765205"/>
                <a:gd name="connsiteX3442" fmla="*/ 3426119 w 8566434"/>
                <a:gd name="connsiteY3442" fmla="*/ 1242911 h 2765205"/>
                <a:gd name="connsiteX3443" fmla="*/ 3632962 w 8566434"/>
                <a:gd name="connsiteY3443" fmla="*/ 1271928 h 2765205"/>
                <a:gd name="connsiteX3444" fmla="*/ 3644816 w 8566434"/>
                <a:gd name="connsiteY3444" fmla="*/ 1260556 h 2765205"/>
                <a:gd name="connsiteX3445" fmla="*/ 3632962 w 8566434"/>
                <a:gd name="connsiteY3445" fmla="*/ 1271928 h 2765205"/>
                <a:gd name="connsiteX3446" fmla="*/ 3358986 w 8566434"/>
                <a:gd name="connsiteY3446" fmla="*/ 1271308 h 2765205"/>
                <a:gd name="connsiteX3447" fmla="*/ 3358986 w 8566434"/>
                <a:gd name="connsiteY3447" fmla="*/ 1271308 h 2765205"/>
                <a:gd name="connsiteX3448" fmla="*/ 3592847 w 8566434"/>
                <a:gd name="connsiteY3448" fmla="*/ 1298878 h 2765205"/>
                <a:gd name="connsiteX3449" fmla="*/ 3597465 w 8566434"/>
                <a:gd name="connsiteY3449" fmla="*/ 1283094 h 2765205"/>
                <a:gd name="connsiteX3450" fmla="*/ 3592847 w 8566434"/>
                <a:gd name="connsiteY3450" fmla="*/ 1298878 h 2765205"/>
                <a:gd name="connsiteX3451" fmla="*/ 3358021 w 8566434"/>
                <a:gd name="connsiteY3451" fmla="*/ 1311973 h 2765205"/>
                <a:gd name="connsiteX3452" fmla="*/ 3358021 w 8566434"/>
                <a:gd name="connsiteY3452" fmla="*/ 1311973 h 2765205"/>
                <a:gd name="connsiteX3453" fmla="*/ 3366154 w 8566434"/>
                <a:gd name="connsiteY3453" fmla="*/ 1368354 h 2765205"/>
                <a:gd name="connsiteX3454" fmla="*/ 3367395 w 8566434"/>
                <a:gd name="connsiteY3454" fmla="*/ 1334718 h 2765205"/>
                <a:gd name="connsiteX3455" fmla="*/ 3377527 w 8566434"/>
                <a:gd name="connsiteY3455" fmla="*/ 1361530 h 2765205"/>
                <a:gd name="connsiteX3456" fmla="*/ 3366154 w 8566434"/>
                <a:gd name="connsiteY3456" fmla="*/ 1368354 h 2765205"/>
                <a:gd name="connsiteX3457" fmla="*/ 3346924 w 8566434"/>
                <a:gd name="connsiteY3457" fmla="*/ 1367940 h 2765205"/>
                <a:gd name="connsiteX3458" fmla="*/ 3356091 w 8566434"/>
                <a:gd name="connsiteY3458" fmla="*/ 1351812 h 2765205"/>
                <a:gd name="connsiteX3459" fmla="*/ 3346924 w 8566434"/>
                <a:gd name="connsiteY3459" fmla="*/ 1367940 h 2765205"/>
                <a:gd name="connsiteX3460" fmla="*/ 3354919 w 8566434"/>
                <a:gd name="connsiteY3460" fmla="*/ 1398887 h 2765205"/>
                <a:gd name="connsiteX3461" fmla="*/ 3351611 w 8566434"/>
                <a:gd name="connsiteY3461" fmla="*/ 1387032 h 2765205"/>
                <a:gd name="connsiteX3462" fmla="*/ 3372289 w 8566434"/>
                <a:gd name="connsiteY3462" fmla="*/ 1385516 h 2765205"/>
                <a:gd name="connsiteX3463" fmla="*/ 3354919 w 8566434"/>
                <a:gd name="connsiteY3463" fmla="*/ 1398887 h 2765205"/>
                <a:gd name="connsiteX3464" fmla="*/ 3421225 w 8566434"/>
                <a:gd name="connsiteY3464" fmla="*/ 1424803 h 2765205"/>
                <a:gd name="connsiteX3465" fmla="*/ 3421225 w 8566434"/>
                <a:gd name="connsiteY3465" fmla="*/ 1424803 h 2765205"/>
                <a:gd name="connsiteX3466" fmla="*/ 3343685 w 8566434"/>
                <a:gd name="connsiteY3466" fmla="*/ 1422597 h 2765205"/>
                <a:gd name="connsiteX3467" fmla="*/ 3343685 w 8566434"/>
                <a:gd name="connsiteY3467" fmla="*/ 1422597 h 2765205"/>
                <a:gd name="connsiteX3468" fmla="*/ 3441007 w 8566434"/>
                <a:gd name="connsiteY3468" fmla="*/ 1428318 h 2765205"/>
                <a:gd name="connsiteX3469" fmla="*/ 3441007 w 8566434"/>
                <a:gd name="connsiteY3469" fmla="*/ 1428318 h 2765205"/>
                <a:gd name="connsiteX3470" fmla="*/ 3386418 w 8566434"/>
                <a:gd name="connsiteY3470" fmla="*/ 1450305 h 2765205"/>
                <a:gd name="connsiteX3471" fmla="*/ 3386418 w 8566434"/>
                <a:gd name="connsiteY3471" fmla="*/ 1450305 h 2765205"/>
                <a:gd name="connsiteX3472" fmla="*/ 3372220 w 8566434"/>
                <a:gd name="connsiteY3472" fmla="*/ 1449960 h 2765205"/>
                <a:gd name="connsiteX3473" fmla="*/ 3372220 w 8566434"/>
                <a:gd name="connsiteY3473" fmla="*/ 1449960 h 2765205"/>
                <a:gd name="connsiteX3474" fmla="*/ 3399996 w 8566434"/>
                <a:gd name="connsiteY3474" fmla="*/ 1456991 h 2765205"/>
                <a:gd name="connsiteX3475" fmla="*/ 3399996 w 8566434"/>
                <a:gd name="connsiteY3475" fmla="*/ 1456991 h 2765205"/>
                <a:gd name="connsiteX3476" fmla="*/ 3461477 w 8566434"/>
                <a:gd name="connsiteY3476" fmla="*/ 1498070 h 2765205"/>
                <a:gd name="connsiteX3477" fmla="*/ 3461477 w 8566434"/>
                <a:gd name="connsiteY3477" fmla="*/ 1498070 h 2765205"/>
                <a:gd name="connsiteX3478" fmla="*/ 3406062 w 8566434"/>
                <a:gd name="connsiteY3478" fmla="*/ 1510959 h 2765205"/>
                <a:gd name="connsiteX3479" fmla="*/ 3418468 w 8566434"/>
                <a:gd name="connsiteY3479" fmla="*/ 1494692 h 2765205"/>
                <a:gd name="connsiteX3480" fmla="*/ 3406062 w 8566434"/>
                <a:gd name="connsiteY3480" fmla="*/ 1510959 h 2765205"/>
                <a:gd name="connsiteX3481" fmla="*/ 3432253 w 8566434"/>
                <a:gd name="connsiteY3481" fmla="*/ 1481252 h 2765205"/>
                <a:gd name="connsiteX3482" fmla="*/ 3451965 w 8566434"/>
                <a:gd name="connsiteY3482" fmla="*/ 1487938 h 2765205"/>
                <a:gd name="connsiteX3483" fmla="*/ 3438939 w 8566434"/>
                <a:gd name="connsiteY3483" fmla="*/ 1507650 h 2765205"/>
                <a:gd name="connsiteX3484" fmla="*/ 3461822 w 8566434"/>
                <a:gd name="connsiteY3484" fmla="*/ 1514336 h 2765205"/>
                <a:gd name="connsiteX3485" fmla="*/ 3473401 w 8566434"/>
                <a:gd name="connsiteY3485" fmla="*/ 1518609 h 2765205"/>
                <a:gd name="connsiteX3486" fmla="*/ 3452241 w 8566434"/>
                <a:gd name="connsiteY3486" fmla="*/ 1515439 h 2765205"/>
                <a:gd name="connsiteX3487" fmla="*/ 3444590 w 8566434"/>
                <a:gd name="connsiteY3487" fmla="*/ 1529431 h 2765205"/>
                <a:gd name="connsiteX3488" fmla="*/ 3432253 w 8566434"/>
                <a:gd name="connsiteY3488" fmla="*/ 1481252 h 2765205"/>
                <a:gd name="connsiteX3489" fmla="*/ 3511930 w 8566434"/>
                <a:gd name="connsiteY3489" fmla="*/ 1697538 h 2765205"/>
                <a:gd name="connsiteX3490" fmla="*/ 3523164 w 8566434"/>
                <a:gd name="connsiteY3490" fmla="*/ 1691610 h 2765205"/>
                <a:gd name="connsiteX3491" fmla="*/ 3528609 w 8566434"/>
                <a:gd name="connsiteY3491" fmla="*/ 1703810 h 2765205"/>
                <a:gd name="connsiteX3492" fmla="*/ 3511930 w 8566434"/>
                <a:gd name="connsiteY3492" fmla="*/ 1697538 h 2765205"/>
                <a:gd name="connsiteX3493" fmla="*/ 3330383 w 8566434"/>
                <a:gd name="connsiteY3493" fmla="*/ 1774595 h 2765205"/>
                <a:gd name="connsiteX3494" fmla="*/ 3330383 w 8566434"/>
                <a:gd name="connsiteY3494" fmla="*/ 1774595 h 2765205"/>
                <a:gd name="connsiteX3495" fmla="*/ 3303433 w 8566434"/>
                <a:gd name="connsiteY3495" fmla="*/ 1816295 h 2765205"/>
                <a:gd name="connsiteX3496" fmla="*/ 3314599 w 8566434"/>
                <a:gd name="connsiteY3496" fmla="*/ 1804508 h 2765205"/>
                <a:gd name="connsiteX3497" fmla="*/ 3303433 w 8566434"/>
                <a:gd name="connsiteY3497" fmla="*/ 1816295 h 2765205"/>
                <a:gd name="connsiteX3498" fmla="*/ 3516272 w 8566434"/>
                <a:gd name="connsiteY3498" fmla="*/ 1843864 h 2765205"/>
                <a:gd name="connsiteX3499" fmla="*/ 3516272 w 8566434"/>
                <a:gd name="connsiteY3499" fmla="*/ 1843864 h 2765205"/>
                <a:gd name="connsiteX3500" fmla="*/ 3351060 w 8566434"/>
                <a:gd name="connsiteY3500" fmla="*/ 1796996 h 2765205"/>
                <a:gd name="connsiteX3501" fmla="*/ 3342858 w 8566434"/>
                <a:gd name="connsiteY3501" fmla="*/ 1721317 h 2765205"/>
                <a:gd name="connsiteX3502" fmla="*/ 3331899 w 8566434"/>
                <a:gd name="connsiteY3502" fmla="*/ 1717939 h 2765205"/>
                <a:gd name="connsiteX3503" fmla="*/ 3319355 w 8566434"/>
                <a:gd name="connsiteY3503" fmla="*/ 1704637 h 2765205"/>
                <a:gd name="connsiteX3504" fmla="*/ 3335000 w 8566434"/>
                <a:gd name="connsiteY3504" fmla="*/ 1668176 h 2765205"/>
                <a:gd name="connsiteX3505" fmla="*/ 3340583 w 8566434"/>
                <a:gd name="connsiteY3505" fmla="*/ 1669485 h 2765205"/>
                <a:gd name="connsiteX3506" fmla="*/ 3330038 w 8566434"/>
                <a:gd name="connsiteY3506" fmla="*/ 1687819 h 2765205"/>
                <a:gd name="connsiteX3507" fmla="*/ 3343065 w 8566434"/>
                <a:gd name="connsiteY3507" fmla="*/ 1709186 h 2765205"/>
                <a:gd name="connsiteX3508" fmla="*/ 3348165 w 8566434"/>
                <a:gd name="connsiteY3508" fmla="*/ 1708428 h 2765205"/>
                <a:gd name="connsiteX3509" fmla="*/ 3392346 w 8566434"/>
                <a:gd name="connsiteY3509" fmla="*/ 1513785 h 2765205"/>
                <a:gd name="connsiteX3510" fmla="*/ 3358159 w 8566434"/>
                <a:gd name="connsiteY3510" fmla="*/ 1495933 h 2765205"/>
                <a:gd name="connsiteX3511" fmla="*/ 3352507 w 8566434"/>
                <a:gd name="connsiteY3511" fmla="*/ 1488145 h 2765205"/>
                <a:gd name="connsiteX3512" fmla="*/ 3364638 w 8566434"/>
                <a:gd name="connsiteY3512" fmla="*/ 1493865 h 2765205"/>
                <a:gd name="connsiteX3513" fmla="*/ 3374839 w 8566434"/>
                <a:gd name="connsiteY3513" fmla="*/ 1491108 h 2765205"/>
                <a:gd name="connsiteX3514" fmla="*/ 3395930 w 8566434"/>
                <a:gd name="connsiteY3514" fmla="*/ 1496484 h 2765205"/>
                <a:gd name="connsiteX3515" fmla="*/ 3395034 w 8566434"/>
                <a:gd name="connsiteY3515" fmla="*/ 1533359 h 2765205"/>
                <a:gd name="connsiteX3516" fmla="*/ 3442247 w 8566434"/>
                <a:gd name="connsiteY3516" fmla="*/ 1673621 h 2765205"/>
                <a:gd name="connsiteX3517" fmla="*/ 3474642 w 8566434"/>
                <a:gd name="connsiteY3517" fmla="*/ 1681409 h 2765205"/>
                <a:gd name="connsiteX3518" fmla="*/ 3484015 w 8566434"/>
                <a:gd name="connsiteY3518" fmla="*/ 1688922 h 2765205"/>
                <a:gd name="connsiteX3519" fmla="*/ 3482844 w 8566434"/>
                <a:gd name="connsiteY3519" fmla="*/ 1714838 h 2765205"/>
                <a:gd name="connsiteX3520" fmla="*/ 3477537 w 8566434"/>
                <a:gd name="connsiteY3520" fmla="*/ 1684442 h 2765205"/>
                <a:gd name="connsiteX3521" fmla="*/ 3455481 w 8566434"/>
                <a:gd name="connsiteY3521" fmla="*/ 1700846 h 2765205"/>
                <a:gd name="connsiteX3522" fmla="*/ 3465337 w 8566434"/>
                <a:gd name="connsiteY3522" fmla="*/ 1687268 h 2765205"/>
                <a:gd name="connsiteX3523" fmla="*/ 3441351 w 8566434"/>
                <a:gd name="connsiteY3523" fmla="*/ 1680996 h 2765205"/>
                <a:gd name="connsiteX3524" fmla="*/ 3448864 w 8566434"/>
                <a:gd name="connsiteY3524" fmla="*/ 1694505 h 2765205"/>
                <a:gd name="connsiteX3525" fmla="*/ 3432391 w 8566434"/>
                <a:gd name="connsiteY3525" fmla="*/ 1832285 h 2765205"/>
                <a:gd name="connsiteX3526" fmla="*/ 3452517 w 8566434"/>
                <a:gd name="connsiteY3526" fmla="*/ 1847931 h 2765205"/>
                <a:gd name="connsiteX3527" fmla="*/ 3427015 w 8566434"/>
                <a:gd name="connsiteY3527" fmla="*/ 1844554 h 2765205"/>
                <a:gd name="connsiteX3528" fmla="*/ 3383661 w 8566434"/>
                <a:gd name="connsiteY3528" fmla="*/ 1864266 h 2765205"/>
                <a:gd name="connsiteX3529" fmla="*/ 3351060 w 8566434"/>
                <a:gd name="connsiteY3529" fmla="*/ 1796996 h 2765205"/>
                <a:gd name="connsiteX3530" fmla="*/ 3293852 w 8566434"/>
                <a:gd name="connsiteY3530" fmla="*/ 1844898 h 2765205"/>
                <a:gd name="connsiteX3531" fmla="*/ 3314047 w 8566434"/>
                <a:gd name="connsiteY3531" fmla="*/ 1853997 h 2765205"/>
                <a:gd name="connsiteX3532" fmla="*/ 3350233 w 8566434"/>
                <a:gd name="connsiteY3532" fmla="*/ 1860200 h 2765205"/>
                <a:gd name="connsiteX3533" fmla="*/ 3293852 w 8566434"/>
                <a:gd name="connsiteY3533" fmla="*/ 1844898 h 2765205"/>
                <a:gd name="connsiteX3534" fmla="*/ 3475400 w 8566434"/>
                <a:gd name="connsiteY3534" fmla="*/ 1869987 h 2765205"/>
                <a:gd name="connsiteX3535" fmla="*/ 3479673 w 8566434"/>
                <a:gd name="connsiteY3535" fmla="*/ 1854272 h 2765205"/>
                <a:gd name="connsiteX3536" fmla="*/ 3475400 w 8566434"/>
                <a:gd name="connsiteY3536" fmla="*/ 1869987 h 2765205"/>
                <a:gd name="connsiteX3537" fmla="*/ 3386694 w 8566434"/>
                <a:gd name="connsiteY3537" fmla="*/ 1877638 h 2765205"/>
                <a:gd name="connsiteX3538" fmla="*/ 3386694 w 8566434"/>
                <a:gd name="connsiteY3538" fmla="*/ 1877638 h 2765205"/>
                <a:gd name="connsiteX3539" fmla="*/ 3365258 w 8566434"/>
                <a:gd name="connsiteY3539" fmla="*/ 1995292 h 2765205"/>
                <a:gd name="connsiteX3540" fmla="*/ 3375735 w 8566434"/>
                <a:gd name="connsiteY3540" fmla="*/ 1984126 h 2765205"/>
                <a:gd name="connsiteX3541" fmla="*/ 3365258 w 8566434"/>
                <a:gd name="connsiteY3541" fmla="*/ 1995292 h 2765205"/>
                <a:gd name="connsiteX3542" fmla="*/ 3333140 w 8566434"/>
                <a:gd name="connsiteY3542" fmla="*/ 1992052 h 2765205"/>
                <a:gd name="connsiteX3543" fmla="*/ 3439421 w 8566434"/>
                <a:gd name="connsiteY3543" fmla="*/ 1995912 h 2765205"/>
                <a:gd name="connsiteX3544" fmla="*/ 3524750 w 8566434"/>
                <a:gd name="connsiteY3544" fmla="*/ 1865714 h 2765205"/>
                <a:gd name="connsiteX3545" fmla="*/ 3545634 w 8566434"/>
                <a:gd name="connsiteY3545" fmla="*/ 1720765 h 2765205"/>
                <a:gd name="connsiteX3546" fmla="*/ 3539086 w 8566434"/>
                <a:gd name="connsiteY3546" fmla="*/ 1698985 h 2765205"/>
                <a:gd name="connsiteX3547" fmla="*/ 3531918 w 8566434"/>
                <a:gd name="connsiteY3547" fmla="*/ 1599734 h 2765205"/>
                <a:gd name="connsiteX3548" fmla="*/ 3479260 w 8566434"/>
                <a:gd name="connsiteY3548" fmla="*/ 1439760 h 2765205"/>
                <a:gd name="connsiteX3549" fmla="*/ 3458858 w 8566434"/>
                <a:gd name="connsiteY3549" fmla="*/ 1425975 h 2765205"/>
                <a:gd name="connsiteX3550" fmla="*/ 3472298 w 8566434"/>
                <a:gd name="connsiteY3550" fmla="*/ 1418600 h 2765205"/>
                <a:gd name="connsiteX3551" fmla="*/ 3449415 w 8566434"/>
                <a:gd name="connsiteY3551" fmla="*/ 1347883 h 2765205"/>
                <a:gd name="connsiteX3552" fmla="*/ 3467267 w 8566434"/>
                <a:gd name="connsiteY3552" fmla="*/ 1288677 h 2765205"/>
                <a:gd name="connsiteX3553" fmla="*/ 3411300 w 8566434"/>
                <a:gd name="connsiteY3553" fmla="*/ 1273858 h 2765205"/>
                <a:gd name="connsiteX3554" fmla="*/ 3437491 w 8566434"/>
                <a:gd name="connsiteY3554" fmla="*/ 1280612 h 2765205"/>
                <a:gd name="connsiteX3555" fmla="*/ 3470093 w 8566434"/>
                <a:gd name="connsiteY3555" fmla="*/ 1284128 h 2765205"/>
                <a:gd name="connsiteX3556" fmla="*/ 3506209 w 8566434"/>
                <a:gd name="connsiteY3556" fmla="*/ 1188736 h 2765205"/>
                <a:gd name="connsiteX3557" fmla="*/ 3494216 w 8566434"/>
                <a:gd name="connsiteY3557" fmla="*/ 1185566 h 2765205"/>
                <a:gd name="connsiteX3558" fmla="*/ 3507794 w 8566434"/>
                <a:gd name="connsiteY3558" fmla="*/ 1187220 h 2765205"/>
                <a:gd name="connsiteX3559" fmla="*/ 3515169 w 8566434"/>
                <a:gd name="connsiteY3559" fmla="*/ 1116296 h 2765205"/>
                <a:gd name="connsiteX3560" fmla="*/ 3543566 w 8566434"/>
                <a:gd name="connsiteY3560" fmla="*/ 1111334 h 2765205"/>
                <a:gd name="connsiteX3561" fmla="*/ 3543911 w 8566434"/>
                <a:gd name="connsiteY3561" fmla="*/ 1139662 h 2765205"/>
                <a:gd name="connsiteX3562" fmla="*/ 3555283 w 8566434"/>
                <a:gd name="connsiteY3562" fmla="*/ 1137525 h 2765205"/>
                <a:gd name="connsiteX3563" fmla="*/ 3560177 w 8566434"/>
                <a:gd name="connsiteY3563" fmla="*/ 1257385 h 2765205"/>
                <a:gd name="connsiteX3564" fmla="*/ 3574720 w 8566434"/>
                <a:gd name="connsiteY3564" fmla="*/ 1271032 h 2765205"/>
                <a:gd name="connsiteX3565" fmla="*/ 3561969 w 8566434"/>
                <a:gd name="connsiteY3565" fmla="*/ 1280268 h 2765205"/>
                <a:gd name="connsiteX3566" fmla="*/ 3563968 w 8566434"/>
                <a:gd name="connsiteY3566" fmla="*/ 1304529 h 2765205"/>
                <a:gd name="connsiteX3567" fmla="*/ 3577684 w 8566434"/>
                <a:gd name="connsiteY3567" fmla="*/ 1302462 h 2765205"/>
                <a:gd name="connsiteX3568" fmla="*/ 3577408 w 8566434"/>
                <a:gd name="connsiteY3568" fmla="*/ 1308803 h 2765205"/>
                <a:gd name="connsiteX3569" fmla="*/ 3563968 w 8566434"/>
                <a:gd name="connsiteY3569" fmla="*/ 1307769 h 2765205"/>
                <a:gd name="connsiteX3570" fmla="*/ 3564519 w 8566434"/>
                <a:gd name="connsiteY3570" fmla="*/ 1334649 h 2765205"/>
                <a:gd name="connsiteX3571" fmla="*/ 3663357 w 8566434"/>
                <a:gd name="connsiteY3571" fmla="*/ 1297361 h 2765205"/>
                <a:gd name="connsiteX3572" fmla="*/ 3646953 w 8566434"/>
                <a:gd name="connsiteY3572" fmla="*/ 1295293 h 2765205"/>
                <a:gd name="connsiteX3573" fmla="*/ 3643852 w 8566434"/>
                <a:gd name="connsiteY3573" fmla="*/ 1285162 h 2765205"/>
                <a:gd name="connsiteX3574" fmla="*/ 3659015 w 8566434"/>
                <a:gd name="connsiteY3574" fmla="*/ 1281646 h 2765205"/>
                <a:gd name="connsiteX3575" fmla="*/ 3649021 w 8566434"/>
                <a:gd name="connsiteY3575" fmla="*/ 1158823 h 2765205"/>
                <a:gd name="connsiteX3576" fmla="*/ 3633237 w 8566434"/>
                <a:gd name="connsiteY3576" fmla="*/ 1125946 h 2765205"/>
                <a:gd name="connsiteX3577" fmla="*/ 3643162 w 8566434"/>
                <a:gd name="connsiteY3577" fmla="*/ 1115883 h 2765205"/>
                <a:gd name="connsiteX3578" fmla="*/ 3615937 w 8566434"/>
                <a:gd name="connsiteY3578" fmla="*/ 962870 h 2765205"/>
                <a:gd name="connsiteX3579" fmla="*/ 3689204 w 8566434"/>
                <a:gd name="connsiteY3579" fmla="*/ 899115 h 2765205"/>
                <a:gd name="connsiteX3580" fmla="*/ 3700301 w 8566434"/>
                <a:gd name="connsiteY3580" fmla="*/ 731283 h 2765205"/>
                <a:gd name="connsiteX3581" fmla="*/ 3569896 w 8566434"/>
                <a:gd name="connsiteY3581" fmla="*/ 818266 h 2765205"/>
                <a:gd name="connsiteX3582" fmla="*/ 3555490 w 8566434"/>
                <a:gd name="connsiteY3582" fmla="*/ 786216 h 2765205"/>
                <a:gd name="connsiteX3583" fmla="*/ 3542946 w 8566434"/>
                <a:gd name="connsiteY3583" fmla="*/ 786078 h 2765205"/>
                <a:gd name="connsiteX3584" fmla="*/ 3552733 w 8566434"/>
                <a:gd name="connsiteY3584" fmla="*/ 782563 h 2765205"/>
                <a:gd name="connsiteX3585" fmla="*/ 3444797 w 8566434"/>
                <a:gd name="connsiteY3585" fmla="*/ 692548 h 2765205"/>
                <a:gd name="connsiteX3586" fmla="*/ 3443626 w 8566434"/>
                <a:gd name="connsiteY3586" fmla="*/ 707849 h 2765205"/>
                <a:gd name="connsiteX3587" fmla="*/ 3441764 w 8566434"/>
                <a:gd name="connsiteY3587" fmla="*/ 692961 h 2765205"/>
                <a:gd name="connsiteX3588" fmla="*/ 3392346 w 8566434"/>
                <a:gd name="connsiteY3588" fmla="*/ 705574 h 2765205"/>
                <a:gd name="connsiteX3589" fmla="*/ 3394138 w 8566434"/>
                <a:gd name="connsiteY3589" fmla="*/ 738451 h 2765205"/>
                <a:gd name="connsiteX3590" fmla="*/ 3377665 w 8566434"/>
                <a:gd name="connsiteY3590" fmla="*/ 737280 h 2765205"/>
                <a:gd name="connsiteX3591" fmla="*/ 3390209 w 8566434"/>
                <a:gd name="connsiteY3591" fmla="*/ 733696 h 2765205"/>
                <a:gd name="connsiteX3592" fmla="*/ 3389313 w 8566434"/>
                <a:gd name="connsiteY3592" fmla="*/ 707435 h 2765205"/>
                <a:gd name="connsiteX3593" fmla="*/ 3327212 w 8566434"/>
                <a:gd name="connsiteY3593" fmla="*/ 784562 h 2765205"/>
                <a:gd name="connsiteX3594" fmla="*/ 3276621 w 8566434"/>
                <a:gd name="connsiteY3594" fmla="*/ 1021594 h 2765205"/>
                <a:gd name="connsiteX3595" fmla="*/ 3296471 w 8566434"/>
                <a:gd name="connsiteY3595" fmla="*/ 1023179 h 2765205"/>
                <a:gd name="connsiteX3596" fmla="*/ 3274829 w 8566434"/>
                <a:gd name="connsiteY3596" fmla="*/ 1039652 h 2765205"/>
                <a:gd name="connsiteX3597" fmla="*/ 3288683 w 8566434"/>
                <a:gd name="connsiteY3597" fmla="*/ 1042892 h 2765205"/>
                <a:gd name="connsiteX3598" fmla="*/ 3276828 w 8566434"/>
                <a:gd name="connsiteY3598" fmla="*/ 1042202 h 2765205"/>
                <a:gd name="connsiteX3599" fmla="*/ 3277655 w 8566434"/>
                <a:gd name="connsiteY3599" fmla="*/ 1061570 h 2765205"/>
                <a:gd name="connsiteX3600" fmla="*/ 3285857 w 8566434"/>
                <a:gd name="connsiteY3600" fmla="*/ 1061915 h 2765205"/>
                <a:gd name="connsiteX3601" fmla="*/ 3276966 w 8566434"/>
                <a:gd name="connsiteY3601" fmla="*/ 1070668 h 2765205"/>
                <a:gd name="connsiteX3602" fmla="*/ 3282825 w 8566434"/>
                <a:gd name="connsiteY3602" fmla="*/ 1105131 h 2765205"/>
                <a:gd name="connsiteX3603" fmla="*/ 3306121 w 8566434"/>
                <a:gd name="connsiteY3603" fmla="*/ 1250561 h 2765205"/>
                <a:gd name="connsiteX3604" fmla="*/ 3339480 w 8566434"/>
                <a:gd name="connsiteY3604" fmla="*/ 1257040 h 2765205"/>
                <a:gd name="connsiteX3605" fmla="*/ 3339618 w 8566434"/>
                <a:gd name="connsiteY3605" fmla="*/ 1240154 h 2765205"/>
                <a:gd name="connsiteX3606" fmla="*/ 3346235 w 8566434"/>
                <a:gd name="connsiteY3606" fmla="*/ 1240705 h 2765205"/>
                <a:gd name="connsiteX3607" fmla="*/ 3343547 w 8566434"/>
                <a:gd name="connsiteY3607" fmla="*/ 1249734 h 2765205"/>
                <a:gd name="connsiteX3608" fmla="*/ 3359400 w 8566434"/>
                <a:gd name="connsiteY3608" fmla="*/ 1254766 h 2765205"/>
                <a:gd name="connsiteX3609" fmla="*/ 3343960 w 8566434"/>
                <a:gd name="connsiteY3609" fmla="*/ 1251871 h 2765205"/>
                <a:gd name="connsiteX3610" fmla="*/ 3348303 w 8566434"/>
                <a:gd name="connsiteY3610" fmla="*/ 1279441 h 2765205"/>
                <a:gd name="connsiteX3611" fmla="*/ 3327005 w 8566434"/>
                <a:gd name="connsiteY3611" fmla="*/ 1266828 h 2765205"/>
                <a:gd name="connsiteX3612" fmla="*/ 3309912 w 8566434"/>
                <a:gd name="connsiteY3612" fmla="*/ 1261796 h 2765205"/>
                <a:gd name="connsiteX3613" fmla="*/ 3335690 w 8566434"/>
                <a:gd name="connsiteY3613" fmla="*/ 1355672 h 2765205"/>
                <a:gd name="connsiteX3614" fmla="*/ 3294404 w 8566434"/>
                <a:gd name="connsiteY3614" fmla="*/ 1493796 h 2765205"/>
                <a:gd name="connsiteX3615" fmla="*/ 3261113 w 8566434"/>
                <a:gd name="connsiteY3615" fmla="*/ 1851722 h 2765205"/>
                <a:gd name="connsiteX3616" fmla="*/ 3333140 w 8566434"/>
                <a:gd name="connsiteY3616" fmla="*/ 1992052 h 2765205"/>
                <a:gd name="connsiteX3617" fmla="*/ 4586947 w 8566434"/>
                <a:gd name="connsiteY3617" fmla="*/ 810271 h 2765205"/>
                <a:gd name="connsiteX3618" fmla="*/ 4602387 w 8566434"/>
                <a:gd name="connsiteY3618" fmla="*/ 792488 h 2765205"/>
                <a:gd name="connsiteX3619" fmla="*/ 4586947 w 8566434"/>
                <a:gd name="connsiteY3619" fmla="*/ 810271 h 2765205"/>
                <a:gd name="connsiteX3620" fmla="*/ 4590669 w 8566434"/>
                <a:gd name="connsiteY3620" fmla="*/ 844044 h 2765205"/>
                <a:gd name="connsiteX3621" fmla="*/ 4584811 w 8566434"/>
                <a:gd name="connsiteY3621" fmla="*/ 815716 h 2765205"/>
                <a:gd name="connsiteX3622" fmla="*/ 4619480 w 8566434"/>
                <a:gd name="connsiteY3622" fmla="*/ 839840 h 2765205"/>
                <a:gd name="connsiteX3623" fmla="*/ 4623064 w 8566434"/>
                <a:gd name="connsiteY3623" fmla="*/ 824125 h 2765205"/>
                <a:gd name="connsiteX3624" fmla="*/ 4622375 w 8566434"/>
                <a:gd name="connsiteY3624" fmla="*/ 842941 h 2765205"/>
                <a:gd name="connsiteX3625" fmla="*/ 4590669 w 8566434"/>
                <a:gd name="connsiteY3625" fmla="*/ 844044 h 2765205"/>
                <a:gd name="connsiteX3626" fmla="*/ 4511061 w 8566434"/>
                <a:gd name="connsiteY3626" fmla="*/ 863343 h 2765205"/>
                <a:gd name="connsiteX3627" fmla="*/ 4518436 w 8566434"/>
                <a:gd name="connsiteY3627" fmla="*/ 833636 h 2765205"/>
                <a:gd name="connsiteX3628" fmla="*/ 4526431 w 8566434"/>
                <a:gd name="connsiteY3628" fmla="*/ 827020 h 2765205"/>
                <a:gd name="connsiteX3629" fmla="*/ 4520159 w 8566434"/>
                <a:gd name="connsiteY3629" fmla="*/ 852453 h 2765205"/>
                <a:gd name="connsiteX3630" fmla="*/ 4533600 w 8566434"/>
                <a:gd name="connsiteY3630" fmla="*/ 850936 h 2765205"/>
                <a:gd name="connsiteX3631" fmla="*/ 4524502 w 8566434"/>
                <a:gd name="connsiteY3631" fmla="*/ 861206 h 2765205"/>
                <a:gd name="connsiteX3632" fmla="*/ 4511061 w 8566434"/>
                <a:gd name="connsiteY3632" fmla="*/ 863343 h 2765205"/>
                <a:gd name="connsiteX3633" fmla="*/ 4577987 w 8566434"/>
                <a:gd name="connsiteY3633" fmla="*/ 879196 h 2765205"/>
                <a:gd name="connsiteX3634" fmla="*/ 4587568 w 8566434"/>
                <a:gd name="connsiteY3634" fmla="*/ 869891 h 2765205"/>
                <a:gd name="connsiteX3635" fmla="*/ 4577987 w 8566434"/>
                <a:gd name="connsiteY3635" fmla="*/ 879196 h 2765205"/>
                <a:gd name="connsiteX3636" fmla="*/ 4573162 w 8566434"/>
                <a:gd name="connsiteY3636" fmla="*/ 905594 h 2765205"/>
                <a:gd name="connsiteX3637" fmla="*/ 4592599 w 8566434"/>
                <a:gd name="connsiteY3637" fmla="*/ 886708 h 2765205"/>
                <a:gd name="connsiteX3638" fmla="*/ 4617274 w 8566434"/>
                <a:gd name="connsiteY3638" fmla="*/ 888500 h 2765205"/>
                <a:gd name="connsiteX3639" fmla="*/ 4600250 w 8566434"/>
                <a:gd name="connsiteY3639" fmla="*/ 904904 h 2765205"/>
                <a:gd name="connsiteX3640" fmla="*/ 4573162 w 8566434"/>
                <a:gd name="connsiteY3640" fmla="*/ 905594 h 2765205"/>
                <a:gd name="connsiteX3641" fmla="*/ 4468328 w 8566434"/>
                <a:gd name="connsiteY3641" fmla="*/ 886019 h 2765205"/>
                <a:gd name="connsiteX3642" fmla="*/ 4481010 w 8566434"/>
                <a:gd name="connsiteY3642" fmla="*/ 837841 h 2765205"/>
                <a:gd name="connsiteX3643" fmla="*/ 4486042 w 8566434"/>
                <a:gd name="connsiteY3643" fmla="*/ 859828 h 2765205"/>
                <a:gd name="connsiteX3644" fmla="*/ 4499137 w 8566434"/>
                <a:gd name="connsiteY3644" fmla="*/ 870442 h 2765205"/>
                <a:gd name="connsiteX3645" fmla="*/ 4491073 w 8566434"/>
                <a:gd name="connsiteY3645" fmla="*/ 912348 h 2765205"/>
                <a:gd name="connsiteX3646" fmla="*/ 4468328 w 8566434"/>
                <a:gd name="connsiteY3646" fmla="*/ 886019 h 2765205"/>
                <a:gd name="connsiteX3647" fmla="*/ 4571163 w 8566434"/>
                <a:gd name="connsiteY3647" fmla="*/ 942124 h 2765205"/>
                <a:gd name="connsiteX3648" fmla="*/ 4571026 w 8566434"/>
                <a:gd name="connsiteY3648" fmla="*/ 927994 h 2765205"/>
                <a:gd name="connsiteX3649" fmla="*/ 4571163 w 8566434"/>
                <a:gd name="connsiteY3649" fmla="*/ 942124 h 2765205"/>
                <a:gd name="connsiteX3650" fmla="*/ 4631542 w 8566434"/>
                <a:gd name="connsiteY3650" fmla="*/ 953565 h 2765205"/>
                <a:gd name="connsiteX3651" fmla="*/ 4643534 w 8566434"/>
                <a:gd name="connsiteY3651" fmla="*/ 936954 h 2765205"/>
                <a:gd name="connsiteX3652" fmla="*/ 4631542 w 8566434"/>
                <a:gd name="connsiteY3652" fmla="*/ 953565 h 2765205"/>
                <a:gd name="connsiteX3653" fmla="*/ 4392373 w 8566434"/>
                <a:gd name="connsiteY3653" fmla="*/ 960251 h 2765205"/>
                <a:gd name="connsiteX3654" fmla="*/ 4392373 w 8566434"/>
                <a:gd name="connsiteY3654" fmla="*/ 960251 h 2765205"/>
                <a:gd name="connsiteX3655" fmla="*/ 4647532 w 8566434"/>
                <a:gd name="connsiteY3655" fmla="*/ 967143 h 2765205"/>
                <a:gd name="connsiteX3656" fmla="*/ 4647532 w 8566434"/>
                <a:gd name="connsiteY3656" fmla="*/ 967143 h 2765205"/>
                <a:gd name="connsiteX3657" fmla="*/ 4392718 w 8566434"/>
                <a:gd name="connsiteY3657" fmla="*/ 1003811 h 2765205"/>
                <a:gd name="connsiteX3658" fmla="*/ 4392718 w 8566434"/>
                <a:gd name="connsiteY3658" fmla="*/ 1003811 h 2765205"/>
                <a:gd name="connsiteX3659" fmla="*/ 4598596 w 8566434"/>
                <a:gd name="connsiteY3659" fmla="*/ 1009118 h 2765205"/>
                <a:gd name="connsiteX3660" fmla="*/ 4598596 w 8566434"/>
                <a:gd name="connsiteY3660" fmla="*/ 1009118 h 2765205"/>
                <a:gd name="connsiteX3661" fmla="*/ 4625269 w 8566434"/>
                <a:gd name="connsiteY3661" fmla="*/ 1021938 h 2765205"/>
                <a:gd name="connsiteX3662" fmla="*/ 4645533 w 8566434"/>
                <a:gd name="connsiteY3662" fmla="*/ 990026 h 2765205"/>
                <a:gd name="connsiteX3663" fmla="*/ 4659801 w 8566434"/>
                <a:gd name="connsiteY3663" fmla="*/ 975966 h 2765205"/>
                <a:gd name="connsiteX3664" fmla="*/ 4660076 w 8566434"/>
                <a:gd name="connsiteY3664" fmla="*/ 988786 h 2765205"/>
                <a:gd name="connsiteX3665" fmla="*/ 4648221 w 8566434"/>
                <a:gd name="connsiteY3665" fmla="*/ 993404 h 2765205"/>
                <a:gd name="connsiteX3666" fmla="*/ 4657182 w 8566434"/>
                <a:gd name="connsiteY3666" fmla="*/ 1001468 h 2765205"/>
                <a:gd name="connsiteX3667" fmla="*/ 4642087 w 8566434"/>
                <a:gd name="connsiteY3667" fmla="*/ 1001330 h 2765205"/>
                <a:gd name="connsiteX3668" fmla="*/ 4625269 w 8566434"/>
                <a:gd name="connsiteY3668" fmla="*/ 1021938 h 2765205"/>
                <a:gd name="connsiteX3669" fmla="*/ 4431660 w 8566434"/>
                <a:gd name="connsiteY3669" fmla="*/ 1004914 h 2765205"/>
                <a:gd name="connsiteX3670" fmla="*/ 4414705 w 8566434"/>
                <a:gd name="connsiteY3670" fmla="*/ 1015597 h 2765205"/>
                <a:gd name="connsiteX3671" fmla="*/ 4415738 w 8566434"/>
                <a:gd name="connsiteY3671" fmla="*/ 994782 h 2765205"/>
                <a:gd name="connsiteX3672" fmla="*/ 4439793 w 8566434"/>
                <a:gd name="connsiteY3672" fmla="*/ 996643 h 2765205"/>
                <a:gd name="connsiteX3673" fmla="*/ 4441310 w 8566434"/>
                <a:gd name="connsiteY3673" fmla="*/ 1016700 h 2765205"/>
                <a:gd name="connsiteX3674" fmla="*/ 4444618 w 8566434"/>
                <a:gd name="connsiteY3674" fmla="*/ 1040410 h 2765205"/>
                <a:gd name="connsiteX3675" fmla="*/ 4431660 w 8566434"/>
                <a:gd name="connsiteY3675" fmla="*/ 1004914 h 2765205"/>
                <a:gd name="connsiteX3676" fmla="*/ 4392580 w 8566434"/>
                <a:gd name="connsiteY3676" fmla="*/ 1035930 h 2765205"/>
                <a:gd name="connsiteX3677" fmla="*/ 4399817 w 8566434"/>
                <a:gd name="connsiteY3677" fmla="*/ 1021387 h 2765205"/>
                <a:gd name="connsiteX3678" fmla="*/ 4392580 w 8566434"/>
                <a:gd name="connsiteY3678" fmla="*/ 1035930 h 2765205"/>
                <a:gd name="connsiteX3679" fmla="*/ 4609003 w 8566434"/>
                <a:gd name="connsiteY3679" fmla="*/ 1047992 h 2765205"/>
                <a:gd name="connsiteX3680" fmla="*/ 4614035 w 8566434"/>
                <a:gd name="connsiteY3680" fmla="*/ 1016562 h 2765205"/>
                <a:gd name="connsiteX3681" fmla="*/ 4625338 w 8566434"/>
                <a:gd name="connsiteY3681" fmla="*/ 1056607 h 2765205"/>
                <a:gd name="connsiteX3682" fmla="*/ 4609003 w 8566434"/>
                <a:gd name="connsiteY3682" fmla="*/ 1047992 h 2765205"/>
                <a:gd name="connsiteX3683" fmla="*/ 4407812 w 8566434"/>
                <a:gd name="connsiteY3683" fmla="*/ 1072322 h 2765205"/>
                <a:gd name="connsiteX3684" fmla="*/ 4407399 w 8566434"/>
                <a:gd name="connsiteY3684" fmla="*/ 1041651 h 2765205"/>
                <a:gd name="connsiteX3685" fmla="*/ 4423872 w 8566434"/>
                <a:gd name="connsiteY3685" fmla="*/ 1066257 h 2765205"/>
                <a:gd name="connsiteX3686" fmla="*/ 4407812 w 8566434"/>
                <a:gd name="connsiteY3686" fmla="*/ 1072322 h 2765205"/>
                <a:gd name="connsiteX3687" fmla="*/ 4433383 w 8566434"/>
                <a:gd name="connsiteY3687" fmla="*/ 1085004 h 2765205"/>
                <a:gd name="connsiteX3688" fmla="*/ 4433383 w 8566434"/>
                <a:gd name="connsiteY3688" fmla="*/ 1085004 h 2765205"/>
                <a:gd name="connsiteX3689" fmla="*/ 4593082 w 8566434"/>
                <a:gd name="connsiteY3689" fmla="*/ 1098996 h 2765205"/>
                <a:gd name="connsiteX3690" fmla="*/ 4593082 w 8566434"/>
                <a:gd name="connsiteY3690" fmla="*/ 1098996 h 2765205"/>
                <a:gd name="connsiteX3691" fmla="*/ 4441241 w 8566434"/>
                <a:gd name="connsiteY3691" fmla="*/ 1098583 h 2765205"/>
                <a:gd name="connsiteX3692" fmla="*/ 4441241 w 8566434"/>
                <a:gd name="connsiteY3692" fmla="*/ 1098583 h 2765205"/>
                <a:gd name="connsiteX3693" fmla="*/ 4626786 w 8566434"/>
                <a:gd name="connsiteY3693" fmla="*/ 1120363 h 2765205"/>
                <a:gd name="connsiteX3694" fmla="*/ 4637676 w 8566434"/>
                <a:gd name="connsiteY3694" fmla="*/ 1109473 h 2765205"/>
                <a:gd name="connsiteX3695" fmla="*/ 4626786 w 8566434"/>
                <a:gd name="connsiteY3695" fmla="*/ 1120363 h 2765205"/>
                <a:gd name="connsiteX3696" fmla="*/ 4662213 w 8566434"/>
                <a:gd name="connsiteY3696" fmla="*/ 1127186 h 2765205"/>
                <a:gd name="connsiteX3697" fmla="*/ 4672621 w 8566434"/>
                <a:gd name="connsiteY3697" fmla="*/ 1116365 h 2765205"/>
                <a:gd name="connsiteX3698" fmla="*/ 4662213 w 8566434"/>
                <a:gd name="connsiteY3698" fmla="*/ 1127186 h 2765205"/>
                <a:gd name="connsiteX3699" fmla="*/ 4661524 w 8566434"/>
                <a:gd name="connsiteY3699" fmla="*/ 1140144 h 2765205"/>
                <a:gd name="connsiteX3700" fmla="*/ 4661524 w 8566434"/>
                <a:gd name="connsiteY3700" fmla="*/ 1140144 h 2765205"/>
                <a:gd name="connsiteX3701" fmla="*/ 4605006 w 8566434"/>
                <a:gd name="connsiteY3701" fmla="*/ 1195422 h 2765205"/>
                <a:gd name="connsiteX3702" fmla="*/ 4605006 w 8566434"/>
                <a:gd name="connsiteY3702" fmla="*/ 1195422 h 2765205"/>
                <a:gd name="connsiteX3703" fmla="*/ 4585776 w 8566434"/>
                <a:gd name="connsiteY3703" fmla="*/ 1223750 h 2765205"/>
                <a:gd name="connsiteX3704" fmla="*/ 4596321 w 8566434"/>
                <a:gd name="connsiteY3704" fmla="*/ 1212653 h 2765205"/>
                <a:gd name="connsiteX3705" fmla="*/ 4585776 w 8566434"/>
                <a:gd name="connsiteY3705" fmla="*/ 1223750 h 2765205"/>
                <a:gd name="connsiteX3706" fmla="*/ 4413809 w 8566434"/>
                <a:gd name="connsiteY3706" fmla="*/ 1305012 h 2765205"/>
                <a:gd name="connsiteX3707" fmla="*/ 4413809 w 8566434"/>
                <a:gd name="connsiteY3707" fmla="*/ 1305012 h 2765205"/>
                <a:gd name="connsiteX3708" fmla="*/ 4387410 w 8566434"/>
                <a:gd name="connsiteY3708" fmla="*/ 1347401 h 2765205"/>
                <a:gd name="connsiteX3709" fmla="*/ 4402298 w 8566434"/>
                <a:gd name="connsiteY3709" fmla="*/ 1342438 h 2765205"/>
                <a:gd name="connsiteX3710" fmla="*/ 4387410 w 8566434"/>
                <a:gd name="connsiteY3710" fmla="*/ 1347401 h 2765205"/>
                <a:gd name="connsiteX3711" fmla="*/ 4407399 w 8566434"/>
                <a:gd name="connsiteY3711" fmla="*/ 1381311 h 2765205"/>
                <a:gd name="connsiteX3712" fmla="*/ 4407399 w 8566434"/>
                <a:gd name="connsiteY3712" fmla="*/ 1381311 h 2765205"/>
                <a:gd name="connsiteX3713" fmla="*/ 4569716 w 8566434"/>
                <a:gd name="connsiteY3713" fmla="*/ 1425147 h 2765205"/>
                <a:gd name="connsiteX3714" fmla="*/ 4600043 w 8566434"/>
                <a:gd name="connsiteY3714" fmla="*/ 1398198 h 2765205"/>
                <a:gd name="connsiteX3715" fmla="*/ 4591427 w 8566434"/>
                <a:gd name="connsiteY3715" fmla="*/ 1384206 h 2765205"/>
                <a:gd name="connsiteX3716" fmla="*/ 4610795 w 8566434"/>
                <a:gd name="connsiteY3716" fmla="*/ 1385585 h 2765205"/>
                <a:gd name="connsiteX3717" fmla="*/ 4607901 w 8566434"/>
                <a:gd name="connsiteY3717" fmla="*/ 1389720 h 2765205"/>
                <a:gd name="connsiteX3718" fmla="*/ 4588808 w 8566434"/>
                <a:gd name="connsiteY3718" fmla="*/ 1427973 h 2765205"/>
                <a:gd name="connsiteX3719" fmla="*/ 4569716 w 8566434"/>
                <a:gd name="connsiteY3719" fmla="*/ 1425147 h 2765205"/>
                <a:gd name="connsiteX3720" fmla="*/ 4393062 w 8566434"/>
                <a:gd name="connsiteY3720" fmla="*/ 1437692 h 2765205"/>
                <a:gd name="connsiteX3721" fmla="*/ 4402161 w 8566434"/>
                <a:gd name="connsiteY3721" fmla="*/ 1399921 h 2765205"/>
                <a:gd name="connsiteX3722" fmla="*/ 4409949 w 8566434"/>
                <a:gd name="connsiteY3722" fmla="*/ 1429765 h 2765205"/>
                <a:gd name="connsiteX3723" fmla="*/ 4393062 w 8566434"/>
                <a:gd name="connsiteY3723" fmla="*/ 1437692 h 2765205"/>
                <a:gd name="connsiteX3724" fmla="*/ 4591841 w 8566434"/>
                <a:gd name="connsiteY3724" fmla="*/ 1438657 h 2765205"/>
                <a:gd name="connsiteX3725" fmla="*/ 4618859 w 8566434"/>
                <a:gd name="connsiteY3725" fmla="*/ 1415774 h 2765205"/>
                <a:gd name="connsiteX3726" fmla="*/ 4617550 w 8566434"/>
                <a:gd name="connsiteY3726" fmla="*/ 1444722 h 2765205"/>
                <a:gd name="connsiteX3727" fmla="*/ 4591841 w 8566434"/>
                <a:gd name="connsiteY3727" fmla="*/ 1438657 h 2765205"/>
                <a:gd name="connsiteX3728" fmla="*/ 4372040 w 8566434"/>
                <a:gd name="connsiteY3728" fmla="*/ 1449478 h 2765205"/>
                <a:gd name="connsiteX3729" fmla="*/ 4375693 w 8566434"/>
                <a:gd name="connsiteY3729" fmla="*/ 1433143 h 2765205"/>
                <a:gd name="connsiteX3730" fmla="*/ 4372040 w 8566434"/>
                <a:gd name="connsiteY3730" fmla="*/ 1449478 h 2765205"/>
                <a:gd name="connsiteX3731" fmla="*/ 4351294 w 8566434"/>
                <a:gd name="connsiteY3731" fmla="*/ 1462573 h 2765205"/>
                <a:gd name="connsiteX3732" fmla="*/ 4355981 w 8566434"/>
                <a:gd name="connsiteY3732" fmla="*/ 1438174 h 2765205"/>
                <a:gd name="connsiteX3733" fmla="*/ 4351294 w 8566434"/>
                <a:gd name="connsiteY3733" fmla="*/ 1462573 h 2765205"/>
                <a:gd name="connsiteX3734" fmla="*/ 4563651 w 8566434"/>
                <a:gd name="connsiteY3734" fmla="*/ 1504962 h 2765205"/>
                <a:gd name="connsiteX3735" fmla="*/ 4563651 w 8566434"/>
                <a:gd name="connsiteY3735" fmla="*/ 1504962 h 2765205"/>
                <a:gd name="connsiteX3736" fmla="*/ 4577642 w 8566434"/>
                <a:gd name="connsiteY3736" fmla="*/ 1517506 h 2765205"/>
                <a:gd name="connsiteX3737" fmla="*/ 4588188 w 8566434"/>
                <a:gd name="connsiteY3737" fmla="*/ 1500620 h 2765205"/>
                <a:gd name="connsiteX3738" fmla="*/ 4577642 w 8566434"/>
                <a:gd name="connsiteY3738" fmla="*/ 1517506 h 2765205"/>
                <a:gd name="connsiteX3739" fmla="*/ 4599698 w 8566434"/>
                <a:gd name="connsiteY3739" fmla="*/ 1526122 h 2765205"/>
                <a:gd name="connsiteX3740" fmla="*/ 4599698 w 8566434"/>
                <a:gd name="connsiteY3740" fmla="*/ 1526122 h 2765205"/>
                <a:gd name="connsiteX3741" fmla="*/ 4414843 w 8566434"/>
                <a:gd name="connsiteY3741" fmla="*/ 1541768 h 2765205"/>
                <a:gd name="connsiteX3742" fmla="*/ 4414843 w 8566434"/>
                <a:gd name="connsiteY3742" fmla="*/ 1541768 h 2765205"/>
                <a:gd name="connsiteX3743" fmla="*/ 4605419 w 8566434"/>
                <a:gd name="connsiteY3743" fmla="*/ 1546662 h 2765205"/>
                <a:gd name="connsiteX3744" fmla="*/ 4616998 w 8566434"/>
                <a:gd name="connsiteY3744" fmla="*/ 1535702 h 2765205"/>
                <a:gd name="connsiteX3745" fmla="*/ 4605419 w 8566434"/>
                <a:gd name="connsiteY3745" fmla="*/ 1546662 h 2765205"/>
                <a:gd name="connsiteX3746" fmla="*/ 4554415 w 8566434"/>
                <a:gd name="connsiteY3746" fmla="*/ 1543284 h 2765205"/>
                <a:gd name="connsiteX3747" fmla="*/ 4577022 w 8566434"/>
                <a:gd name="connsiteY3747" fmla="*/ 1537770 h 2765205"/>
                <a:gd name="connsiteX3748" fmla="*/ 4554415 w 8566434"/>
                <a:gd name="connsiteY3748" fmla="*/ 1543284 h 2765205"/>
                <a:gd name="connsiteX3749" fmla="*/ 4379829 w 8566434"/>
                <a:gd name="connsiteY3749" fmla="*/ 1555346 h 2765205"/>
                <a:gd name="connsiteX3750" fmla="*/ 4373625 w 8566434"/>
                <a:gd name="connsiteY3750" fmla="*/ 1523916 h 2765205"/>
                <a:gd name="connsiteX3751" fmla="*/ 4382241 w 8566434"/>
                <a:gd name="connsiteY3751" fmla="*/ 1525226 h 2765205"/>
                <a:gd name="connsiteX3752" fmla="*/ 4381076 w 8566434"/>
                <a:gd name="connsiteY3752" fmla="*/ 1497932 h 2765205"/>
                <a:gd name="connsiteX3753" fmla="*/ 4393958 w 8566434"/>
                <a:gd name="connsiteY3753" fmla="*/ 1560653 h 2765205"/>
                <a:gd name="connsiteX3754" fmla="*/ 4379829 w 8566434"/>
                <a:gd name="connsiteY3754" fmla="*/ 1555346 h 2765205"/>
                <a:gd name="connsiteX3755" fmla="*/ 4349433 w 8566434"/>
                <a:gd name="connsiteY3755" fmla="*/ 1581055 h 2765205"/>
                <a:gd name="connsiteX3756" fmla="*/ 4363356 w 8566434"/>
                <a:gd name="connsiteY3756" fmla="*/ 1572577 h 2765205"/>
                <a:gd name="connsiteX3757" fmla="*/ 4349433 w 8566434"/>
                <a:gd name="connsiteY3757" fmla="*/ 1581055 h 2765205"/>
                <a:gd name="connsiteX3758" fmla="*/ 4350949 w 8566434"/>
                <a:gd name="connsiteY3758" fmla="*/ 1597252 h 2765205"/>
                <a:gd name="connsiteX3759" fmla="*/ 4350949 w 8566434"/>
                <a:gd name="connsiteY3759" fmla="*/ 1597252 h 2765205"/>
                <a:gd name="connsiteX3760" fmla="*/ 4377141 w 8566434"/>
                <a:gd name="connsiteY3760" fmla="*/ 1578505 h 2765205"/>
                <a:gd name="connsiteX3761" fmla="*/ 4388031 w 8566434"/>
                <a:gd name="connsiteY3761" fmla="*/ 1608832 h 2765205"/>
                <a:gd name="connsiteX3762" fmla="*/ 4377141 w 8566434"/>
                <a:gd name="connsiteY3762" fmla="*/ 1578505 h 2765205"/>
                <a:gd name="connsiteX3763" fmla="*/ 4352190 w 8566434"/>
                <a:gd name="connsiteY3763" fmla="*/ 1622341 h 2765205"/>
                <a:gd name="connsiteX3764" fmla="*/ 4348675 w 8566434"/>
                <a:gd name="connsiteY3764" fmla="*/ 1606006 h 2765205"/>
                <a:gd name="connsiteX3765" fmla="*/ 4352190 w 8566434"/>
                <a:gd name="connsiteY3765" fmla="*/ 1622341 h 2765205"/>
                <a:gd name="connsiteX3766" fmla="*/ 4349157 w 8566434"/>
                <a:gd name="connsiteY3766" fmla="*/ 1660318 h 2765205"/>
                <a:gd name="connsiteX3767" fmla="*/ 4343712 w 8566434"/>
                <a:gd name="connsiteY3767" fmla="*/ 1639021 h 2765205"/>
                <a:gd name="connsiteX3768" fmla="*/ 4366457 w 8566434"/>
                <a:gd name="connsiteY3768" fmla="*/ 1648670 h 2765205"/>
                <a:gd name="connsiteX3769" fmla="*/ 4367836 w 8566434"/>
                <a:gd name="connsiteY3769" fmla="*/ 1664660 h 2765205"/>
                <a:gd name="connsiteX3770" fmla="*/ 4349157 w 8566434"/>
                <a:gd name="connsiteY3770" fmla="*/ 1660318 h 2765205"/>
                <a:gd name="connsiteX3771" fmla="*/ 4578608 w 8566434"/>
                <a:gd name="connsiteY3771" fmla="*/ 1705602 h 2765205"/>
                <a:gd name="connsiteX3772" fmla="*/ 4578608 w 8566434"/>
                <a:gd name="connsiteY3772" fmla="*/ 1705602 h 2765205"/>
                <a:gd name="connsiteX3773" fmla="*/ 4565174 w 8566434"/>
                <a:gd name="connsiteY3773" fmla="*/ 1725866 h 2765205"/>
                <a:gd name="connsiteX3774" fmla="*/ 4565174 w 8566434"/>
                <a:gd name="connsiteY3774" fmla="*/ 1725866 h 2765205"/>
                <a:gd name="connsiteX3775" fmla="*/ 4381483 w 8566434"/>
                <a:gd name="connsiteY3775" fmla="*/ 1761362 h 2765205"/>
                <a:gd name="connsiteX3776" fmla="*/ 4387617 w 8566434"/>
                <a:gd name="connsiteY3776" fmla="*/ 1746267 h 2765205"/>
                <a:gd name="connsiteX3777" fmla="*/ 4381483 w 8566434"/>
                <a:gd name="connsiteY3777" fmla="*/ 1761362 h 2765205"/>
                <a:gd name="connsiteX3778" fmla="*/ 4564478 w 8566434"/>
                <a:gd name="connsiteY3778" fmla="*/ 1773079 h 2765205"/>
                <a:gd name="connsiteX3779" fmla="*/ 4568544 w 8566434"/>
                <a:gd name="connsiteY3779" fmla="*/ 1750403 h 2765205"/>
                <a:gd name="connsiteX3780" fmla="*/ 4564478 w 8566434"/>
                <a:gd name="connsiteY3780" fmla="*/ 1773079 h 2765205"/>
                <a:gd name="connsiteX3781" fmla="*/ 4612725 w 8566434"/>
                <a:gd name="connsiteY3781" fmla="*/ 1781901 h 2765205"/>
                <a:gd name="connsiteX3782" fmla="*/ 4624098 w 8566434"/>
                <a:gd name="connsiteY3782" fmla="*/ 1770184 h 2765205"/>
                <a:gd name="connsiteX3783" fmla="*/ 4612725 w 8566434"/>
                <a:gd name="connsiteY3783" fmla="*/ 1781901 h 2765205"/>
                <a:gd name="connsiteX3784" fmla="*/ 4332891 w 8566434"/>
                <a:gd name="connsiteY3784" fmla="*/ 1807059 h 2765205"/>
                <a:gd name="connsiteX3785" fmla="*/ 4333512 w 8566434"/>
                <a:gd name="connsiteY3785" fmla="*/ 1790241 h 2765205"/>
                <a:gd name="connsiteX3786" fmla="*/ 4349846 w 8566434"/>
                <a:gd name="connsiteY3786" fmla="*/ 1806783 h 2765205"/>
                <a:gd name="connsiteX3787" fmla="*/ 4332891 w 8566434"/>
                <a:gd name="connsiteY3787" fmla="*/ 1807059 h 2765205"/>
                <a:gd name="connsiteX3788" fmla="*/ 4612312 w 8566434"/>
                <a:gd name="connsiteY3788" fmla="*/ 1814778 h 2765205"/>
                <a:gd name="connsiteX3789" fmla="*/ 4612312 w 8566434"/>
                <a:gd name="connsiteY3789" fmla="*/ 1814778 h 2765205"/>
                <a:gd name="connsiteX3790" fmla="*/ 4395475 w 8566434"/>
                <a:gd name="connsiteY3790" fmla="*/ 1803957 h 2765205"/>
                <a:gd name="connsiteX3791" fmla="*/ 4383344 w 8566434"/>
                <a:gd name="connsiteY3791" fmla="*/ 1805060 h 2765205"/>
                <a:gd name="connsiteX3792" fmla="*/ 4401678 w 8566434"/>
                <a:gd name="connsiteY3792" fmla="*/ 1798857 h 2765205"/>
                <a:gd name="connsiteX3793" fmla="*/ 4402918 w 8566434"/>
                <a:gd name="connsiteY3793" fmla="*/ 1827185 h 2765205"/>
                <a:gd name="connsiteX3794" fmla="*/ 4395475 w 8566434"/>
                <a:gd name="connsiteY3794" fmla="*/ 1803957 h 2765205"/>
                <a:gd name="connsiteX3795" fmla="*/ 4544765 w 8566434"/>
                <a:gd name="connsiteY3795" fmla="*/ 1843658 h 2765205"/>
                <a:gd name="connsiteX3796" fmla="*/ 4562066 w 8566434"/>
                <a:gd name="connsiteY3796" fmla="*/ 1832423 h 2765205"/>
                <a:gd name="connsiteX3797" fmla="*/ 4544765 w 8566434"/>
                <a:gd name="connsiteY3797" fmla="*/ 1843658 h 2765205"/>
                <a:gd name="connsiteX3798" fmla="*/ 4414153 w 8566434"/>
                <a:gd name="connsiteY3798" fmla="*/ 1820568 h 2765205"/>
                <a:gd name="connsiteX3799" fmla="*/ 4421597 w 8566434"/>
                <a:gd name="connsiteY3799" fmla="*/ 1846139 h 2765205"/>
                <a:gd name="connsiteX3800" fmla="*/ 4414153 w 8566434"/>
                <a:gd name="connsiteY3800" fmla="*/ 1820568 h 2765205"/>
                <a:gd name="connsiteX3801" fmla="*/ 4519332 w 8566434"/>
                <a:gd name="connsiteY3801" fmla="*/ 1849930 h 2765205"/>
                <a:gd name="connsiteX3802" fmla="*/ 4506926 w 8566434"/>
                <a:gd name="connsiteY3802" fmla="*/ 1830907 h 2765205"/>
                <a:gd name="connsiteX3803" fmla="*/ 4457507 w 8566434"/>
                <a:gd name="connsiteY3803" fmla="*/ 1839936 h 2765205"/>
                <a:gd name="connsiteX3804" fmla="*/ 4418426 w 8566434"/>
                <a:gd name="connsiteY3804" fmla="*/ 1743993 h 2765205"/>
                <a:gd name="connsiteX3805" fmla="*/ 4402918 w 8566434"/>
                <a:gd name="connsiteY3805" fmla="*/ 1755572 h 2765205"/>
                <a:gd name="connsiteX3806" fmla="*/ 4415601 w 8566434"/>
                <a:gd name="connsiteY3806" fmla="*/ 1742201 h 2765205"/>
                <a:gd name="connsiteX3807" fmla="*/ 4414222 w 8566434"/>
                <a:gd name="connsiteY3807" fmla="*/ 1700708 h 2765205"/>
                <a:gd name="connsiteX3808" fmla="*/ 4421666 w 8566434"/>
                <a:gd name="connsiteY3808" fmla="*/ 1695125 h 2765205"/>
                <a:gd name="connsiteX3809" fmla="*/ 4460264 w 8566434"/>
                <a:gd name="connsiteY3809" fmla="*/ 1080111 h 2765205"/>
                <a:gd name="connsiteX3810" fmla="*/ 4480803 w 8566434"/>
                <a:gd name="connsiteY3810" fmla="*/ 978860 h 2765205"/>
                <a:gd name="connsiteX3811" fmla="*/ 4464468 w 8566434"/>
                <a:gd name="connsiteY3811" fmla="*/ 962319 h 2765205"/>
                <a:gd name="connsiteX3812" fmla="*/ 4465640 w 8566434"/>
                <a:gd name="connsiteY3812" fmla="*/ 955909 h 2765205"/>
                <a:gd name="connsiteX3813" fmla="*/ 4396440 w 8566434"/>
                <a:gd name="connsiteY3813" fmla="*/ 942882 h 2765205"/>
                <a:gd name="connsiteX3814" fmla="*/ 4403125 w 8566434"/>
                <a:gd name="connsiteY3814" fmla="*/ 914830 h 2765205"/>
                <a:gd name="connsiteX3815" fmla="*/ 4408364 w 8566434"/>
                <a:gd name="connsiteY3815" fmla="*/ 938540 h 2765205"/>
                <a:gd name="connsiteX3816" fmla="*/ 4429730 w 8566434"/>
                <a:gd name="connsiteY3816" fmla="*/ 943502 h 2765205"/>
                <a:gd name="connsiteX3817" fmla="*/ 4447099 w 8566434"/>
                <a:gd name="connsiteY3817" fmla="*/ 945294 h 2765205"/>
                <a:gd name="connsiteX3818" fmla="*/ 4453302 w 8566434"/>
                <a:gd name="connsiteY3818" fmla="*/ 952462 h 2765205"/>
                <a:gd name="connsiteX3819" fmla="*/ 4463786 w 8566434"/>
                <a:gd name="connsiteY3819" fmla="*/ 939642 h 2765205"/>
                <a:gd name="connsiteX3820" fmla="*/ 4456749 w 8566434"/>
                <a:gd name="connsiteY3820" fmla="*/ 953221 h 2765205"/>
                <a:gd name="connsiteX3821" fmla="*/ 4492934 w 8566434"/>
                <a:gd name="connsiteY3821" fmla="*/ 962043 h 2765205"/>
                <a:gd name="connsiteX3822" fmla="*/ 4528706 w 8566434"/>
                <a:gd name="connsiteY3822" fmla="*/ 946742 h 2765205"/>
                <a:gd name="connsiteX3823" fmla="*/ 4575230 w 8566434"/>
                <a:gd name="connsiteY3823" fmla="*/ 979136 h 2765205"/>
                <a:gd name="connsiteX3824" fmla="*/ 4607763 w 8566434"/>
                <a:gd name="connsiteY3824" fmla="*/ 980653 h 2765205"/>
                <a:gd name="connsiteX3825" fmla="*/ 4607625 w 8566434"/>
                <a:gd name="connsiteY3825" fmla="*/ 963421 h 2765205"/>
                <a:gd name="connsiteX3826" fmla="*/ 4609279 w 8566434"/>
                <a:gd name="connsiteY3826" fmla="*/ 988096 h 2765205"/>
                <a:gd name="connsiteX3827" fmla="*/ 4570130 w 8566434"/>
                <a:gd name="connsiteY3827" fmla="*/ 983203 h 2765205"/>
                <a:gd name="connsiteX3828" fmla="*/ 4573300 w 8566434"/>
                <a:gd name="connsiteY3828" fmla="*/ 1176536 h 2765205"/>
                <a:gd name="connsiteX3829" fmla="*/ 4579710 w 8566434"/>
                <a:gd name="connsiteY3829" fmla="*/ 1185014 h 2765205"/>
                <a:gd name="connsiteX3830" fmla="*/ 4594184 w 8566434"/>
                <a:gd name="connsiteY3830" fmla="*/ 1155583 h 2765205"/>
                <a:gd name="connsiteX3831" fmla="*/ 4588602 w 8566434"/>
                <a:gd name="connsiteY3831" fmla="*/ 1189012 h 2765205"/>
                <a:gd name="connsiteX3832" fmla="*/ 4594391 w 8566434"/>
                <a:gd name="connsiteY3832" fmla="*/ 1187771 h 2765205"/>
                <a:gd name="connsiteX3833" fmla="*/ 4571577 w 8566434"/>
                <a:gd name="connsiteY3833" fmla="*/ 1211619 h 2765205"/>
                <a:gd name="connsiteX3834" fmla="*/ 4563237 w 8566434"/>
                <a:gd name="connsiteY3834" fmla="*/ 1357670 h 2765205"/>
                <a:gd name="connsiteX3835" fmla="*/ 4576884 w 8566434"/>
                <a:gd name="connsiteY3835" fmla="*/ 1359049 h 2765205"/>
                <a:gd name="connsiteX3836" fmla="*/ 4570957 w 8566434"/>
                <a:gd name="connsiteY3836" fmla="*/ 1383862 h 2765205"/>
                <a:gd name="connsiteX3837" fmla="*/ 4568062 w 8566434"/>
                <a:gd name="connsiteY3837" fmla="*/ 1404332 h 2765205"/>
                <a:gd name="connsiteX3838" fmla="*/ 4555724 w 8566434"/>
                <a:gd name="connsiteY3838" fmla="*/ 1417290 h 2765205"/>
                <a:gd name="connsiteX3839" fmla="*/ 4561790 w 8566434"/>
                <a:gd name="connsiteY3839" fmla="*/ 1429765 h 2765205"/>
                <a:gd name="connsiteX3840" fmla="*/ 4553174 w 8566434"/>
                <a:gd name="connsiteY3840" fmla="*/ 1501102 h 2765205"/>
                <a:gd name="connsiteX3841" fmla="*/ 4546902 w 8566434"/>
                <a:gd name="connsiteY3841" fmla="*/ 1595598 h 2765205"/>
                <a:gd name="connsiteX3842" fmla="*/ 4567580 w 8566434"/>
                <a:gd name="connsiteY3842" fmla="*/ 1576230 h 2765205"/>
                <a:gd name="connsiteX3843" fmla="*/ 4546764 w 8566434"/>
                <a:gd name="connsiteY3843" fmla="*/ 1596425 h 2765205"/>
                <a:gd name="connsiteX3844" fmla="*/ 4546144 w 8566434"/>
                <a:gd name="connsiteY3844" fmla="*/ 1697469 h 2765205"/>
                <a:gd name="connsiteX3845" fmla="*/ 4539252 w 8566434"/>
                <a:gd name="connsiteY3845" fmla="*/ 1696917 h 2765205"/>
                <a:gd name="connsiteX3846" fmla="*/ 4547867 w 8566434"/>
                <a:gd name="connsiteY3846" fmla="*/ 1759914 h 2765205"/>
                <a:gd name="connsiteX3847" fmla="*/ 4537184 w 8566434"/>
                <a:gd name="connsiteY3847" fmla="*/ 1758536 h 2765205"/>
                <a:gd name="connsiteX3848" fmla="*/ 4510234 w 8566434"/>
                <a:gd name="connsiteY3848" fmla="*/ 1824979 h 2765205"/>
                <a:gd name="connsiteX3849" fmla="*/ 4533255 w 8566434"/>
                <a:gd name="connsiteY3849" fmla="*/ 1832423 h 2765205"/>
                <a:gd name="connsiteX3850" fmla="*/ 4533393 w 8566434"/>
                <a:gd name="connsiteY3850" fmla="*/ 1850343 h 2765205"/>
                <a:gd name="connsiteX3851" fmla="*/ 4519332 w 8566434"/>
                <a:gd name="connsiteY3851" fmla="*/ 1849930 h 2765205"/>
                <a:gd name="connsiteX3852" fmla="*/ 4379484 w 8566434"/>
                <a:gd name="connsiteY3852" fmla="*/ 1852342 h 2765205"/>
                <a:gd name="connsiteX3853" fmla="*/ 4379691 w 8566434"/>
                <a:gd name="connsiteY3853" fmla="*/ 1832423 h 2765205"/>
                <a:gd name="connsiteX3854" fmla="*/ 4382103 w 8566434"/>
                <a:gd name="connsiteY3854" fmla="*/ 1843106 h 2765205"/>
                <a:gd name="connsiteX3855" fmla="*/ 4406365 w 8566434"/>
                <a:gd name="connsiteY3855" fmla="*/ 1843175 h 2765205"/>
                <a:gd name="connsiteX3856" fmla="*/ 4379484 w 8566434"/>
                <a:gd name="connsiteY3856" fmla="*/ 1852342 h 2765205"/>
                <a:gd name="connsiteX3857" fmla="*/ 4368456 w 8566434"/>
                <a:gd name="connsiteY3857" fmla="*/ 1887632 h 2765205"/>
                <a:gd name="connsiteX3858" fmla="*/ 4401058 w 8566434"/>
                <a:gd name="connsiteY3858" fmla="*/ 1854617 h 2765205"/>
                <a:gd name="connsiteX3859" fmla="*/ 4368456 w 8566434"/>
                <a:gd name="connsiteY3859" fmla="*/ 1887632 h 2765205"/>
                <a:gd name="connsiteX3860" fmla="*/ 4476668 w 8566434"/>
                <a:gd name="connsiteY3860" fmla="*/ 1879223 h 2765205"/>
                <a:gd name="connsiteX3861" fmla="*/ 4458885 w 8566434"/>
                <a:gd name="connsiteY3861" fmla="*/ 1887011 h 2765205"/>
                <a:gd name="connsiteX3862" fmla="*/ 4458954 w 8566434"/>
                <a:gd name="connsiteY3862" fmla="*/ 1867023 h 2765205"/>
                <a:gd name="connsiteX3863" fmla="*/ 4481699 w 8566434"/>
                <a:gd name="connsiteY3863" fmla="*/ 1867919 h 2765205"/>
                <a:gd name="connsiteX3864" fmla="*/ 4485559 w 8566434"/>
                <a:gd name="connsiteY3864" fmla="*/ 1915339 h 2765205"/>
                <a:gd name="connsiteX3865" fmla="*/ 4476668 w 8566434"/>
                <a:gd name="connsiteY3865" fmla="*/ 1879223 h 2765205"/>
                <a:gd name="connsiteX3866" fmla="*/ 4537390 w 8566434"/>
                <a:gd name="connsiteY3866" fmla="*/ 1925954 h 2765205"/>
                <a:gd name="connsiteX3867" fmla="*/ 4537390 w 8566434"/>
                <a:gd name="connsiteY3867" fmla="*/ 1925954 h 2765205"/>
                <a:gd name="connsiteX3868" fmla="*/ 4475772 w 8566434"/>
                <a:gd name="connsiteY3868" fmla="*/ 1954626 h 2765205"/>
                <a:gd name="connsiteX3869" fmla="*/ 4475772 w 8566434"/>
                <a:gd name="connsiteY3869" fmla="*/ 1954626 h 2765205"/>
                <a:gd name="connsiteX3870" fmla="*/ 4378657 w 8566434"/>
                <a:gd name="connsiteY3870" fmla="*/ 1960692 h 2765205"/>
                <a:gd name="connsiteX3871" fmla="*/ 4378657 w 8566434"/>
                <a:gd name="connsiteY3871" fmla="*/ 1960692 h 2765205"/>
                <a:gd name="connsiteX3872" fmla="*/ 4439311 w 8566434"/>
                <a:gd name="connsiteY3872" fmla="*/ 1981989 h 2765205"/>
                <a:gd name="connsiteX3873" fmla="*/ 4439311 w 8566434"/>
                <a:gd name="connsiteY3873" fmla="*/ 1981989 h 2765205"/>
                <a:gd name="connsiteX3874" fmla="*/ 4419254 w 8566434"/>
                <a:gd name="connsiteY3874" fmla="*/ 1996464 h 2765205"/>
                <a:gd name="connsiteX3875" fmla="*/ 4428972 w 8566434"/>
                <a:gd name="connsiteY3875" fmla="*/ 1946287 h 2765205"/>
                <a:gd name="connsiteX3876" fmla="*/ 4409398 w 8566434"/>
                <a:gd name="connsiteY3876" fmla="*/ 1939187 h 2765205"/>
                <a:gd name="connsiteX3877" fmla="*/ 4405882 w 8566434"/>
                <a:gd name="connsiteY3877" fmla="*/ 1939463 h 2765205"/>
                <a:gd name="connsiteX3878" fmla="*/ 4419047 w 8566434"/>
                <a:gd name="connsiteY3878" fmla="*/ 1886873 h 2765205"/>
                <a:gd name="connsiteX3879" fmla="*/ 4403194 w 8566434"/>
                <a:gd name="connsiteY3879" fmla="*/ 1887425 h 2765205"/>
                <a:gd name="connsiteX3880" fmla="*/ 4403194 w 8566434"/>
                <a:gd name="connsiteY3880" fmla="*/ 1867850 h 2765205"/>
                <a:gd name="connsiteX3881" fmla="*/ 4425664 w 8566434"/>
                <a:gd name="connsiteY3881" fmla="*/ 1878189 h 2765205"/>
                <a:gd name="connsiteX3882" fmla="*/ 4441999 w 8566434"/>
                <a:gd name="connsiteY3882" fmla="*/ 1866610 h 2765205"/>
                <a:gd name="connsiteX3883" fmla="*/ 4448202 w 8566434"/>
                <a:gd name="connsiteY3883" fmla="*/ 1909412 h 2765205"/>
                <a:gd name="connsiteX3884" fmla="*/ 4425940 w 8566434"/>
                <a:gd name="connsiteY3884" fmla="*/ 1913203 h 2765205"/>
                <a:gd name="connsiteX3885" fmla="*/ 4415394 w 8566434"/>
                <a:gd name="connsiteY3885" fmla="*/ 1938705 h 2765205"/>
                <a:gd name="connsiteX3886" fmla="*/ 4431591 w 8566434"/>
                <a:gd name="connsiteY3886" fmla="*/ 1937464 h 2765205"/>
                <a:gd name="connsiteX3887" fmla="*/ 4436554 w 8566434"/>
                <a:gd name="connsiteY3887" fmla="*/ 1931674 h 2765205"/>
                <a:gd name="connsiteX3888" fmla="*/ 4454474 w 8566434"/>
                <a:gd name="connsiteY3888" fmla="*/ 1929124 h 2765205"/>
                <a:gd name="connsiteX3889" fmla="*/ 4455301 w 8566434"/>
                <a:gd name="connsiteY3889" fmla="*/ 1956212 h 2765205"/>
                <a:gd name="connsiteX3890" fmla="*/ 4417531 w 8566434"/>
                <a:gd name="connsiteY3890" fmla="*/ 1971927 h 2765205"/>
                <a:gd name="connsiteX3891" fmla="*/ 4431247 w 8566434"/>
                <a:gd name="connsiteY3891" fmla="*/ 1987641 h 2765205"/>
                <a:gd name="connsiteX3892" fmla="*/ 4419254 w 8566434"/>
                <a:gd name="connsiteY3892" fmla="*/ 1996464 h 2765205"/>
                <a:gd name="connsiteX3893" fmla="*/ 4452958 w 8566434"/>
                <a:gd name="connsiteY3893" fmla="*/ 1996601 h 2765205"/>
                <a:gd name="connsiteX3894" fmla="*/ 4464606 w 8566434"/>
                <a:gd name="connsiteY3894" fmla="*/ 1973098 h 2765205"/>
                <a:gd name="connsiteX3895" fmla="*/ 4483698 w 8566434"/>
                <a:gd name="connsiteY3895" fmla="*/ 1968480 h 2765205"/>
                <a:gd name="connsiteX3896" fmla="*/ 4467432 w 8566434"/>
                <a:gd name="connsiteY3896" fmla="*/ 2001357 h 2765205"/>
                <a:gd name="connsiteX3897" fmla="*/ 4452958 w 8566434"/>
                <a:gd name="connsiteY3897" fmla="*/ 1996601 h 2765205"/>
                <a:gd name="connsiteX3898" fmla="*/ 4488316 w 8566434"/>
                <a:gd name="connsiteY3898" fmla="*/ 2010042 h 2765205"/>
                <a:gd name="connsiteX3899" fmla="*/ 4488316 w 8566434"/>
                <a:gd name="connsiteY3899" fmla="*/ 2010042 h 2765205"/>
                <a:gd name="connsiteX3900" fmla="*/ 4475289 w 8566434"/>
                <a:gd name="connsiteY3900" fmla="*/ 2009077 h 2765205"/>
                <a:gd name="connsiteX3901" fmla="*/ 4475289 w 8566434"/>
                <a:gd name="connsiteY3901" fmla="*/ 2009077 h 2765205"/>
                <a:gd name="connsiteX3902" fmla="*/ 4433659 w 8566434"/>
                <a:gd name="connsiteY3902" fmla="*/ 2009353 h 2765205"/>
                <a:gd name="connsiteX3903" fmla="*/ 4445721 w 8566434"/>
                <a:gd name="connsiteY3903" fmla="*/ 1997497 h 2765205"/>
                <a:gd name="connsiteX3904" fmla="*/ 4433659 w 8566434"/>
                <a:gd name="connsiteY3904" fmla="*/ 2009353 h 2765205"/>
                <a:gd name="connsiteX3905" fmla="*/ 4408157 w 8566434"/>
                <a:gd name="connsiteY3905" fmla="*/ 2008112 h 2765205"/>
                <a:gd name="connsiteX3906" fmla="*/ 4486800 w 8566434"/>
                <a:gd name="connsiteY3906" fmla="*/ 2032580 h 2765205"/>
                <a:gd name="connsiteX3907" fmla="*/ 4591565 w 8566434"/>
                <a:gd name="connsiteY3907" fmla="*/ 1941324 h 2765205"/>
                <a:gd name="connsiteX3908" fmla="*/ 4607073 w 8566434"/>
                <a:gd name="connsiteY3908" fmla="*/ 1881428 h 2765205"/>
                <a:gd name="connsiteX3909" fmla="*/ 4616447 w 8566434"/>
                <a:gd name="connsiteY3909" fmla="*/ 1890871 h 2765205"/>
                <a:gd name="connsiteX3910" fmla="*/ 4625200 w 8566434"/>
                <a:gd name="connsiteY3910" fmla="*/ 1857925 h 2765205"/>
                <a:gd name="connsiteX3911" fmla="*/ 4600250 w 8566434"/>
                <a:gd name="connsiteY3911" fmla="*/ 1849999 h 2765205"/>
                <a:gd name="connsiteX3912" fmla="*/ 4599698 w 8566434"/>
                <a:gd name="connsiteY3912" fmla="*/ 1832699 h 2765205"/>
                <a:gd name="connsiteX3913" fmla="*/ 4625476 w 8566434"/>
                <a:gd name="connsiteY3913" fmla="*/ 1855375 h 2765205"/>
                <a:gd name="connsiteX3914" fmla="*/ 4647394 w 8566434"/>
                <a:gd name="connsiteY3914" fmla="*/ 1719318 h 2765205"/>
                <a:gd name="connsiteX3915" fmla="*/ 4626855 w 8566434"/>
                <a:gd name="connsiteY3915" fmla="*/ 1695332 h 2765205"/>
                <a:gd name="connsiteX3916" fmla="*/ 4644844 w 8566434"/>
                <a:gd name="connsiteY3916" fmla="*/ 1708979 h 2765205"/>
                <a:gd name="connsiteX3917" fmla="*/ 4661041 w 8566434"/>
                <a:gd name="connsiteY3917" fmla="*/ 1492900 h 2765205"/>
                <a:gd name="connsiteX3918" fmla="*/ 4654838 w 8566434"/>
                <a:gd name="connsiteY3918" fmla="*/ 1468708 h 2765205"/>
                <a:gd name="connsiteX3919" fmla="*/ 4661041 w 8566434"/>
                <a:gd name="connsiteY3919" fmla="*/ 1444584 h 2765205"/>
                <a:gd name="connsiteX3920" fmla="*/ 4642294 w 8566434"/>
                <a:gd name="connsiteY3920" fmla="*/ 1441276 h 2765205"/>
                <a:gd name="connsiteX3921" fmla="*/ 4647601 w 8566434"/>
                <a:gd name="connsiteY3921" fmla="*/ 1401231 h 2765205"/>
                <a:gd name="connsiteX3922" fmla="*/ 4656837 w 8566434"/>
                <a:gd name="connsiteY3922" fmla="*/ 1418806 h 2765205"/>
                <a:gd name="connsiteX3923" fmla="*/ 4666969 w 8566434"/>
                <a:gd name="connsiteY3923" fmla="*/ 1412259 h 2765205"/>
                <a:gd name="connsiteX3924" fmla="*/ 4681305 w 8566434"/>
                <a:gd name="connsiteY3924" fmla="*/ 1169161 h 2765205"/>
                <a:gd name="connsiteX3925" fmla="*/ 4687715 w 8566434"/>
                <a:gd name="connsiteY3925" fmla="*/ 982582 h 2765205"/>
                <a:gd name="connsiteX3926" fmla="*/ 4673730 w 8566434"/>
                <a:gd name="connsiteY3926" fmla="*/ 975897 h 2765205"/>
                <a:gd name="connsiteX3927" fmla="*/ 4682684 w 8566434"/>
                <a:gd name="connsiteY3927" fmla="*/ 946052 h 2765205"/>
                <a:gd name="connsiteX3928" fmla="*/ 4662282 w 8566434"/>
                <a:gd name="connsiteY3928" fmla="*/ 946673 h 2765205"/>
                <a:gd name="connsiteX3929" fmla="*/ 4667107 w 8566434"/>
                <a:gd name="connsiteY3929" fmla="*/ 929097 h 2765205"/>
                <a:gd name="connsiteX3930" fmla="*/ 4643328 w 8566434"/>
                <a:gd name="connsiteY3930" fmla="*/ 928752 h 2765205"/>
                <a:gd name="connsiteX3931" fmla="*/ 4648014 w 8566434"/>
                <a:gd name="connsiteY3931" fmla="*/ 897667 h 2765205"/>
                <a:gd name="connsiteX3932" fmla="*/ 4648083 w 8566434"/>
                <a:gd name="connsiteY3932" fmla="*/ 897185 h 2765205"/>
                <a:gd name="connsiteX3933" fmla="*/ 4649945 w 8566434"/>
                <a:gd name="connsiteY3933" fmla="*/ 896909 h 2765205"/>
                <a:gd name="connsiteX3934" fmla="*/ 4669795 w 8566434"/>
                <a:gd name="connsiteY3934" fmla="*/ 894014 h 2765205"/>
                <a:gd name="connsiteX3935" fmla="*/ 4657871 w 8566434"/>
                <a:gd name="connsiteY3935" fmla="*/ 853073 h 2765205"/>
                <a:gd name="connsiteX3936" fmla="*/ 4649738 w 8566434"/>
                <a:gd name="connsiteY3936" fmla="*/ 867409 h 2765205"/>
                <a:gd name="connsiteX3937" fmla="*/ 4651599 w 8566434"/>
                <a:gd name="connsiteY3937" fmla="*/ 841632 h 2765205"/>
                <a:gd name="connsiteX3938" fmla="*/ 4586879 w 8566434"/>
                <a:gd name="connsiteY3938" fmla="*/ 767124 h 2765205"/>
                <a:gd name="connsiteX3939" fmla="*/ 4473222 w 8566434"/>
                <a:gd name="connsiteY3939" fmla="*/ 775602 h 2765205"/>
                <a:gd name="connsiteX3940" fmla="*/ 4398232 w 8566434"/>
                <a:gd name="connsiteY3940" fmla="*/ 881677 h 2765205"/>
                <a:gd name="connsiteX3941" fmla="*/ 4422976 w 8566434"/>
                <a:gd name="connsiteY3941" fmla="*/ 881125 h 2765205"/>
                <a:gd name="connsiteX3942" fmla="*/ 4425181 w 8566434"/>
                <a:gd name="connsiteY3942" fmla="*/ 870580 h 2765205"/>
                <a:gd name="connsiteX3943" fmla="*/ 4425457 w 8566434"/>
                <a:gd name="connsiteY3943" fmla="*/ 897874 h 2765205"/>
                <a:gd name="connsiteX3944" fmla="*/ 4419460 w 8566434"/>
                <a:gd name="connsiteY3944" fmla="*/ 884503 h 2765205"/>
                <a:gd name="connsiteX3945" fmla="*/ 4396784 w 8566434"/>
                <a:gd name="connsiteY3945" fmla="*/ 885123 h 2765205"/>
                <a:gd name="connsiteX3946" fmla="*/ 4380932 w 8566434"/>
                <a:gd name="connsiteY3946" fmla="*/ 922963 h 2765205"/>
                <a:gd name="connsiteX3947" fmla="*/ 4391415 w 8566434"/>
                <a:gd name="connsiteY3947" fmla="*/ 932612 h 2765205"/>
                <a:gd name="connsiteX3948" fmla="*/ 4376865 w 8566434"/>
                <a:gd name="connsiteY3948" fmla="*/ 931027 h 2765205"/>
                <a:gd name="connsiteX3949" fmla="*/ 4383689 w 8566434"/>
                <a:gd name="connsiteY3949" fmla="*/ 975690 h 2765205"/>
                <a:gd name="connsiteX3950" fmla="*/ 4379553 w 8566434"/>
                <a:gd name="connsiteY3950" fmla="*/ 976862 h 2765205"/>
                <a:gd name="connsiteX3951" fmla="*/ 4373212 w 8566434"/>
                <a:gd name="connsiteY3951" fmla="*/ 952531 h 2765205"/>
                <a:gd name="connsiteX3952" fmla="*/ 4371282 w 8566434"/>
                <a:gd name="connsiteY3952" fmla="*/ 979412 h 2765205"/>
                <a:gd name="connsiteX3953" fmla="*/ 4361495 w 8566434"/>
                <a:gd name="connsiteY3953" fmla="*/ 1039169 h 2765205"/>
                <a:gd name="connsiteX3954" fmla="*/ 4336889 w 8566434"/>
                <a:gd name="connsiteY3954" fmla="*/ 1431489 h 2765205"/>
                <a:gd name="connsiteX3955" fmla="*/ 4337440 w 8566434"/>
                <a:gd name="connsiteY3955" fmla="*/ 1473464 h 2765205"/>
                <a:gd name="connsiteX3956" fmla="*/ 4329790 w 8566434"/>
                <a:gd name="connsiteY3956" fmla="*/ 1556793 h 2765205"/>
                <a:gd name="connsiteX3957" fmla="*/ 4342609 w 8566434"/>
                <a:gd name="connsiteY3957" fmla="*/ 1566718 h 2765205"/>
                <a:gd name="connsiteX3958" fmla="*/ 4329307 w 8566434"/>
                <a:gd name="connsiteY3958" fmla="*/ 1557345 h 2765205"/>
                <a:gd name="connsiteX3959" fmla="*/ 4322621 w 8566434"/>
                <a:gd name="connsiteY3959" fmla="*/ 1685269 h 2765205"/>
                <a:gd name="connsiteX3960" fmla="*/ 4333512 w 8566434"/>
                <a:gd name="connsiteY3960" fmla="*/ 1683201 h 2765205"/>
                <a:gd name="connsiteX3961" fmla="*/ 4328893 w 8566434"/>
                <a:gd name="connsiteY3961" fmla="*/ 1666384 h 2765205"/>
                <a:gd name="connsiteX3962" fmla="*/ 4362942 w 8566434"/>
                <a:gd name="connsiteY3962" fmla="*/ 1677136 h 2765205"/>
                <a:gd name="connsiteX3963" fmla="*/ 4354327 w 8566434"/>
                <a:gd name="connsiteY3963" fmla="*/ 1689887 h 2765205"/>
                <a:gd name="connsiteX3964" fmla="*/ 4335855 w 8566434"/>
                <a:gd name="connsiteY3964" fmla="*/ 1677480 h 2765205"/>
                <a:gd name="connsiteX3965" fmla="*/ 4333029 w 8566434"/>
                <a:gd name="connsiteY3965" fmla="*/ 1689956 h 2765205"/>
                <a:gd name="connsiteX3966" fmla="*/ 4320622 w 8566434"/>
                <a:gd name="connsiteY3966" fmla="*/ 1688439 h 2765205"/>
                <a:gd name="connsiteX3967" fmla="*/ 4333512 w 8566434"/>
                <a:gd name="connsiteY3967" fmla="*/ 1887218 h 2765205"/>
                <a:gd name="connsiteX3968" fmla="*/ 4340749 w 8566434"/>
                <a:gd name="connsiteY3968" fmla="*/ 1864749 h 2765205"/>
                <a:gd name="connsiteX3969" fmla="*/ 4337095 w 8566434"/>
                <a:gd name="connsiteY3969" fmla="*/ 1898522 h 2765205"/>
                <a:gd name="connsiteX3970" fmla="*/ 4354120 w 8566434"/>
                <a:gd name="connsiteY3970" fmla="*/ 1912789 h 2765205"/>
                <a:gd name="connsiteX3971" fmla="*/ 4352879 w 8566434"/>
                <a:gd name="connsiteY3971" fmla="*/ 1938911 h 2765205"/>
                <a:gd name="connsiteX3972" fmla="*/ 4392924 w 8566434"/>
                <a:gd name="connsiteY3972" fmla="*/ 1993845 h 2765205"/>
                <a:gd name="connsiteX3973" fmla="*/ 4408157 w 8566434"/>
                <a:gd name="connsiteY3973" fmla="*/ 2008112 h 2765205"/>
                <a:gd name="connsiteX3974" fmla="*/ 4800545 w 8566434"/>
                <a:gd name="connsiteY3974" fmla="*/ 829432 h 2765205"/>
                <a:gd name="connsiteX3975" fmla="*/ 4805714 w 8566434"/>
                <a:gd name="connsiteY3975" fmla="*/ 800346 h 2765205"/>
                <a:gd name="connsiteX3976" fmla="*/ 4800545 w 8566434"/>
                <a:gd name="connsiteY3976" fmla="*/ 829432 h 2765205"/>
                <a:gd name="connsiteX3977" fmla="*/ 4834111 w 8566434"/>
                <a:gd name="connsiteY3977" fmla="*/ 863963 h 2765205"/>
                <a:gd name="connsiteX3978" fmla="*/ 4842037 w 8566434"/>
                <a:gd name="connsiteY3978" fmla="*/ 848248 h 2765205"/>
                <a:gd name="connsiteX3979" fmla="*/ 4834111 w 8566434"/>
                <a:gd name="connsiteY3979" fmla="*/ 863963 h 2765205"/>
                <a:gd name="connsiteX3980" fmla="*/ 4841210 w 8566434"/>
                <a:gd name="connsiteY3980" fmla="*/ 913244 h 2765205"/>
                <a:gd name="connsiteX3981" fmla="*/ 4841210 w 8566434"/>
                <a:gd name="connsiteY3981" fmla="*/ 913244 h 2765205"/>
                <a:gd name="connsiteX3982" fmla="*/ 4777800 w 8566434"/>
                <a:gd name="connsiteY3982" fmla="*/ 968591 h 2765205"/>
                <a:gd name="connsiteX3983" fmla="*/ 4777800 w 8566434"/>
                <a:gd name="connsiteY3983" fmla="*/ 968591 h 2765205"/>
                <a:gd name="connsiteX3984" fmla="*/ 4777386 w 8566434"/>
                <a:gd name="connsiteY3984" fmla="*/ 1015528 h 2765205"/>
                <a:gd name="connsiteX3985" fmla="*/ 4795789 w 8566434"/>
                <a:gd name="connsiteY3985" fmla="*/ 1005396 h 2765205"/>
                <a:gd name="connsiteX3986" fmla="*/ 4786415 w 8566434"/>
                <a:gd name="connsiteY3986" fmla="*/ 983754 h 2765205"/>
                <a:gd name="connsiteX3987" fmla="*/ 4802406 w 8566434"/>
                <a:gd name="connsiteY3987" fmla="*/ 979067 h 2765205"/>
                <a:gd name="connsiteX3988" fmla="*/ 4777386 w 8566434"/>
                <a:gd name="connsiteY3988" fmla="*/ 1015528 h 2765205"/>
                <a:gd name="connsiteX3989" fmla="*/ 4803095 w 8566434"/>
                <a:gd name="connsiteY3989" fmla="*/ 1035310 h 2765205"/>
                <a:gd name="connsiteX3990" fmla="*/ 4827218 w 8566434"/>
                <a:gd name="connsiteY3990" fmla="*/ 998711 h 2765205"/>
                <a:gd name="connsiteX3991" fmla="*/ 4829011 w 8566434"/>
                <a:gd name="connsiteY3991" fmla="*/ 1012289 h 2765205"/>
                <a:gd name="connsiteX3992" fmla="*/ 4803095 w 8566434"/>
                <a:gd name="connsiteY3992" fmla="*/ 1035310 h 2765205"/>
                <a:gd name="connsiteX3993" fmla="*/ 4780143 w 8566434"/>
                <a:gd name="connsiteY3993" fmla="*/ 1065430 h 2765205"/>
                <a:gd name="connsiteX3994" fmla="*/ 4796823 w 8566434"/>
                <a:gd name="connsiteY3994" fmla="*/ 1056056 h 2765205"/>
                <a:gd name="connsiteX3995" fmla="*/ 4780143 w 8566434"/>
                <a:gd name="connsiteY3995" fmla="*/ 1065430 h 2765205"/>
                <a:gd name="connsiteX3996" fmla="*/ 4779178 w 8566434"/>
                <a:gd name="connsiteY3996" fmla="*/ 1170885 h 2765205"/>
                <a:gd name="connsiteX3997" fmla="*/ 4787311 w 8566434"/>
                <a:gd name="connsiteY3997" fmla="*/ 1127669 h 2765205"/>
                <a:gd name="connsiteX3998" fmla="*/ 4779178 w 8566434"/>
                <a:gd name="connsiteY3998" fmla="*/ 1170885 h 2765205"/>
                <a:gd name="connsiteX3999" fmla="*/ 5068317 w 8566434"/>
                <a:gd name="connsiteY3999" fmla="*/ 1226093 h 2765205"/>
                <a:gd name="connsiteX4000" fmla="*/ 5064388 w 8566434"/>
                <a:gd name="connsiteY4000" fmla="*/ 1188667 h 2765205"/>
                <a:gd name="connsiteX4001" fmla="*/ 5068317 w 8566434"/>
                <a:gd name="connsiteY4001" fmla="*/ 1226093 h 2765205"/>
                <a:gd name="connsiteX4002" fmla="*/ 4798615 w 8566434"/>
                <a:gd name="connsiteY4002" fmla="*/ 1230160 h 2765205"/>
                <a:gd name="connsiteX4003" fmla="*/ 4809987 w 8566434"/>
                <a:gd name="connsiteY4003" fmla="*/ 1218718 h 2765205"/>
                <a:gd name="connsiteX4004" fmla="*/ 4798615 w 8566434"/>
                <a:gd name="connsiteY4004" fmla="*/ 1230160 h 2765205"/>
                <a:gd name="connsiteX4005" fmla="*/ 5082171 w 8566434"/>
                <a:gd name="connsiteY4005" fmla="*/ 1245047 h 2765205"/>
                <a:gd name="connsiteX4006" fmla="*/ 5090511 w 8566434"/>
                <a:gd name="connsiteY4006" fmla="*/ 1234915 h 2765205"/>
                <a:gd name="connsiteX4007" fmla="*/ 5082171 w 8566434"/>
                <a:gd name="connsiteY4007" fmla="*/ 1245047 h 2765205"/>
                <a:gd name="connsiteX4008" fmla="*/ 4924540 w 8566434"/>
                <a:gd name="connsiteY4008" fmla="*/ 1252078 h 2765205"/>
                <a:gd name="connsiteX4009" fmla="*/ 4924540 w 8566434"/>
                <a:gd name="connsiteY4009" fmla="*/ 1252078 h 2765205"/>
                <a:gd name="connsiteX4010" fmla="*/ 5025928 w 8566434"/>
                <a:gd name="connsiteY4010" fmla="*/ 1255593 h 2765205"/>
                <a:gd name="connsiteX4011" fmla="*/ 5046054 w 8566434"/>
                <a:gd name="connsiteY4011" fmla="*/ 1250768 h 2765205"/>
                <a:gd name="connsiteX4012" fmla="*/ 5025928 w 8566434"/>
                <a:gd name="connsiteY4012" fmla="*/ 1255593 h 2765205"/>
                <a:gd name="connsiteX4013" fmla="*/ 4800407 w 8566434"/>
                <a:gd name="connsiteY4013" fmla="*/ 1248494 h 2765205"/>
                <a:gd name="connsiteX4014" fmla="*/ 4821980 w 8566434"/>
                <a:gd name="connsiteY4014" fmla="*/ 1246977 h 2765205"/>
                <a:gd name="connsiteX4015" fmla="*/ 4800407 w 8566434"/>
                <a:gd name="connsiteY4015" fmla="*/ 1248494 h 2765205"/>
                <a:gd name="connsiteX4016" fmla="*/ 4928745 w 8566434"/>
                <a:gd name="connsiteY4016" fmla="*/ 1277511 h 2765205"/>
                <a:gd name="connsiteX4017" fmla="*/ 4928745 w 8566434"/>
                <a:gd name="connsiteY4017" fmla="*/ 1277511 h 2765205"/>
                <a:gd name="connsiteX4018" fmla="*/ 5033648 w 8566434"/>
                <a:gd name="connsiteY4018" fmla="*/ 1286471 h 2765205"/>
                <a:gd name="connsiteX4019" fmla="*/ 5044883 w 8566434"/>
                <a:gd name="connsiteY4019" fmla="*/ 1275305 h 2765205"/>
                <a:gd name="connsiteX4020" fmla="*/ 5033648 w 8566434"/>
                <a:gd name="connsiteY4020" fmla="*/ 1286471 h 2765205"/>
                <a:gd name="connsiteX4021" fmla="*/ 5004975 w 8566434"/>
                <a:gd name="connsiteY4021" fmla="*/ 1285644 h 2765205"/>
                <a:gd name="connsiteX4022" fmla="*/ 5004975 w 8566434"/>
                <a:gd name="connsiteY4022" fmla="*/ 1285644 h 2765205"/>
                <a:gd name="connsiteX4023" fmla="*/ 4792825 w 8566434"/>
                <a:gd name="connsiteY4023" fmla="*/ 1284817 h 2765205"/>
                <a:gd name="connsiteX4024" fmla="*/ 4792825 w 8566434"/>
                <a:gd name="connsiteY4024" fmla="*/ 1284817 h 2765205"/>
                <a:gd name="connsiteX4025" fmla="*/ 5018553 w 8566434"/>
                <a:gd name="connsiteY4025" fmla="*/ 1305219 h 2765205"/>
                <a:gd name="connsiteX4026" fmla="*/ 5028547 w 8566434"/>
                <a:gd name="connsiteY4026" fmla="*/ 1294191 h 2765205"/>
                <a:gd name="connsiteX4027" fmla="*/ 5018553 w 8566434"/>
                <a:gd name="connsiteY4027" fmla="*/ 1305219 h 2765205"/>
                <a:gd name="connsiteX4028" fmla="*/ 4786139 w 8566434"/>
                <a:gd name="connsiteY4028" fmla="*/ 1312938 h 2765205"/>
                <a:gd name="connsiteX4029" fmla="*/ 4794824 w 8566434"/>
                <a:gd name="connsiteY4029" fmla="*/ 1303840 h 2765205"/>
                <a:gd name="connsiteX4030" fmla="*/ 4786139 w 8566434"/>
                <a:gd name="connsiteY4030" fmla="*/ 1312938 h 2765205"/>
                <a:gd name="connsiteX4031" fmla="*/ 5040196 w 8566434"/>
                <a:gd name="connsiteY4031" fmla="*/ 1333340 h 2765205"/>
                <a:gd name="connsiteX4032" fmla="*/ 5049156 w 8566434"/>
                <a:gd name="connsiteY4032" fmla="*/ 1324517 h 2765205"/>
                <a:gd name="connsiteX4033" fmla="*/ 5040196 w 8566434"/>
                <a:gd name="connsiteY4033" fmla="*/ 1333340 h 2765205"/>
                <a:gd name="connsiteX4034" fmla="*/ 4764980 w 8566434"/>
                <a:gd name="connsiteY4034" fmla="*/ 1361047 h 2765205"/>
                <a:gd name="connsiteX4035" fmla="*/ 4764980 w 8566434"/>
                <a:gd name="connsiteY4035" fmla="*/ 1361047 h 2765205"/>
                <a:gd name="connsiteX4036" fmla="*/ 4812675 w 8566434"/>
                <a:gd name="connsiteY4036" fmla="*/ 1349124 h 2765205"/>
                <a:gd name="connsiteX4037" fmla="*/ 4817293 w 8566434"/>
                <a:gd name="connsiteY4037" fmla="*/ 1365597 h 2765205"/>
                <a:gd name="connsiteX4038" fmla="*/ 4812675 w 8566434"/>
                <a:gd name="connsiteY4038" fmla="*/ 1349124 h 2765205"/>
                <a:gd name="connsiteX4039" fmla="*/ 4749816 w 8566434"/>
                <a:gd name="connsiteY4039" fmla="*/ 1373937 h 2765205"/>
                <a:gd name="connsiteX4040" fmla="*/ 4749816 w 8566434"/>
                <a:gd name="connsiteY4040" fmla="*/ 1373937 h 2765205"/>
                <a:gd name="connsiteX4041" fmla="*/ 4800476 w 8566434"/>
                <a:gd name="connsiteY4041" fmla="*/ 1380760 h 2765205"/>
                <a:gd name="connsiteX4042" fmla="*/ 4813572 w 8566434"/>
                <a:gd name="connsiteY4042" fmla="*/ 1373454 h 2765205"/>
                <a:gd name="connsiteX4043" fmla="*/ 4800476 w 8566434"/>
                <a:gd name="connsiteY4043" fmla="*/ 1380760 h 2765205"/>
                <a:gd name="connsiteX4044" fmla="*/ 4752298 w 8566434"/>
                <a:gd name="connsiteY4044" fmla="*/ 1397164 h 2765205"/>
                <a:gd name="connsiteX4045" fmla="*/ 4762498 w 8566434"/>
                <a:gd name="connsiteY4045" fmla="*/ 1385998 h 2765205"/>
                <a:gd name="connsiteX4046" fmla="*/ 4752298 w 8566434"/>
                <a:gd name="connsiteY4046" fmla="*/ 1397164 h 2765205"/>
                <a:gd name="connsiteX4047" fmla="*/ 5023033 w 8566434"/>
                <a:gd name="connsiteY4047" fmla="*/ 1404953 h 2765205"/>
                <a:gd name="connsiteX4048" fmla="*/ 5019656 w 8566434"/>
                <a:gd name="connsiteY4048" fmla="*/ 1374832 h 2765205"/>
                <a:gd name="connsiteX4049" fmla="*/ 5035233 w 8566434"/>
                <a:gd name="connsiteY4049" fmla="*/ 1387308 h 2765205"/>
                <a:gd name="connsiteX4050" fmla="*/ 5023033 w 8566434"/>
                <a:gd name="connsiteY4050" fmla="*/ 1404953 h 2765205"/>
                <a:gd name="connsiteX4051" fmla="*/ 4998979 w 8566434"/>
                <a:gd name="connsiteY4051" fmla="*/ 1429559 h 2765205"/>
                <a:gd name="connsiteX4052" fmla="*/ 4998979 w 8566434"/>
                <a:gd name="connsiteY4052" fmla="*/ 1429559 h 2765205"/>
                <a:gd name="connsiteX4053" fmla="*/ 5041030 w 8566434"/>
                <a:gd name="connsiteY4053" fmla="*/ 1436382 h 2765205"/>
                <a:gd name="connsiteX4054" fmla="*/ 5041030 w 8566434"/>
                <a:gd name="connsiteY4054" fmla="*/ 1436382 h 2765205"/>
                <a:gd name="connsiteX4055" fmla="*/ 4774767 w 8566434"/>
                <a:gd name="connsiteY4055" fmla="*/ 1434866 h 2765205"/>
                <a:gd name="connsiteX4056" fmla="*/ 4776766 w 8566434"/>
                <a:gd name="connsiteY4056" fmla="*/ 1426664 h 2765205"/>
                <a:gd name="connsiteX4057" fmla="*/ 4762567 w 8566434"/>
                <a:gd name="connsiteY4057" fmla="*/ 1422115 h 2765205"/>
                <a:gd name="connsiteX4058" fmla="*/ 4829700 w 8566434"/>
                <a:gd name="connsiteY4058" fmla="*/ 1415360 h 2765205"/>
                <a:gd name="connsiteX4059" fmla="*/ 4830665 w 8566434"/>
                <a:gd name="connsiteY4059" fmla="*/ 1437830 h 2765205"/>
                <a:gd name="connsiteX4060" fmla="*/ 4810401 w 8566434"/>
                <a:gd name="connsiteY4060" fmla="*/ 1420667 h 2765205"/>
                <a:gd name="connsiteX4061" fmla="*/ 4783589 w 8566434"/>
                <a:gd name="connsiteY4061" fmla="*/ 1432798 h 2765205"/>
                <a:gd name="connsiteX4062" fmla="*/ 4774767 w 8566434"/>
                <a:gd name="connsiteY4062" fmla="*/ 1434866 h 2765205"/>
                <a:gd name="connsiteX4063" fmla="*/ 5012557 w 8566434"/>
                <a:gd name="connsiteY4063" fmla="*/ 1442172 h 2765205"/>
                <a:gd name="connsiteX4064" fmla="*/ 5018484 w 8566434"/>
                <a:gd name="connsiteY4064" fmla="*/ 1418944 h 2765205"/>
                <a:gd name="connsiteX4065" fmla="*/ 5012557 w 8566434"/>
                <a:gd name="connsiteY4065" fmla="*/ 1442172 h 2765205"/>
                <a:gd name="connsiteX4066" fmla="*/ 4998772 w 8566434"/>
                <a:gd name="connsiteY4066" fmla="*/ 1458025 h 2765205"/>
                <a:gd name="connsiteX4067" fmla="*/ 4998772 w 8566434"/>
                <a:gd name="connsiteY4067" fmla="*/ 1458025 h 2765205"/>
                <a:gd name="connsiteX4068" fmla="*/ 4757949 w 8566434"/>
                <a:gd name="connsiteY4068" fmla="*/ 1472154 h 2765205"/>
                <a:gd name="connsiteX4069" fmla="*/ 4754021 w 8566434"/>
                <a:gd name="connsiteY4069" fmla="*/ 1454027 h 2765205"/>
                <a:gd name="connsiteX4070" fmla="*/ 4757949 w 8566434"/>
                <a:gd name="connsiteY4070" fmla="*/ 1472154 h 2765205"/>
                <a:gd name="connsiteX4071" fmla="*/ 5047433 w 8566434"/>
                <a:gd name="connsiteY4071" fmla="*/ 1500137 h 2765205"/>
                <a:gd name="connsiteX4072" fmla="*/ 5047433 w 8566434"/>
                <a:gd name="connsiteY4072" fmla="*/ 1500137 h 2765205"/>
                <a:gd name="connsiteX4073" fmla="*/ 5005802 w 8566434"/>
                <a:gd name="connsiteY4073" fmla="*/ 1497243 h 2765205"/>
                <a:gd name="connsiteX4074" fmla="*/ 5016486 w 8566434"/>
                <a:gd name="connsiteY4074" fmla="*/ 1487042 h 2765205"/>
                <a:gd name="connsiteX4075" fmla="*/ 5005802 w 8566434"/>
                <a:gd name="connsiteY4075" fmla="*/ 1497243 h 2765205"/>
                <a:gd name="connsiteX4076" fmla="*/ 5019932 w 8566434"/>
                <a:gd name="connsiteY4076" fmla="*/ 1511924 h 2765205"/>
                <a:gd name="connsiteX4077" fmla="*/ 5019932 w 8566434"/>
                <a:gd name="connsiteY4077" fmla="*/ 1511924 h 2765205"/>
                <a:gd name="connsiteX4078" fmla="*/ 4760982 w 8566434"/>
                <a:gd name="connsiteY4078" fmla="*/ 1520677 h 2765205"/>
                <a:gd name="connsiteX4079" fmla="*/ 4761258 w 8566434"/>
                <a:gd name="connsiteY4079" fmla="*/ 1493107 h 2765205"/>
                <a:gd name="connsiteX4080" fmla="*/ 4760982 w 8566434"/>
                <a:gd name="connsiteY4080" fmla="*/ 1520677 h 2765205"/>
                <a:gd name="connsiteX4081" fmla="*/ 4744027 w 8566434"/>
                <a:gd name="connsiteY4081" fmla="*/ 1519436 h 2765205"/>
                <a:gd name="connsiteX4082" fmla="*/ 4744027 w 8566434"/>
                <a:gd name="connsiteY4082" fmla="*/ 1519436 h 2765205"/>
                <a:gd name="connsiteX4083" fmla="*/ 5047088 w 8566434"/>
                <a:gd name="connsiteY4083" fmla="*/ 1507237 h 2765205"/>
                <a:gd name="connsiteX4084" fmla="*/ 5066042 w 8566434"/>
                <a:gd name="connsiteY4084" fmla="*/ 1516679 h 2765205"/>
                <a:gd name="connsiteX4085" fmla="*/ 5051913 w 8566434"/>
                <a:gd name="connsiteY4085" fmla="*/ 1541216 h 2765205"/>
                <a:gd name="connsiteX4086" fmla="*/ 5047088 w 8566434"/>
                <a:gd name="connsiteY4086" fmla="*/ 1507237 h 2765205"/>
                <a:gd name="connsiteX4087" fmla="*/ 5000013 w 8566434"/>
                <a:gd name="connsiteY4087" fmla="*/ 1541699 h 2765205"/>
                <a:gd name="connsiteX4088" fmla="*/ 5000013 w 8566434"/>
                <a:gd name="connsiteY4088" fmla="*/ 1541699 h 2765205"/>
                <a:gd name="connsiteX4089" fmla="*/ 4744440 w 8566434"/>
                <a:gd name="connsiteY4089" fmla="*/ 1546524 h 2765205"/>
                <a:gd name="connsiteX4090" fmla="*/ 4744440 w 8566434"/>
                <a:gd name="connsiteY4090" fmla="*/ 1546524 h 2765205"/>
                <a:gd name="connsiteX4091" fmla="*/ 4751746 w 8566434"/>
                <a:gd name="connsiteY4091" fmla="*/ 1581193 h 2765205"/>
                <a:gd name="connsiteX4092" fmla="*/ 4750023 w 8566434"/>
                <a:gd name="connsiteY4092" fmla="*/ 1558241 h 2765205"/>
                <a:gd name="connsiteX4093" fmla="*/ 4757812 w 8566434"/>
                <a:gd name="connsiteY4093" fmla="*/ 1542250 h 2765205"/>
                <a:gd name="connsiteX4094" fmla="*/ 4768977 w 8566434"/>
                <a:gd name="connsiteY4094" fmla="*/ 1535840 h 2765205"/>
                <a:gd name="connsiteX4095" fmla="*/ 4770494 w 8566434"/>
                <a:gd name="connsiteY4095" fmla="*/ 1577471 h 2765205"/>
                <a:gd name="connsiteX4096" fmla="*/ 4751746 w 8566434"/>
                <a:gd name="connsiteY4096" fmla="*/ 1581193 h 2765205"/>
                <a:gd name="connsiteX4097" fmla="*/ 5007663 w 8566434"/>
                <a:gd name="connsiteY4097" fmla="*/ 1550384 h 2765205"/>
                <a:gd name="connsiteX4098" fmla="*/ 5033372 w 8566434"/>
                <a:gd name="connsiteY4098" fmla="*/ 1549487 h 2765205"/>
                <a:gd name="connsiteX4099" fmla="*/ 5047019 w 8566434"/>
                <a:gd name="connsiteY4099" fmla="*/ 1553210 h 2765205"/>
                <a:gd name="connsiteX4100" fmla="*/ 5015176 w 8566434"/>
                <a:gd name="connsiteY4100" fmla="*/ 1553761 h 2765205"/>
                <a:gd name="connsiteX4101" fmla="*/ 5014907 w 8566434"/>
                <a:gd name="connsiteY4101" fmla="*/ 1591256 h 2765205"/>
                <a:gd name="connsiteX4102" fmla="*/ 5007663 w 8566434"/>
                <a:gd name="connsiteY4102" fmla="*/ 1550384 h 2765205"/>
                <a:gd name="connsiteX4103" fmla="*/ 4750643 w 8566434"/>
                <a:gd name="connsiteY4103" fmla="*/ 1595185 h 2765205"/>
                <a:gd name="connsiteX4104" fmla="*/ 4750643 w 8566434"/>
                <a:gd name="connsiteY4104" fmla="*/ 1595185 h 2765205"/>
                <a:gd name="connsiteX4105" fmla="*/ 5041712 w 8566434"/>
                <a:gd name="connsiteY4105" fmla="*/ 1603662 h 2765205"/>
                <a:gd name="connsiteX4106" fmla="*/ 5048742 w 8566434"/>
                <a:gd name="connsiteY4106" fmla="*/ 1579125 h 2765205"/>
                <a:gd name="connsiteX4107" fmla="*/ 5041712 w 8566434"/>
                <a:gd name="connsiteY4107" fmla="*/ 1603662 h 2765205"/>
                <a:gd name="connsiteX4108" fmla="*/ 4743130 w 8566434"/>
                <a:gd name="connsiteY4108" fmla="*/ 1604627 h 2765205"/>
                <a:gd name="connsiteX4109" fmla="*/ 4762223 w 8566434"/>
                <a:gd name="connsiteY4109" fmla="*/ 1613519 h 2765205"/>
                <a:gd name="connsiteX4110" fmla="*/ 4743130 w 8566434"/>
                <a:gd name="connsiteY4110" fmla="*/ 1604627 h 2765205"/>
                <a:gd name="connsiteX4111" fmla="*/ 4840728 w 8566434"/>
                <a:gd name="connsiteY4111" fmla="*/ 1627993 h 2765205"/>
                <a:gd name="connsiteX4112" fmla="*/ 4845277 w 8566434"/>
                <a:gd name="connsiteY4112" fmla="*/ 1605661 h 2765205"/>
                <a:gd name="connsiteX4113" fmla="*/ 4840728 w 8566434"/>
                <a:gd name="connsiteY4113" fmla="*/ 1627993 h 2765205"/>
                <a:gd name="connsiteX4114" fmla="*/ 5005113 w 8566434"/>
                <a:gd name="connsiteY4114" fmla="*/ 1628475 h 2765205"/>
                <a:gd name="connsiteX4115" fmla="*/ 4981127 w 8566434"/>
                <a:gd name="connsiteY4115" fmla="*/ 1622961 h 2765205"/>
                <a:gd name="connsiteX4116" fmla="*/ 5008215 w 8566434"/>
                <a:gd name="connsiteY4116" fmla="*/ 1627648 h 2765205"/>
                <a:gd name="connsiteX4117" fmla="*/ 5009179 w 8566434"/>
                <a:gd name="connsiteY4117" fmla="*/ 1617033 h 2765205"/>
                <a:gd name="connsiteX4118" fmla="*/ 5034130 w 8566434"/>
                <a:gd name="connsiteY4118" fmla="*/ 1601732 h 2765205"/>
                <a:gd name="connsiteX4119" fmla="*/ 5020076 w 8566434"/>
                <a:gd name="connsiteY4119" fmla="*/ 1627235 h 2765205"/>
                <a:gd name="connsiteX4120" fmla="*/ 5029788 w 8566434"/>
                <a:gd name="connsiteY4120" fmla="*/ 1627993 h 2765205"/>
                <a:gd name="connsiteX4121" fmla="*/ 5018002 w 8566434"/>
                <a:gd name="connsiteY4121" fmla="*/ 1635298 h 2765205"/>
                <a:gd name="connsiteX4122" fmla="*/ 5005113 w 8566434"/>
                <a:gd name="connsiteY4122" fmla="*/ 1628475 h 2765205"/>
                <a:gd name="connsiteX4123" fmla="*/ 4848034 w 8566434"/>
                <a:gd name="connsiteY4123" fmla="*/ 1643225 h 2765205"/>
                <a:gd name="connsiteX4124" fmla="*/ 4848034 w 8566434"/>
                <a:gd name="connsiteY4124" fmla="*/ 1643225 h 2765205"/>
                <a:gd name="connsiteX4125" fmla="*/ 4729621 w 8566434"/>
                <a:gd name="connsiteY4125" fmla="*/ 1677756 h 2765205"/>
                <a:gd name="connsiteX4126" fmla="*/ 4729621 w 8566434"/>
                <a:gd name="connsiteY4126" fmla="*/ 1677756 h 2765205"/>
                <a:gd name="connsiteX4127" fmla="*/ 4759052 w 8566434"/>
                <a:gd name="connsiteY4127" fmla="*/ 1683270 h 2765205"/>
                <a:gd name="connsiteX4128" fmla="*/ 4741752 w 8566434"/>
                <a:gd name="connsiteY4128" fmla="*/ 1669348 h 2765205"/>
                <a:gd name="connsiteX4129" fmla="*/ 4782004 w 8566434"/>
                <a:gd name="connsiteY4129" fmla="*/ 1677756 h 2765205"/>
                <a:gd name="connsiteX4130" fmla="*/ 4779591 w 8566434"/>
                <a:gd name="connsiteY4130" fmla="*/ 1686510 h 2765205"/>
                <a:gd name="connsiteX4131" fmla="*/ 4759052 w 8566434"/>
                <a:gd name="connsiteY4131" fmla="*/ 1683270 h 2765205"/>
                <a:gd name="connsiteX4132" fmla="*/ 4816742 w 8566434"/>
                <a:gd name="connsiteY4132" fmla="*/ 1695677 h 2765205"/>
                <a:gd name="connsiteX4133" fmla="*/ 4836317 w 8566434"/>
                <a:gd name="connsiteY4133" fmla="*/ 1691334 h 2765205"/>
                <a:gd name="connsiteX4134" fmla="*/ 4839970 w 8566434"/>
                <a:gd name="connsiteY4134" fmla="*/ 1693058 h 2765205"/>
                <a:gd name="connsiteX4135" fmla="*/ 4857545 w 8566434"/>
                <a:gd name="connsiteY4135" fmla="*/ 1653426 h 2765205"/>
                <a:gd name="connsiteX4136" fmla="*/ 4863197 w 8566434"/>
                <a:gd name="connsiteY4136" fmla="*/ 1660939 h 2765205"/>
                <a:gd name="connsiteX4137" fmla="*/ 4849619 w 8566434"/>
                <a:gd name="connsiteY4137" fmla="*/ 1698089 h 2765205"/>
                <a:gd name="connsiteX4138" fmla="*/ 4816742 w 8566434"/>
                <a:gd name="connsiteY4138" fmla="*/ 1695677 h 2765205"/>
                <a:gd name="connsiteX4139" fmla="*/ 4758294 w 8566434"/>
                <a:gd name="connsiteY4139" fmla="*/ 1704568 h 2765205"/>
                <a:gd name="connsiteX4140" fmla="*/ 4758983 w 8566434"/>
                <a:gd name="connsiteY4140" fmla="*/ 1691196 h 2765205"/>
                <a:gd name="connsiteX4141" fmla="*/ 4758294 w 8566434"/>
                <a:gd name="connsiteY4141" fmla="*/ 1704568 h 2765205"/>
                <a:gd name="connsiteX4142" fmla="*/ 4793997 w 8566434"/>
                <a:gd name="connsiteY4142" fmla="*/ 1687957 h 2765205"/>
                <a:gd name="connsiteX4143" fmla="*/ 4789517 w 8566434"/>
                <a:gd name="connsiteY4143" fmla="*/ 1710771 h 2765205"/>
                <a:gd name="connsiteX4144" fmla="*/ 4793997 w 8566434"/>
                <a:gd name="connsiteY4144" fmla="*/ 1687957 h 2765205"/>
                <a:gd name="connsiteX4145" fmla="*/ 4985125 w 8566434"/>
                <a:gd name="connsiteY4145" fmla="*/ 1813124 h 2765205"/>
                <a:gd name="connsiteX4146" fmla="*/ 5000909 w 8566434"/>
                <a:gd name="connsiteY4146" fmla="*/ 1815743 h 2765205"/>
                <a:gd name="connsiteX4147" fmla="*/ 5012074 w 8566434"/>
                <a:gd name="connsiteY4147" fmla="*/ 1747508 h 2765205"/>
                <a:gd name="connsiteX4148" fmla="*/ 5020897 w 8566434"/>
                <a:gd name="connsiteY4148" fmla="*/ 1784107 h 2765205"/>
                <a:gd name="connsiteX4149" fmla="*/ 5029443 w 8566434"/>
                <a:gd name="connsiteY4149" fmla="*/ 1762258 h 2765205"/>
                <a:gd name="connsiteX4150" fmla="*/ 5020690 w 8566434"/>
                <a:gd name="connsiteY4150" fmla="*/ 1821326 h 2765205"/>
                <a:gd name="connsiteX4151" fmla="*/ 5001873 w 8566434"/>
                <a:gd name="connsiteY4151" fmla="*/ 1810160 h 2765205"/>
                <a:gd name="connsiteX4152" fmla="*/ 5003183 w 8566434"/>
                <a:gd name="connsiteY4152" fmla="*/ 1823049 h 2765205"/>
                <a:gd name="connsiteX4153" fmla="*/ 4985125 w 8566434"/>
                <a:gd name="connsiteY4153" fmla="*/ 1813124 h 2765205"/>
                <a:gd name="connsiteX4154" fmla="*/ 4806403 w 8566434"/>
                <a:gd name="connsiteY4154" fmla="*/ 1822773 h 2765205"/>
                <a:gd name="connsiteX4155" fmla="*/ 4806403 w 8566434"/>
                <a:gd name="connsiteY4155" fmla="*/ 1822773 h 2765205"/>
                <a:gd name="connsiteX4156" fmla="*/ 4804887 w 8566434"/>
                <a:gd name="connsiteY4156" fmla="*/ 1853652 h 2765205"/>
                <a:gd name="connsiteX4157" fmla="*/ 4798890 w 8566434"/>
                <a:gd name="connsiteY4157" fmla="*/ 1837868 h 2765205"/>
                <a:gd name="connsiteX4158" fmla="*/ 4814881 w 8566434"/>
                <a:gd name="connsiteY4158" fmla="*/ 1841452 h 2765205"/>
                <a:gd name="connsiteX4159" fmla="*/ 4831699 w 8566434"/>
                <a:gd name="connsiteY4159" fmla="*/ 1830562 h 2765205"/>
                <a:gd name="connsiteX4160" fmla="*/ 4804887 w 8566434"/>
                <a:gd name="connsiteY4160" fmla="*/ 1853652 h 2765205"/>
                <a:gd name="connsiteX4161" fmla="*/ 4778627 w 8566434"/>
                <a:gd name="connsiteY4161" fmla="*/ 1863991 h 2765205"/>
                <a:gd name="connsiteX4162" fmla="*/ 4778627 w 8566434"/>
                <a:gd name="connsiteY4162" fmla="*/ 1863991 h 2765205"/>
                <a:gd name="connsiteX4163" fmla="*/ 5009248 w 8566434"/>
                <a:gd name="connsiteY4163" fmla="*/ 1895282 h 2765205"/>
                <a:gd name="connsiteX4164" fmla="*/ 4993534 w 8566434"/>
                <a:gd name="connsiteY4164" fmla="*/ 1868815 h 2765205"/>
                <a:gd name="connsiteX4165" fmla="*/ 5022000 w 8566434"/>
                <a:gd name="connsiteY4165" fmla="*/ 1896454 h 2765205"/>
                <a:gd name="connsiteX4166" fmla="*/ 5009248 w 8566434"/>
                <a:gd name="connsiteY4166" fmla="*/ 1895282 h 2765205"/>
                <a:gd name="connsiteX4167" fmla="*/ 5025584 w 8566434"/>
                <a:gd name="connsiteY4167" fmla="*/ 1974477 h 2765205"/>
                <a:gd name="connsiteX4168" fmla="*/ 5025584 w 8566434"/>
                <a:gd name="connsiteY4168" fmla="*/ 1974477 h 2765205"/>
                <a:gd name="connsiteX4169" fmla="*/ 4964516 w 8566434"/>
                <a:gd name="connsiteY4169" fmla="*/ 2002115 h 2765205"/>
                <a:gd name="connsiteX4170" fmla="*/ 4964516 w 8566434"/>
                <a:gd name="connsiteY4170" fmla="*/ 2002115 h 2765205"/>
                <a:gd name="connsiteX4171" fmla="*/ 4950249 w 8566434"/>
                <a:gd name="connsiteY4171" fmla="*/ 2048915 h 2765205"/>
                <a:gd name="connsiteX4172" fmla="*/ 5053291 w 8566434"/>
                <a:gd name="connsiteY4172" fmla="*/ 2054912 h 2765205"/>
                <a:gd name="connsiteX4173" fmla="*/ 5087554 w 8566434"/>
                <a:gd name="connsiteY4173" fmla="*/ 1507099 h 2765205"/>
                <a:gd name="connsiteX4174" fmla="*/ 5092441 w 8566434"/>
                <a:gd name="connsiteY4174" fmla="*/ 1374970 h 2765205"/>
                <a:gd name="connsiteX4175" fmla="*/ 5099953 w 8566434"/>
                <a:gd name="connsiteY4175" fmla="*/ 1307976 h 2765205"/>
                <a:gd name="connsiteX4176" fmla="*/ 5131383 w 8566434"/>
                <a:gd name="connsiteY4176" fmla="*/ 806480 h 2765205"/>
                <a:gd name="connsiteX4177" fmla="*/ 5019587 w 8566434"/>
                <a:gd name="connsiteY4177" fmla="*/ 800346 h 2765205"/>
                <a:gd name="connsiteX4178" fmla="*/ 4905103 w 8566434"/>
                <a:gd name="connsiteY4178" fmla="*/ 1275857 h 2765205"/>
                <a:gd name="connsiteX4179" fmla="*/ 4829562 w 8566434"/>
                <a:gd name="connsiteY4179" fmla="*/ 1582847 h 2765205"/>
                <a:gd name="connsiteX4180" fmla="*/ 4842106 w 8566434"/>
                <a:gd name="connsiteY4180" fmla="*/ 1389651 h 2765205"/>
                <a:gd name="connsiteX4181" fmla="*/ 4834249 w 8566434"/>
                <a:gd name="connsiteY4181" fmla="*/ 1356843 h 2765205"/>
                <a:gd name="connsiteX4182" fmla="*/ 4844932 w 8566434"/>
                <a:gd name="connsiteY4182" fmla="*/ 1360910 h 2765205"/>
                <a:gd name="connsiteX4183" fmla="*/ 4850653 w 8566434"/>
                <a:gd name="connsiteY4183" fmla="*/ 1252491 h 2765205"/>
                <a:gd name="connsiteX4184" fmla="*/ 4861543 w 8566434"/>
                <a:gd name="connsiteY4184" fmla="*/ 1051300 h 2765205"/>
                <a:gd name="connsiteX4185" fmla="*/ 4841486 w 8566434"/>
                <a:gd name="connsiteY4185" fmla="*/ 1052196 h 2765205"/>
                <a:gd name="connsiteX4186" fmla="*/ 4845483 w 8566434"/>
                <a:gd name="connsiteY4186" fmla="*/ 1069359 h 2765205"/>
                <a:gd name="connsiteX4187" fmla="*/ 4811504 w 8566434"/>
                <a:gd name="connsiteY4187" fmla="*/ 1085900 h 2765205"/>
                <a:gd name="connsiteX4188" fmla="*/ 4807437 w 8566434"/>
                <a:gd name="connsiteY4188" fmla="*/ 1120363 h 2765205"/>
                <a:gd name="connsiteX4189" fmla="*/ 4806610 w 8566434"/>
                <a:gd name="connsiteY4189" fmla="*/ 1087555 h 2765205"/>
                <a:gd name="connsiteX4190" fmla="*/ 4831906 w 8566434"/>
                <a:gd name="connsiteY4190" fmla="*/ 1068118 h 2765205"/>
                <a:gd name="connsiteX4191" fmla="*/ 4828115 w 8566434"/>
                <a:gd name="connsiteY4191" fmla="*/ 1032415 h 2765205"/>
                <a:gd name="connsiteX4192" fmla="*/ 4840659 w 8566434"/>
                <a:gd name="connsiteY4192" fmla="*/ 1051921 h 2765205"/>
                <a:gd name="connsiteX4193" fmla="*/ 4867057 w 8566434"/>
                <a:gd name="connsiteY4193" fmla="*/ 1014288 h 2765205"/>
                <a:gd name="connsiteX4194" fmla="*/ 4844794 w 8566434"/>
                <a:gd name="connsiteY4194" fmla="*/ 999676 h 2765205"/>
                <a:gd name="connsiteX4195" fmla="*/ 4866161 w 8566434"/>
                <a:gd name="connsiteY4195" fmla="*/ 1011806 h 2765205"/>
                <a:gd name="connsiteX4196" fmla="*/ 4873605 w 8566434"/>
                <a:gd name="connsiteY4196" fmla="*/ 887329 h 2765205"/>
                <a:gd name="connsiteX4197" fmla="*/ 4859475 w 8566434"/>
                <a:gd name="connsiteY4197" fmla="*/ 888087 h 2765205"/>
                <a:gd name="connsiteX4198" fmla="*/ 4874087 w 8566434"/>
                <a:gd name="connsiteY4198" fmla="*/ 883744 h 2765205"/>
                <a:gd name="connsiteX4199" fmla="*/ 4875810 w 8566434"/>
                <a:gd name="connsiteY4199" fmla="*/ 846456 h 2765205"/>
                <a:gd name="connsiteX4200" fmla="*/ 4879601 w 8566434"/>
                <a:gd name="connsiteY4200" fmla="*/ 792419 h 2765205"/>
                <a:gd name="connsiteX4201" fmla="*/ 4776214 w 8566434"/>
                <a:gd name="connsiteY4201" fmla="*/ 783942 h 2765205"/>
                <a:gd name="connsiteX4202" fmla="*/ 4772975 w 8566434"/>
                <a:gd name="connsiteY4202" fmla="*/ 821850 h 2765205"/>
                <a:gd name="connsiteX4203" fmla="*/ 4789999 w 8566434"/>
                <a:gd name="connsiteY4203" fmla="*/ 819162 h 2765205"/>
                <a:gd name="connsiteX4204" fmla="*/ 4790964 w 8566434"/>
                <a:gd name="connsiteY4204" fmla="*/ 829708 h 2765205"/>
                <a:gd name="connsiteX4205" fmla="*/ 4773320 w 8566434"/>
                <a:gd name="connsiteY4205" fmla="*/ 825572 h 2765205"/>
                <a:gd name="connsiteX4206" fmla="*/ 4769046 w 8566434"/>
                <a:gd name="connsiteY4206" fmla="*/ 891326 h 2765205"/>
                <a:gd name="connsiteX4207" fmla="*/ 4776077 w 8566434"/>
                <a:gd name="connsiteY4207" fmla="*/ 892911 h 2765205"/>
                <a:gd name="connsiteX4208" fmla="*/ 4786484 w 8566434"/>
                <a:gd name="connsiteY4208" fmla="*/ 866651 h 2765205"/>
                <a:gd name="connsiteX4209" fmla="*/ 4788138 w 8566434"/>
                <a:gd name="connsiteY4209" fmla="*/ 868099 h 2765205"/>
                <a:gd name="connsiteX4210" fmla="*/ 4788000 w 8566434"/>
                <a:gd name="connsiteY4210" fmla="*/ 898425 h 2765205"/>
                <a:gd name="connsiteX4211" fmla="*/ 4769391 w 8566434"/>
                <a:gd name="connsiteY4211" fmla="*/ 898425 h 2765205"/>
                <a:gd name="connsiteX4212" fmla="*/ 4737547 w 8566434"/>
                <a:gd name="connsiteY4212" fmla="*/ 1395303 h 2765205"/>
                <a:gd name="connsiteX4213" fmla="*/ 4755399 w 8566434"/>
                <a:gd name="connsiteY4213" fmla="*/ 1409502 h 2765205"/>
                <a:gd name="connsiteX4214" fmla="*/ 4734859 w 8566434"/>
                <a:gd name="connsiteY4214" fmla="*/ 1412396 h 2765205"/>
                <a:gd name="connsiteX4215" fmla="*/ 4753538 w 8566434"/>
                <a:gd name="connsiteY4215" fmla="*/ 1420805 h 2765205"/>
                <a:gd name="connsiteX4216" fmla="*/ 4761120 w 8566434"/>
                <a:gd name="connsiteY4216" fmla="*/ 1443688 h 2765205"/>
                <a:gd name="connsiteX4217" fmla="*/ 4746508 w 8566434"/>
                <a:gd name="connsiteY4217" fmla="*/ 1441000 h 2765205"/>
                <a:gd name="connsiteX4218" fmla="*/ 4747197 w 8566434"/>
                <a:gd name="connsiteY4218" fmla="*/ 1419220 h 2765205"/>
                <a:gd name="connsiteX4219" fmla="*/ 4734033 w 8566434"/>
                <a:gd name="connsiteY4219" fmla="*/ 1452579 h 2765205"/>
                <a:gd name="connsiteX4220" fmla="*/ 4719214 w 8566434"/>
                <a:gd name="connsiteY4220" fmla="*/ 1688577 h 2765205"/>
                <a:gd name="connsiteX4221" fmla="*/ 4735480 w 8566434"/>
                <a:gd name="connsiteY4221" fmla="*/ 1689611 h 2765205"/>
                <a:gd name="connsiteX4222" fmla="*/ 4719076 w 8566434"/>
                <a:gd name="connsiteY4222" fmla="*/ 1690714 h 2765205"/>
                <a:gd name="connsiteX4223" fmla="*/ 4717628 w 8566434"/>
                <a:gd name="connsiteY4223" fmla="*/ 1720696 h 2765205"/>
                <a:gd name="connsiteX4224" fmla="*/ 4741270 w 8566434"/>
                <a:gd name="connsiteY4224" fmla="*/ 1708221 h 2765205"/>
                <a:gd name="connsiteX4225" fmla="*/ 4739409 w 8566434"/>
                <a:gd name="connsiteY4225" fmla="*/ 1725038 h 2765205"/>
                <a:gd name="connsiteX4226" fmla="*/ 4715905 w 8566434"/>
                <a:gd name="connsiteY4226" fmla="*/ 1724074 h 2765205"/>
                <a:gd name="connsiteX4227" fmla="*/ 4716319 w 8566434"/>
                <a:gd name="connsiteY4227" fmla="*/ 1761155 h 2765205"/>
                <a:gd name="connsiteX4228" fmla="*/ 4731827 w 8566434"/>
                <a:gd name="connsiteY4228" fmla="*/ 1764877 h 2765205"/>
                <a:gd name="connsiteX4229" fmla="*/ 4725072 w 8566434"/>
                <a:gd name="connsiteY4229" fmla="*/ 1798788 h 2765205"/>
                <a:gd name="connsiteX4230" fmla="*/ 4715285 w 8566434"/>
                <a:gd name="connsiteY4230" fmla="*/ 1762533 h 2765205"/>
                <a:gd name="connsiteX4231" fmla="*/ 4711494 w 8566434"/>
                <a:gd name="connsiteY4231" fmla="*/ 1805956 h 2765205"/>
                <a:gd name="connsiteX4232" fmla="*/ 4763394 w 8566434"/>
                <a:gd name="connsiteY4232" fmla="*/ 1842969 h 2765205"/>
                <a:gd name="connsiteX4233" fmla="*/ 4732792 w 8566434"/>
                <a:gd name="connsiteY4233" fmla="*/ 1843175 h 2765205"/>
                <a:gd name="connsiteX4234" fmla="*/ 4725555 w 8566434"/>
                <a:gd name="connsiteY4234" fmla="*/ 1818156 h 2765205"/>
                <a:gd name="connsiteX4235" fmla="*/ 4711563 w 8566434"/>
                <a:gd name="connsiteY4235" fmla="*/ 1823049 h 2765205"/>
                <a:gd name="connsiteX4236" fmla="*/ 4698467 w 8566434"/>
                <a:gd name="connsiteY4236" fmla="*/ 2032925 h 2765205"/>
                <a:gd name="connsiteX4237" fmla="*/ 4813985 w 8566434"/>
                <a:gd name="connsiteY4237" fmla="*/ 2040231 h 2765205"/>
                <a:gd name="connsiteX4238" fmla="*/ 4850515 w 8566434"/>
                <a:gd name="connsiteY4238" fmla="*/ 1884116 h 2765205"/>
                <a:gd name="connsiteX4239" fmla="*/ 4835627 w 8566434"/>
                <a:gd name="connsiteY4239" fmla="*/ 1885357 h 2765205"/>
                <a:gd name="connsiteX4240" fmla="*/ 4831837 w 8566434"/>
                <a:gd name="connsiteY4240" fmla="*/ 1857580 h 2765205"/>
                <a:gd name="connsiteX4241" fmla="*/ 4843967 w 8566434"/>
                <a:gd name="connsiteY4241" fmla="*/ 1851171 h 2765205"/>
                <a:gd name="connsiteX4242" fmla="*/ 4852445 w 8566434"/>
                <a:gd name="connsiteY4242" fmla="*/ 1884392 h 2765205"/>
                <a:gd name="connsiteX4243" fmla="*/ 4868367 w 8566434"/>
                <a:gd name="connsiteY4243" fmla="*/ 1802579 h 2765205"/>
                <a:gd name="connsiteX4244" fmla="*/ 4984574 w 8566434"/>
                <a:gd name="connsiteY4244" fmla="*/ 1287436 h 2765205"/>
                <a:gd name="connsiteX4245" fmla="*/ 5004355 w 8566434"/>
                <a:gd name="connsiteY4245" fmla="*/ 1216995 h 2765205"/>
                <a:gd name="connsiteX4246" fmla="*/ 5000288 w 8566434"/>
                <a:gd name="connsiteY4246" fmla="*/ 1266138 h 2765205"/>
                <a:gd name="connsiteX4247" fmla="*/ 4984987 w 8566434"/>
                <a:gd name="connsiteY4247" fmla="*/ 1496553 h 2765205"/>
                <a:gd name="connsiteX4248" fmla="*/ 4984780 w 8566434"/>
                <a:gd name="connsiteY4248" fmla="*/ 1554450 h 2765205"/>
                <a:gd name="connsiteX4249" fmla="*/ 4995050 w 8566434"/>
                <a:gd name="connsiteY4249" fmla="*/ 1553623 h 2765205"/>
                <a:gd name="connsiteX4250" fmla="*/ 4993258 w 8566434"/>
                <a:gd name="connsiteY4250" fmla="*/ 1563135 h 2765205"/>
                <a:gd name="connsiteX4251" fmla="*/ 4983540 w 8566434"/>
                <a:gd name="connsiteY4251" fmla="*/ 1569475 h 2765205"/>
                <a:gd name="connsiteX4252" fmla="*/ 4976923 w 8566434"/>
                <a:gd name="connsiteY4252" fmla="*/ 1587465 h 2765205"/>
                <a:gd name="connsiteX4253" fmla="*/ 4978232 w 8566434"/>
                <a:gd name="connsiteY4253" fmla="*/ 1596839 h 2765205"/>
                <a:gd name="connsiteX4254" fmla="*/ 4965826 w 8566434"/>
                <a:gd name="connsiteY4254" fmla="*/ 1785072 h 2765205"/>
                <a:gd name="connsiteX4255" fmla="*/ 4978784 w 8566434"/>
                <a:gd name="connsiteY4255" fmla="*/ 1794928 h 2765205"/>
                <a:gd name="connsiteX4256" fmla="*/ 4965412 w 8566434"/>
                <a:gd name="connsiteY4256" fmla="*/ 1790861 h 2765205"/>
                <a:gd name="connsiteX4257" fmla="*/ 4961552 w 8566434"/>
                <a:gd name="connsiteY4257" fmla="*/ 1859441 h 2765205"/>
                <a:gd name="connsiteX4258" fmla="*/ 4992224 w 8566434"/>
                <a:gd name="connsiteY4258" fmla="*/ 1870400 h 2765205"/>
                <a:gd name="connsiteX4259" fmla="*/ 4960932 w 8566434"/>
                <a:gd name="connsiteY4259" fmla="*/ 1870538 h 2765205"/>
                <a:gd name="connsiteX4260" fmla="*/ 4957417 w 8566434"/>
                <a:gd name="connsiteY4260" fmla="*/ 1910790 h 2765205"/>
                <a:gd name="connsiteX4261" fmla="*/ 4977405 w 8566434"/>
                <a:gd name="connsiteY4261" fmla="*/ 1952076 h 2765205"/>
                <a:gd name="connsiteX4262" fmla="*/ 4970857 w 8566434"/>
                <a:gd name="connsiteY4262" fmla="*/ 1954006 h 2765205"/>
                <a:gd name="connsiteX4263" fmla="*/ 4957900 w 8566434"/>
                <a:gd name="connsiteY4263" fmla="*/ 1920922 h 2765205"/>
                <a:gd name="connsiteX4264" fmla="*/ 4956590 w 8566434"/>
                <a:gd name="connsiteY4264" fmla="*/ 1946631 h 2765205"/>
                <a:gd name="connsiteX4265" fmla="*/ 4972925 w 8566434"/>
                <a:gd name="connsiteY4265" fmla="*/ 1967791 h 2765205"/>
                <a:gd name="connsiteX4266" fmla="*/ 4955418 w 8566434"/>
                <a:gd name="connsiteY4266" fmla="*/ 1963862 h 2765205"/>
                <a:gd name="connsiteX4267" fmla="*/ 4950249 w 8566434"/>
                <a:gd name="connsiteY4267" fmla="*/ 2048915 h 2765205"/>
                <a:gd name="connsiteX4268" fmla="*/ 5219951 w 8566434"/>
                <a:gd name="connsiteY4268" fmla="*/ 1015666 h 2765205"/>
                <a:gd name="connsiteX4269" fmla="*/ 5219951 w 8566434"/>
                <a:gd name="connsiteY4269" fmla="*/ 1015666 h 2765205"/>
                <a:gd name="connsiteX4270" fmla="*/ 5239595 w 8566434"/>
                <a:gd name="connsiteY4270" fmla="*/ 1036619 h 2765205"/>
                <a:gd name="connsiteX4271" fmla="*/ 5239595 w 8566434"/>
                <a:gd name="connsiteY4271" fmla="*/ 1036619 h 2765205"/>
                <a:gd name="connsiteX4272" fmla="*/ 5254069 w 8566434"/>
                <a:gd name="connsiteY4272" fmla="*/ 1050197 h 2765205"/>
                <a:gd name="connsiteX4273" fmla="*/ 5263236 w 8566434"/>
                <a:gd name="connsiteY4273" fmla="*/ 979963 h 2765205"/>
                <a:gd name="connsiteX4274" fmla="*/ 5287911 w 8566434"/>
                <a:gd name="connsiteY4274" fmla="*/ 977896 h 2765205"/>
                <a:gd name="connsiteX4275" fmla="*/ 5271507 w 8566434"/>
                <a:gd name="connsiteY4275" fmla="*/ 981066 h 2765205"/>
                <a:gd name="connsiteX4276" fmla="*/ 5272334 w 8566434"/>
                <a:gd name="connsiteY4276" fmla="*/ 1026832 h 2765205"/>
                <a:gd name="connsiteX4277" fmla="*/ 5270128 w 8566434"/>
                <a:gd name="connsiteY4277" fmla="*/ 1043856 h 2765205"/>
                <a:gd name="connsiteX4278" fmla="*/ 5254069 w 8566434"/>
                <a:gd name="connsiteY4278" fmla="*/ 1050197 h 2765205"/>
                <a:gd name="connsiteX4279" fmla="*/ 5226844 w 8566434"/>
                <a:gd name="connsiteY4279" fmla="*/ 1077905 h 2765205"/>
                <a:gd name="connsiteX4280" fmla="*/ 5226844 w 8566434"/>
                <a:gd name="connsiteY4280" fmla="*/ 1077905 h 2765205"/>
                <a:gd name="connsiteX4281" fmla="*/ 5233184 w 8566434"/>
                <a:gd name="connsiteY4281" fmla="*/ 1099961 h 2765205"/>
                <a:gd name="connsiteX4282" fmla="*/ 5233184 w 8566434"/>
                <a:gd name="connsiteY4282" fmla="*/ 1099961 h 2765205"/>
                <a:gd name="connsiteX4283" fmla="*/ 5219124 w 8566434"/>
                <a:gd name="connsiteY4283" fmla="*/ 1128082 h 2765205"/>
                <a:gd name="connsiteX4284" fmla="*/ 5219124 w 8566434"/>
                <a:gd name="connsiteY4284" fmla="*/ 1128082 h 2765205"/>
                <a:gd name="connsiteX4285" fmla="*/ 5241042 w 8566434"/>
                <a:gd name="connsiteY4285" fmla="*/ 1119329 h 2765205"/>
                <a:gd name="connsiteX4286" fmla="*/ 5248072 w 8566434"/>
                <a:gd name="connsiteY4286" fmla="*/ 1101340 h 2765205"/>
                <a:gd name="connsiteX4287" fmla="*/ 5245660 w 8566434"/>
                <a:gd name="connsiteY4287" fmla="*/ 1054953 h 2765205"/>
                <a:gd name="connsiteX4288" fmla="*/ 5264408 w 8566434"/>
                <a:gd name="connsiteY4288" fmla="*/ 1135182 h 2765205"/>
                <a:gd name="connsiteX4289" fmla="*/ 5241042 w 8566434"/>
                <a:gd name="connsiteY4289" fmla="*/ 1119329 h 2765205"/>
                <a:gd name="connsiteX4290" fmla="*/ 5262408 w 8566434"/>
                <a:gd name="connsiteY4290" fmla="*/ 1195835 h 2765205"/>
                <a:gd name="connsiteX4291" fmla="*/ 5256068 w 8566434"/>
                <a:gd name="connsiteY4291" fmla="*/ 1179086 h 2765205"/>
                <a:gd name="connsiteX4292" fmla="*/ 5262408 w 8566434"/>
                <a:gd name="connsiteY4292" fmla="*/ 1195835 h 2765205"/>
                <a:gd name="connsiteX4293" fmla="*/ 5249244 w 8566434"/>
                <a:gd name="connsiteY4293" fmla="*/ 1241188 h 2765205"/>
                <a:gd name="connsiteX4294" fmla="*/ 5258342 w 8566434"/>
                <a:gd name="connsiteY4294" fmla="*/ 1286126 h 2765205"/>
                <a:gd name="connsiteX4295" fmla="*/ 5249244 w 8566434"/>
                <a:gd name="connsiteY4295" fmla="*/ 1241188 h 2765205"/>
                <a:gd name="connsiteX4296" fmla="*/ 5331264 w 8566434"/>
                <a:gd name="connsiteY4296" fmla="*/ 1368354 h 2765205"/>
                <a:gd name="connsiteX4297" fmla="*/ 5331264 w 8566434"/>
                <a:gd name="connsiteY4297" fmla="*/ 1368354 h 2765205"/>
                <a:gd name="connsiteX4298" fmla="*/ 5371585 w 8566434"/>
                <a:gd name="connsiteY4298" fmla="*/ 1381449 h 2765205"/>
                <a:gd name="connsiteX4299" fmla="*/ 5368966 w 8566434"/>
                <a:gd name="connsiteY4299" fmla="*/ 1364218 h 2765205"/>
                <a:gd name="connsiteX4300" fmla="*/ 5371585 w 8566434"/>
                <a:gd name="connsiteY4300" fmla="*/ 1381449 h 2765205"/>
                <a:gd name="connsiteX4301" fmla="*/ 5314447 w 8566434"/>
                <a:gd name="connsiteY4301" fmla="*/ 1402196 h 2765205"/>
                <a:gd name="connsiteX4302" fmla="*/ 5314447 w 8566434"/>
                <a:gd name="connsiteY4302" fmla="*/ 1402196 h 2765205"/>
                <a:gd name="connsiteX4303" fmla="*/ 5254069 w 8566434"/>
                <a:gd name="connsiteY4303" fmla="*/ 1408468 h 2765205"/>
                <a:gd name="connsiteX4304" fmla="*/ 5254069 w 8566434"/>
                <a:gd name="connsiteY4304" fmla="*/ 1408468 h 2765205"/>
                <a:gd name="connsiteX4305" fmla="*/ 5329886 w 8566434"/>
                <a:gd name="connsiteY4305" fmla="*/ 1415843 h 2765205"/>
                <a:gd name="connsiteX4306" fmla="*/ 5329886 w 8566434"/>
                <a:gd name="connsiteY4306" fmla="*/ 1415843 h 2765205"/>
                <a:gd name="connsiteX4307" fmla="*/ 5385094 w 8566434"/>
                <a:gd name="connsiteY4307" fmla="*/ 1429283 h 2765205"/>
                <a:gd name="connsiteX4308" fmla="*/ 5385094 w 8566434"/>
                <a:gd name="connsiteY4308" fmla="*/ 1429283 h 2765205"/>
                <a:gd name="connsiteX4309" fmla="*/ 5297491 w 8566434"/>
                <a:gd name="connsiteY4309" fmla="*/ 1420047 h 2765205"/>
                <a:gd name="connsiteX4310" fmla="*/ 5286808 w 8566434"/>
                <a:gd name="connsiteY4310" fmla="*/ 1420254 h 2765205"/>
                <a:gd name="connsiteX4311" fmla="*/ 5302729 w 8566434"/>
                <a:gd name="connsiteY4311" fmla="*/ 1413017 h 2765205"/>
                <a:gd name="connsiteX4312" fmla="*/ 5306383 w 8566434"/>
                <a:gd name="connsiteY4312" fmla="*/ 1388480 h 2765205"/>
                <a:gd name="connsiteX4313" fmla="*/ 5304039 w 8566434"/>
                <a:gd name="connsiteY4313" fmla="*/ 1446445 h 2765205"/>
                <a:gd name="connsiteX4314" fmla="*/ 5297491 w 8566434"/>
                <a:gd name="connsiteY4314" fmla="*/ 1420047 h 2765205"/>
                <a:gd name="connsiteX4315" fmla="*/ 5361247 w 8566434"/>
                <a:gd name="connsiteY4315" fmla="*/ 1456439 h 2765205"/>
                <a:gd name="connsiteX4316" fmla="*/ 5351115 w 8566434"/>
                <a:gd name="connsiteY4316" fmla="*/ 1432522 h 2765205"/>
                <a:gd name="connsiteX4317" fmla="*/ 5362487 w 8566434"/>
                <a:gd name="connsiteY4317" fmla="*/ 1437692 h 2765205"/>
                <a:gd name="connsiteX4318" fmla="*/ 5397156 w 8566434"/>
                <a:gd name="connsiteY4318" fmla="*/ 1441965 h 2765205"/>
                <a:gd name="connsiteX4319" fmla="*/ 5361247 w 8566434"/>
                <a:gd name="connsiteY4319" fmla="*/ 1456439 h 2765205"/>
                <a:gd name="connsiteX4320" fmla="*/ 5351115 w 8566434"/>
                <a:gd name="connsiteY4320" fmla="*/ 1471189 h 2765205"/>
                <a:gd name="connsiteX4321" fmla="*/ 5351115 w 8566434"/>
                <a:gd name="connsiteY4321" fmla="*/ 1471189 h 2765205"/>
                <a:gd name="connsiteX4322" fmla="*/ 5214230 w 8566434"/>
                <a:gd name="connsiteY4322" fmla="*/ 1472016 h 2765205"/>
                <a:gd name="connsiteX4323" fmla="*/ 5224638 w 8566434"/>
                <a:gd name="connsiteY4323" fmla="*/ 1461333 h 2765205"/>
                <a:gd name="connsiteX4324" fmla="*/ 5214230 w 8566434"/>
                <a:gd name="connsiteY4324" fmla="*/ 1472016 h 2765205"/>
                <a:gd name="connsiteX4325" fmla="*/ 5171359 w 8566434"/>
                <a:gd name="connsiteY4325" fmla="*/ 1470776 h 2765205"/>
                <a:gd name="connsiteX4326" fmla="*/ 5171359 w 8566434"/>
                <a:gd name="connsiteY4326" fmla="*/ 1470776 h 2765205"/>
                <a:gd name="connsiteX4327" fmla="*/ 5235115 w 8566434"/>
                <a:gd name="connsiteY4327" fmla="*/ 1462091 h 2765205"/>
                <a:gd name="connsiteX4328" fmla="*/ 5250898 w 8566434"/>
                <a:gd name="connsiteY4328" fmla="*/ 1471258 h 2765205"/>
                <a:gd name="connsiteX4329" fmla="*/ 5254896 w 8566434"/>
                <a:gd name="connsiteY4329" fmla="*/ 1441345 h 2765205"/>
                <a:gd name="connsiteX4330" fmla="*/ 5293287 w 8566434"/>
                <a:gd name="connsiteY4330" fmla="*/ 1448582 h 2765205"/>
                <a:gd name="connsiteX4331" fmla="*/ 5261513 w 8566434"/>
                <a:gd name="connsiteY4331" fmla="*/ 1464159 h 2765205"/>
                <a:gd name="connsiteX4332" fmla="*/ 5319754 w 8566434"/>
                <a:gd name="connsiteY4332" fmla="*/ 1460299 h 2765205"/>
                <a:gd name="connsiteX4333" fmla="*/ 5321477 w 8566434"/>
                <a:gd name="connsiteY4333" fmla="*/ 1477599 h 2765205"/>
                <a:gd name="connsiteX4334" fmla="*/ 5299766 w 8566434"/>
                <a:gd name="connsiteY4334" fmla="*/ 1463263 h 2765205"/>
                <a:gd name="connsiteX4335" fmla="*/ 5286601 w 8566434"/>
                <a:gd name="connsiteY4335" fmla="*/ 1477185 h 2765205"/>
                <a:gd name="connsiteX4336" fmla="*/ 5235115 w 8566434"/>
                <a:gd name="connsiteY4336" fmla="*/ 1462091 h 2765205"/>
                <a:gd name="connsiteX4337" fmla="*/ 5378615 w 8566434"/>
                <a:gd name="connsiteY4337" fmla="*/ 1491384 h 2765205"/>
                <a:gd name="connsiteX4338" fmla="*/ 5378615 w 8566434"/>
                <a:gd name="connsiteY4338" fmla="*/ 1491384 h 2765205"/>
                <a:gd name="connsiteX4339" fmla="*/ 5350150 w 8566434"/>
                <a:gd name="connsiteY4339" fmla="*/ 1498828 h 2765205"/>
                <a:gd name="connsiteX4340" fmla="*/ 5350150 w 8566434"/>
                <a:gd name="connsiteY4340" fmla="*/ 1498828 h 2765205"/>
                <a:gd name="connsiteX4341" fmla="*/ 5269508 w 8566434"/>
                <a:gd name="connsiteY4341" fmla="*/ 1498345 h 2765205"/>
                <a:gd name="connsiteX4342" fmla="*/ 5300869 w 8566434"/>
                <a:gd name="connsiteY4342" fmla="*/ 1485388 h 2765205"/>
                <a:gd name="connsiteX4343" fmla="*/ 5269508 w 8566434"/>
                <a:gd name="connsiteY4343" fmla="*/ 1498345 h 2765205"/>
                <a:gd name="connsiteX4344" fmla="*/ 5294803 w 8566434"/>
                <a:gd name="connsiteY4344" fmla="*/ 1514198 h 2765205"/>
                <a:gd name="connsiteX4345" fmla="*/ 5307278 w 8566434"/>
                <a:gd name="connsiteY4345" fmla="*/ 1503446 h 2765205"/>
                <a:gd name="connsiteX4346" fmla="*/ 5294803 w 8566434"/>
                <a:gd name="connsiteY4346" fmla="*/ 1514198 h 2765205"/>
                <a:gd name="connsiteX4347" fmla="*/ 5240215 w 8566434"/>
                <a:gd name="connsiteY4347" fmla="*/ 1524606 h 2765205"/>
                <a:gd name="connsiteX4348" fmla="*/ 5251725 w 8566434"/>
                <a:gd name="connsiteY4348" fmla="*/ 1508822 h 2765205"/>
                <a:gd name="connsiteX4349" fmla="*/ 5240215 w 8566434"/>
                <a:gd name="connsiteY4349" fmla="*/ 1524606 h 2765205"/>
                <a:gd name="connsiteX4350" fmla="*/ 5199480 w 8566434"/>
                <a:gd name="connsiteY4350" fmla="*/ 1540252 h 2765205"/>
                <a:gd name="connsiteX4351" fmla="*/ 5203547 w 8566434"/>
                <a:gd name="connsiteY4351" fmla="*/ 1524261 h 2765205"/>
                <a:gd name="connsiteX4352" fmla="*/ 5199480 w 8566434"/>
                <a:gd name="connsiteY4352" fmla="*/ 1540252 h 2765205"/>
                <a:gd name="connsiteX4353" fmla="*/ 5192312 w 8566434"/>
                <a:gd name="connsiteY4353" fmla="*/ 1587465 h 2765205"/>
                <a:gd name="connsiteX4354" fmla="*/ 5206718 w 8566434"/>
                <a:gd name="connsiteY4354" fmla="*/ 1552107 h 2765205"/>
                <a:gd name="connsiteX4355" fmla="*/ 5235183 w 8566434"/>
                <a:gd name="connsiteY4355" fmla="*/ 1557621 h 2765205"/>
                <a:gd name="connsiteX4356" fmla="*/ 5234977 w 8566434"/>
                <a:gd name="connsiteY4356" fmla="*/ 1550315 h 2765205"/>
                <a:gd name="connsiteX4357" fmla="*/ 5236079 w 8566434"/>
                <a:gd name="connsiteY4357" fmla="*/ 1566236 h 2765205"/>
                <a:gd name="connsiteX4358" fmla="*/ 5207407 w 8566434"/>
                <a:gd name="connsiteY4358" fmla="*/ 1556862 h 2765205"/>
                <a:gd name="connsiteX4359" fmla="*/ 5216918 w 8566434"/>
                <a:gd name="connsiteY4359" fmla="*/ 1618757 h 2765205"/>
                <a:gd name="connsiteX4360" fmla="*/ 5192312 w 8566434"/>
                <a:gd name="connsiteY4360" fmla="*/ 1587465 h 2765205"/>
                <a:gd name="connsiteX4361" fmla="*/ 5179699 w 8566434"/>
                <a:gd name="connsiteY4361" fmla="*/ 1630612 h 2765205"/>
                <a:gd name="connsiteX4362" fmla="*/ 5179699 w 8566434"/>
                <a:gd name="connsiteY4362" fmla="*/ 1630612 h 2765205"/>
                <a:gd name="connsiteX4363" fmla="*/ 5218848 w 8566434"/>
                <a:gd name="connsiteY4363" fmla="*/ 1651634 h 2765205"/>
                <a:gd name="connsiteX4364" fmla="*/ 5218848 w 8566434"/>
                <a:gd name="connsiteY4364" fmla="*/ 1651634 h 2765205"/>
                <a:gd name="connsiteX4365" fmla="*/ 5219951 w 8566434"/>
                <a:gd name="connsiteY4365" fmla="*/ 1719042 h 2765205"/>
                <a:gd name="connsiteX4366" fmla="*/ 5219951 w 8566434"/>
                <a:gd name="connsiteY4366" fmla="*/ 1719042 h 2765205"/>
                <a:gd name="connsiteX4367" fmla="*/ 5171635 w 8566434"/>
                <a:gd name="connsiteY4367" fmla="*/ 1802372 h 2765205"/>
                <a:gd name="connsiteX4368" fmla="*/ 5171635 w 8566434"/>
                <a:gd name="connsiteY4368" fmla="*/ 1802372 h 2765205"/>
                <a:gd name="connsiteX4369" fmla="*/ 5180664 w 8566434"/>
                <a:gd name="connsiteY4369" fmla="*/ 1843933 h 2765205"/>
                <a:gd name="connsiteX4370" fmla="*/ 5177907 w 8566434"/>
                <a:gd name="connsiteY4370" fmla="*/ 1813469 h 2765205"/>
                <a:gd name="connsiteX4371" fmla="*/ 5216712 w 8566434"/>
                <a:gd name="connsiteY4371" fmla="*/ 1808024 h 2765205"/>
                <a:gd name="connsiteX4372" fmla="*/ 5217814 w 8566434"/>
                <a:gd name="connsiteY4372" fmla="*/ 1839591 h 2765205"/>
                <a:gd name="connsiteX4373" fmla="*/ 5212300 w 8566434"/>
                <a:gd name="connsiteY4373" fmla="*/ 1838833 h 2765205"/>
                <a:gd name="connsiteX4374" fmla="*/ 5210508 w 8566434"/>
                <a:gd name="connsiteY4374" fmla="*/ 1809058 h 2765205"/>
                <a:gd name="connsiteX4375" fmla="*/ 5186109 w 8566434"/>
                <a:gd name="connsiteY4375" fmla="*/ 1815330 h 2765205"/>
                <a:gd name="connsiteX4376" fmla="*/ 5188866 w 8566434"/>
                <a:gd name="connsiteY4376" fmla="*/ 1843727 h 2765205"/>
                <a:gd name="connsiteX4377" fmla="*/ 5180664 w 8566434"/>
                <a:gd name="connsiteY4377" fmla="*/ 1843933 h 2765205"/>
                <a:gd name="connsiteX4378" fmla="*/ 5385232 w 8566434"/>
                <a:gd name="connsiteY4378" fmla="*/ 1932571 h 2765205"/>
                <a:gd name="connsiteX4379" fmla="*/ 5382131 w 8566434"/>
                <a:gd name="connsiteY4379" fmla="*/ 1915270 h 2765205"/>
                <a:gd name="connsiteX4380" fmla="*/ 5385232 w 8566434"/>
                <a:gd name="connsiteY4380" fmla="*/ 1932571 h 2765205"/>
                <a:gd name="connsiteX4381" fmla="*/ 5357180 w 8566434"/>
                <a:gd name="connsiteY4381" fmla="*/ 1932157 h 2765205"/>
                <a:gd name="connsiteX4382" fmla="*/ 5365037 w 8566434"/>
                <a:gd name="connsiteY4382" fmla="*/ 1917200 h 2765205"/>
                <a:gd name="connsiteX4383" fmla="*/ 5357180 w 8566434"/>
                <a:gd name="connsiteY4383" fmla="*/ 1932157 h 2765205"/>
                <a:gd name="connsiteX4384" fmla="*/ 5333539 w 8566434"/>
                <a:gd name="connsiteY4384" fmla="*/ 1894593 h 2765205"/>
                <a:gd name="connsiteX4385" fmla="*/ 5326853 w 8566434"/>
                <a:gd name="connsiteY4385" fmla="*/ 1934225 h 2765205"/>
                <a:gd name="connsiteX4386" fmla="*/ 5333539 w 8566434"/>
                <a:gd name="connsiteY4386" fmla="*/ 1894593 h 2765205"/>
                <a:gd name="connsiteX4387" fmla="*/ 5309415 w 8566434"/>
                <a:gd name="connsiteY4387" fmla="*/ 1932777 h 2765205"/>
                <a:gd name="connsiteX4388" fmla="*/ 5309415 w 8566434"/>
                <a:gd name="connsiteY4388" fmla="*/ 1932777 h 2765205"/>
                <a:gd name="connsiteX4389" fmla="*/ 5404944 w 8566434"/>
                <a:gd name="connsiteY4389" fmla="*/ 1946218 h 2765205"/>
                <a:gd name="connsiteX4390" fmla="*/ 5404944 w 8566434"/>
                <a:gd name="connsiteY4390" fmla="*/ 1946218 h 2765205"/>
                <a:gd name="connsiteX4391" fmla="*/ 5171221 w 8566434"/>
                <a:gd name="connsiteY4391" fmla="*/ 1947872 h 2765205"/>
                <a:gd name="connsiteX4392" fmla="*/ 5171221 w 8566434"/>
                <a:gd name="connsiteY4392" fmla="*/ 1947872 h 2765205"/>
                <a:gd name="connsiteX4393" fmla="*/ 5365451 w 8566434"/>
                <a:gd name="connsiteY4393" fmla="*/ 1967378 h 2765205"/>
                <a:gd name="connsiteX4394" fmla="*/ 5362625 w 8566434"/>
                <a:gd name="connsiteY4394" fmla="*/ 1947527 h 2765205"/>
                <a:gd name="connsiteX4395" fmla="*/ 5365451 w 8566434"/>
                <a:gd name="connsiteY4395" fmla="*/ 1967378 h 2765205"/>
                <a:gd name="connsiteX4396" fmla="*/ 5384129 w 8566434"/>
                <a:gd name="connsiteY4396" fmla="*/ 1964827 h 2765205"/>
                <a:gd name="connsiteX4397" fmla="*/ 5412320 w 8566434"/>
                <a:gd name="connsiteY4397" fmla="*/ 1965861 h 2765205"/>
                <a:gd name="connsiteX4398" fmla="*/ 5384129 w 8566434"/>
                <a:gd name="connsiteY4398" fmla="*/ 1964827 h 2765205"/>
                <a:gd name="connsiteX4399" fmla="*/ 5159849 w 8566434"/>
                <a:gd name="connsiteY4399" fmla="*/ 2037956 h 2765205"/>
                <a:gd name="connsiteX4400" fmla="*/ 5170263 w 8566434"/>
                <a:gd name="connsiteY4400" fmla="*/ 2026653 h 2765205"/>
                <a:gd name="connsiteX4401" fmla="*/ 5159849 w 8566434"/>
                <a:gd name="connsiteY4401" fmla="*/ 2037956 h 2765205"/>
                <a:gd name="connsiteX4402" fmla="*/ 5202927 w 8566434"/>
                <a:gd name="connsiteY4402" fmla="*/ 2022448 h 2765205"/>
                <a:gd name="connsiteX4403" fmla="*/ 5238905 w 8566434"/>
                <a:gd name="connsiteY4403" fmla="*/ 2041816 h 2765205"/>
                <a:gd name="connsiteX4404" fmla="*/ 5202927 w 8566434"/>
                <a:gd name="connsiteY4404" fmla="*/ 2022448 h 2765205"/>
                <a:gd name="connsiteX4405" fmla="*/ 5122767 w 8566434"/>
                <a:gd name="connsiteY4405" fmla="*/ 2058909 h 2765205"/>
                <a:gd name="connsiteX4406" fmla="*/ 5416869 w 8566434"/>
                <a:gd name="connsiteY4406" fmla="*/ 2076968 h 2765205"/>
                <a:gd name="connsiteX4407" fmla="*/ 5421624 w 8566434"/>
                <a:gd name="connsiteY4407" fmla="*/ 2000254 h 2765205"/>
                <a:gd name="connsiteX4408" fmla="*/ 5388885 w 8566434"/>
                <a:gd name="connsiteY4408" fmla="*/ 2001909 h 2765205"/>
                <a:gd name="connsiteX4409" fmla="*/ 5405841 w 8566434"/>
                <a:gd name="connsiteY4409" fmla="*/ 1986263 h 2765205"/>
                <a:gd name="connsiteX4410" fmla="*/ 5421211 w 8566434"/>
                <a:gd name="connsiteY4410" fmla="*/ 1997635 h 2765205"/>
                <a:gd name="connsiteX4411" fmla="*/ 5428034 w 8566434"/>
                <a:gd name="connsiteY4411" fmla="*/ 1888528 h 2765205"/>
                <a:gd name="connsiteX4412" fmla="*/ 5262546 w 8566434"/>
                <a:gd name="connsiteY4412" fmla="*/ 1878602 h 2765205"/>
                <a:gd name="connsiteX4413" fmla="*/ 5276607 w 8566434"/>
                <a:gd name="connsiteY4413" fmla="*/ 1912513 h 2765205"/>
                <a:gd name="connsiteX4414" fmla="*/ 5271576 w 8566434"/>
                <a:gd name="connsiteY4414" fmla="*/ 1909756 h 2765205"/>
                <a:gd name="connsiteX4415" fmla="*/ 5246763 w 8566434"/>
                <a:gd name="connsiteY4415" fmla="*/ 1875777 h 2765205"/>
                <a:gd name="connsiteX4416" fmla="*/ 5248348 w 8566434"/>
                <a:gd name="connsiteY4416" fmla="*/ 1890320 h 2765205"/>
                <a:gd name="connsiteX4417" fmla="*/ 5223466 w 8566434"/>
                <a:gd name="connsiteY4417" fmla="*/ 1888252 h 2765205"/>
                <a:gd name="connsiteX4418" fmla="*/ 5195069 w 8566434"/>
                <a:gd name="connsiteY4418" fmla="*/ 1862267 h 2765205"/>
                <a:gd name="connsiteX4419" fmla="*/ 5206304 w 8566434"/>
                <a:gd name="connsiteY4419" fmla="*/ 1853169 h 2765205"/>
                <a:gd name="connsiteX4420" fmla="*/ 5239388 w 8566434"/>
                <a:gd name="connsiteY4420" fmla="*/ 1878534 h 2765205"/>
                <a:gd name="connsiteX4421" fmla="*/ 5244419 w 8566434"/>
                <a:gd name="connsiteY4421" fmla="*/ 1743855 h 2765205"/>
                <a:gd name="connsiteX4422" fmla="*/ 5226706 w 8566434"/>
                <a:gd name="connsiteY4422" fmla="*/ 1765290 h 2765205"/>
                <a:gd name="connsiteX4423" fmla="*/ 5216160 w 8566434"/>
                <a:gd name="connsiteY4423" fmla="*/ 1771425 h 2765205"/>
                <a:gd name="connsiteX4424" fmla="*/ 5192864 w 8566434"/>
                <a:gd name="connsiteY4424" fmla="*/ 1765635 h 2765205"/>
                <a:gd name="connsiteX4425" fmla="*/ 5192312 w 8566434"/>
                <a:gd name="connsiteY4425" fmla="*/ 1730552 h 2765205"/>
                <a:gd name="connsiteX4426" fmla="*/ 5216787 w 8566434"/>
                <a:gd name="connsiteY4426" fmla="*/ 1732620 h 2765205"/>
                <a:gd name="connsiteX4427" fmla="*/ 5205201 w 8566434"/>
                <a:gd name="connsiteY4427" fmla="*/ 1762120 h 2765205"/>
                <a:gd name="connsiteX4428" fmla="*/ 5232295 w 8566434"/>
                <a:gd name="connsiteY4428" fmla="*/ 1742270 h 2765205"/>
                <a:gd name="connsiteX4429" fmla="*/ 5246832 w 8566434"/>
                <a:gd name="connsiteY4429" fmla="*/ 1718146 h 2765205"/>
                <a:gd name="connsiteX4430" fmla="*/ 5230979 w 8566434"/>
                <a:gd name="connsiteY4430" fmla="*/ 1717319 h 2765205"/>
                <a:gd name="connsiteX4431" fmla="*/ 5248279 w 8566434"/>
                <a:gd name="connsiteY4431" fmla="*/ 1709668 h 2765205"/>
                <a:gd name="connsiteX4432" fmla="*/ 5251932 w 8566434"/>
                <a:gd name="connsiteY4432" fmla="*/ 1657492 h 2765205"/>
                <a:gd name="connsiteX4433" fmla="*/ 5239250 w 8566434"/>
                <a:gd name="connsiteY4433" fmla="*/ 1655631 h 2765205"/>
                <a:gd name="connsiteX4434" fmla="*/ 5253517 w 8566434"/>
                <a:gd name="connsiteY4434" fmla="*/ 1654253 h 2765205"/>
                <a:gd name="connsiteX4435" fmla="*/ 5240146 w 8566434"/>
                <a:gd name="connsiteY4435" fmla="*/ 1615035 h 2765205"/>
                <a:gd name="connsiteX4436" fmla="*/ 5249037 w 8566434"/>
                <a:gd name="connsiteY4436" fmla="*/ 1614001 h 2765205"/>
                <a:gd name="connsiteX4437" fmla="*/ 5255861 w 8566434"/>
                <a:gd name="connsiteY4437" fmla="*/ 1549970 h 2765205"/>
                <a:gd name="connsiteX4438" fmla="*/ 5285430 w 8566434"/>
                <a:gd name="connsiteY4438" fmla="*/ 1537633 h 2765205"/>
                <a:gd name="connsiteX4439" fmla="*/ 5281363 w 8566434"/>
                <a:gd name="connsiteY4439" fmla="*/ 1522469 h 2765205"/>
                <a:gd name="connsiteX4440" fmla="*/ 5284809 w 8566434"/>
                <a:gd name="connsiteY4440" fmla="*/ 1521780 h 2765205"/>
                <a:gd name="connsiteX4441" fmla="*/ 5297009 w 8566434"/>
                <a:gd name="connsiteY4441" fmla="*/ 1543353 h 2765205"/>
                <a:gd name="connsiteX4442" fmla="*/ 5298939 w 8566434"/>
                <a:gd name="connsiteY4442" fmla="*/ 1520677 h 2765205"/>
                <a:gd name="connsiteX4443" fmla="*/ 5304590 w 8566434"/>
                <a:gd name="connsiteY4443" fmla="*/ 1539493 h 2765205"/>
                <a:gd name="connsiteX4444" fmla="*/ 5398259 w 8566434"/>
                <a:gd name="connsiteY4444" fmla="*/ 1544387 h 2765205"/>
                <a:gd name="connsiteX4445" fmla="*/ 5404255 w 8566434"/>
                <a:gd name="connsiteY4445" fmla="*/ 1430937 h 2765205"/>
                <a:gd name="connsiteX4446" fmla="*/ 5408943 w 8566434"/>
                <a:gd name="connsiteY4446" fmla="*/ 1355465 h 2765205"/>
                <a:gd name="connsiteX4447" fmla="*/ 5275918 w 8566434"/>
                <a:gd name="connsiteY4447" fmla="*/ 1351467 h 2765205"/>
                <a:gd name="connsiteX4448" fmla="*/ 5268060 w 8566434"/>
                <a:gd name="connsiteY4448" fmla="*/ 1318108 h 2765205"/>
                <a:gd name="connsiteX4449" fmla="*/ 5271576 w 8566434"/>
                <a:gd name="connsiteY4449" fmla="*/ 1252216 h 2765205"/>
                <a:gd name="connsiteX4450" fmla="*/ 5285223 w 8566434"/>
                <a:gd name="connsiteY4450" fmla="*/ 1136560 h 2765205"/>
                <a:gd name="connsiteX4451" fmla="*/ 5274057 w 8566434"/>
                <a:gd name="connsiteY4451" fmla="*/ 1140764 h 2765205"/>
                <a:gd name="connsiteX4452" fmla="*/ 5274126 w 8566434"/>
                <a:gd name="connsiteY4452" fmla="*/ 1121052 h 2765205"/>
                <a:gd name="connsiteX4453" fmla="*/ 5284947 w 8566434"/>
                <a:gd name="connsiteY4453" fmla="*/ 1127876 h 2765205"/>
                <a:gd name="connsiteX4454" fmla="*/ 5304797 w 8566434"/>
                <a:gd name="connsiteY4454" fmla="*/ 817715 h 2765205"/>
                <a:gd name="connsiteX4455" fmla="*/ 5292873 w 8566434"/>
                <a:gd name="connsiteY4455" fmla="*/ 866996 h 2765205"/>
                <a:gd name="connsiteX4456" fmla="*/ 5277227 w 8566434"/>
                <a:gd name="connsiteY4456" fmla="*/ 848869 h 2765205"/>
                <a:gd name="connsiteX4457" fmla="*/ 5279916 w 8566434"/>
                <a:gd name="connsiteY4457" fmla="*/ 816681 h 2765205"/>
                <a:gd name="connsiteX4458" fmla="*/ 5255240 w 8566434"/>
                <a:gd name="connsiteY4458" fmla="*/ 813510 h 2765205"/>
                <a:gd name="connsiteX4459" fmla="*/ 5253724 w 8566434"/>
                <a:gd name="connsiteY4459" fmla="*/ 823780 h 2765205"/>
                <a:gd name="connsiteX4460" fmla="*/ 5244143 w 8566434"/>
                <a:gd name="connsiteY4460" fmla="*/ 814269 h 2765205"/>
                <a:gd name="connsiteX4461" fmla="*/ 5227050 w 8566434"/>
                <a:gd name="connsiteY4461" fmla="*/ 837289 h 2765205"/>
                <a:gd name="connsiteX4462" fmla="*/ 5245109 w 8566434"/>
                <a:gd name="connsiteY4462" fmla="*/ 845629 h 2765205"/>
                <a:gd name="connsiteX4463" fmla="*/ 5250347 w 8566434"/>
                <a:gd name="connsiteY4463" fmla="*/ 831638 h 2765205"/>
                <a:gd name="connsiteX4464" fmla="*/ 5248279 w 8566434"/>
                <a:gd name="connsiteY4464" fmla="*/ 847559 h 2765205"/>
                <a:gd name="connsiteX4465" fmla="*/ 5215402 w 8566434"/>
                <a:gd name="connsiteY4465" fmla="*/ 857346 h 2765205"/>
                <a:gd name="connsiteX4466" fmla="*/ 5208165 w 8566434"/>
                <a:gd name="connsiteY4466" fmla="*/ 837772 h 2765205"/>
                <a:gd name="connsiteX4467" fmla="*/ 5219951 w 8566434"/>
                <a:gd name="connsiteY4467" fmla="*/ 881263 h 2765205"/>
                <a:gd name="connsiteX4468" fmla="*/ 5227188 w 8566434"/>
                <a:gd name="connsiteY4468" fmla="*/ 874991 h 2765205"/>
                <a:gd name="connsiteX4469" fmla="*/ 5228980 w 8566434"/>
                <a:gd name="connsiteY4469" fmla="*/ 881884 h 2765205"/>
                <a:gd name="connsiteX4470" fmla="*/ 5235941 w 8566434"/>
                <a:gd name="connsiteY4470" fmla="*/ 881608 h 2765205"/>
                <a:gd name="connsiteX4471" fmla="*/ 5237465 w 8566434"/>
                <a:gd name="connsiteY4471" fmla="*/ 883400 h 2765205"/>
                <a:gd name="connsiteX4472" fmla="*/ 5218641 w 8566434"/>
                <a:gd name="connsiteY4472" fmla="*/ 890154 h 2765205"/>
                <a:gd name="connsiteX4473" fmla="*/ 5215195 w 8566434"/>
                <a:gd name="connsiteY4473" fmla="*/ 906490 h 2765205"/>
                <a:gd name="connsiteX4474" fmla="*/ 5213472 w 8566434"/>
                <a:gd name="connsiteY4474" fmla="*/ 906283 h 2765205"/>
                <a:gd name="connsiteX4475" fmla="*/ 5199549 w 8566434"/>
                <a:gd name="connsiteY4475" fmla="*/ 870304 h 2765205"/>
                <a:gd name="connsiteX4476" fmla="*/ 5184593 w 8566434"/>
                <a:gd name="connsiteY4476" fmla="*/ 1069565 h 2765205"/>
                <a:gd name="connsiteX4477" fmla="*/ 5202651 w 8566434"/>
                <a:gd name="connsiteY4477" fmla="*/ 1076044 h 2765205"/>
                <a:gd name="connsiteX4478" fmla="*/ 5179423 w 8566434"/>
                <a:gd name="connsiteY4478" fmla="*/ 1078388 h 2765205"/>
                <a:gd name="connsiteX4479" fmla="*/ 5179630 w 8566434"/>
                <a:gd name="connsiteY4479" fmla="*/ 1156066 h 2765205"/>
                <a:gd name="connsiteX4480" fmla="*/ 5179217 w 8566434"/>
                <a:gd name="connsiteY4480" fmla="*/ 1176674 h 2765205"/>
                <a:gd name="connsiteX4481" fmla="*/ 5175495 w 8566434"/>
                <a:gd name="connsiteY4481" fmla="*/ 1218580 h 2765205"/>
                <a:gd name="connsiteX4482" fmla="*/ 5175908 w 8566434"/>
                <a:gd name="connsiteY4482" fmla="*/ 1261245 h 2765205"/>
                <a:gd name="connsiteX4483" fmla="*/ 5173909 w 8566434"/>
                <a:gd name="connsiteY4483" fmla="*/ 1300876 h 2765205"/>
                <a:gd name="connsiteX4484" fmla="*/ 5170118 w 8566434"/>
                <a:gd name="connsiteY4484" fmla="*/ 1305770 h 2765205"/>
                <a:gd name="connsiteX4485" fmla="*/ 5172944 w 8566434"/>
                <a:gd name="connsiteY4485" fmla="*/ 1380898 h 2765205"/>
                <a:gd name="connsiteX4486" fmla="*/ 5165432 w 8566434"/>
                <a:gd name="connsiteY4486" fmla="*/ 1378899 h 2765205"/>
                <a:gd name="connsiteX4487" fmla="*/ 5163709 w 8566434"/>
                <a:gd name="connsiteY4487" fmla="*/ 1485043 h 2765205"/>
                <a:gd name="connsiteX4488" fmla="*/ 5175839 w 8566434"/>
                <a:gd name="connsiteY4488" fmla="*/ 1486215 h 2765205"/>
                <a:gd name="connsiteX4489" fmla="*/ 5194449 w 8566434"/>
                <a:gd name="connsiteY4489" fmla="*/ 1494623 h 2765205"/>
                <a:gd name="connsiteX4490" fmla="*/ 5195965 w 8566434"/>
                <a:gd name="connsiteY4490" fmla="*/ 1513509 h 2765205"/>
                <a:gd name="connsiteX4491" fmla="*/ 5162744 w 8566434"/>
                <a:gd name="connsiteY4491" fmla="*/ 1493383 h 2765205"/>
                <a:gd name="connsiteX4492" fmla="*/ 5157643 w 8566434"/>
                <a:gd name="connsiteY4492" fmla="*/ 1497794 h 2765205"/>
                <a:gd name="connsiteX4493" fmla="*/ 5145926 w 8566434"/>
                <a:gd name="connsiteY4493" fmla="*/ 1688026 h 2765205"/>
                <a:gd name="connsiteX4494" fmla="*/ 5155300 w 8566434"/>
                <a:gd name="connsiteY4494" fmla="*/ 1702845 h 2765205"/>
                <a:gd name="connsiteX4495" fmla="*/ 5144479 w 8566434"/>
                <a:gd name="connsiteY4495" fmla="*/ 1702155 h 2765205"/>
                <a:gd name="connsiteX4496" fmla="*/ 5142411 w 8566434"/>
                <a:gd name="connsiteY4496" fmla="*/ 1761913 h 2765205"/>
                <a:gd name="connsiteX4497" fmla="*/ 5164742 w 8566434"/>
                <a:gd name="connsiteY4497" fmla="*/ 1737445 h 2765205"/>
                <a:gd name="connsiteX4498" fmla="*/ 5167155 w 8566434"/>
                <a:gd name="connsiteY4498" fmla="*/ 1741649 h 2765205"/>
                <a:gd name="connsiteX4499" fmla="*/ 5151440 w 8566434"/>
                <a:gd name="connsiteY4499" fmla="*/ 1763498 h 2765205"/>
                <a:gd name="connsiteX4500" fmla="*/ 5180664 w 8566434"/>
                <a:gd name="connsiteY4500" fmla="*/ 1765842 h 2765205"/>
                <a:gd name="connsiteX4501" fmla="*/ 5182801 w 8566434"/>
                <a:gd name="connsiteY4501" fmla="*/ 1784452 h 2765205"/>
                <a:gd name="connsiteX4502" fmla="*/ 5174668 w 8566434"/>
                <a:gd name="connsiteY4502" fmla="*/ 1771563 h 2765205"/>
                <a:gd name="connsiteX4503" fmla="*/ 5141790 w 8566434"/>
                <a:gd name="connsiteY4503" fmla="*/ 1763843 h 2765205"/>
                <a:gd name="connsiteX4504" fmla="*/ 5134347 w 8566434"/>
                <a:gd name="connsiteY4504" fmla="*/ 1893628 h 2765205"/>
                <a:gd name="connsiteX4505" fmla="*/ 5140757 w 8566434"/>
                <a:gd name="connsiteY4505" fmla="*/ 1902381 h 2765205"/>
                <a:gd name="connsiteX4506" fmla="*/ 5130900 w 8566434"/>
                <a:gd name="connsiteY4506" fmla="*/ 1928159 h 2765205"/>
                <a:gd name="connsiteX4507" fmla="*/ 5122767 w 8566434"/>
                <a:gd name="connsiteY4507" fmla="*/ 2058909 h 2765205"/>
                <a:gd name="connsiteX4508" fmla="*/ 5598003 w 8566434"/>
                <a:gd name="connsiteY4508" fmla="*/ 932750 h 2765205"/>
                <a:gd name="connsiteX4509" fmla="*/ 5615096 w 8566434"/>
                <a:gd name="connsiteY4509" fmla="*/ 932198 h 2765205"/>
                <a:gd name="connsiteX4510" fmla="*/ 5598003 w 8566434"/>
                <a:gd name="connsiteY4510" fmla="*/ 932750 h 2765205"/>
                <a:gd name="connsiteX4511" fmla="*/ 5599588 w 8566434"/>
                <a:gd name="connsiteY4511" fmla="*/ 1025867 h 2765205"/>
                <a:gd name="connsiteX4512" fmla="*/ 5600208 w 8566434"/>
                <a:gd name="connsiteY4512" fmla="*/ 1000916 h 2765205"/>
                <a:gd name="connsiteX4513" fmla="*/ 5591248 w 8566434"/>
                <a:gd name="connsiteY4513" fmla="*/ 998711 h 2765205"/>
                <a:gd name="connsiteX4514" fmla="*/ 5616336 w 8566434"/>
                <a:gd name="connsiteY4514" fmla="*/ 1004294 h 2765205"/>
                <a:gd name="connsiteX4515" fmla="*/ 5599588 w 8566434"/>
                <a:gd name="connsiteY4515" fmla="*/ 1025867 h 2765205"/>
                <a:gd name="connsiteX4516" fmla="*/ 5634257 w 8566434"/>
                <a:gd name="connsiteY4516" fmla="*/ 1065981 h 2765205"/>
                <a:gd name="connsiteX4517" fmla="*/ 5644733 w 8566434"/>
                <a:gd name="connsiteY4517" fmla="*/ 1084040 h 2765205"/>
                <a:gd name="connsiteX4518" fmla="*/ 5634257 w 8566434"/>
                <a:gd name="connsiteY4518" fmla="*/ 1065981 h 2765205"/>
                <a:gd name="connsiteX4519" fmla="*/ 5603379 w 8566434"/>
                <a:gd name="connsiteY4519" fmla="*/ 1210723 h 2765205"/>
                <a:gd name="connsiteX4520" fmla="*/ 5585252 w 8566434"/>
                <a:gd name="connsiteY4520" fmla="*/ 1189012 h 2765205"/>
                <a:gd name="connsiteX4521" fmla="*/ 5593729 w 8566434"/>
                <a:gd name="connsiteY4521" fmla="*/ 1166129 h 2765205"/>
                <a:gd name="connsiteX4522" fmla="*/ 5584700 w 8566434"/>
                <a:gd name="connsiteY4522" fmla="*/ 1161235 h 2765205"/>
                <a:gd name="connsiteX4523" fmla="*/ 5594005 w 8566434"/>
                <a:gd name="connsiteY4523" fmla="*/ 1182671 h 2765205"/>
                <a:gd name="connsiteX4524" fmla="*/ 5603379 w 8566434"/>
                <a:gd name="connsiteY4524" fmla="*/ 1210723 h 2765205"/>
                <a:gd name="connsiteX4525" fmla="*/ 5571329 w 8566434"/>
                <a:gd name="connsiteY4525" fmla="*/ 1287574 h 2765205"/>
                <a:gd name="connsiteX4526" fmla="*/ 5588284 w 8566434"/>
                <a:gd name="connsiteY4526" fmla="*/ 1275650 h 2765205"/>
                <a:gd name="connsiteX4527" fmla="*/ 5571329 w 8566434"/>
                <a:gd name="connsiteY4527" fmla="*/ 1287574 h 2765205"/>
                <a:gd name="connsiteX4528" fmla="*/ 5570433 w 8566434"/>
                <a:gd name="connsiteY4528" fmla="*/ 1317763 h 2765205"/>
                <a:gd name="connsiteX4529" fmla="*/ 5581116 w 8566434"/>
                <a:gd name="connsiteY4529" fmla="*/ 1308045 h 2765205"/>
                <a:gd name="connsiteX4530" fmla="*/ 5570433 w 8566434"/>
                <a:gd name="connsiteY4530" fmla="*/ 1317763 h 2765205"/>
                <a:gd name="connsiteX4531" fmla="*/ 5571673 w 8566434"/>
                <a:gd name="connsiteY4531" fmla="*/ 1347263 h 2765205"/>
                <a:gd name="connsiteX4532" fmla="*/ 5583184 w 8566434"/>
                <a:gd name="connsiteY4532" fmla="*/ 1330859 h 2765205"/>
                <a:gd name="connsiteX4533" fmla="*/ 5571673 w 8566434"/>
                <a:gd name="connsiteY4533" fmla="*/ 1347263 h 2765205"/>
                <a:gd name="connsiteX4534" fmla="*/ 5597382 w 8566434"/>
                <a:gd name="connsiteY4534" fmla="*/ 1422046 h 2765205"/>
                <a:gd name="connsiteX4535" fmla="*/ 5597382 w 8566434"/>
                <a:gd name="connsiteY4535" fmla="*/ 1422046 h 2765205"/>
                <a:gd name="connsiteX4536" fmla="*/ 5577670 w 8566434"/>
                <a:gd name="connsiteY4536" fmla="*/ 1436382 h 2765205"/>
                <a:gd name="connsiteX4537" fmla="*/ 5587802 w 8566434"/>
                <a:gd name="connsiteY4537" fmla="*/ 1403436 h 2765205"/>
                <a:gd name="connsiteX4538" fmla="*/ 5577670 w 8566434"/>
                <a:gd name="connsiteY4538" fmla="*/ 1436382 h 2765205"/>
                <a:gd name="connsiteX4539" fmla="*/ 5558302 w 8566434"/>
                <a:gd name="connsiteY4539" fmla="*/ 1485732 h 2765205"/>
                <a:gd name="connsiteX4540" fmla="*/ 5558302 w 8566434"/>
                <a:gd name="connsiteY4540" fmla="*/ 1485732 h 2765205"/>
                <a:gd name="connsiteX4541" fmla="*/ 5556923 w 8566434"/>
                <a:gd name="connsiteY4541" fmla="*/ 1507030 h 2765205"/>
                <a:gd name="connsiteX4542" fmla="*/ 5556923 w 8566434"/>
                <a:gd name="connsiteY4542" fmla="*/ 1507030 h 2765205"/>
                <a:gd name="connsiteX4543" fmla="*/ 5549617 w 8566434"/>
                <a:gd name="connsiteY4543" fmla="*/ 1556518 h 2765205"/>
                <a:gd name="connsiteX4544" fmla="*/ 5550651 w 8566434"/>
                <a:gd name="connsiteY4544" fmla="*/ 1532532 h 2765205"/>
                <a:gd name="connsiteX4545" fmla="*/ 5562645 w 8566434"/>
                <a:gd name="connsiteY4545" fmla="*/ 1550866 h 2765205"/>
                <a:gd name="connsiteX4546" fmla="*/ 5559198 w 8566434"/>
                <a:gd name="connsiteY4546" fmla="*/ 1518196 h 2765205"/>
                <a:gd name="connsiteX4547" fmla="*/ 5574982 w 8566434"/>
                <a:gd name="connsiteY4547" fmla="*/ 1512957 h 2765205"/>
                <a:gd name="connsiteX4548" fmla="*/ 5580013 w 8566434"/>
                <a:gd name="connsiteY4548" fmla="*/ 1524675 h 2765205"/>
                <a:gd name="connsiteX4549" fmla="*/ 5582495 w 8566434"/>
                <a:gd name="connsiteY4549" fmla="*/ 1520126 h 2765205"/>
                <a:gd name="connsiteX4550" fmla="*/ 5593591 w 8566434"/>
                <a:gd name="connsiteY4550" fmla="*/ 1498001 h 2765205"/>
                <a:gd name="connsiteX4551" fmla="*/ 5598278 w 8566434"/>
                <a:gd name="connsiteY4551" fmla="*/ 1512957 h 2765205"/>
                <a:gd name="connsiteX4552" fmla="*/ 5612408 w 8566434"/>
                <a:gd name="connsiteY4552" fmla="*/ 1504342 h 2765205"/>
                <a:gd name="connsiteX4553" fmla="*/ 5612339 w 8566434"/>
                <a:gd name="connsiteY4553" fmla="*/ 1527845 h 2765205"/>
                <a:gd name="connsiteX4554" fmla="*/ 5591179 w 8566434"/>
                <a:gd name="connsiteY4554" fmla="*/ 1522124 h 2765205"/>
                <a:gd name="connsiteX4555" fmla="*/ 5596280 w 8566434"/>
                <a:gd name="connsiteY4555" fmla="*/ 1533842 h 2765205"/>
                <a:gd name="connsiteX4556" fmla="*/ 5549617 w 8566434"/>
                <a:gd name="connsiteY4556" fmla="*/ 1556518 h 2765205"/>
                <a:gd name="connsiteX4557" fmla="*/ 5537004 w 8566434"/>
                <a:gd name="connsiteY4557" fmla="*/ 1581951 h 2765205"/>
                <a:gd name="connsiteX4558" fmla="*/ 5538038 w 8566434"/>
                <a:gd name="connsiteY4558" fmla="*/ 1535565 h 2765205"/>
                <a:gd name="connsiteX4559" fmla="*/ 5545137 w 8566434"/>
                <a:gd name="connsiteY4559" fmla="*/ 1581469 h 2765205"/>
                <a:gd name="connsiteX4560" fmla="*/ 5537004 w 8566434"/>
                <a:gd name="connsiteY4560" fmla="*/ 1581951 h 2765205"/>
                <a:gd name="connsiteX4561" fmla="*/ 5594005 w 8566434"/>
                <a:gd name="connsiteY4561" fmla="*/ 1643845 h 2765205"/>
                <a:gd name="connsiteX4562" fmla="*/ 5593729 w 8566434"/>
                <a:gd name="connsiteY4562" fmla="*/ 1615104 h 2765205"/>
                <a:gd name="connsiteX4563" fmla="*/ 5610409 w 8566434"/>
                <a:gd name="connsiteY4563" fmla="*/ 1638055 h 2765205"/>
                <a:gd name="connsiteX4564" fmla="*/ 5594005 w 8566434"/>
                <a:gd name="connsiteY4564" fmla="*/ 1643845 h 2765205"/>
                <a:gd name="connsiteX4565" fmla="*/ 5530525 w 8566434"/>
                <a:gd name="connsiteY4565" fmla="*/ 1649566 h 2765205"/>
                <a:gd name="connsiteX4566" fmla="*/ 5537556 w 8566434"/>
                <a:gd name="connsiteY4566" fmla="*/ 1625442 h 2765205"/>
                <a:gd name="connsiteX4567" fmla="*/ 5530525 w 8566434"/>
                <a:gd name="connsiteY4567" fmla="*/ 1649566 h 2765205"/>
                <a:gd name="connsiteX4568" fmla="*/ 5522599 w 8566434"/>
                <a:gd name="connsiteY4568" fmla="*/ 2041678 h 2765205"/>
                <a:gd name="connsiteX4569" fmla="*/ 5527630 w 8566434"/>
                <a:gd name="connsiteY4569" fmla="*/ 2026722 h 2765205"/>
                <a:gd name="connsiteX4570" fmla="*/ 5522599 w 8566434"/>
                <a:gd name="connsiteY4570" fmla="*/ 2041678 h 2765205"/>
                <a:gd name="connsiteX4571" fmla="*/ 5566366 w 8566434"/>
                <a:gd name="connsiteY4571" fmla="*/ 2065802 h 2765205"/>
                <a:gd name="connsiteX4572" fmla="*/ 5589870 w 8566434"/>
                <a:gd name="connsiteY4572" fmla="*/ 2087651 h 2765205"/>
                <a:gd name="connsiteX4573" fmla="*/ 5614751 w 8566434"/>
                <a:gd name="connsiteY4573" fmla="*/ 1682374 h 2765205"/>
                <a:gd name="connsiteX4574" fmla="*/ 5606825 w 8566434"/>
                <a:gd name="connsiteY4574" fmla="*/ 1668382 h 2765205"/>
                <a:gd name="connsiteX4575" fmla="*/ 5615441 w 8566434"/>
                <a:gd name="connsiteY4575" fmla="*/ 1611519 h 2765205"/>
                <a:gd name="connsiteX4576" fmla="*/ 5612339 w 8566434"/>
                <a:gd name="connsiteY4576" fmla="*/ 1584363 h 2765205"/>
                <a:gd name="connsiteX4577" fmla="*/ 5621299 w 8566434"/>
                <a:gd name="connsiteY4577" fmla="*/ 1585811 h 2765205"/>
                <a:gd name="connsiteX4578" fmla="*/ 5636876 w 8566434"/>
                <a:gd name="connsiteY4578" fmla="*/ 1349675 h 2765205"/>
                <a:gd name="connsiteX4579" fmla="*/ 5623505 w 8566434"/>
                <a:gd name="connsiteY4579" fmla="*/ 1354982 h 2765205"/>
                <a:gd name="connsiteX4580" fmla="*/ 5620610 w 8566434"/>
                <a:gd name="connsiteY4580" fmla="*/ 1346229 h 2765205"/>
                <a:gd name="connsiteX4581" fmla="*/ 5637220 w 8566434"/>
                <a:gd name="connsiteY4581" fmla="*/ 1346022 h 2765205"/>
                <a:gd name="connsiteX4582" fmla="*/ 5642252 w 8566434"/>
                <a:gd name="connsiteY4582" fmla="*/ 1235674 h 2765205"/>
                <a:gd name="connsiteX4583" fmla="*/ 5610203 w 8566434"/>
                <a:gd name="connsiteY4583" fmla="*/ 1257523 h 2765205"/>
                <a:gd name="connsiteX4584" fmla="*/ 5616819 w 8566434"/>
                <a:gd name="connsiteY4584" fmla="*/ 1289366 h 2765205"/>
                <a:gd name="connsiteX4585" fmla="*/ 5606963 w 8566434"/>
                <a:gd name="connsiteY4585" fmla="*/ 1247598 h 2765205"/>
                <a:gd name="connsiteX4586" fmla="*/ 5584769 w 8566434"/>
                <a:gd name="connsiteY4586" fmla="*/ 1251664 h 2765205"/>
                <a:gd name="connsiteX4587" fmla="*/ 5593385 w 8566434"/>
                <a:gd name="connsiteY4587" fmla="*/ 1225473 h 2765205"/>
                <a:gd name="connsiteX4588" fmla="*/ 5643355 w 8566434"/>
                <a:gd name="connsiteY4588" fmla="*/ 1234778 h 2765205"/>
                <a:gd name="connsiteX4589" fmla="*/ 5643976 w 8566434"/>
                <a:gd name="connsiteY4589" fmla="*/ 1210930 h 2765205"/>
                <a:gd name="connsiteX4590" fmla="*/ 5630191 w 8566434"/>
                <a:gd name="connsiteY4590" fmla="*/ 1213066 h 2765205"/>
                <a:gd name="connsiteX4591" fmla="*/ 5644802 w 8566434"/>
                <a:gd name="connsiteY4591" fmla="*/ 1207621 h 2765205"/>
                <a:gd name="connsiteX4592" fmla="*/ 5657416 w 8566434"/>
                <a:gd name="connsiteY4592" fmla="*/ 1003467 h 2765205"/>
                <a:gd name="connsiteX4593" fmla="*/ 5633568 w 8566434"/>
                <a:gd name="connsiteY4593" fmla="*/ 1017389 h 2765205"/>
                <a:gd name="connsiteX4594" fmla="*/ 5638462 w 8566434"/>
                <a:gd name="connsiteY4594" fmla="*/ 990716 h 2765205"/>
                <a:gd name="connsiteX4595" fmla="*/ 5661275 w 8566434"/>
                <a:gd name="connsiteY4595" fmla="*/ 978102 h 2765205"/>
                <a:gd name="connsiteX4596" fmla="*/ 5642459 w 8566434"/>
                <a:gd name="connsiteY4596" fmla="*/ 978929 h 2765205"/>
                <a:gd name="connsiteX4597" fmla="*/ 5641081 w 8566434"/>
                <a:gd name="connsiteY4597" fmla="*/ 972244 h 2765205"/>
                <a:gd name="connsiteX4598" fmla="*/ 5661827 w 8566434"/>
                <a:gd name="connsiteY4598" fmla="*/ 921308 h 2765205"/>
                <a:gd name="connsiteX4599" fmla="*/ 5665618 w 8566434"/>
                <a:gd name="connsiteY4599" fmla="*/ 887880 h 2765205"/>
                <a:gd name="connsiteX4600" fmla="*/ 5640736 w 8566434"/>
                <a:gd name="connsiteY4600" fmla="*/ 868581 h 2765205"/>
                <a:gd name="connsiteX4601" fmla="*/ 5665480 w 8566434"/>
                <a:gd name="connsiteY4601" fmla="*/ 884503 h 2765205"/>
                <a:gd name="connsiteX4602" fmla="*/ 5667272 w 8566434"/>
                <a:gd name="connsiteY4602" fmla="*/ 839908 h 2765205"/>
                <a:gd name="connsiteX4603" fmla="*/ 5564092 w 8566434"/>
                <a:gd name="connsiteY4603" fmla="*/ 834463 h 2765205"/>
                <a:gd name="connsiteX4604" fmla="*/ 5553891 w 8566434"/>
                <a:gd name="connsiteY4604" fmla="*/ 1046062 h 2765205"/>
                <a:gd name="connsiteX4605" fmla="*/ 5568365 w 8566434"/>
                <a:gd name="connsiteY4605" fmla="*/ 1048336 h 2765205"/>
                <a:gd name="connsiteX4606" fmla="*/ 5582012 w 8566434"/>
                <a:gd name="connsiteY4606" fmla="*/ 1048888 h 2765205"/>
                <a:gd name="connsiteX4607" fmla="*/ 5614200 w 8566434"/>
                <a:gd name="connsiteY4607" fmla="*/ 1034483 h 2765205"/>
                <a:gd name="connsiteX4608" fmla="*/ 5621712 w 8566434"/>
                <a:gd name="connsiteY4608" fmla="*/ 1021456 h 2765205"/>
                <a:gd name="connsiteX4609" fmla="*/ 5635567 w 8566434"/>
                <a:gd name="connsiteY4609" fmla="*/ 1057504 h 2765205"/>
                <a:gd name="connsiteX4610" fmla="*/ 5598623 w 8566434"/>
                <a:gd name="connsiteY4610" fmla="*/ 1063017 h 2765205"/>
                <a:gd name="connsiteX4611" fmla="*/ 5604137 w 8566434"/>
                <a:gd name="connsiteY4611" fmla="*/ 1087486 h 2765205"/>
                <a:gd name="connsiteX4612" fmla="*/ 5583811 w 8566434"/>
                <a:gd name="connsiteY4612" fmla="*/ 1067015 h 2765205"/>
                <a:gd name="connsiteX4613" fmla="*/ 5566091 w 8566434"/>
                <a:gd name="connsiteY4613" fmla="*/ 1079146 h 2765205"/>
                <a:gd name="connsiteX4614" fmla="*/ 5562782 w 8566434"/>
                <a:gd name="connsiteY4614" fmla="*/ 1069152 h 2765205"/>
                <a:gd name="connsiteX4615" fmla="*/ 5584286 w 8566434"/>
                <a:gd name="connsiteY4615" fmla="*/ 1065568 h 2765205"/>
                <a:gd name="connsiteX4616" fmla="*/ 5565883 w 8566434"/>
                <a:gd name="connsiteY4616" fmla="*/ 1053988 h 2765205"/>
                <a:gd name="connsiteX4617" fmla="*/ 5553615 w 8566434"/>
                <a:gd name="connsiteY4617" fmla="*/ 1050404 h 2765205"/>
                <a:gd name="connsiteX4618" fmla="*/ 5543001 w 8566434"/>
                <a:gd name="connsiteY4618" fmla="*/ 1183567 h 2765205"/>
                <a:gd name="connsiteX4619" fmla="*/ 5565677 w 8566434"/>
                <a:gd name="connsiteY4619" fmla="*/ 1209344 h 2765205"/>
                <a:gd name="connsiteX4620" fmla="*/ 5567814 w 8566434"/>
                <a:gd name="connsiteY4620" fmla="*/ 1221337 h 2765205"/>
                <a:gd name="connsiteX4621" fmla="*/ 5540589 w 8566434"/>
                <a:gd name="connsiteY4621" fmla="*/ 1214514 h 2765205"/>
                <a:gd name="connsiteX4622" fmla="*/ 5532731 w 8566434"/>
                <a:gd name="connsiteY4622" fmla="*/ 1341611 h 2765205"/>
                <a:gd name="connsiteX4623" fmla="*/ 5535419 w 8566434"/>
                <a:gd name="connsiteY4623" fmla="*/ 1375660 h 2765205"/>
                <a:gd name="connsiteX4624" fmla="*/ 5539003 w 8566434"/>
                <a:gd name="connsiteY4624" fmla="*/ 1380967 h 2765205"/>
                <a:gd name="connsiteX4625" fmla="*/ 5535901 w 8566434"/>
                <a:gd name="connsiteY4625" fmla="*/ 1383448 h 2765205"/>
                <a:gd name="connsiteX4626" fmla="*/ 5523771 w 8566434"/>
                <a:gd name="connsiteY4626" fmla="*/ 1476979 h 2765205"/>
                <a:gd name="connsiteX4627" fmla="*/ 5534799 w 8566434"/>
                <a:gd name="connsiteY4627" fmla="*/ 1480080 h 2765205"/>
                <a:gd name="connsiteX4628" fmla="*/ 5523357 w 8566434"/>
                <a:gd name="connsiteY4628" fmla="*/ 1482079 h 2765205"/>
                <a:gd name="connsiteX4629" fmla="*/ 5516396 w 8566434"/>
                <a:gd name="connsiteY4629" fmla="*/ 1594220 h 2765205"/>
                <a:gd name="connsiteX4630" fmla="*/ 5537487 w 8566434"/>
                <a:gd name="connsiteY4630" fmla="*/ 1592083 h 2765205"/>
                <a:gd name="connsiteX4631" fmla="*/ 5516051 w 8566434"/>
                <a:gd name="connsiteY4631" fmla="*/ 1600423 h 2765205"/>
                <a:gd name="connsiteX4632" fmla="*/ 5509365 w 8566434"/>
                <a:gd name="connsiteY4632" fmla="*/ 1702983 h 2765205"/>
                <a:gd name="connsiteX4633" fmla="*/ 5520393 w 8566434"/>
                <a:gd name="connsiteY4633" fmla="*/ 1716009 h 2765205"/>
                <a:gd name="connsiteX4634" fmla="*/ 5520669 w 8566434"/>
                <a:gd name="connsiteY4634" fmla="*/ 1739651 h 2765205"/>
                <a:gd name="connsiteX4635" fmla="*/ 5507780 w 8566434"/>
                <a:gd name="connsiteY4635" fmla="*/ 1737652 h 2765205"/>
                <a:gd name="connsiteX4636" fmla="*/ 5500543 w 8566434"/>
                <a:gd name="connsiteY4636" fmla="*/ 1857512 h 2765205"/>
                <a:gd name="connsiteX4637" fmla="*/ 5512743 w 8566434"/>
                <a:gd name="connsiteY4637" fmla="*/ 1853100 h 2765205"/>
                <a:gd name="connsiteX4638" fmla="*/ 5500060 w 8566434"/>
                <a:gd name="connsiteY4638" fmla="*/ 1871365 h 2765205"/>
                <a:gd name="connsiteX4639" fmla="*/ 5486827 w 8566434"/>
                <a:gd name="connsiteY4639" fmla="*/ 2080345 h 2765205"/>
                <a:gd name="connsiteX4640" fmla="*/ 5563954 w 8566434"/>
                <a:gd name="connsiteY4640" fmla="*/ 2083860 h 2765205"/>
                <a:gd name="connsiteX4641" fmla="*/ 5566366 w 8566434"/>
                <a:gd name="connsiteY4641" fmla="*/ 2065802 h 2765205"/>
                <a:gd name="connsiteX4642" fmla="*/ 885281 w 8566434"/>
                <a:gd name="connsiteY4642" fmla="*/ 2067111 h 2765205"/>
                <a:gd name="connsiteX4643" fmla="*/ 928015 w 8566434"/>
                <a:gd name="connsiteY4643" fmla="*/ 2075520 h 2765205"/>
                <a:gd name="connsiteX4644" fmla="*/ 932839 w 8566434"/>
                <a:gd name="connsiteY4644" fmla="*/ 2069386 h 2765205"/>
                <a:gd name="connsiteX4645" fmla="*/ 885281 w 8566434"/>
                <a:gd name="connsiteY4645" fmla="*/ 2067111 h 2765205"/>
                <a:gd name="connsiteX4646" fmla="*/ 5861225 w 8566434"/>
                <a:gd name="connsiteY4646" fmla="*/ 871683 h 2765205"/>
                <a:gd name="connsiteX4647" fmla="*/ 5861225 w 8566434"/>
                <a:gd name="connsiteY4647" fmla="*/ 871683 h 2765205"/>
                <a:gd name="connsiteX4648" fmla="*/ 5819044 w 8566434"/>
                <a:gd name="connsiteY4648" fmla="*/ 870787 h 2765205"/>
                <a:gd name="connsiteX4649" fmla="*/ 5819044 w 8566434"/>
                <a:gd name="connsiteY4649" fmla="*/ 870787 h 2765205"/>
                <a:gd name="connsiteX4650" fmla="*/ 5826143 w 8566434"/>
                <a:gd name="connsiteY4650" fmla="*/ 897047 h 2765205"/>
                <a:gd name="connsiteX4651" fmla="*/ 5835241 w 8566434"/>
                <a:gd name="connsiteY4651" fmla="*/ 879885 h 2765205"/>
                <a:gd name="connsiteX4652" fmla="*/ 5826143 w 8566434"/>
                <a:gd name="connsiteY4652" fmla="*/ 897047 h 2765205"/>
                <a:gd name="connsiteX4653" fmla="*/ 5793817 w 8566434"/>
                <a:gd name="connsiteY4653" fmla="*/ 873199 h 2765205"/>
                <a:gd name="connsiteX4654" fmla="*/ 5801192 w 8566434"/>
                <a:gd name="connsiteY4654" fmla="*/ 900907 h 2765205"/>
                <a:gd name="connsiteX4655" fmla="*/ 5793817 w 8566434"/>
                <a:gd name="connsiteY4655" fmla="*/ 873199 h 2765205"/>
                <a:gd name="connsiteX4656" fmla="*/ 5860261 w 8566434"/>
                <a:gd name="connsiteY4656" fmla="*/ 915105 h 2765205"/>
                <a:gd name="connsiteX4657" fmla="*/ 5860744 w 8566434"/>
                <a:gd name="connsiteY4657" fmla="*/ 883262 h 2765205"/>
                <a:gd name="connsiteX4658" fmla="*/ 5877285 w 8566434"/>
                <a:gd name="connsiteY4658" fmla="*/ 889396 h 2765205"/>
                <a:gd name="connsiteX4659" fmla="*/ 5860261 w 8566434"/>
                <a:gd name="connsiteY4659" fmla="*/ 915105 h 2765205"/>
                <a:gd name="connsiteX4660" fmla="*/ 5943590 w 8566434"/>
                <a:gd name="connsiteY4660" fmla="*/ 927443 h 2765205"/>
                <a:gd name="connsiteX4661" fmla="*/ 5939869 w 8566434"/>
                <a:gd name="connsiteY4661" fmla="*/ 909591 h 2765205"/>
                <a:gd name="connsiteX4662" fmla="*/ 5943590 w 8566434"/>
                <a:gd name="connsiteY4662" fmla="*/ 927443 h 2765205"/>
                <a:gd name="connsiteX4663" fmla="*/ 5798297 w 8566434"/>
                <a:gd name="connsiteY4663" fmla="*/ 939987 h 2765205"/>
                <a:gd name="connsiteX4664" fmla="*/ 5806017 w 8566434"/>
                <a:gd name="connsiteY4664" fmla="*/ 926891 h 2765205"/>
                <a:gd name="connsiteX4665" fmla="*/ 5798297 w 8566434"/>
                <a:gd name="connsiteY4665" fmla="*/ 939987 h 2765205"/>
                <a:gd name="connsiteX4666" fmla="*/ 5956135 w 8566434"/>
                <a:gd name="connsiteY4666" fmla="*/ 946810 h 2765205"/>
                <a:gd name="connsiteX4667" fmla="*/ 5966405 w 8566434"/>
                <a:gd name="connsiteY4667" fmla="*/ 936403 h 2765205"/>
                <a:gd name="connsiteX4668" fmla="*/ 5956135 w 8566434"/>
                <a:gd name="connsiteY4668" fmla="*/ 946810 h 2765205"/>
                <a:gd name="connsiteX4669" fmla="*/ 5935940 w 8566434"/>
                <a:gd name="connsiteY4669" fmla="*/ 948327 h 2765205"/>
                <a:gd name="connsiteX4670" fmla="*/ 5947381 w 8566434"/>
                <a:gd name="connsiteY4670" fmla="*/ 936885 h 2765205"/>
                <a:gd name="connsiteX4671" fmla="*/ 5935940 w 8566434"/>
                <a:gd name="connsiteY4671" fmla="*/ 948327 h 2765205"/>
                <a:gd name="connsiteX4672" fmla="*/ 5821387 w 8566434"/>
                <a:gd name="connsiteY4672" fmla="*/ 969487 h 2765205"/>
                <a:gd name="connsiteX4673" fmla="*/ 5812358 w 8566434"/>
                <a:gd name="connsiteY4673" fmla="*/ 910005 h 2765205"/>
                <a:gd name="connsiteX4674" fmla="*/ 5860881 w 8566434"/>
                <a:gd name="connsiteY4674" fmla="*/ 925168 h 2765205"/>
                <a:gd name="connsiteX4675" fmla="*/ 5827177 w 8566434"/>
                <a:gd name="connsiteY4675" fmla="*/ 925788 h 2765205"/>
                <a:gd name="connsiteX4676" fmla="*/ 5821387 w 8566434"/>
                <a:gd name="connsiteY4676" fmla="*/ 969487 h 2765205"/>
                <a:gd name="connsiteX4677" fmla="*/ 5851507 w 8566434"/>
                <a:gd name="connsiteY4677" fmla="*/ 981755 h 2765205"/>
                <a:gd name="connsiteX4678" fmla="*/ 5861915 w 8566434"/>
                <a:gd name="connsiteY4678" fmla="*/ 950464 h 2765205"/>
                <a:gd name="connsiteX4679" fmla="*/ 5869910 w 8566434"/>
                <a:gd name="connsiteY4679" fmla="*/ 966454 h 2765205"/>
                <a:gd name="connsiteX4680" fmla="*/ 5851507 w 8566434"/>
                <a:gd name="connsiteY4680" fmla="*/ 981755 h 2765205"/>
                <a:gd name="connsiteX4681" fmla="*/ 5991148 w 8566434"/>
                <a:gd name="connsiteY4681" fmla="*/ 1003260 h 2765205"/>
                <a:gd name="connsiteX4682" fmla="*/ 5991148 w 8566434"/>
                <a:gd name="connsiteY4682" fmla="*/ 1003260 h 2765205"/>
                <a:gd name="connsiteX4683" fmla="*/ 5820767 w 8566434"/>
                <a:gd name="connsiteY4683" fmla="*/ 987407 h 2765205"/>
                <a:gd name="connsiteX4684" fmla="*/ 5844477 w 8566434"/>
                <a:gd name="connsiteY4684" fmla="*/ 979274 h 2765205"/>
                <a:gd name="connsiteX4685" fmla="*/ 5825661 w 8566434"/>
                <a:gd name="connsiteY4685" fmla="*/ 1010428 h 2765205"/>
                <a:gd name="connsiteX4686" fmla="*/ 5820767 w 8566434"/>
                <a:gd name="connsiteY4686" fmla="*/ 987407 h 2765205"/>
                <a:gd name="connsiteX4687" fmla="*/ 5794024 w 8566434"/>
                <a:gd name="connsiteY4687" fmla="*/ 1002502 h 2765205"/>
                <a:gd name="connsiteX4688" fmla="*/ 5810566 w 8566434"/>
                <a:gd name="connsiteY4688" fmla="*/ 1002364 h 2765205"/>
                <a:gd name="connsiteX4689" fmla="*/ 5794024 w 8566434"/>
                <a:gd name="connsiteY4689" fmla="*/ 1002502 h 2765205"/>
                <a:gd name="connsiteX4690" fmla="*/ 5867429 w 8566434"/>
                <a:gd name="connsiteY4690" fmla="*/ 1029244 h 2765205"/>
                <a:gd name="connsiteX4691" fmla="*/ 5870944 w 8566434"/>
                <a:gd name="connsiteY4691" fmla="*/ 1006982 h 2765205"/>
                <a:gd name="connsiteX4692" fmla="*/ 5867429 w 8566434"/>
                <a:gd name="connsiteY4692" fmla="*/ 1029244 h 2765205"/>
                <a:gd name="connsiteX4693" fmla="*/ 5785753 w 8566434"/>
                <a:gd name="connsiteY4693" fmla="*/ 1139662 h 2765205"/>
                <a:gd name="connsiteX4694" fmla="*/ 5792508 w 8566434"/>
                <a:gd name="connsiteY4694" fmla="*/ 1103338 h 2765205"/>
                <a:gd name="connsiteX4695" fmla="*/ 5785753 w 8566434"/>
                <a:gd name="connsiteY4695" fmla="*/ 1139662 h 2765205"/>
                <a:gd name="connsiteX4696" fmla="*/ 5734818 w 8566434"/>
                <a:gd name="connsiteY4696" fmla="*/ 1137939 h 2765205"/>
                <a:gd name="connsiteX4697" fmla="*/ 5753290 w 8566434"/>
                <a:gd name="connsiteY4697" fmla="*/ 1115814 h 2765205"/>
                <a:gd name="connsiteX4698" fmla="*/ 5760389 w 8566434"/>
                <a:gd name="connsiteY4698" fmla="*/ 1138697 h 2765205"/>
                <a:gd name="connsiteX4699" fmla="*/ 5734818 w 8566434"/>
                <a:gd name="connsiteY4699" fmla="*/ 1137939 h 2765205"/>
                <a:gd name="connsiteX4700" fmla="*/ 5771486 w 8566434"/>
                <a:gd name="connsiteY4700" fmla="*/ 1293570 h 2765205"/>
                <a:gd name="connsiteX4701" fmla="*/ 5771486 w 8566434"/>
                <a:gd name="connsiteY4701" fmla="*/ 1293570 h 2765205"/>
                <a:gd name="connsiteX4702" fmla="*/ 5985290 w 8566434"/>
                <a:gd name="connsiteY4702" fmla="*/ 1319624 h 2765205"/>
                <a:gd name="connsiteX4703" fmla="*/ 5985290 w 8566434"/>
                <a:gd name="connsiteY4703" fmla="*/ 1319624 h 2765205"/>
                <a:gd name="connsiteX4704" fmla="*/ 5753221 w 8566434"/>
                <a:gd name="connsiteY4704" fmla="*/ 1362840 h 2765205"/>
                <a:gd name="connsiteX4705" fmla="*/ 5774174 w 8566434"/>
                <a:gd name="connsiteY4705" fmla="*/ 1362150 h 2765205"/>
                <a:gd name="connsiteX4706" fmla="*/ 5753221 w 8566434"/>
                <a:gd name="connsiteY4706" fmla="*/ 1362840 h 2765205"/>
                <a:gd name="connsiteX4707" fmla="*/ 5948967 w 8566434"/>
                <a:gd name="connsiteY4707" fmla="*/ 1394200 h 2765205"/>
                <a:gd name="connsiteX4708" fmla="*/ 5954412 w 8566434"/>
                <a:gd name="connsiteY4708" fmla="*/ 1366010 h 2765205"/>
                <a:gd name="connsiteX4709" fmla="*/ 5950552 w 8566434"/>
                <a:gd name="connsiteY4709" fmla="*/ 1342024 h 2765205"/>
                <a:gd name="connsiteX4710" fmla="*/ 5975365 w 8566434"/>
                <a:gd name="connsiteY4710" fmla="*/ 1303427 h 2765205"/>
                <a:gd name="connsiteX4711" fmla="*/ 5975503 w 8566434"/>
                <a:gd name="connsiteY4711" fmla="*/ 1379519 h 2765205"/>
                <a:gd name="connsiteX4712" fmla="*/ 5966818 w 8566434"/>
                <a:gd name="connsiteY4712" fmla="*/ 1394821 h 2765205"/>
                <a:gd name="connsiteX4713" fmla="*/ 5948967 w 8566434"/>
                <a:gd name="connsiteY4713" fmla="*/ 1394200 h 2765205"/>
                <a:gd name="connsiteX4714" fmla="*/ 5774518 w 8566434"/>
                <a:gd name="connsiteY4714" fmla="*/ 1411500 h 2765205"/>
                <a:gd name="connsiteX4715" fmla="*/ 5795402 w 8566434"/>
                <a:gd name="connsiteY4715" fmla="*/ 1375177 h 2765205"/>
                <a:gd name="connsiteX4716" fmla="*/ 5797677 w 8566434"/>
                <a:gd name="connsiteY4716" fmla="*/ 1397164 h 2765205"/>
                <a:gd name="connsiteX4717" fmla="*/ 5783755 w 8566434"/>
                <a:gd name="connsiteY4717" fmla="*/ 1397509 h 2765205"/>
                <a:gd name="connsiteX4718" fmla="*/ 5782651 w 8566434"/>
                <a:gd name="connsiteY4718" fmla="*/ 1412328 h 2765205"/>
                <a:gd name="connsiteX4719" fmla="*/ 5774518 w 8566434"/>
                <a:gd name="connsiteY4719" fmla="*/ 1411500 h 2765205"/>
                <a:gd name="connsiteX4720" fmla="*/ 5944211 w 8566434"/>
                <a:gd name="connsiteY4720" fmla="*/ 1435969 h 2765205"/>
                <a:gd name="connsiteX4721" fmla="*/ 5937250 w 8566434"/>
                <a:gd name="connsiteY4721" fmla="*/ 1406676 h 2765205"/>
                <a:gd name="connsiteX4722" fmla="*/ 5944211 w 8566434"/>
                <a:gd name="connsiteY4722" fmla="*/ 1435969 h 2765205"/>
                <a:gd name="connsiteX4723" fmla="*/ 5764249 w 8566434"/>
                <a:gd name="connsiteY4723" fmla="*/ 1451063 h 2765205"/>
                <a:gd name="connsiteX4724" fmla="*/ 5773691 w 8566434"/>
                <a:gd name="connsiteY4724" fmla="*/ 1441551 h 2765205"/>
                <a:gd name="connsiteX4725" fmla="*/ 5764249 w 8566434"/>
                <a:gd name="connsiteY4725" fmla="*/ 1451063 h 2765205"/>
                <a:gd name="connsiteX4726" fmla="*/ 5957238 w 8566434"/>
                <a:gd name="connsiteY4726" fmla="*/ 1472568 h 2765205"/>
                <a:gd name="connsiteX4727" fmla="*/ 5972263 w 8566434"/>
                <a:gd name="connsiteY4727" fmla="*/ 1435279 h 2765205"/>
                <a:gd name="connsiteX4728" fmla="*/ 5986806 w 8566434"/>
                <a:gd name="connsiteY4728" fmla="*/ 1463263 h 2765205"/>
                <a:gd name="connsiteX4729" fmla="*/ 5957238 w 8566434"/>
                <a:gd name="connsiteY4729" fmla="*/ 1472568 h 2765205"/>
                <a:gd name="connsiteX4730" fmla="*/ 5943108 w 8566434"/>
                <a:gd name="connsiteY4730" fmla="*/ 1499035 h 2765205"/>
                <a:gd name="connsiteX4731" fmla="*/ 5941454 w 8566434"/>
                <a:gd name="connsiteY4731" fmla="*/ 1479184 h 2765205"/>
                <a:gd name="connsiteX4732" fmla="*/ 5943108 w 8566434"/>
                <a:gd name="connsiteY4732" fmla="*/ 1499035 h 2765205"/>
                <a:gd name="connsiteX4733" fmla="*/ 5732750 w 8566434"/>
                <a:gd name="connsiteY4733" fmla="*/ 1498276 h 2765205"/>
                <a:gd name="connsiteX4734" fmla="*/ 5755426 w 8566434"/>
                <a:gd name="connsiteY4734" fmla="*/ 1478495 h 2765205"/>
                <a:gd name="connsiteX4735" fmla="*/ 5756598 w 8566434"/>
                <a:gd name="connsiteY4735" fmla="*/ 1501723 h 2765205"/>
                <a:gd name="connsiteX4736" fmla="*/ 5732750 w 8566434"/>
                <a:gd name="connsiteY4736" fmla="*/ 1498276 h 2765205"/>
                <a:gd name="connsiteX4737" fmla="*/ 5943522 w 8566434"/>
                <a:gd name="connsiteY4737" fmla="*/ 1512544 h 2765205"/>
                <a:gd name="connsiteX4738" fmla="*/ 5943522 w 8566434"/>
                <a:gd name="connsiteY4738" fmla="*/ 1512544 h 2765205"/>
                <a:gd name="connsiteX4739" fmla="*/ 5958754 w 8566434"/>
                <a:gd name="connsiteY4739" fmla="*/ 1530878 h 2765205"/>
                <a:gd name="connsiteX4740" fmla="*/ 5959374 w 8566434"/>
                <a:gd name="connsiteY4740" fmla="*/ 1504549 h 2765205"/>
                <a:gd name="connsiteX4741" fmla="*/ 5977571 w 8566434"/>
                <a:gd name="connsiteY4741" fmla="*/ 1479460 h 2765205"/>
                <a:gd name="connsiteX4742" fmla="*/ 5980465 w 8566434"/>
                <a:gd name="connsiteY4742" fmla="*/ 1481321 h 2765205"/>
                <a:gd name="connsiteX4743" fmla="*/ 5980328 w 8566434"/>
                <a:gd name="connsiteY4743" fmla="*/ 1503859 h 2765205"/>
                <a:gd name="connsiteX4744" fmla="*/ 5961511 w 8566434"/>
                <a:gd name="connsiteY4744" fmla="*/ 1513991 h 2765205"/>
                <a:gd name="connsiteX4745" fmla="*/ 5976744 w 8566434"/>
                <a:gd name="connsiteY4745" fmla="*/ 1531636 h 2765205"/>
                <a:gd name="connsiteX4746" fmla="*/ 5981017 w 8566434"/>
                <a:gd name="connsiteY4746" fmla="*/ 1516610 h 2765205"/>
                <a:gd name="connsiteX4747" fmla="*/ 5983774 w 8566434"/>
                <a:gd name="connsiteY4747" fmla="*/ 1541561 h 2765205"/>
                <a:gd name="connsiteX4748" fmla="*/ 5958754 w 8566434"/>
                <a:gd name="connsiteY4748" fmla="*/ 1530878 h 2765205"/>
                <a:gd name="connsiteX4749" fmla="*/ 5722480 w 8566434"/>
                <a:gd name="connsiteY4749" fmla="*/ 1540941 h 2765205"/>
                <a:gd name="connsiteX4750" fmla="*/ 5722480 w 8566434"/>
                <a:gd name="connsiteY4750" fmla="*/ 1540941 h 2765205"/>
                <a:gd name="connsiteX4751" fmla="*/ 5729442 w 8566434"/>
                <a:gd name="connsiteY4751" fmla="*/ 1567408 h 2765205"/>
                <a:gd name="connsiteX4752" fmla="*/ 5741917 w 8566434"/>
                <a:gd name="connsiteY4752" fmla="*/ 1551762 h 2765205"/>
                <a:gd name="connsiteX4753" fmla="*/ 5729442 w 8566434"/>
                <a:gd name="connsiteY4753" fmla="*/ 1567408 h 2765205"/>
                <a:gd name="connsiteX4754" fmla="*/ 5964612 w 8566434"/>
                <a:gd name="connsiteY4754" fmla="*/ 1587809 h 2765205"/>
                <a:gd name="connsiteX4755" fmla="*/ 5981913 w 8566434"/>
                <a:gd name="connsiteY4755" fmla="*/ 1571819 h 2765205"/>
                <a:gd name="connsiteX4756" fmla="*/ 5964612 w 8566434"/>
                <a:gd name="connsiteY4756" fmla="*/ 1587809 h 2765205"/>
                <a:gd name="connsiteX4757" fmla="*/ 5721653 w 8566434"/>
                <a:gd name="connsiteY4757" fmla="*/ 1608349 h 2765205"/>
                <a:gd name="connsiteX4758" fmla="*/ 5721653 w 8566434"/>
                <a:gd name="connsiteY4758" fmla="*/ 1608349 h 2765205"/>
                <a:gd name="connsiteX4759" fmla="*/ 5928910 w 8566434"/>
                <a:gd name="connsiteY4759" fmla="*/ 1635712 h 2765205"/>
                <a:gd name="connsiteX4760" fmla="*/ 5928910 w 8566434"/>
                <a:gd name="connsiteY4760" fmla="*/ 1635712 h 2765205"/>
                <a:gd name="connsiteX4761" fmla="*/ 5707317 w 8566434"/>
                <a:gd name="connsiteY4761" fmla="*/ 1699330 h 2765205"/>
                <a:gd name="connsiteX4762" fmla="*/ 5718965 w 8566434"/>
                <a:gd name="connsiteY4762" fmla="*/ 1687681 h 2765205"/>
                <a:gd name="connsiteX4763" fmla="*/ 5707317 w 8566434"/>
                <a:gd name="connsiteY4763" fmla="*/ 1699330 h 2765205"/>
                <a:gd name="connsiteX4764" fmla="*/ 5728064 w 8566434"/>
                <a:gd name="connsiteY4764" fmla="*/ 1723177 h 2765205"/>
                <a:gd name="connsiteX4765" fmla="*/ 5753358 w 8566434"/>
                <a:gd name="connsiteY4765" fmla="*/ 1719042 h 2765205"/>
                <a:gd name="connsiteX4766" fmla="*/ 5728064 w 8566434"/>
                <a:gd name="connsiteY4766" fmla="*/ 1723177 h 2765205"/>
                <a:gd name="connsiteX4767" fmla="*/ 5709316 w 8566434"/>
                <a:gd name="connsiteY4767" fmla="*/ 1725590 h 2765205"/>
                <a:gd name="connsiteX4768" fmla="*/ 5709316 w 8566434"/>
                <a:gd name="connsiteY4768" fmla="*/ 1725590 h 2765205"/>
                <a:gd name="connsiteX4769" fmla="*/ 5775414 w 8566434"/>
                <a:gd name="connsiteY4769" fmla="*/ 1679479 h 2765205"/>
                <a:gd name="connsiteX4770" fmla="*/ 5765420 w 8566434"/>
                <a:gd name="connsiteY4770" fmla="*/ 1741236 h 2765205"/>
                <a:gd name="connsiteX4771" fmla="*/ 5775414 w 8566434"/>
                <a:gd name="connsiteY4771" fmla="*/ 1679479 h 2765205"/>
                <a:gd name="connsiteX4772" fmla="*/ 5958823 w 8566434"/>
                <a:gd name="connsiteY4772" fmla="*/ 1749507 h 2765205"/>
                <a:gd name="connsiteX4773" fmla="*/ 5960615 w 8566434"/>
                <a:gd name="connsiteY4773" fmla="*/ 1704706 h 2765205"/>
                <a:gd name="connsiteX4774" fmla="*/ 5949036 w 8566434"/>
                <a:gd name="connsiteY4774" fmla="*/ 1704981 h 2765205"/>
                <a:gd name="connsiteX4775" fmla="*/ 5958547 w 8566434"/>
                <a:gd name="connsiteY4775" fmla="*/ 1665281 h 2765205"/>
                <a:gd name="connsiteX4776" fmla="*/ 5966405 w 8566434"/>
                <a:gd name="connsiteY4776" fmla="*/ 1661421 h 2765205"/>
                <a:gd name="connsiteX4777" fmla="*/ 5957720 w 8566434"/>
                <a:gd name="connsiteY4777" fmla="*/ 1704637 h 2765205"/>
                <a:gd name="connsiteX4778" fmla="*/ 5974469 w 8566434"/>
                <a:gd name="connsiteY4778" fmla="*/ 1702087 h 2765205"/>
                <a:gd name="connsiteX4779" fmla="*/ 5958823 w 8566434"/>
                <a:gd name="connsiteY4779" fmla="*/ 1749507 h 2765205"/>
                <a:gd name="connsiteX4780" fmla="*/ 5984739 w 8566434"/>
                <a:gd name="connsiteY4780" fmla="*/ 1752264 h 2765205"/>
                <a:gd name="connsiteX4781" fmla="*/ 5993216 w 8566434"/>
                <a:gd name="connsiteY4781" fmla="*/ 1738341 h 2765205"/>
                <a:gd name="connsiteX4782" fmla="*/ 5984739 w 8566434"/>
                <a:gd name="connsiteY4782" fmla="*/ 1752264 h 2765205"/>
                <a:gd name="connsiteX4783" fmla="*/ 5914435 w 8566434"/>
                <a:gd name="connsiteY4783" fmla="*/ 1752884 h 2765205"/>
                <a:gd name="connsiteX4784" fmla="*/ 5919260 w 8566434"/>
                <a:gd name="connsiteY4784" fmla="*/ 1736756 h 2765205"/>
                <a:gd name="connsiteX4785" fmla="*/ 5914435 w 8566434"/>
                <a:gd name="connsiteY4785" fmla="*/ 1752884 h 2765205"/>
                <a:gd name="connsiteX4786" fmla="*/ 5732681 w 8566434"/>
                <a:gd name="connsiteY4786" fmla="*/ 1756950 h 2765205"/>
                <a:gd name="connsiteX4787" fmla="*/ 5721584 w 8566434"/>
                <a:gd name="connsiteY4787" fmla="*/ 1741305 h 2765205"/>
                <a:gd name="connsiteX4788" fmla="*/ 5741159 w 8566434"/>
                <a:gd name="connsiteY4788" fmla="*/ 1751643 h 2765205"/>
                <a:gd name="connsiteX4789" fmla="*/ 5753014 w 8566434"/>
                <a:gd name="connsiteY4789" fmla="*/ 1744406 h 2765205"/>
                <a:gd name="connsiteX4790" fmla="*/ 5775552 w 8566434"/>
                <a:gd name="connsiteY4790" fmla="*/ 1760604 h 2765205"/>
                <a:gd name="connsiteX4791" fmla="*/ 5755909 w 8566434"/>
                <a:gd name="connsiteY4791" fmla="*/ 1774595 h 2765205"/>
                <a:gd name="connsiteX4792" fmla="*/ 5732681 w 8566434"/>
                <a:gd name="connsiteY4792" fmla="*/ 1756950 h 2765205"/>
                <a:gd name="connsiteX4793" fmla="*/ 5964061 w 8566434"/>
                <a:gd name="connsiteY4793" fmla="*/ 1780316 h 2765205"/>
                <a:gd name="connsiteX4794" fmla="*/ 5968128 w 8566434"/>
                <a:gd name="connsiteY4794" fmla="*/ 1764877 h 2765205"/>
                <a:gd name="connsiteX4795" fmla="*/ 5964061 w 8566434"/>
                <a:gd name="connsiteY4795" fmla="*/ 1780316 h 2765205"/>
                <a:gd name="connsiteX4796" fmla="*/ 5922706 w 8566434"/>
                <a:gd name="connsiteY4796" fmla="*/ 1782935 h 2765205"/>
                <a:gd name="connsiteX4797" fmla="*/ 5921742 w 8566434"/>
                <a:gd name="connsiteY4797" fmla="*/ 1768461 h 2765205"/>
                <a:gd name="connsiteX4798" fmla="*/ 5922706 w 8566434"/>
                <a:gd name="connsiteY4798" fmla="*/ 1782935 h 2765205"/>
                <a:gd name="connsiteX4799" fmla="*/ 5701941 w 8566434"/>
                <a:gd name="connsiteY4799" fmla="*/ 1795204 h 2765205"/>
                <a:gd name="connsiteX4800" fmla="*/ 5712004 w 8566434"/>
                <a:gd name="connsiteY4800" fmla="*/ 1823256 h 2765205"/>
                <a:gd name="connsiteX4801" fmla="*/ 5701941 w 8566434"/>
                <a:gd name="connsiteY4801" fmla="*/ 1795204 h 2765205"/>
                <a:gd name="connsiteX4802" fmla="*/ 5923051 w 8566434"/>
                <a:gd name="connsiteY4802" fmla="*/ 1829115 h 2765205"/>
                <a:gd name="connsiteX4803" fmla="*/ 5926084 w 8566434"/>
                <a:gd name="connsiteY4803" fmla="*/ 1806576 h 2765205"/>
                <a:gd name="connsiteX4804" fmla="*/ 5923051 w 8566434"/>
                <a:gd name="connsiteY4804" fmla="*/ 1829115 h 2765205"/>
                <a:gd name="connsiteX4805" fmla="*/ 5908991 w 8566434"/>
                <a:gd name="connsiteY4805" fmla="*/ 1903967 h 2765205"/>
                <a:gd name="connsiteX4806" fmla="*/ 5912782 w 8566434"/>
                <a:gd name="connsiteY4806" fmla="*/ 1882049 h 2765205"/>
                <a:gd name="connsiteX4807" fmla="*/ 5908991 w 8566434"/>
                <a:gd name="connsiteY4807" fmla="*/ 1903967 h 2765205"/>
                <a:gd name="connsiteX4808" fmla="*/ 5775346 w 8566434"/>
                <a:gd name="connsiteY4808" fmla="*/ 1906724 h 2765205"/>
                <a:gd name="connsiteX4809" fmla="*/ 5777275 w 8566434"/>
                <a:gd name="connsiteY4809" fmla="*/ 1796651 h 2765205"/>
                <a:gd name="connsiteX4810" fmla="*/ 5749230 w 8566434"/>
                <a:gd name="connsiteY4810" fmla="*/ 1814365 h 2765205"/>
                <a:gd name="connsiteX4811" fmla="*/ 5751980 w 8566434"/>
                <a:gd name="connsiteY4811" fmla="*/ 1830838 h 2765205"/>
                <a:gd name="connsiteX4812" fmla="*/ 5734267 w 8566434"/>
                <a:gd name="connsiteY4812" fmla="*/ 1785899 h 2765205"/>
                <a:gd name="connsiteX4813" fmla="*/ 5716760 w 8566434"/>
                <a:gd name="connsiteY4813" fmla="*/ 1796031 h 2765205"/>
                <a:gd name="connsiteX4814" fmla="*/ 5729028 w 8566434"/>
                <a:gd name="connsiteY4814" fmla="*/ 1779420 h 2765205"/>
                <a:gd name="connsiteX4815" fmla="*/ 5752532 w 8566434"/>
                <a:gd name="connsiteY4815" fmla="*/ 1784865 h 2765205"/>
                <a:gd name="connsiteX4816" fmla="*/ 5748396 w 8566434"/>
                <a:gd name="connsiteY4816" fmla="*/ 1798581 h 2765205"/>
                <a:gd name="connsiteX4817" fmla="*/ 5769487 w 8566434"/>
                <a:gd name="connsiteY4817" fmla="*/ 1799546 h 2765205"/>
                <a:gd name="connsiteX4818" fmla="*/ 5782238 w 8566434"/>
                <a:gd name="connsiteY4818" fmla="*/ 1792791 h 2765205"/>
                <a:gd name="connsiteX4819" fmla="*/ 5785202 w 8566434"/>
                <a:gd name="connsiteY4819" fmla="*/ 1741787 h 2765205"/>
                <a:gd name="connsiteX4820" fmla="*/ 5779205 w 8566434"/>
                <a:gd name="connsiteY4820" fmla="*/ 1720007 h 2765205"/>
                <a:gd name="connsiteX4821" fmla="*/ 5788373 w 8566434"/>
                <a:gd name="connsiteY4821" fmla="*/ 1694022 h 2765205"/>
                <a:gd name="connsiteX4822" fmla="*/ 5793542 w 8566434"/>
                <a:gd name="connsiteY4822" fmla="*/ 1621238 h 2765205"/>
                <a:gd name="connsiteX4823" fmla="*/ 5778103 w 8566434"/>
                <a:gd name="connsiteY4823" fmla="*/ 1623237 h 2765205"/>
                <a:gd name="connsiteX4824" fmla="*/ 5773967 w 8566434"/>
                <a:gd name="connsiteY4824" fmla="*/ 1671484 h 2765205"/>
                <a:gd name="connsiteX4825" fmla="*/ 5773140 w 8566434"/>
                <a:gd name="connsiteY4825" fmla="*/ 1641226 h 2765205"/>
                <a:gd name="connsiteX4826" fmla="*/ 5751429 w 8566434"/>
                <a:gd name="connsiteY4826" fmla="*/ 1637849 h 2765205"/>
                <a:gd name="connsiteX4827" fmla="*/ 5744261 w 8566434"/>
                <a:gd name="connsiteY4827" fmla="*/ 1656872 h 2765205"/>
                <a:gd name="connsiteX4828" fmla="*/ 5746742 w 8566434"/>
                <a:gd name="connsiteY4828" fmla="*/ 1694091 h 2765205"/>
                <a:gd name="connsiteX4829" fmla="*/ 5724479 w 8566434"/>
                <a:gd name="connsiteY4829" fmla="*/ 1662662 h 2765205"/>
                <a:gd name="connsiteX4830" fmla="*/ 5741573 w 8566434"/>
                <a:gd name="connsiteY4830" fmla="*/ 1634541 h 2765205"/>
                <a:gd name="connsiteX4831" fmla="*/ 5749361 w 8566434"/>
                <a:gd name="connsiteY4831" fmla="*/ 1612071 h 2765205"/>
                <a:gd name="connsiteX4832" fmla="*/ 5735645 w 8566434"/>
                <a:gd name="connsiteY4832" fmla="*/ 1612416 h 2765205"/>
                <a:gd name="connsiteX4833" fmla="*/ 5747293 w 8566434"/>
                <a:gd name="connsiteY4833" fmla="*/ 1604696 h 2765205"/>
                <a:gd name="connsiteX4834" fmla="*/ 5743296 w 8566434"/>
                <a:gd name="connsiteY4834" fmla="*/ 1584915 h 2765205"/>
                <a:gd name="connsiteX4835" fmla="*/ 5771417 w 8566434"/>
                <a:gd name="connsiteY4835" fmla="*/ 1576989 h 2765205"/>
                <a:gd name="connsiteX4836" fmla="*/ 5776655 w 8566434"/>
                <a:gd name="connsiteY4836" fmla="*/ 1575541 h 2765205"/>
                <a:gd name="connsiteX4837" fmla="*/ 5785271 w 8566434"/>
                <a:gd name="connsiteY4837" fmla="*/ 1573060 h 2765205"/>
                <a:gd name="connsiteX4838" fmla="*/ 5787959 w 8566434"/>
                <a:gd name="connsiteY4838" fmla="*/ 1572026 h 2765205"/>
                <a:gd name="connsiteX4839" fmla="*/ 5796574 w 8566434"/>
                <a:gd name="connsiteY4839" fmla="*/ 1567546 h 2765205"/>
                <a:gd name="connsiteX4840" fmla="*/ 5797057 w 8566434"/>
                <a:gd name="connsiteY4840" fmla="*/ 1558930 h 2765205"/>
                <a:gd name="connsiteX4841" fmla="*/ 5783341 w 8566434"/>
                <a:gd name="connsiteY4841" fmla="*/ 1558792 h 2765205"/>
                <a:gd name="connsiteX4842" fmla="*/ 5782031 w 8566434"/>
                <a:gd name="connsiteY4842" fmla="*/ 1554174 h 2765205"/>
                <a:gd name="connsiteX4843" fmla="*/ 5796230 w 8566434"/>
                <a:gd name="connsiteY4843" fmla="*/ 1542388 h 2765205"/>
                <a:gd name="connsiteX4844" fmla="*/ 5781618 w 8566434"/>
                <a:gd name="connsiteY4844" fmla="*/ 1533014 h 2765205"/>
                <a:gd name="connsiteX4845" fmla="*/ 5754875 w 8566434"/>
                <a:gd name="connsiteY4845" fmla="*/ 1538804 h 2765205"/>
                <a:gd name="connsiteX4846" fmla="*/ 5747776 w 8566434"/>
                <a:gd name="connsiteY4846" fmla="*/ 1524399 h 2765205"/>
                <a:gd name="connsiteX4847" fmla="*/ 5731165 w 8566434"/>
                <a:gd name="connsiteY4847" fmla="*/ 1527500 h 2765205"/>
                <a:gd name="connsiteX4848" fmla="*/ 5756047 w 8566434"/>
                <a:gd name="connsiteY4848" fmla="*/ 1508064 h 2765205"/>
                <a:gd name="connsiteX4849" fmla="*/ 5761837 w 8566434"/>
                <a:gd name="connsiteY4849" fmla="*/ 1508753 h 2765205"/>
                <a:gd name="connsiteX4850" fmla="*/ 5772795 w 8566434"/>
                <a:gd name="connsiteY4850" fmla="*/ 1504204 h 2765205"/>
                <a:gd name="connsiteX4851" fmla="*/ 5763490 w 8566434"/>
                <a:gd name="connsiteY4851" fmla="*/ 1485939 h 2765205"/>
                <a:gd name="connsiteX4852" fmla="*/ 5788993 w 8566434"/>
                <a:gd name="connsiteY4852" fmla="*/ 1480425 h 2765205"/>
                <a:gd name="connsiteX4853" fmla="*/ 5792577 w 8566434"/>
                <a:gd name="connsiteY4853" fmla="*/ 1483733 h 2765205"/>
                <a:gd name="connsiteX4854" fmla="*/ 5789269 w 8566434"/>
                <a:gd name="connsiteY4854" fmla="*/ 1460023 h 2765205"/>
                <a:gd name="connsiteX4855" fmla="*/ 5804087 w 8566434"/>
                <a:gd name="connsiteY4855" fmla="*/ 1478219 h 2765205"/>
                <a:gd name="connsiteX4856" fmla="*/ 5807740 w 8566434"/>
                <a:gd name="connsiteY4856" fmla="*/ 1376487 h 2765205"/>
                <a:gd name="connsiteX4857" fmla="*/ 5812496 w 8566434"/>
                <a:gd name="connsiteY4857" fmla="*/ 1314937 h 2765205"/>
                <a:gd name="connsiteX4858" fmla="*/ 5796230 w 8566434"/>
                <a:gd name="connsiteY4858" fmla="*/ 1328584 h 2765205"/>
                <a:gd name="connsiteX4859" fmla="*/ 5812152 w 8566434"/>
                <a:gd name="connsiteY4859" fmla="*/ 1310733 h 2765205"/>
                <a:gd name="connsiteX4860" fmla="*/ 5830072 w 8566434"/>
                <a:gd name="connsiteY4860" fmla="*/ 1039376 h 2765205"/>
                <a:gd name="connsiteX4861" fmla="*/ 5902512 w 8566434"/>
                <a:gd name="connsiteY4861" fmla="*/ 1043236 h 2765205"/>
                <a:gd name="connsiteX4862" fmla="*/ 5943039 w 8566434"/>
                <a:gd name="connsiteY4862" fmla="*/ 1141798 h 2765205"/>
                <a:gd name="connsiteX4863" fmla="*/ 5926291 w 8566434"/>
                <a:gd name="connsiteY4863" fmla="*/ 1433005 h 2765205"/>
                <a:gd name="connsiteX4864" fmla="*/ 5939455 w 8566434"/>
                <a:gd name="connsiteY4864" fmla="*/ 1469259 h 2765205"/>
                <a:gd name="connsiteX4865" fmla="*/ 5926567 w 8566434"/>
                <a:gd name="connsiteY4865" fmla="*/ 1469673 h 2765205"/>
                <a:gd name="connsiteX4866" fmla="*/ 5917813 w 8566434"/>
                <a:gd name="connsiteY4866" fmla="*/ 1556035 h 2765205"/>
                <a:gd name="connsiteX4867" fmla="*/ 5898927 w 8566434"/>
                <a:gd name="connsiteY4867" fmla="*/ 1828632 h 2765205"/>
                <a:gd name="connsiteX4868" fmla="*/ 5901271 w 8566434"/>
                <a:gd name="connsiteY4868" fmla="*/ 1831803 h 2765205"/>
                <a:gd name="connsiteX4869" fmla="*/ 5912988 w 8566434"/>
                <a:gd name="connsiteY4869" fmla="*/ 1834973 h 2765205"/>
                <a:gd name="connsiteX4870" fmla="*/ 5912712 w 8566434"/>
                <a:gd name="connsiteY4870" fmla="*/ 1840763 h 2765205"/>
                <a:gd name="connsiteX4871" fmla="*/ 5900857 w 8566434"/>
                <a:gd name="connsiteY4871" fmla="*/ 1844554 h 2765205"/>
                <a:gd name="connsiteX4872" fmla="*/ 5851507 w 8566434"/>
                <a:gd name="connsiteY4872" fmla="*/ 1908171 h 2765205"/>
                <a:gd name="connsiteX4873" fmla="*/ 5775346 w 8566434"/>
                <a:gd name="connsiteY4873" fmla="*/ 1906724 h 2765205"/>
                <a:gd name="connsiteX4874" fmla="*/ 5736610 w 8566434"/>
                <a:gd name="connsiteY4874" fmla="*/ 1911824 h 2765205"/>
                <a:gd name="connsiteX4875" fmla="*/ 5736610 w 8566434"/>
                <a:gd name="connsiteY4875" fmla="*/ 1911824 h 2765205"/>
                <a:gd name="connsiteX4876" fmla="*/ 5717036 w 8566434"/>
                <a:gd name="connsiteY4876" fmla="*/ 1918303 h 2765205"/>
                <a:gd name="connsiteX4877" fmla="*/ 5708351 w 8566434"/>
                <a:gd name="connsiteY4877" fmla="*/ 1906172 h 2765205"/>
                <a:gd name="connsiteX4878" fmla="*/ 5746535 w 8566434"/>
                <a:gd name="connsiteY4878" fmla="*/ 1881015 h 2765205"/>
                <a:gd name="connsiteX4879" fmla="*/ 5721929 w 8566434"/>
                <a:gd name="connsiteY4879" fmla="*/ 1906861 h 2765205"/>
                <a:gd name="connsiteX4880" fmla="*/ 5725237 w 8566434"/>
                <a:gd name="connsiteY4880" fmla="*/ 1944012 h 2765205"/>
                <a:gd name="connsiteX4881" fmla="*/ 5717036 w 8566434"/>
                <a:gd name="connsiteY4881" fmla="*/ 1918303 h 2765205"/>
                <a:gd name="connsiteX4882" fmla="*/ 5681884 w 8566434"/>
                <a:gd name="connsiteY4882" fmla="*/ 1961312 h 2765205"/>
                <a:gd name="connsiteX4883" fmla="*/ 5681884 w 8566434"/>
                <a:gd name="connsiteY4883" fmla="*/ 1961312 h 2765205"/>
                <a:gd name="connsiteX4884" fmla="*/ 5938146 w 8566434"/>
                <a:gd name="connsiteY4884" fmla="*/ 1969101 h 2765205"/>
                <a:gd name="connsiteX4885" fmla="*/ 5948070 w 8566434"/>
                <a:gd name="connsiteY4885" fmla="*/ 1957314 h 2765205"/>
                <a:gd name="connsiteX4886" fmla="*/ 5938146 w 8566434"/>
                <a:gd name="connsiteY4886" fmla="*/ 1969101 h 2765205"/>
                <a:gd name="connsiteX4887" fmla="*/ 5894517 w 8566434"/>
                <a:gd name="connsiteY4887" fmla="*/ 1988262 h 2765205"/>
                <a:gd name="connsiteX4888" fmla="*/ 5894517 w 8566434"/>
                <a:gd name="connsiteY4888" fmla="*/ 1988262 h 2765205"/>
                <a:gd name="connsiteX4889" fmla="*/ 5723997 w 8566434"/>
                <a:gd name="connsiteY4889" fmla="*/ 1959658 h 2765205"/>
                <a:gd name="connsiteX4890" fmla="*/ 5742813 w 8566434"/>
                <a:gd name="connsiteY4890" fmla="*/ 1929745 h 2765205"/>
                <a:gd name="connsiteX4891" fmla="*/ 5762043 w 8566434"/>
                <a:gd name="connsiteY4891" fmla="*/ 1928780 h 2765205"/>
                <a:gd name="connsiteX4892" fmla="*/ 5744192 w 8566434"/>
                <a:gd name="connsiteY4892" fmla="*/ 1983988 h 2765205"/>
                <a:gd name="connsiteX4893" fmla="*/ 5743296 w 8566434"/>
                <a:gd name="connsiteY4893" fmla="*/ 1961795 h 2765205"/>
                <a:gd name="connsiteX4894" fmla="*/ 5732957 w 8566434"/>
                <a:gd name="connsiteY4894" fmla="*/ 1997084 h 2765205"/>
                <a:gd name="connsiteX4895" fmla="*/ 5723997 w 8566434"/>
                <a:gd name="connsiteY4895" fmla="*/ 1959658 h 2765205"/>
                <a:gd name="connsiteX4896" fmla="*/ 5757287 w 8566434"/>
                <a:gd name="connsiteY4896" fmla="*/ 1990054 h 2765205"/>
                <a:gd name="connsiteX4897" fmla="*/ 5771693 w 8566434"/>
                <a:gd name="connsiteY4897" fmla="*/ 1972478 h 2765205"/>
                <a:gd name="connsiteX4898" fmla="*/ 5790509 w 8566434"/>
                <a:gd name="connsiteY4898" fmla="*/ 1965172 h 2765205"/>
                <a:gd name="connsiteX4899" fmla="*/ 5772589 w 8566434"/>
                <a:gd name="connsiteY4899" fmla="*/ 2001977 h 2765205"/>
                <a:gd name="connsiteX4900" fmla="*/ 5757287 w 8566434"/>
                <a:gd name="connsiteY4900" fmla="*/ 1990054 h 2765205"/>
                <a:gd name="connsiteX4901" fmla="*/ 5688707 w 8566434"/>
                <a:gd name="connsiteY4901" fmla="*/ 2000048 h 2765205"/>
                <a:gd name="connsiteX4902" fmla="*/ 5699046 w 8566434"/>
                <a:gd name="connsiteY4902" fmla="*/ 1989020 h 2765205"/>
                <a:gd name="connsiteX4903" fmla="*/ 5688707 w 8566434"/>
                <a:gd name="connsiteY4903" fmla="*/ 2000048 h 2765205"/>
                <a:gd name="connsiteX4904" fmla="*/ 5924154 w 8566434"/>
                <a:gd name="connsiteY4904" fmla="*/ 1987641 h 2765205"/>
                <a:gd name="connsiteX4905" fmla="*/ 5905820 w 8566434"/>
                <a:gd name="connsiteY4905" fmla="*/ 1978336 h 2765205"/>
                <a:gd name="connsiteX4906" fmla="*/ 5918709 w 8566434"/>
                <a:gd name="connsiteY4906" fmla="*/ 1981783 h 2765205"/>
                <a:gd name="connsiteX4907" fmla="*/ 5923602 w 8566434"/>
                <a:gd name="connsiteY4907" fmla="*/ 1962553 h 2765205"/>
                <a:gd name="connsiteX4908" fmla="*/ 5924016 w 8566434"/>
                <a:gd name="connsiteY4908" fmla="*/ 1982679 h 2765205"/>
                <a:gd name="connsiteX4909" fmla="*/ 5940213 w 8566434"/>
                <a:gd name="connsiteY4909" fmla="*/ 1975510 h 2765205"/>
                <a:gd name="connsiteX4910" fmla="*/ 5913264 w 8566434"/>
                <a:gd name="connsiteY4910" fmla="*/ 2009077 h 2765205"/>
                <a:gd name="connsiteX4911" fmla="*/ 5924154 w 8566434"/>
                <a:gd name="connsiteY4911" fmla="*/ 1987641 h 2765205"/>
                <a:gd name="connsiteX4912" fmla="*/ 5796712 w 8566434"/>
                <a:gd name="connsiteY4912" fmla="*/ 2008870 h 2765205"/>
                <a:gd name="connsiteX4913" fmla="*/ 5796712 w 8566434"/>
                <a:gd name="connsiteY4913" fmla="*/ 2008870 h 2765205"/>
                <a:gd name="connsiteX4914" fmla="*/ 5784582 w 8566434"/>
                <a:gd name="connsiteY4914" fmla="*/ 2008870 h 2765205"/>
                <a:gd name="connsiteX4915" fmla="*/ 5784582 w 8566434"/>
                <a:gd name="connsiteY4915" fmla="*/ 2008870 h 2765205"/>
                <a:gd name="connsiteX4916" fmla="*/ 5736472 w 8566434"/>
                <a:gd name="connsiteY4916" fmla="*/ 2004045 h 2765205"/>
                <a:gd name="connsiteX4917" fmla="*/ 5754668 w 8566434"/>
                <a:gd name="connsiteY4917" fmla="*/ 2002874 h 2765205"/>
                <a:gd name="connsiteX4918" fmla="*/ 5736472 w 8566434"/>
                <a:gd name="connsiteY4918" fmla="*/ 2004045 h 2765205"/>
                <a:gd name="connsiteX4919" fmla="*/ 5827522 w 8566434"/>
                <a:gd name="connsiteY4919" fmla="*/ 2013212 h 2765205"/>
                <a:gd name="connsiteX4920" fmla="*/ 5837033 w 8566434"/>
                <a:gd name="connsiteY4920" fmla="*/ 1973718 h 2765205"/>
                <a:gd name="connsiteX4921" fmla="*/ 5836620 w 8566434"/>
                <a:gd name="connsiteY4921" fmla="*/ 2011076 h 2765205"/>
                <a:gd name="connsiteX4922" fmla="*/ 5851852 w 8566434"/>
                <a:gd name="connsiteY4922" fmla="*/ 2015004 h 2765205"/>
                <a:gd name="connsiteX4923" fmla="*/ 5827522 w 8566434"/>
                <a:gd name="connsiteY4923" fmla="*/ 2013212 h 2765205"/>
                <a:gd name="connsiteX4924" fmla="*/ 5881834 w 8566434"/>
                <a:gd name="connsiteY4924" fmla="*/ 2027824 h 2765205"/>
                <a:gd name="connsiteX4925" fmla="*/ 5885901 w 8566434"/>
                <a:gd name="connsiteY4925" fmla="*/ 2011972 h 2765205"/>
                <a:gd name="connsiteX4926" fmla="*/ 5881834 w 8566434"/>
                <a:gd name="connsiteY4926" fmla="*/ 2027824 h 2765205"/>
                <a:gd name="connsiteX4927" fmla="*/ 5721378 w 8566434"/>
                <a:gd name="connsiteY4927" fmla="*/ 2036371 h 2765205"/>
                <a:gd name="connsiteX4928" fmla="*/ 5733440 w 8566434"/>
                <a:gd name="connsiteY4928" fmla="*/ 2025412 h 2765205"/>
                <a:gd name="connsiteX4929" fmla="*/ 5721378 w 8566434"/>
                <a:gd name="connsiteY4929" fmla="*/ 2036371 h 2765205"/>
                <a:gd name="connsiteX4930" fmla="*/ 5711177 w 8566434"/>
                <a:gd name="connsiteY4930" fmla="*/ 2004666 h 2765205"/>
                <a:gd name="connsiteX4931" fmla="*/ 5717862 w 8566434"/>
                <a:gd name="connsiteY4931" fmla="*/ 2006182 h 2765205"/>
                <a:gd name="connsiteX4932" fmla="*/ 5710832 w 8566434"/>
                <a:gd name="connsiteY4932" fmla="*/ 2044297 h 2765205"/>
                <a:gd name="connsiteX4933" fmla="*/ 5711177 w 8566434"/>
                <a:gd name="connsiteY4933" fmla="*/ 2004666 h 2765205"/>
                <a:gd name="connsiteX4934" fmla="*/ 5694221 w 8566434"/>
                <a:gd name="connsiteY4934" fmla="*/ 2056704 h 2765205"/>
                <a:gd name="connsiteX4935" fmla="*/ 5694221 w 8566434"/>
                <a:gd name="connsiteY4935" fmla="*/ 2056704 h 2765205"/>
                <a:gd name="connsiteX4936" fmla="*/ 5722274 w 8566434"/>
                <a:gd name="connsiteY4936" fmla="*/ 2092269 h 2765205"/>
                <a:gd name="connsiteX4937" fmla="*/ 5769004 w 8566434"/>
                <a:gd name="connsiteY4937" fmla="*/ 2099851 h 2765205"/>
                <a:gd name="connsiteX4938" fmla="*/ 5867291 w 8566434"/>
                <a:gd name="connsiteY4938" fmla="*/ 2095302 h 2765205"/>
                <a:gd name="connsiteX4939" fmla="*/ 5956549 w 8566434"/>
                <a:gd name="connsiteY4939" fmla="*/ 1996808 h 2765205"/>
                <a:gd name="connsiteX4940" fmla="*/ 6001901 w 8566434"/>
                <a:gd name="connsiteY4940" fmla="*/ 1756055 h 2765205"/>
                <a:gd name="connsiteX4941" fmla="*/ 6011619 w 8566434"/>
                <a:gd name="connsiteY4941" fmla="*/ 1652047 h 2765205"/>
                <a:gd name="connsiteX4942" fmla="*/ 5993147 w 8566434"/>
                <a:gd name="connsiteY4942" fmla="*/ 1679824 h 2765205"/>
                <a:gd name="connsiteX4943" fmla="*/ 5991286 w 8566434"/>
                <a:gd name="connsiteY4943" fmla="*/ 1659009 h 2765205"/>
                <a:gd name="connsiteX4944" fmla="*/ 6012446 w 8566434"/>
                <a:gd name="connsiteY4944" fmla="*/ 1647016 h 2765205"/>
                <a:gd name="connsiteX4945" fmla="*/ 6014101 w 8566434"/>
                <a:gd name="connsiteY4945" fmla="*/ 1629440 h 2765205"/>
                <a:gd name="connsiteX4946" fmla="*/ 5988116 w 8566434"/>
                <a:gd name="connsiteY4946" fmla="*/ 1613725 h 2765205"/>
                <a:gd name="connsiteX4947" fmla="*/ 5970471 w 8566434"/>
                <a:gd name="connsiteY4947" fmla="*/ 1637987 h 2765205"/>
                <a:gd name="connsiteX4948" fmla="*/ 5987978 w 8566434"/>
                <a:gd name="connsiteY4948" fmla="*/ 1600974 h 2765205"/>
                <a:gd name="connsiteX4949" fmla="*/ 5962269 w 8566434"/>
                <a:gd name="connsiteY4949" fmla="*/ 1600630 h 2765205"/>
                <a:gd name="connsiteX4950" fmla="*/ 5982809 w 8566434"/>
                <a:gd name="connsiteY4950" fmla="*/ 1599113 h 2765205"/>
                <a:gd name="connsiteX4951" fmla="*/ 6002314 w 8566434"/>
                <a:gd name="connsiteY4951" fmla="*/ 1583054 h 2765205"/>
                <a:gd name="connsiteX4952" fmla="*/ 6000591 w 8566434"/>
                <a:gd name="connsiteY4952" fmla="*/ 1606213 h 2765205"/>
                <a:gd name="connsiteX4953" fmla="*/ 6014997 w 8566434"/>
                <a:gd name="connsiteY4953" fmla="*/ 1602146 h 2765205"/>
                <a:gd name="connsiteX4954" fmla="*/ 6020511 w 8566434"/>
                <a:gd name="connsiteY4954" fmla="*/ 1525571 h 2765205"/>
                <a:gd name="connsiteX4955" fmla="*/ 5999419 w 8566434"/>
                <a:gd name="connsiteY4955" fmla="*/ 1516748 h 2765205"/>
                <a:gd name="connsiteX4956" fmla="*/ 6000591 w 8566434"/>
                <a:gd name="connsiteY4956" fmla="*/ 1501723 h 2765205"/>
                <a:gd name="connsiteX4957" fmla="*/ 6022716 w 8566434"/>
                <a:gd name="connsiteY4957" fmla="*/ 1514129 h 2765205"/>
                <a:gd name="connsiteX4958" fmla="*/ 6014790 w 8566434"/>
                <a:gd name="connsiteY4958" fmla="*/ 1488213 h 2765205"/>
                <a:gd name="connsiteX4959" fmla="*/ 6026783 w 8566434"/>
                <a:gd name="connsiteY4959" fmla="*/ 1408261 h 2765205"/>
                <a:gd name="connsiteX4960" fmla="*/ 6011757 w 8566434"/>
                <a:gd name="connsiteY4960" fmla="*/ 1392270 h 2765205"/>
                <a:gd name="connsiteX4961" fmla="*/ 6027541 w 8566434"/>
                <a:gd name="connsiteY4961" fmla="*/ 1401231 h 2765205"/>
                <a:gd name="connsiteX4962" fmla="*/ 6043186 w 8566434"/>
                <a:gd name="connsiteY4962" fmla="*/ 1156135 h 2765205"/>
                <a:gd name="connsiteX4963" fmla="*/ 6007277 w 8566434"/>
                <a:gd name="connsiteY4963" fmla="*/ 945915 h 2765205"/>
                <a:gd name="connsiteX4964" fmla="*/ 5941247 w 8566434"/>
                <a:gd name="connsiteY4964" fmla="*/ 866720 h 2765205"/>
                <a:gd name="connsiteX4965" fmla="*/ 5880318 w 8566434"/>
                <a:gd name="connsiteY4965" fmla="*/ 853142 h 2765205"/>
                <a:gd name="connsiteX4966" fmla="*/ 5737713 w 8566434"/>
                <a:gd name="connsiteY4966" fmla="*/ 845836 h 2765205"/>
                <a:gd name="connsiteX4967" fmla="*/ 5721378 w 8566434"/>
                <a:gd name="connsiteY4967" fmla="*/ 1099823 h 2765205"/>
                <a:gd name="connsiteX4968" fmla="*/ 5748396 w 8566434"/>
                <a:gd name="connsiteY4968" fmla="*/ 1095205 h 2765205"/>
                <a:gd name="connsiteX4969" fmla="*/ 5731716 w 8566434"/>
                <a:gd name="connsiteY4969" fmla="*/ 1124154 h 2765205"/>
                <a:gd name="connsiteX4970" fmla="*/ 5720068 w 8566434"/>
                <a:gd name="connsiteY4970" fmla="*/ 1125877 h 2765205"/>
                <a:gd name="connsiteX4971" fmla="*/ 5709178 w 8566434"/>
                <a:gd name="connsiteY4971" fmla="*/ 1289917 h 2765205"/>
                <a:gd name="connsiteX4972" fmla="*/ 5733164 w 8566434"/>
                <a:gd name="connsiteY4972" fmla="*/ 1293157 h 2765205"/>
                <a:gd name="connsiteX4973" fmla="*/ 5726822 w 8566434"/>
                <a:gd name="connsiteY4973" fmla="*/ 1304805 h 2765205"/>
                <a:gd name="connsiteX4974" fmla="*/ 5709040 w 8566434"/>
                <a:gd name="connsiteY4974" fmla="*/ 1296190 h 2765205"/>
                <a:gd name="connsiteX4975" fmla="*/ 5731716 w 8566434"/>
                <a:gd name="connsiteY4975" fmla="*/ 1320520 h 2765205"/>
                <a:gd name="connsiteX4976" fmla="*/ 5764042 w 8566434"/>
                <a:gd name="connsiteY4976" fmla="*/ 1322243 h 2765205"/>
                <a:gd name="connsiteX4977" fmla="*/ 5765765 w 8566434"/>
                <a:gd name="connsiteY4977" fmla="*/ 1305839 h 2765205"/>
                <a:gd name="connsiteX4978" fmla="*/ 5781204 w 8566434"/>
                <a:gd name="connsiteY4978" fmla="*/ 1334305 h 2765205"/>
                <a:gd name="connsiteX4979" fmla="*/ 5787545 w 8566434"/>
                <a:gd name="connsiteY4979" fmla="*/ 1320727 h 2765205"/>
                <a:gd name="connsiteX4980" fmla="*/ 5785478 w 8566434"/>
                <a:gd name="connsiteY4980" fmla="*/ 1354017 h 2765205"/>
                <a:gd name="connsiteX4981" fmla="*/ 5779068 w 8566434"/>
                <a:gd name="connsiteY4981" fmla="*/ 1340232 h 2765205"/>
                <a:gd name="connsiteX4982" fmla="*/ 5757012 w 8566434"/>
                <a:gd name="connsiteY4982" fmla="*/ 1334856 h 2765205"/>
                <a:gd name="connsiteX4983" fmla="*/ 5716966 w 8566434"/>
                <a:gd name="connsiteY4983" fmla="*/ 1328584 h 2765205"/>
                <a:gd name="connsiteX4984" fmla="*/ 5707524 w 8566434"/>
                <a:gd name="connsiteY4984" fmla="*/ 1315419 h 2765205"/>
                <a:gd name="connsiteX4985" fmla="*/ 5709109 w 8566434"/>
                <a:gd name="connsiteY4985" fmla="*/ 1408812 h 2765205"/>
                <a:gd name="connsiteX4986" fmla="*/ 5715794 w 8566434"/>
                <a:gd name="connsiteY4986" fmla="*/ 1431282 h 2765205"/>
                <a:gd name="connsiteX4987" fmla="*/ 5701803 w 8566434"/>
                <a:gd name="connsiteY4987" fmla="*/ 1434314 h 2765205"/>
                <a:gd name="connsiteX4988" fmla="*/ 5691189 w 8566434"/>
                <a:gd name="connsiteY4988" fmla="*/ 1603593 h 2765205"/>
                <a:gd name="connsiteX4989" fmla="*/ 5707800 w 8566434"/>
                <a:gd name="connsiteY4989" fmla="*/ 1660663 h 2765205"/>
                <a:gd name="connsiteX4990" fmla="*/ 5689396 w 8566434"/>
                <a:gd name="connsiteY4990" fmla="*/ 1627235 h 2765205"/>
                <a:gd name="connsiteX4991" fmla="*/ 5680436 w 8566434"/>
                <a:gd name="connsiteY4991" fmla="*/ 1752953 h 2765205"/>
                <a:gd name="connsiteX4992" fmla="*/ 5703113 w 8566434"/>
                <a:gd name="connsiteY4992" fmla="*/ 1760190 h 2765205"/>
                <a:gd name="connsiteX4993" fmla="*/ 5681470 w 8566434"/>
                <a:gd name="connsiteY4993" fmla="*/ 1759501 h 2765205"/>
                <a:gd name="connsiteX4994" fmla="*/ 5674440 w 8566434"/>
                <a:gd name="connsiteY4994" fmla="*/ 1873226 h 2765205"/>
                <a:gd name="connsiteX4995" fmla="*/ 5705938 w 8566434"/>
                <a:gd name="connsiteY4995" fmla="*/ 1858408 h 2765205"/>
                <a:gd name="connsiteX4996" fmla="*/ 5683193 w 8566434"/>
                <a:gd name="connsiteY4996" fmla="*/ 1844829 h 2765205"/>
                <a:gd name="connsiteX4997" fmla="*/ 5716966 w 8566434"/>
                <a:gd name="connsiteY4997" fmla="*/ 1840832 h 2765205"/>
                <a:gd name="connsiteX4998" fmla="*/ 5726478 w 8566434"/>
                <a:gd name="connsiteY4998" fmla="*/ 1810781 h 2765205"/>
                <a:gd name="connsiteX4999" fmla="*/ 5721929 w 8566434"/>
                <a:gd name="connsiteY4999" fmla="*/ 1833801 h 2765205"/>
                <a:gd name="connsiteX5000" fmla="*/ 5734473 w 8566434"/>
                <a:gd name="connsiteY5000" fmla="*/ 1842417 h 2765205"/>
                <a:gd name="connsiteX5001" fmla="*/ 5705594 w 8566434"/>
                <a:gd name="connsiteY5001" fmla="*/ 1844554 h 2765205"/>
                <a:gd name="connsiteX5002" fmla="*/ 5708627 w 8566434"/>
                <a:gd name="connsiteY5002" fmla="*/ 1864266 h 2765205"/>
                <a:gd name="connsiteX5003" fmla="*/ 5724065 w 8566434"/>
                <a:gd name="connsiteY5003" fmla="*/ 1877224 h 2765205"/>
                <a:gd name="connsiteX5004" fmla="*/ 5713107 w 8566434"/>
                <a:gd name="connsiteY5004" fmla="*/ 1884944 h 2765205"/>
                <a:gd name="connsiteX5005" fmla="*/ 5706008 w 8566434"/>
                <a:gd name="connsiteY5005" fmla="*/ 1873640 h 2765205"/>
                <a:gd name="connsiteX5006" fmla="*/ 5684641 w 8566434"/>
                <a:gd name="connsiteY5006" fmla="*/ 1891216 h 2765205"/>
                <a:gd name="connsiteX5007" fmla="*/ 5672372 w 8566434"/>
                <a:gd name="connsiteY5007" fmla="*/ 1886529 h 2765205"/>
                <a:gd name="connsiteX5008" fmla="*/ 5671890 w 8566434"/>
                <a:gd name="connsiteY5008" fmla="*/ 1925196 h 2765205"/>
                <a:gd name="connsiteX5009" fmla="*/ 5687605 w 8566434"/>
                <a:gd name="connsiteY5009" fmla="*/ 1928573 h 2765205"/>
                <a:gd name="connsiteX5010" fmla="*/ 5672165 w 8566434"/>
                <a:gd name="connsiteY5010" fmla="*/ 1972409 h 2765205"/>
                <a:gd name="connsiteX5011" fmla="*/ 5665549 w 8566434"/>
                <a:gd name="connsiteY5011" fmla="*/ 2003218 h 2765205"/>
                <a:gd name="connsiteX5012" fmla="*/ 5659690 w 8566434"/>
                <a:gd name="connsiteY5012" fmla="*/ 2092682 h 2765205"/>
                <a:gd name="connsiteX5013" fmla="*/ 5708282 w 8566434"/>
                <a:gd name="connsiteY5013" fmla="*/ 2092269 h 2765205"/>
                <a:gd name="connsiteX5014" fmla="*/ 5690500 w 8566434"/>
                <a:gd name="connsiteY5014" fmla="*/ 2072557 h 2765205"/>
                <a:gd name="connsiteX5015" fmla="*/ 5690086 w 8566434"/>
                <a:gd name="connsiteY5015" fmla="*/ 2067043 h 2765205"/>
                <a:gd name="connsiteX5016" fmla="*/ 5724410 w 8566434"/>
                <a:gd name="connsiteY5016" fmla="*/ 2078897 h 2765205"/>
                <a:gd name="connsiteX5017" fmla="*/ 5722274 w 8566434"/>
                <a:gd name="connsiteY5017" fmla="*/ 2092269 h 2765205"/>
                <a:gd name="connsiteX5018" fmla="*/ 935872 w 8566434"/>
                <a:gd name="connsiteY5018" fmla="*/ 2103090 h 2765205"/>
                <a:gd name="connsiteX5019" fmla="*/ 941662 w 8566434"/>
                <a:gd name="connsiteY5019" fmla="*/ 2103297 h 2765205"/>
                <a:gd name="connsiteX5020" fmla="*/ 944212 w 8566434"/>
                <a:gd name="connsiteY5020" fmla="*/ 2093579 h 2765205"/>
                <a:gd name="connsiteX5021" fmla="*/ 933735 w 8566434"/>
                <a:gd name="connsiteY5021" fmla="*/ 2097231 h 2765205"/>
                <a:gd name="connsiteX5022" fmla="*/ 935872 w 8566434"/>
                <a:gd name="connsiteY5022" fmla="*/ 2103090 h 2765205"/>
                <a:gd name="connsiteX5023" fmla="*/ 6254165 w 8566434"/>
                <a:gd name="connsiteY5023" fmla="*/ 906283 h 2765205"/>
                <a:gd name="connsiteX5024" fmla="*/ 6254165 w 8566434"/>
                <a:gd name="connsiteY5024" fmla="*/ 906283 h 2765205"/>
                <a:gd name="connsiteX5025" fmla="*/ 6212052 w 8566434"/>
                <a:gd name="connsiteY5025" fmla="*/ 906834 h 2765205"/>
                <a:gd name="connsiteX5026" fmla="*/ 6205435 w 8566434"/>
                <a:gd name="connsiteY5026" fmla="*/ 898770 h 2765205"/>
                <a:gd name="connsiteX5027" fmla="*/ 6212052 w 8566434"/>
                <a:gd name="connsiteY5027" fmla="*/ 906834 h 2765205"/>
                <a:gd name="connsiteX5028" fmla="*/ 6283044 w 8566434"/>
                <a:gd name="connsiteY5028" fmla="*/ 913451 h 2765205"/>
                <a:gd name="connsiteX5029" fmla="*/ 6304963 w 8566434"/>
                <a:gd name="connsiteY5029" fmla="*/ 902423 h 2765205"/>
                <a:gd name="connsiteX5030" fmla="*/ 6283044 w 8566434"/>
                <a:gd name="connsiteY5030" fmla="*/ 913451 h 2765205"/>
                <a:gd name="connsiteX5031" fmla="*/ 6198130 w 8566434"/>
                <a:gd name="connsiteY5031" fmla="*/ 927994 h 2765205"/>
                <a:gd name="connsiteX5032" fmla="*/ 6209226 w 8566434"/>
                <a:gd name="connsiteY5032" fmla="*/ 916553 h 2765205"/>
                <a:gd name="connsiteX5033" fmla="*/ 6198130 w 8566434"/>
                <a:gd name="connsiteY5033" fmla="*/ 927994 h 2765205"/>
                <a:gd name="connsiteX5034" fmla="*/ 6287180 w 8566434"/>
                <a:gd name="connsiteY5034" fmla="*/ 934059 h 2765205"/>
                <a:gd name="connsiteX5035" fmla="*/ 6287180 w 8566434"/>
                <a:gd name="connsiteY5035" fmla="*/ 934059 h 2765205"/>
                <a:gd name="connsiteX5036" fmla="*/ 6300965 w 8566434"/>
                <a:gd name="connsiteY5036" fmla="*/ 954117 h 2765205"/>
                <a:gd name="connsiteX5037" fmla="*/ 6311924 w 8566434"/>
                <a:gd name="connsiteY5037" fmla="*/ 937919 h 2765205"/>
                <a:gd name="connsiteX5038" fmla="*/ 6300965 w 8566434"/>
                <a:gd name="connsiteY5038" fmla="*/ 954117 h 2765205"/>
                <a:gd name="connsiteX5039" fmla="*/ 6252649 w 8566434"/>
                <a:gd name="connsiteY5039" fmla="*/ 968591 h 2765205"/>
                <a:gd name="connsiteX5040" fmla="*/ 6257335 w 8566434"/>
                <a:gd name="connsiteY5040" fmla="*/ 950946 h 2765205"/>
                <a:gd name="connsiteX5041" fmla="*/ 6252649 w 8566434"/>
                <a:gd name="connsiteY5041" fmla="*/ 968591 h 2765205"/>
                <a:gd name="connsiteX5042" fmla="*/ 6144092 w 8566434"/>
                <a:gd name="connsiteY5042" fmla="*/ 944812 h 2765205"/>
                <a:gd name="connsiteX5043" fmla="*/ 6151605 w 8566434"/>
                <a:gd name="connsiteY5043" fmla="*/ 919930 h 2765205"/>
                <a:gd name="connsiteX5044" fmla="*/ 6160979 w 8566434"/>
                <a:gd name="connsiteY5044" fmla="*/ 947155 h 2765205"/>
                <a:gd name="connsiteX5045" fmla="*/ 6163460 w 8566434"/>
                <a:gd name="connsiteY5045" fmla="*/ 920826 h 2765205"/>
                <a:gd name="connsiteX5046" fmla="*/ 6180829 w 8566434"/>
                <a:gd name="connsiteY5046" fmla="*/ 934955 h 2765205"/>
                <a:gd name="connsiteX5047" fmla="*/ 6169181 w 8566434"/>
                <a:gd name="connsiteY5047" fmla="*/ 955564 h 2765205"/>
                <a:gd name="connsiteX5048" fmla="*/ 6166906 w 8566434"/>
                <a:gd name="connsiteY5048" fmla="*/ 977068 h 2765205"/>
                <a:gd name="connsiteX5049" fmla="*/ 6144092 w 8566434"/>
                <a:gd name="connsiteY5049" fmla="*/ 944812 h 2765205"/>
                <a:gd name="connsiteX5050" fmla="*/ 6143541 w 8566434"/>
                <a:gd name="connsiteY5050" fmla="*/ 973829 h 2765205"/>
                <a:gd name="connsiteX5051" fmla="*/ 6147539 w 8566434"/>
                <a:gd name="connsiteY5051" fmla="*/ 958459 h 2765205"/>
                <a:gd name="connsiteX5052" fmla="*/ 6143541 w 8566434"/>
                <a:gd name="connsiteY5052" fmla="*/ 973829 h 2765205"/>
                <a:gd name="connsiteX5053" fmla="*/ 6267399 w 8566434"/>
                <a:gd name="connsiteY5053" fmla="*/ 1024213 h 2765205"/>
                <a:gd name="connsiteX5054" fmla="*/ 6282837 w 8566434"/>
                <a:gd name="connsiteY5054" fmla="*/ 990026 h 2765205"/>
                <a:gd name="connsiteX5055" fmla="*/ 6281114 w 8566434"/>
                <a:gd name="connsiteY5055" fmla="*/ 1038480 h 2765205"/>
                <a:gd name="connsiteX5056" fmla="*/ 6267399 w 8566434"/>
                <a:gd name="connsiteY5056" fmla="*/ 1024213 h 2765205"/>
                <a:gd name="connsiteX5057" fmla="*/ 6149951 w 8566434"/>
                <a:gd name="connsiteY5057" fmla="*/ 1043650 h 2765205"/>
                <a:gd name="connsiteX5058" fmla="*/ 6167044 w 8566434"/>
                <a:gd name="connsiteY5058" fmla="*/ 1019802 h 2765205"/>
                <a:gd name="connsiteX5059" fmla="*/ 6149951 w 8566434"/>
                <a:gd name="connsiteY5059" fmla="*/ 1043650 h 2765205"/>
                <a:gd name="connsiteX5060" fmla="*/ 6162013 w 8566434"/>
                <a:gd name="connsiteY5060" fmla="*/ 1058055 h 2765205"/>
                <a:gd name="connsiteX5061" fmla="*/ 6162013 w 8566434"/>
                <a:gd name="connsiteY5061" fmla="*/ 1058055 h 2765205"/>
                <a:gd name="connsiteX5062" fmla="*/ 6136304 w 8566434"/>
                <a:gd name="connsiteY5062" fmla="*/ 1232158 h 2765205"/>
                <a:gd name="connsiteX5063" fmla="*/ 6129480 w 8566434"/>
                <a:gd name="connsiteY5063" fmla="*/ 1223198 h 2765205"/>
                <a:gd name="connsiteX5064" fmla="*/ 6136304 w 8566434"/>
                <a:gd name="connsiteY5064" fmla="*/ 1232158 h 2765205"/>
                <a:gd name="connsiteX5065" fmla="*/ 6300551 w 8566434"/>
                <a:gd name="connsiteY5065" fmla="*/ 1435831 h 2765205"/>
                <a:gd name="connsiteX5066" fmla="*/ 6300551 w 8566434"/>
                <a:gd name="connsiteY5066" fmla="*/ 1435831 h 2765205"/>
                <a:gd name="connsiteX5067" fmla="*/ 6185378 w 8566434"/>
                <a:gd name="connsiteY5067" fmla="*/ 1479184 h 2765205"/>
                <a:gd name="connsiteX5068" fmla="*/ 6200404 w 8566434"/>
                <a:gd name="connsiteY5068" fmla="*/ 1443550 h 2765205"/>
                <a:gd name="connsiteX5069" fmla="*/ 6195854 w 8566434"/>
                <a:gd name="connsiteY5069" fmla="*/ 1465537 h 2765205"/>
                <a:gd name="connsiteX5070" fmla="*/ 6207503 w 8566434"/>
                <a:gd name="connsiteY5070" fmla="*/ 1464641 h 2765205"/>
                <a:gd name="connsiteX5071" fmla="*/ 6201782 w 8566434"/>
                <a:gd name="connsiteY5071" fmla="*/ 1476565 h 2765205"/>
                <a:gd name="connsiteX5072" fmla="*/ 6185378 w 8566434"/>
                <a:gd name="connsiteY5072" fmla="*/ 1479184 h 2765205"/>
                <a:gd name="connsiteX5073" fmla="*/ 6122519 w 8566434"/>
                <a:gd name="connsiteY5073" fmla="*/ 1477737 h 2765205"/>
                <a:gd name="connsiteX5074" fmla="*/ 6122519 w 8566434"/>
                <a:gd name="connsiteY5074" fmla="*/ 1477737 h 2765205"/>
                <a:gd name="connsiteX5075" fmla="*/ 6253062 w 8566434"/>
                <a:gd name="connsiteY5075" fmla="*/ 1492556 h 2765205"/>
                <a:gd name="connsiteX5076" fmla="*/ 6253062 w 8566434"/>
                <a:gd name="connsiteY5076" fmla="*/ 1492556 h 2765205"/>
                <a:gd name="connsiteX5077" fmla="*/ 6233556 w 8566434"/>
                <a:gd name="connsiteY5077" fmla="*/ 1532739 h 2765205"/>
                <a:gd name="connsiteX5078" fmla="*/ 6231420 w 8566434"/>
                <a:gd name="connsiteY5078" fmla="*/ 1507443 h 2765205"/>
                <a:gd name="connsiteX5079" fmla="*/ 6249616 w 8566434"/>
                <a:gd name="connsiteY5079" fmla="*/ 1517369 h 2765205"/>
                <a:gd name="connsiteX5080" fmla="*/ 6247686 w 8566434"/>
                <a:gd name="connsiteY5080" fmla="*/ 1530326 h 2765205"/>
                <a:gd name="connsiteX5081" fmla="*/ 6233556 w 8566434"/>
                <a:gd name="connsiteY5081" fmla="*/ 1532739 h 2765205"/>
                <a:gd name="connsiteX5082" fmla="*/ 6315577 w 8566434"/>
                <a:gd name="connsiteY5082" fmla="*/ 1539356 h 2765205"/>
                <a:gd name="connsiteX5083" fmla="*/ 6314681 w 8566434"/>
                <a:gd name="connsiteY5083" fmla="*/ 1518127 h 2765205"/>
                <a:gd name="connsiteX5084" fmla="*/ 6315577 w 8566434"/>
                <a:gd name="connsiteY5084" fmla="*/ 1539356 h 2765205"/>
                <a:gd name="connsiteX5085" fmla="*/ 6136166 w 8566434"/>
                <a:gd name="connsiteY5085" fmla="*/ 1560584 h 2765205"/>
                <a:gd name="connsiteX5086" fmla="*/ 6136166 w 8566434"/>
                <a:gd name="connsiteY5086" fmla="*/ 1560584 h 2765205"/>
                <a:gd name="connsiteX5087" fmla="*/ 6306961 w 8566434"/>
                <a:gd name="connsiteY5087" fmla="*/ 1568028 h 2765205"/>
                <a:gd name="connsiteX5088" fmla="*/ 6318196 w 8566434"/>
                <a:gd name="connsiteY5088" fmla="*/ 1550935 h 2765205"/>
                <a:gd name="connsiteX5089" fmla="*/ 6306961 w 8566434"/>
                <a:gd name="connsiteY5089" fmla="*/ 1568028 h 2765205"/>
                <a:gd name="connsiteX5090" fmla="*/ 6280976 w 8566434"/>
                <a:gd name="connsiteY5090" fmla="*/ 1588016 h 2765205"/>
                <a:gd name="connsiteX5091" fmla="*/ 6280976 w 8566434"/>
                <a:gd name="connsiteY5091" fmla="*/ 1588016 h 2765205"/>
                <a:gd name="connsiteX5092" fmla="*/ 6246101 w 8566434"/>
                <a:gd name="connsiteY5092" fmla="*/ 1587878 h 2765205"/>
                <a:gd name="connsiteX5093" fmla="*/ 6246101 w 8566434"/>
                <a:gd name="connsiteY5093" fmla="*/ 1587878 h 2765205"/>
                <a:gd name="connsiteX5094" fmla="*/ 6095363 w 8566434"/>
                <a:gd name="connsiteY5094" fmla="*/ 1616069 h 2765205"/>
                <a:gd name="connsiteX5095" fmla="*/ 6095363 w 8566434"/>
                <a:gd name="connsiteY5095" fmla="*/ 1616069 h 2765205"/>
                <a:gd name="connsiteX5096" fmla="*/ 6114731 w 8566434"/>
                <a:gd name="connsiteY5096" fmla="*/ 1718904 h 2765205"/>
                <a:gd name="connsiteX5097" fmla="*/ 6114731 w 8566434"/>
                <a:gd name="connsiteY5097" fmla="*/ 1718904 h 2765205"/>
                <a:gd name="connsiteX5098" fmla="*/ 6128791 w 8566434"/>
                <a:gd name="connsiteY5098" fmla="*/ 1727037 h 2765205"/>
                <a:gd name="connsiteX5099" fmla="*/ 6128791 w 8566434"/>
                <a:gd name="connsiteY5099" fmla="*/ 1727037 h 2765205"/>
                <a:gd name="connsiteX5100" fmla="*/ 6115213 w 8566434"/>
                <a:gd name="connsiteY5100" fmla="*/ 1823118 h 2765205"/>
                <a:gd name="connsiteX5101" fmla="*/ 6115213 w 8566434"/>
                <a:gd name="connsiteY5101" fmla="*/ 1823118 h 2765205"/>
                <a:gd name="connsiteX5102" fmla="*/ 6128378 w 8566434"/>
                <a:gd name="connsiteY5102" fmla="*/ 1849999 h 2765205"/>
                <a:gd name="connsiteX5103" fmla="*/ 6131341 w 8566434"/>
                <a:gd name="connsiteY5103" fmla="*/ 1831182 h 2765205"/>
                <a:gd name="connsiteX5104" fmla="*/ 6148986 w 8566434"/>
                <a:gd name="connsiteY5104" fmla="*/ 1848138 h 2765205"/>
                <a:gd name="connsiteX5105" fmla="*/ 6128378 w 8566434"/>
                <a:gd name="connsiteY5105" fmla="*/ 1849999 h 2765205"/>
                <a:gd name="connsiteX5106" fmla="*/ 6114455 w 8566434"/>
                <a:gd name="connsiteY5106" fmla="*/ 1848965 h 2765205"/>
                <a:gd name="connsiteX5107" fmla="*/ 6114455 w 8566434"/>
                <a:gd name="connsiteY5107" fmla="*/ 1848965 h 2765205"/>
                <a:gd name="connsiteX5108" fmla="*/ 6131686 w 8566434"/>
                <a:gd name="connsiteY5108" fmla="*/ 1941186 h 2765205"/>
                <a:gd name="connsiteX5109" fmla="*/ 6130583 w 8566434"/>
                <a:gd name="connsiteY5109" fmla="*/ 1908447 h 2765205"/>
                <a:gd name="connsiteX5110" fmla="*/ 6148986 w 8566434"/>
                <a:gd name="connsiteY5110" fmla="*/ 1933466 h 2765205"/>
                <a:gd name="connsiteX5111" fmla="*/ 6131686 w 8566434"/>
                <a:gd name="connsiteY5111" fmla="*/ 1941186 h 2765205"/>
                <a:gd name="connsiteX5112" fmla="*/ 6170284 w 8566434"/>
                <a:gd name="connsiteY5112" fmla="*/ 1974063 h 2765205"/>
                <a:gd name="connsiteX5113" fmla="*/ 6170284 w 8566434"/>
                <a:gd name="connsiteY5113" fmla="*/ 1974063 h 2765205"/>
                <a:gd name="connsiteX5114" fmla="*/ 6125551 w 8566434"/>
                <a:gd name="connsiteY5114" fmla="*/ 1959865 h 2765205"/>
                <a:gd name="connsiteX5115" fmla="*/ 6155878 w 8566434"/>
                <a:gd name="connsiteY5115" fmla="*/ 1940152 h 2765205"/>
                <a:gd name="connsiteX5116" fmla="*/ 6148641 w 8566434"/>
                <a:gd name="connsiteY5116" fmla="*/ 1969445 h 2765205"/>
                <a:gd name="connsiteX5117" fmla="*/ 6165252 w 8566434"/>
                <a:gd name="connsiteY5117" fmla="*/ 1961312 h 2765205"/>
                <a:gd name="connsiteX5118" fmla="*/ 6155810 w 8566434"/>
                <a:gd name="connsiteY5118" fmla="*/ 1983850 h 2765205"/>
                <a:gd name="connsiteX5119" fmla="*/ 6154155 w 8566434"/>
                <a:gd name="connsiteY5119" fmla="*/ 1970548 h 2765205"/>
                <a:gd name="connsiteX5120" fmla="*/ 6122657 w 8566434"/>
                <a:gd name="connsiteY5120" fmla="*/ 1990054 h 2765205"/>
                <a:gd name="connsiteX5121" fmla="*/ 6125551 w 8566434"/>
                <a:gd name="connsiteY5121" fmla="*/ 1959865 h 2765205"/>
                <a:gd name="connsiteX5122" fmla="*/ 6080199 w 8566434"/>
                <a:gd name="connsiteY5122" fmla="*/ 2001220 h 2765205"/>
                <a:gd name="connsiteX5123" fmla="*/ 6080199 w 8566434"/>
                <a:gd name="connsiteY5123" fmla="*/ 2001220 h 2765205"/>
                <a:gd name="connsiteX5124" fmla="*/ 6170215 w 8566434"/>
                <a:gd name="connsiteY5124" fmla="*/ 2008801 h 2765205"/>
                <a:gd name="connsiteX5125" fmla="*/ 6181518 w 8566434"/>
                <a:gd name="connsiteY5125" fmla="*/ 1997635 h 2765205"/>
                <a:gd name="connsiteX5126" fmla="*/ 6170215 w 8566434"/>
                <a:gd name="connsiteY5126" fmla="*/ 2008801 h 2765205"/>
                <a:gd name="connsiteX5127" fmla="*/ 6211983 w 8566434"/>
                <a:gd name="connsiteY5127" fmla="*/ 2015556 h 2765205"/>
                <a:gd name="connsiteX5128" fmla="*/ 6220805 w 8566434"/>
                <a:gd name="connsiteY5128" fmla="*/ 1993913 h 2765205"/>
                <a:gd name="connsiteX5129" fmla="*/ 6232729 w 8566434"/>
                <a:gd name="connsiteY5129" fmla="*/ 1972685 h 2765205"/>
                <a:gd name="connsiteX5130" fmla="*/ 6249823 w 8566434"/>
                <a:gd name="connsiteY5130" fmla="*/ 1972547 h 2765205"/>
                <a:gd name="connsiteX5131" fmla="*/ 6250719 w 8566434"/>
                <a:gd name="connsiteY5131" fmla="*/ 1998876 h 2765205"/>
                <a:gd name="connsiteX5132" fmla="*/ 6211983 w 8566434"/>
                <a:gd name="connsiteY5132" fmla="*/ 2015556 h 2765205"/>
                <a:gd name="connsiteX5133" fmla="*/ 6231558 w 8566434"/>
                <a:gd name="connsiteY5133" fmla="*/ 2026997 h 2765205"/>
                <a:gd name="connsiteX5134" fmla="*/ 6241827 w 8566434"/>
                <a:gd name="connsiteY5134" fmla="*/ 2016590 h 2765205"/>
                <a:gd name="connsiteX5135" fmla="*/ 6231558 w 8566434"/>
                <a:gd name="connsiteY5135" fmla="*/ 2026997 h 2765205"/>
                <a:gd name="connsiteX5136" fmla="*/ 6212948 w 8566434"/>
                <a:gd name="connsiteY5136" fmla="*/ 2036647 h 2765205"/>
                <a:gd name="connsiteX5137" fmla="*/ 6222046 w 8566434"/>
                <a:gd name="connsiteY5137" fmla="*/ 2027756 h 2765205"/>
                <a:gd name="connsiteX5138" fmla="*/ 6212948 w 8566434"/>
                <a:gd name="connsiteY5138" fmla="*/ 2036647 h 2765205"/>
                <a:gd name="connsiteX5139" fmla="*/ 6178486 w 8566434"/>
                <a:gd name="connsiteY5139" fmla="*/ 2043953 h 2765205"/>
                <a:gd name="connsiteX5140" fmla="*/ 6189100 w 8566434"/>
                <a:gd name="connsiteY5140" fmla="*/ 2032580 h 2765205"/>
                <a:gd name="connsiteX5141" fmla="*/ 6178486 w 8566434"/>
                <a:gd name="connsiteY5141" fmla="*/ 2043953 h 2765205"/>
                <a:gd name="connsiteX5142" fmla="*/ 6261815 w 8566434"/>
                <a:gd name="connsiteY5142" fmla="*/ 2043608 h 2765205"/>
                <a:gd name="connsiteX5143" fmla="*/ 6223218 w 8566434"/>
                <a:gd name="connsiteY5143" fmla="*/ 2050018 h 2765205"/>
                <a:gd name="connsiteX5144" fmla="*/ 6243757 w 8566434"/>
                <a:gd name="connsiteY5144" fmla="*/ 2039679 h 2765205"/>
                <a:gd name="connsiteX5145" fmla="*/ 6263745 w 8566434"/>
                <a:gd name="connsiteY5145" fmla="*/ 2013419 h 2765205"/>
                <a:gd name="connsiteX5146" fmla="*/ 6260437 w 8566434"/>
                <a:gd name="connsiteY5146" fmla="*/ 2010938 h 2765205"/>
                <a:gd name="connsiteX5147" fmla="*/ 6277393 w 8566434"/>
                <a:gd name="connsiteY5147" fmla="*/ 2004666 h 2765205"/>
                <a:gd name="connsiteX5148" fmla="*/ 6282080 w 8566434"/>
                <a:gd name="connsiteY5148" fmla="*/ 2022310 h 2765205"/>
                <a:gd name="connsiteX5149" fmla="*/ 6293865 w 8566434"/>
                <a:gd name="connsiteY5149" fmla="*/ 2055946 h 2765205"/>
                <a:gd name="connsiteX5150" fmla="*/ 6261815 w 8566434"/>
                <a:gd name="connsiteY5150" fmla="*/ 2043608 h 2765205"/>
                <a:gd name="connsiteX5151" fmla="*/ 6333497 w 8566434"/>
                <a:gd name="connsiteY5151" fmla="*/ 2062907 h 2765205"/>
                <a:gd name="connsiteX5152" fmla="*/ 6317644 w 8566434"/>
                <a:gd name="connsiteY5152" fmla="*/ 2053809 h 2765205"/>
                <a:gd name="connsiteX5153" fmla="*/ 6324744 w 8566434"/>
                <a:gd name="connsiteY5153" fmla="*/ 2021552 h 2765205"/>
                <a:gd name="connsiteX5154" fmla="*/ 6326536 w 8566434"/>
                <a:gd name="connsiteY5154" fmla="*/ 2051603 h 2765205"/>
                <a:gd name="connsiteX5155" fmla="*/ 6333497 w 8566434"/>
                <a:gd name="connsiteY5155" fmla="*/ 2062907 h 2765205"/>
                <a:gd name="connsiteX5156" fmla="*/ 6211363 w 8566434"/>
                <a:gd name="connsiteY5156" fmla="*/ 2078415 h 2765205"/>
                <a:gd name="connsiteX5157" fmla="*/ 6211363 w 8566434"/>
                <a:gd name="connsiteY5157" fmla="*/ 2078415 h 2765205"/>
                <a:gd name="connsiteX5158" fmla="*/ 6193925 w 8566434"/>
                <a:gd name="connsiteY5158" fmla="*/ 2085997 h 2765205"/>
                <a:gd name="connsiteX5159" fmla="*/ 6201989 w 8566434"/>
                <a:gd name="connsiteY5159" fmla="*/ 2039404 h 2765205"/>
                <a:gd name="connsiteX5160" fmla="*/ 6193925 w 8566434"/>
                <a:gd name="connsiteY5160" fmla="*/ 2085997 h 2765205"/>
                <a:gd name="connsiteX5161" fmla="*/ 6122519 w 8566434"/>
                <a:gd name="connsiteY5161" fmla="*/ 2091579 h 2765205"/>
                <a:gd name="connsiteX5162" fmla="*/ 6122657 w 8566434"/>
                <a:gd name="connsiteY5162" fmla="*/ 2073590 h 2765205"/>
                <a:gd name="connsiteX5163" fmla="*/ 6122519 w 8566434"/>
                <a:gd name="connsiteY5163" fmla="*/ 2091579 h 2765205"/>
                <a:gd name="connsiteX5164" fmla="*/ 6267674 w 8566434"/>
                <a:gd name="connsiteY5164" fmla="*/ 2107019 h 2765205"/>
                <a:gd name="connsiteX5165" fmla="*/ 6267674 w 8566434"/>
                <a:gd name="connsiteY5165" fmla="*/ 2107019 h 2765205"/>
                <a:gd name="connsiteX5166" fmla="*/ 6143679 w 8566434"/>
                <a:gd name="connsiteY5166" fmla="*/ 2123905 h 2765205"/>
                <a:gd name="connsiteX5167" fmla="*/ 6346869 w 8566434"/>
                <a:gd name="connsiteY5167" fmla="*/ 2135554 h 2765205"/>
                <a:gd name="connsiteX5168" fmla="*/ 6357827 w 8566434"/>
                <a:gd name="connsiteY5168" fmla="*/ 1946631 h 2765205"/>
                <a:gd name="connsiteX5169" fmla="*/ 6223976 w 8566434"/>
                <a:gd name="connsiteY5169" fmla="*/ 1938222 h 2765205"/>
                <a:gd name="connsiteX5170" fmla="*/ 6231144 w 8566434"/>
                <a:gd name="connsiteY5170" fmla="*/ 1956143 h 2765205"/>
                <a:gd name="connsiteX5171" fmla="*/ 6213568 w 8566434"/>
                <a:gd name="connsiteY5171" fmla="*/ 1948492 h 2765205"/>
                <a:gd name="connsiteX5172" fmla="*/ 6200059 w 8566434"/>
                <a:gd name="connsiteY5172" fmla="*/ 1961864 h 2765205"/>
                <a:gd name="connsiteX5173" fmla="*/ 6201162 w 8566434"/>
                <a:gd name="connsiteY5173" fmla="*/ 1936913 h 2765205"/>
                <a:gd name="connsiteX5174" fmla="*/ 6164632 w 8566434"/>
                <a:gd name="connsiteY5174" fmla="*/ 1935534 h 2765205"/>
                <a:gd name="connsiteX5175" fmla="*/ 6190961 w 8566434"/>
                <a:gd name="connsiteY5175" fmla="*/ 1595874 h 2765205"/>
                <a:gd name="connsiteX5176" fmla="*/ 6209571 w 8566434"/>
                <a:gd name="connsiteY5176" fmla="*/ 1589740 h 2765205"/>
                <a:gd name="connsiteX5177" fmla="*/ 6220254 w 8566434"/>
                <a:gd name="connsiteY5177" fmla="*/ 1576713 h 2765205"/>
                <a:gd name="connsiteX5178" fmla="*/ 6216946 w 8566434"/>
                <a:gd name="connsiteY5178" fmla="*/ 1595322 h 2765205"/>
                <a:gd name="connsiteX5179" fmla="*/ 6329500 w 8566434"/>
                <a:gd name="connsiteY5179" fmla="*/ 1602422 h 2765205"/>
                <a:gd name="connsiteX5180" fmla="*/ 6326881 w 8566434"/>
                <a:gd name="connsiteY5180" fmla="*/ 1575955 h 2765205"/>
                <a:gd name="connsiteX5181" fmla="*/ 6333497 w 8566434"/>
                <a:gd name="connsiteY5181" fmla="*/ 1506892 h 2765205"/>
                <a:gd name="connsiteX5182" fmla="*/ 6319919 w 8566434"/>
                <a:gd name="connsiteY5182" fmla="*/ 1495933 h 2765205"/>
                <a:gd name="connsiteX5183" fmla="*/ 6334876 w 8566434"/>
                <a:gd name="connsiteY5183" fmla="*/ 1505927 h 2765205"/>
                <a:gd name="connsiteX5184" fmla="*/ 6339632 w 8566434"/>
                <a:gd name="connsiteY5184" fmla="*/ 1414740 h 2765205"/>
                <a:gd name="connsiteX5185" fmla="*/ 6203919 w 8566434"/>
                <a:gd name="connsiteY5185" fmla="*/ 1404815 h 2765205"/>
                <a:gd name="connsiteX5186" fmla="*/ 6223562 w 8566434"/>
                <a:gd name="connsiteY5186" fmla="*/ 1065912 h 2765205"/>
                <a:gd name="connsiteX5187" fmla="*/ 6413036 w 8566434"/>
                <a:gd name="connsiteY5187" fmla="*/ 1076458 h 2765205"/>
                <a:gd name="connsiteX5188" fmla="*/ 6416413 w 8566434"/>
                <a:gd name="connsiteY5188" fmla="*/ 1015390 h 2765205"/>
                <a:gd name="connsiteX5189" fmla="*/ 6405317 w 8566434"/>
                <a:gd name="connsiteY5189" fmla="*/ 1015942 h 2765205"/>
                <a:gd name="connsiteX5190" fmla="*/ 6405317 w 8566434"/>
                <a:gd name="connsiteY5190" fmla="*/ 986718 h 2765205"/>
                <a:gd name="connsiteX5191" fmla="*/ 6413381 w 8566434"/>
                <a:gd name="connsiteY5191" fmla="*/ 1001192 h 2765205"/>
                <a:gd name="connsiteX5192" fmla="*/ 6418964 w 8566434"/>
                <a:gd name="connsiteY5192" fmla="*/ 1001468 h 2765205"/>
                <a:gd name="connsiteX5193" fmla="*/ 6415035 w 8566434"/>
                <a:gd name="connsiteY5193" fmla="*/ 969556 h 2765205"/>
                <a:gd name="connsiteX5194" fmla="*/ 6421101 w 8566434"/>
                <a:gd name="connsiteY5194" fmla="*/ 942675 h 2765205"/>
                <a:gd name="connsiteX5195" fmla="*/ 6396288 w 8566434"/>
                <a:gd name="connsiteY5195" fmla="*/ 904008 h 2765205"/>
                <a:gd name="connsiteX5196" fmla="*/ 6394151 w 8566434"/>
                <a:gd name="connsiteY5196" fmla="*/ 907179 h 2765205"/>
                <a:gd name="connsiteX5197" fmla="*/ 6384708 w 8566434"/>
                <a:gd name="connsiteY5197" fmla="*/ 921791 h 2765205"/>
                <a:gd name="connsiteX5198" fmla="*/ 6360860 w 8566434"/>
                <a:gd name="connsiteY5198" fmla="*/ 931096 h 2765205"/>
                <a:gd name="connsiteX5199" fmla="*/ 6366926 w 8566434"/>
                <a:gd name="connsiteY5199" fmla="*/ 914140 h 2765205"/>
                <a:gd name="connsiteX5200" fmla="*/ 6378849 w 8566434"/>
                <a:gd name="connsiteY5200" fmla="*/ 895048 h 2765205"/>
                <a:gd name="connsiteX5201" fmla="*/ 6383674 w 8566434"/>
                <a:gd name="connsiteY5201" fmla="*/ 889741 h 2765205"/>
                <a:gd name="connsiteX5202" fmla="*/ 6391945 w 8566434"/>
                <a:gd name="connsiteY5202" fmla="*/ 887191 h 2765205"/>
                <a:gd name="connsiteX5203" fmla="*/ 6396218 w 8566434"/>
                <a:gd name="connsiteY5203" fmla="*/ 885950 h 2765205"/>
                <a:gd name="connsiteX5204" fmla="*/ 6131341 w 8566434"/>
                <a:gd name="connsiteY5204" fmla="*/ 869132 h 2765205"/>
                <a:gd name="connsiteX5205" fmla="*/ 6128033 w 8566434"/>
                <a:gd name="connsiteY5205" fmla="*/ 923997 h 2765205"/>
                <a:gd name="connsiteX5206" fmla="*/ 6140439 w 8566434"/>
                <a:gd name="connsiteY5206" fmla="*/ 916966 h 2765205"/>
                <a:gd name="connsiteX5207" fmla="*/ 6129618 w 8566434"/>
                <a:gd name="connsiteY5207" fmla="*/ 953496 h 2765205"/>
                <a:gd name="connsiteX5208" fmla="*/ 6126723 w 8566434"/>
                <a:gd name="connsiteY5208" fmla="*/ 1017872 h 2765205"/>
                <a:gd name="connsiteX5209" fmla="*/ 6140577 w 8566434"/>
                <a:gd name="connsiteY5209" fmla="*/ 1039032 h 2765205"/>
                <a:gd name="connsiteX5210" fmla="*/ 6140922 w 8566434"/>
                <a:gd name="connsiteY5210" fmla="*/ 1052403 h 2765205"/>
                <a:gd name="connsiteX5211" fmla="*/ 6141129 w 8566434"/>
                <a:gd name="connsiteY5211" fmla="*/ 1065361 h 2765205"/>
                <a:gd name="connsiteX5212" fmla="*/ 6153535 w 8566434"/>
                <a:gd name="connsiteY5212" fmla="*/ 1052196 h 2765205"/>
                <a:gd name="connsiteX5213" fmla="*/ 6150847 w 8566434"/>
                <a:gd name="connsiteY5213" fmla="*/ 1075975 h 2765205"/>
                <a:gd name="connsiteX5214" fmla="*/ 6142645 w 8566434"/>
                <a:gd name="connsiteY5214" fmla="*/ 1077147 h 2765205"/>
                <a:gd name="connsiteX5215" fmla="*/ 6145884 w 8566434"/>
                <a:gd name="connsiteY5215" fmla="*/ 1104855 h 2765205"/>
                <a:gd name="connsiteX5216" fmla="*/ 6161186 w 8566434"/>
                <a:gd name="connsiteY5216" fmla="*/ 1094723 h 2765205"/>
                <a:gd name="connsiteX5217" fmla="*/ 6158084 w 8566434"/>
                <a:gd name="connsiteY5217" fmla="*/ 1171436 h 2765205"/>
                <a:gd name="connsiteX5218" fmla="*/ 6151053 w 8566434"/>
                <a:gd name="connsiteY5218" fmla="*/ 1148277 h 2765205"/>
                <a:gd name="connsiteX5219" fmla="*/ 6140715 w 8566434"/>
                <a:gd name="connsiteY5219" fmla="*/ 1136560 h 2765205"/>
                <a:gd name="connsiteX5220" fmla="*/ 6156430 w 8566434"/>
                <a:gd name="connsiteY5220" fmla="*/ 1148898 h 2765205"/>
                <a:gd name="connsiteX5221" fmla="*/ 6144024 w 8566434"/>
                <a:gd name="connsiteY5221" fmla="*/ 1111196 h 2765205"/>
                <a:gd name="connsiteX5222" fmla="*/ 6132307 w 8566434"/>
                <a:gd name="connsiteY5222" fmla="*/ 1093758 h 2765205"/>
                <a:gd name="connsiteX5223" fmla="*/ 6138372 w 8566434"/>
                <a:gd name="connsiteY5223" fmla="*/ 1066533 h 2765205"/>
                <a:gd name="connsiteX5224" fmla="*/ 6120245 w 8566434"/>
                <a:gd name="connsiteY5224" fmla="*/ 1058400 h 2765205"/>
                <a:gd name="connsiteX5225" fmla="*/ 6105977 w 8566434"/>
                <a:gd name="connsiteY5225" fmla="*/ 1273444 h 2765205"/>
                <a:gd name="connsiteX5226" fmla="*/ 6122105 w 8566434"/>
                <a:gd name="connsiteY5226" fmla="*/ 1348641 h 2765205"/>
                <a:gd name="connsiteX5227" fmla="*/ 6101359 w 8566434"/>
                <a:gd name="connsiteY5227" fmla="*/ 1378485 h 2765205"/>
                <a:gd name="connsiteX5228" fmla="*/ 6099223 w 8566434"/>
                <a:gd name="connsiteY5228" fmla="*/ 1403160 h 2765205"/>
                <a:gd name="connsiteX5229" fmla="*/ 6109906 w 8566434"/>
                <a:gd name="connsiteY5229" fmla="*/ 1398474 h 2765205"/>
                <a:gd name="connsiteX5230" fmla="*/ 6114799 w 8566434"/>
                <a:gd name="connsiteY5230" fmla="*/ 1383448 h 2765205"/>
                <a:gd name="connsiteX5231" fmla="*/ 6118797 w 8566434"/>
                <a:gd name="connsiteY5231" fmla="*/ 1395992 h 2765205"/>
                <a:gd name="connsiteX5232" fmla="*/ 6098533 w 8566434"/>
                <a:gd name="connsiteY5232" fmla="*/ 1410949 h 2765205"/>
                <a:gd name="connsiteX5233" fmla="*/ 6087919 w 8566434"/>
                <a:gd name="connsiteY5233" fmla="*/ 1552176 h 2765205"/>
                <a:gd name="connsiteX5234" fmla="*/ 6100746 w 8566434"/>
                <a:gd name="connsiteY5234" fmla="*/ 1566718 h 2765205"/>
                <a:gd name="connsiteX5235" fmla="*/ 6087781 w 8566434"/>
                <a:gd name="connsiteY5235" fmla="*/ 1565547 h 2765205"/>
                <a:gd name="connsiteX5236" fmla="*/ 6086747 w 8566434"/>
                <a:gd name="connsiteY5236" fmla="*/ 1585742 h 2765205"/>
                <a:gd name="connsiteX5237" fmla="*/ 6100394 w 8566434"/>
                <a:gd name="connsiteY5237" fmla="*/ 1586569 h 2765205"/>
                <a:gd name="connsiteX5238" fmla="*/ 6086540 w 8566434"/>
                <a:gd name="connsiteY5238" fmla="*/ 1587258 h 2765205"/>
                <a:gd name="connsiteX5239" fmla="*/ 6083163 w 8566434"/>
                <a:gd name="connsiteY5239" fmla="*/ 1633300 h 2765205"/>
                <a:gd name="connsiteX5240" fmla="*/ 6101497 w 8566434"/>
                <a:gd name="connsiteY5240" fmla="*/ 1641364 h 2765205"/>
                <a:gd name="connsiteX5241" fmla="*/ 6081026 w 8566434"/>
                <a:gd name="connsiteY5241" fmla="*/ 1640881 h 2765205"/>
                <a:gd name="connsiteX5242" fmla="*/ 6098602 w 8566434"/>
                <a:gd name="connsiteY5242" fmla="*/ 1684373 h 2765205"/>
                <a:gd name="connsiteX5243" fmla="*/ 6080544 w 8566434"/>
                <a:gd name="connsiteY5243" fmla="*/ 1684511 h 2765205"/>
                <a:gd name="connsiteX5244" fmla="*/ 6063037 w 8566434"/>
                <a:gd name="connsiteY5244" fmla="*/ 1958348 h 2765205"/>
                <a:gd name="connsiteX5245" fmla="*/ 6079165 w 8566434"/>
                <a:gd name="connsiteY5245" fmla="*/ 1958142 h 2765205"/>
                <a:gd name="connsiteX5246" fmla="*/ 6063037 w 8566434"/>
                <a:gd name="connsiteY5246" fmla="*/ 1960416 h 2765205"/>
                <a:gd name="connsiteX5247" fmla="*/ 6054222 w 8566434"/>
                <a:gd name="connsiteY5247" fmla="*/ 2117426 h 2765205"/>
                <a:gd name="connsiteX5248" fmla="*/ 6132858 w 8566434"/>
                <a:gd name="connsiteY5248" fmla="*/ 2121838 h 2765205"/>
                <a:gd name="connsiteX5249" fmla="*/ 6113490 w 8566434"/>
                <a:gd name="connsiteY5249" fmla="*/ 2102470 h 2765205"/>
                <a:gd name="connsiteX5250" fmla="*/ 6129136 w 8566434"/>
                <a:gd name="connsiteY5250" fmla="*/ 2102401 h 2765205"/>
                <a:gd name="connsiteX5251" fmla="*/ 6143679 w 8566434"/>
                <a:gd name="connsiteY5251" fmla="*/ 2123905 h 2765205"/>
                <a:gd name="connsiteX5252" fmla="*/ 6535171 w 8566434"/>
                <a:gd name="connsiteY5252" fmla="*/ 920137 h 2765205"/>
                <a:gd name="connsiteX5253" fmla="*/ 6541098 w 8566434"/>
                <a:gd name="connsiteY5253" fmla="*/ 906076 h 2765205"/>
                <a:gd name="connsiteX5254" fmla="*/ 6535171 w 8566434"/>
                <a:gd name="connsiteY5254" fmla="*/ 920137 h 2765205"/>
                <a:gd name="connsiteX5255" fmla="*/ 6770617 w 8566434"/>
                <a:gd name="connsiteY5255" fmla="*/ 933646 h 2765205"/>
                <a:gd name="connsiteX5256" fmla="*/ 6770617 w 8566434"/>
                <a:gd name="connsiteY5256" fmla="*/ 933646 h 2765205"/>
                <a:gd name="connsiteX5257" fmla="*/ 6745184 w 8566434"/>
                <a:gd name="connsiteY5257" fmla="*/ 968384 h 2765205"/>
                <a:gd name="connsiteX5258" fmla="*/ 6742496 w 8566434"/>
                <a:gd name="connsiteY5258" fmla="*/ 929235 h 2765205"/>
                <a:gd name="connsiteX5259" fmla="*/ 6762002 w 8566434"/>
                <a:gd name="connsiteY5259" fmla="*/ 931785 h 2765205"/>
                <a:gd name="connsiteX5260" fmla="*/ 6763518 w 8566434"/>
                <a:gd name="connsiteY5260" fmla="*/ 965972 h 2765205"/>
                <a:gd name="connsiteX5261" fmla="*/ 6786539 w 8566434"/>
                <a:gd name="connsiteY5261" fmla="*/ 950326 h 2765205"/>
                <a:gd name="connsiteX5262" fmla="*/ 6782334 w 8566434"/>
                <a:gd name="connsiteY5262" fmla="*/ 967350 h 2765205"/>
                <a:gd name="connsiteX5263" fmla="*/ 6745184 w 8566434"/>
                <a:gd name="connsiteY5263" fmla="*/ 968384 h 2765205"/>
                <a:gd name="connsiteX5264" fmla="*/ 6521248 w 8566434"/>
                <a:gd name="connsiteY5264" fmla="*/ 973967 h 2765205"/>
                <a:gd name="connsiteX5265" fmla="*/ 6526555 w 8566434"/>
                <a:gd name="connsiteY5265" fmla="*/ 959355 h 2765205"/>
                <a:gd name="connsiteX5266" fmla="*/ 6521248 w 8566434"/>
                <a:gd name="connsiteY5266" fmla="*/ 973967 h 2765205"/>
                <a:gd name="connsiteX5267" fmla="*/ 6521937 w 8566434"/>
                <a:gd name="connsiteY5267" fmla="*/ 996161 h 2765205"/>
                <a:gd name="connsiteX5268" fmla="*/ 6521937 w 8566434"/>
                <a:gd name="connsiteY5268" fmla="*/ 996161 h 2765205"/>
                <a:gd name="connsiteX5269" fmla="*/ 6533999 w 8566434"/>
                <a:gd name="connsiteY5269" fmla="*/ 1002088 h 2765205"/>
                <a:gd name="connsiteX5270" fmla="*/ 6533999 w 8566434"/>
                <a:gd name="connsiteY5270" fmla="*/ 1002088 h 2765205"/>
                <a:gd name="connsiteX5271" fmla="*/ 6502087 w 8566434"/>
                <a:gd name="connsiteY5271" fmla="*/ 1009532 h 2765205"/>
                <a:gd name="connsiteX5272" fmla="*/ 6511254 w 8566434"/>
                <a:gd name="connsiteY5272" fmla="*/ 991956 h 2765205"/>
                <a:gd name="connsiteX5273" fmla="*/ 6502087 w 8566434"/>
                <a:gd name="connsiteY5273" fmla="*/ 1009532 h 2765205"/>
                <a:gd name="connsiteX5274" fmla="*/ 6550472 w 8566434"/>
                <a:gd name="connsiteY5274" fmla="*/ 1002708 h 2765205"/>
                <a:gd name="connsiteX5275" fmla="*/ 6557096 w 8566434"/>
                <a:gd name="connsiteY5275" fmla="*/ 990853 h 2765205"/>
                <a:gd name="connsiteX5276" fmla="*/ 6562603 w 8566434"/>
                <a:gd name="connsiteY5276" fmla="*/ 947293 h 2765205"/>
                <a:gd name="connsiteX5277" fmla="*/ 6571563 w 8566434"/>
                <a:gd name="connsiteY5277" fmla="*/ 995058 h 2765205"/>
                <a:gd name="connsiteX5278" fmla="*/ 6576250 w 8566434"/>
                <a:gd name="connsiteY5278" fmla="*/ 979756 h 2765205"/>
                <a:gd name="connsiteX5279" fmla="*/ 6584727 w 8566434"/>
                <a:gd name="connsiteY5279" fmla="*/ 978171 h 2765205"/>
                <a:gd name="connsiteX5280" fmla="*/ 6575767 w 8566434"/>
                <a:gd name="connsiteY5280" fmla="*/ 1016149 h 2765205"/>
                <a:gd name="connsiteX5281" fmla="*/ 6550472 w 8566434"/>
                <a:gd name="connsiteY5281" fmla="*/ 1002708 h 2765205"/>
                <a:gd name="connsiteX5282" fmla="*/ 6551024 w 8566434"/>
                <a:gd name="connsiteY5282" fmla="*/ 1022007 h 2765205"/>
                <a:gd name="connsiteX5283" fmla="*/ 6551024 w 8566434"/>
                <a:gd name="connsiteY5283" fmla="*/ 1022007 h 2765205"/>
                <a:gd name="connsiteX5284" fmla="*/ 6530346 w 8566434"/>
                <a:gd name="connsiteY5284" fmla="*/ 1024282 h 2765205"/>
                <a:gd name="connsiteX5285" fmla="*/ 6540409 w 8566434"/>
                <a:gd name="connsiteY5285" fmla="*/ 1013116 h 2765205"/>
                <a:gd name="connsiteX5286" fmla="*/ 6530346 w 8566434"/>
                <a:gd name="connsiteY5286" fmla="*/ 1024282 h 2765205"/>
                <a:gd name="connsiteX5287" fmla="*/ 6764483 w 8566434"/>
                <a:gd name="connsiteY5287" fmla="*/ 1038825 h 2765205"/>
                <a:gd name="connsiteX5288" fmla="*/ 6764001 w 8566434"/>
                <a:gd name="connsiteY5288" fmla="*/ 1006844 h 2765205"/>
                <a:gd name="connsiteX5289" fmla="*/ 6788538 w 8566434"/>
                <a:gd name="connsiteY5289" fmla="*/ 1004018 h 2765205"/>
                <a:gd name="connsiteX5290" fmla="*/ 6772134 w 8566434"/>
                <a:gd name="connsiteY5290" fmla="*/ 1037584 h 2765205"/>
                <a:gd name="connsiteX5291" fmla="*/ 6764483 w 8566434"/>
                <a:gd name="connsiteY5291" fmla="*/ 1038825 h 2765205"/>
                <a:gd name="connsiteX5292" fmla="*/ 6735052 w 8566434"/>
                <a:gd name="connsiteY5292" fmla="*/ 1048061 h 2765205"/>
                <a:gd name="connsiteX5293" fmla="*/ 6730365 w 8566434"/>
                <a:gd name="connsiteY5293" fmla="*/ 1010910 h 2765205"/>
                <a:gd name="connsiteX5294" fmla="*/ 6745666 w 8566434"/>
                <a:gd name="connsiteY5294" fmla="*/ 1012633 h 2765205"/>
                <a:gd name="connsiteX5295" fmla="*/ 6735052 w 8566434"/>
                <a:gd name="connsiteY5295" fmla="*/ 1048061 h 2765205"/>
                <a:gd name="connsiteX5296" fmla="*/ 6800393 w 8566434"/>
                <a:gd name="connsiteY5296" fmla="*/ 1049922 h 2765205"/>
                <a:gd name="connsiteX5297" fmla="*/ 6810387 w 8566434"/>
                <a:gd name="connsiteY5297" fmla="*/ 1027314 h 2765205"/>
                <a:gd name="connsiteX5298" fmla="*/ 6800393 w 8566434"/>
                <a:gd name="connsiteY5298" fmla="*/ 1049922 h 2765205"/>
                <a:gd name="connsiteX5299" fmla="*/ 6536618 w 8566434"/>
                <a:gd name="connsiteY5299" fmla="*/ 1098927 h 2765205"/>
                <a:gd name="connsiteX5300" fmla="*/ 6557295 w 8566434"/>
                <a:gd name="connsiteY5300" fmla="*/ 1088726 h 2765205"/>
                <a:gd name="connsiteX5301" fmla="*/ 6547301 w 8566434"/>
                <a:gd name="connsiteY5301" fmla="*/ 1070255 h 2765205"/>
                <a:gd name="connsiteX5302" fmla="*/ 6520559 w 8566434"/>
                <a:gd name="connsiteY5302" fmla="*/ 1055711 h 2765205"/>
                <a:gd name="connsiteX5303" fmla="*/ 6573079 w 8566434"/>
                <a:gd name="connsiteY5303" fmla="*/ 1075838 h 2765205"/>
                <a:gd name="connsiteX5304" fmla="*/ 6574044 w 8566434"/>
                <a:gd name="connsiteY5304" fmla="*/ 1096308 h 2765205"/>
                <a:gd name="connsiteX5305" fmla="*/ 6550265 w 8566434"/>
                <a:gd name="connsiteY5305" fmla="*/ 1093965 h 2765205"/>
                <a:gd name="connsiteX5306" fmla="*/ 6536618 w 8566434"/>
                <a:gd name="connsiteY5306" fmla="*/ 1098927 h 2765205"/>
                <a:gd name="connsiteX5307" fmla="*/ 6825274 w 8566434"/>
                <a:gd name="connsiteY5307" fmla="*/ 1113539 h 2765205"/>
                <a:gd name="connsiteX5308" fmla="*/ 6825412 w 8566434"/>
                <a:gd name="connsiteY5308" fmla="*/ 1095274 h 2765205"/>
                <a:gd name="connsiteX5309" fmla="*/ 6825274 w 8566434"/>
                <a:gd name="connsiteY5309" fmla="*/ 1113539 h 2765205"/>
                <a:gd name="connsiteX5310" fmla="*/ 6767722 w 8566434"/>
                <a:gd name="connsiteY5310" fmla="*/ 1062742 h 2765205"/>
                <a:gd name="connsiteX5311" fmla="*/ 6751180 w 8566434"/>
                <a:gd name="connsiteY5311" fmla="*/ 1055022 h 2765205"/>
                <a:gd name="connsiteX5312" fmla="*/ 6797429 w 8566434"/>
                <a:gd name="connsiteY5312" fmla="*/ 1079835 h 2765205"/>
                <a:gd name="connsiteX5313" fmla="*/ 6801013 w 8566434"/>
                <a:gd name="connsiteY5313" fmla="*/ 1089553 h 2765205"/>
                <a:gd name="connsiteX5314" fmla="*/ 6782610 w 8566434"/>
                <a:gd name="connsiteY5314" fmla="*/ 1089622 h 2765205"/>
                <a:gd name="connsiteX5315" fmla="*/ 6778544 w 8566434"/>
                <a:gd name="connsiteY5315" fmla="*/ 1115125 h 2765205"/>
                <a:gd name="connsiteX5316" fmla="*/ 6767722 w 8566434"/>
                <a:gd name="connsiteY5316" fmla="*/ 1062742 h 2765205"/>
                <a:gd name="connsiteX5317" fmla="*/ 6736224 w 8566434"/>
                <a:gd name="connsiteY5317" fmla="*/ 1120018 h 2765205"/>
                <a:gd name="connsiteX5318" fmla="*/ 6736224 w 8566434"/>
                <a:gd name="connsiteY5318" fmla="*/ 1120018 h 2765205"/>
                <a:gd name="connsiteX5319" fmla="*/ 6536135 w 8566434"/>
                <a:gd name="connsiteY5319" fmla="*/ 1118915 h 2765205"/>
                <a:gd name="connsiteX5320" fmla="*/ 6536135 w 8566434"/>
                <a:gd name="connsiteY5320" fmla="*/ 1118915 h 2765205"/>
                <a:gd name="connsiteX5321" fmla="*/ 6550127 w 8566434"/>
                <a:gd name="connsiteY5321" fmla="*/ 1133458 h 2765205"/>
                <a:gd name="connsiteX5322" fmla="*/ 6550127 w 8566434"/>
                <a:gd name="connsiteY5322" fmla="*/ 1133458 h 2765205"/>
                <a:gd name="connsiteX5323" fmla="*/ 6524418 w 8566434"/>
                <a:gd name="connsiteY5323" fmla="*/ 1156479 h 2765205"/>
                <a:gd name="connsiteX5324" fmla="*/ 6515389 w 8566434"/>
                <a:gd name="connsiteY5324" fmla="*/ 1120707 h 2765205"/>
                <a:gd name="connsiteX5325" fmla="*/ 6498434 w 8566434"/>
                <a:gd name="connsiteY5325" fmla="*/ 1134630 h 2765205"/>
                <a:gd name="connsiteX5326" fmla="*/ 6500984 w 8566434"/>
                <a:gd name="connsiteY5326" fmla="*/ 1109473 h 2765205"/>
                <a:gd name="connsiteX5327" fmla="*/ 6526079 w 8566434"/>
                <a:gd name="connsiteY5327" fmla="*/ 1121534 h 2765205"/>
                <a:gd name="connsiteX5328" fmla="*/ 6524418 w 8566434"/>
                <a:gd name="connsiteY5328" fmla="*/ 1156479 h 2765205"/>
                <a:gd name="connsiteX5329" fmla="*/ 6797360 w 8566434"/>
                <a:gd name="connsiteY5329" fmla="*/ 1174882 h 2765205"/>
                <a:gd name="connsiteX5330" fmla="*/ 6797360 w 8566434"/>
                <a:gd name="connsiteY5330" fmla="*/ 1174882 h 2765205"/>
                <a:gd name="connsiteX5331" fmla="*/ 6796809 w 8566434"/>
                <a:gd name="connsiteY5331" fmla="*/ 1189977 h 2765205"/>
                <a:gd name="connsiteX5332" fmla="*/ 6820656 w 8566434"/>
                <a:gd name="connsiteY5332" fmla="*/ 1192044 h 2765205"/>
                <a:gd name="connsiteX5333" fmla="*/ 6796809 w 8566434"/>
                <a:gd name="connsiteY5333" fmla="*/ 1189977 h 2765205"/>
                <a:gd name="connsiteX5334" fmla="*/ 6673640 w 8566434"/>
                <a:gd name="connsiteY5334" fmla="*/ 1209551 h 2765205"/>
                <a:gd name="connsiteX5335" fmla="*/ 6673640 w 8566434"/>
                <a:gd name="connsiteY5335" fmla="*/ 1209551 h 2765205"/>
                <a:gd name="connsiteX5336" fmla="*/ 6714720 w 8566434"/>
                <a:gd name="connsiteY5336" fmla="*/ 1217615 h 2765205"/>
                <a:gd name="connsiteX5337" fmla="*/ 6726299 w 8566434"/>
                <a:gd name="connsiteY5337" fmla="*/ 1206105 h 2765205"/>
                <a:gd name="connsiteX5338" fmla="*/ 6714720 w 8566434"/>
                <a:gd name="connsiteY5338" fmla="*/ 1217615 h 2765205"/>
                <a:gd name="connsiteX5339" fmla="*/ 6508910 w 8566434"/>
                <a:gd name="connsiteY5339" fmla="*/ 1186393 h 2765205"/>
                <a:gd name="connsiteX5340" fmla="*/ 6514838 w 8566434"/>
                <a:gd name="connsiteY5340" fmla="*/ 1168403 h 2765205"/>
                <a:gd name="connsiteX5341" fmla="*/ 6528209 w 8566434"/>
                <a:gd name="connsiteY5341" fmla="*/ 1209896 h 2765205"/>
                <a:gd name="connsiteX5342" fmla="*/ 6538341 w 8566434"/>
                <a:gd name="connsiteY5342" fmla="*/ 1183842 h 2765205"/>
                <a:gd name="connsiteX5343" fmla="*/ 6538892 w 8566434"/>
                <a:gd name="connsiteY5343" fmla="*/ 1216719 h 2765205"/>
                <a:gd name="connsiteX5344" fmla="*/ 6533861 w 8566434"/>
                <a:gd name="connsiteY5344" fmla="*/ 1218649 h 2765205"/>
                <a:gd name="connsiteX5345" fmla="*/ 6508910 w 8566434"/>
                <a:gd name="connsiteY5345" fmla="*/ 1186393 h 2765205"/>
                <a:gd name="connsiteX5346" fmla="*/ 6494987 w 8566434"/>
                <a:gd name="connsiteY5346" fmla="*/ 1208311 h 2765205"/>
                <a:gd name="connsiteX5347" fmla="*/ 6512081 w 8566434"/>
                <a:gd name="connsiteY5347" fmla="*/ 1224163 h 2765205"/>
                <a:gd name="connsiteX5348" fmla="*/ 6494987 w 8566434"/>
                <a:gd name="connsiteY5348" fmla="*/ 1208311 h 2765205"/>
                <a:gd name="connsiteX5349" fmla="*/ 6714582 w 8566434"/>
                <a:gd name="connsiteY5349" fmla="*/ 1236639 h 2765205"/>
                <a:gd name="connsiteX5350" fmla="*/ 6723817 w 8566434"/>
                <a:gd name="connsiteY5350" fmla="*/ 1227747 h 2765205"/>
                <a:gd name="connsiteX5351" fmla="*/ 6714582 w 8566434"/>
                <a:gd name="connsiteY5351" fmla="*/ 1236639 h 2765205"/>
                <a:gd name="connsiteX5352" fmla="*/ 6722025 w 8566434"/>
                <a:gd name="connsiteY5352" fmla="*/ 1276959 h 2765205"/>
                <a:gd name="connsiteX5353" fmla="*/ 6725816 w 8566434"/>
                <a:gd name="connsiteY5353" fmla="*/ 1254835 h 2765205"/>
                <a:gd name="connsiteX5354" fmla="*/ 6722025 w 8566434"/>
                <a:gd name="connsiteY5354" fmla="*/ 1276959 h 2765205"/>
                <a:gd name="connsiteX5355" fmla="*/ 6478928 w 8566434"/>
                <a:gd name="connsiteY5355" fmla="*/ 1304185 h 2765205"/>
                <a:gd name="connsiteX5356" fmla="*/ 6497062 w 8566434"/>
                <a:gd name="connsiteY5356" fmla="*/ 1302117 h 2765205"/>
                <a:gd name="connsiteX5357" fmla="*/ 6496297 w 8566434"/>
                <a:gd name="connsiteY5357" fmla="*/ 1304874 h 2765205"/>
                <a:gd name="connsiteX5358" fmla="*/ 6478928 w 8566434"/>
                <a:gd name="connsiteY5358" fmla="*/ 1304185 h 2765205"/>
                <a:gd name="connsiteX5359" fmla="*/ 6688873 w 8566434"/>
                <a:gd name="connsiteY5359" fmla="*/ 1313283 h 2765205"/>
                <a:gd name="connsiteX5360" fmla="*/ 6698729 w 8566434"/>
                <a:gd name="connsiteY5360" fmla="*/ 1302600 h 2765205"/>
                <a:gd name="connsiteX5361" fmla="*/ 6688873 w 8566434"/>
                <a:gd name="connsiteY5361" fmla="*/ 1313283 h 2765205"/>
                <a:gd name="connsiteX5362" fmla="*/ 6661096 w 8566434"/>
                <a:gd name="connsiteY5362" fmla="*/ 1335339 h 2765205"/>
                <a:gd name="connsiteX5363" fmla="*/ 6659166 w 8566434"/>
                <a:gd name="connsiteY5363" fmla="*/ 1296052 h 2765205"/>
                <a:gd name="connsiteX5364" fmla="*/ 6680395 w 8566434"/>
                <a:gd name="connsiteY5364" fmla="*/ 1302875 h 2765205"/>
                <a:gd name="connsiteX5365" fmla="*/ 6669229 w 8566434"/>
                <a:gd name="connsiteY5365" fmla="*/ 1317143 h 2765205"/>
                <a:gd name="connsiteX5366" fmla="*/ 6661096 w 8566434"/>
                <a:gd name="connsiteY5366" fmla="*/ 1335339 h 2765205"/>
                <a:gd name="connsiteX5367" fmla="*/ 6495815 w 8566434"/>
                <a:gd name="connsiteY5367" fmla="*/ 1333684 h 2765205"/>
                <a:gd name="connsiteX5368" fmla="*/ 6495815 w 8566434"/>
                <a:gd name="connsiteY5368" fmla="*/ 1333684 h 2765205"/>
                <a:gd name="connsiteX5369" fmla="*/ 6750698 w 8566434"/>
                <a:gd name="connsiteY5369" fmla="*/ 1341818 h 2765205"/>
                <a:gd name="connsiteX5370" fmla="*/ 6761174 w 8566434"/>
                <a:gd name="connsiteY5370" fmla="*/ 1331065 h 2765205"/>
                <a:gd name="connsiteX5371" fmla="*/ 6750698 w 8566434"/>
                <a:gd name="connsiteY5371" fmla="*/ 1341818 h 2765205"/>
                <a:gd name="connsiteX5372" fmla="*/ 6669091 w 8566434"/>
                <a:gd name="connsiteY5372" fmla="*/ 1334581 h 2765205"/>
                <a:gd name="connsiteX5373" fmla="*/ 6696936 w 8566434"/>
                <a:gd name="connsiteY5373" fmla="*/ 1334305 h 2765205"/>
                <a:gd name="connsiteX5374" fmla="*/ 6669091 w 8566434"/>
                <a:gd name="connsiteY5374" fmla="*/ 1334581 h 2765205"/>
                <a:gd name="connsiteX5375" fmla="*/ 6556951 w 8566434"/>
                <a:gd name="connsiteY5375" fmla="*/ 1351674 h 2765205"/>
                <a:gd name="connsiteX5376" fmla="*/ 6556951 w 8566434"/>
                <a:gd name="connsiteY5376" fmla="*/ 1351674 h 2765205"/>
                <a:gd name="connsiteX5377" fmla="*/ 6535171 w 8566434"/>
                <a:gd name="connsiteY5377" fmla="*/ 1367871 h 2765205"/>
                <a:gd name="connsiteX5378" fmla="*/ 6547033 w 8566434"/>
                <a:gd name="connsiteY5378" fmla="*/ 1357257 h 2765205"/>
                <a:gd name="connsiteX5379" fmla="*/ 6535171 w 8566434"/>
                <a:gd name="connsiteY5379" fmla="*/ 1367871 h 2765205"/>
                <a:gd name="connsiteX5380" fmla="*/ 6724851 w 8566434"/>
                <a:gd name="connsiteY5380" fmla="*/ 1384275 h 2765205"/>
                <a:gd name="connsiteX5381" fmla="*/ 6725610 w 8566434"/>
                <a:gd name="connsiteY5381" fmla="*/ 1348572 h 2765205"/>
                <a:gd name="connsiteX5382" fmla="*/ 6737740 w 8566434"/>
                <a:gd name="connsiteY5382" fmla="*/ 1340577 h 2765205"/>
                <a:gd name="connsiteX5383" fmla="*/ 6754007 w 8566434"/>
                <a:gd name="connsiteY5383" fmla="*/ 1354086 h 2765205"/>
                <a:gd name="connsiteX5384" fmla="*/ 6743943 w 8566434"/>
                <a:gd name="connsiteY5384" fmla="*/ 1360979 h 2765205"/>
                <a:gd name="connsiteX5385" fmla="*/ 6724851 w 8566434"/>
                <a:gd name="connsiteY5385" fmla="*/ 1384275 h 2765205"/>
                <a:gd name="connsiteX5386" fmla="*/ 6502362 w 8566434"/>
                <a:gd name="connsiteY5386" fmla="*/ 1373592 h 2765205"/>
                <a:gd name="connsiteX5387" fmla="*/ 6503052 w 8566434"/>
                <a:gd name="connsiteY5387" fmla="*/ 1362495 h 2765205"/>
                <a:gd name="connsiteX5388" fmla="*/ 6508910 w 8566434"/>
                <a:gd name="connsiteY5388" fmla="*/ 1360152 h 2765205"/>
                <a:gd name="connsiteX5389" fmla="*/ 6516837 w 8566434"/>
                <a:gd name="connsiteY5389" fmla="*/ 1368491 h 2765205"/>
                <a:gd name="connsiteX5390" fmla="*/ 6513942 w 8566434"/>
                <a:gd name="connsiteY5390" fmla="*/ 1373868 h 2765205"/>
                <a:gd name="connsiteX5391" fmla="*/ 6502362 w 8566434"/>
                <a:gd name="connsiteY5391" fmla="*/ 1373592 h 2765205"/>
                <a:gd name="connsiteX5392" fmla="*/ 6551575 w 8566434"/>
                <a:gd name="connsiteY5392" fmla="*/ 1382207 h 2765205"/>
                <a:gd name="connsiteX5393" fmla="*/ 6561638 w 8566434"/>
                <a:gd name="connsiteY5393" fmla="*/ 1371042 h 2765205"/>
                <a:gd name="connsiteX5394" fmla="*/ 6551575 w 8566434"/>
                <a:gd name="connsiteY5394" fmla="*/ 1382207 h 2765205"/>
                <a:gd name="connsiteX5395" fmla="*/ 6653032 w 8566434"/>
                <a:gd name="connsiteY5395" fmla="*/ 1388686 h 2765205"/>
                <a:gd name="connsiteX5396" fmla="*/ 6653032 w 8566434"/>
                <a:gd name="connsiteY5396" fmla="*/ 1388686 h 2765205"/>
                <a:gd name="connsiteX5397" fmla="*/ 6640074 w 8566434"/>
                <a:gd name="connsiteY5397" fmla="*/ 1386274 h 2765205"/>
                <a:gd name="connsiteX5398" fmla="*/ 6647242 w 8566434"/>
                <a:gd name="connsiteY5398" fmla="*/ 1350847 h 2765205"/>
                <a:gd name="connsiteX5399" fmla="*/ 6640074 w 8566434"/>
                <a:gd name="connsiteY5399" fmla="*/ 1386274 h 2765205"/>
                <a:gd name="connsiteX5400" fmla="*/ 6750698 w 8566434"/>
                <a:gd name="connsiteY5400" fmla="*/ 1409019 h 2765205"/>
                <a:gd name="connsiteX5401" fmla="*/ 6750698 w 8566434"/>
                <a:gd name="connsiteY5401" fmla="*/ 1409019 h 2765205"/>
                <a:gd name="connsiteX5402" fmla="*/ 6531449 w 8566434"/>
                <a:gd name="connsiteY5402" fmla="*/ 1403574 h 2765205"/>
                <a:gd name="connsiteX5403" fmla="*/ 6552202 w 8566434"/>
                <a:gd name="connsiteY5403" fmla="*/ 1415912 h 2765205"/>
                <a:gd name="connsiteX5404" fmla="*/ 6531449 w 8566434"/>
                <a:gd name="connsiteY5404" fmla="*/ 1403574 h 2765205"/>
                <a:gd name="connsiteX5405" fmla="*/ 6517526 w 8566434"/>
                <a:gd name="connsiteY5405" fmla="*/ 1418255 h 2765205"/>
                <a:gd name="connsiteX5406" fmla="*/ 6525866 w 8566434"/>
                <a:gd name="connsiteY5406" fmla="*/ 1374764 h 2765205"/>
                <a:gd name="connsiteX5407" fmla="*/ 6517526 w 8566434"/>
                <a:gd name="connsiteY5407" fmla="*/ 1418255 h 2765205"/>
                <a:gd name="connsiteX5408" fmla="*/ 6508704 w 8566434"/>
                <a:gd name="connsiteY5408" fmla="*/ 1429214 h 2765205"/>
                <a:gd name="connsiteX5409" fmla="*/ 6508704 w 8566434"/>
                <a:gd name="connsiteY5409" fmla="*/ 1429214 h 2765205"/>
                <a:gd name="connsiteX5410" fmla="*/ 6758487 w 8566434"/>
                <a:gd name="connsiteY5410" fmla="*/ 1464366 h 2765205"/>
                <a:gd name="connsiteX5411" fmla="*/ 6760210 w 8566434"/>
                <a:gd name="connsiteY5411" fmla="*/ 1437347 h 2765205"/>
                <a:gd name="connsiteX5412" fmla="*/ 6769583 w 8566434"/>
                <a:gd name="connsiteY5412" fmla="*/ 1464986 h 2765205"/>
                <a:gd name="connsiteX5413" fmla="*/ 6758487 w 8566434"/>
                <a:gd name="connsiteY5413" fmla="*/ 1464366 h 2765205"/>
                <a:gd name="connsiteX5414" fmla="*/ 6742909 w 8566434"/>
                <a:gd name="connsiteY5414" fmla="*/ 1465055 h 2765205"/>
                <a:gd name="connsiteX5415" fmla="*/ 6742909 w 8566434"/>
                <a:gd name="connsiteY5415" fmla="*/ 1465055 h 2765205"/>
                <a:gd name="connsiteX5416" fmla="*/ 6543304 w 8566434"/>
                <a:gd name="connsiteY5416" fmla="*/ 1468294 h 2765205"/>
                <a:gd name="connsiteX5417" fmla="*/ 6547715 w 8566434"/>
                <a:gd name="connsiteY5417" fmla="*/ 1484629 h 2765205"/>
                <a:gd name="connsiteX5418" fmla="*/ 6543304 w 8566434"/>
                <a:gd name="connsiteY5418" fmla="*/ 1468294 h 2765205"/>
                <a:gd name="connsiteX5419" fmla="*/ 6750216 w 8566434"/>
                <a:gd name="connsiteY5419" fmla="*/ 1504962 h 2765205"/>
                <a:gd name="connsiteX5420" fmla="*/ 6743530 w 8566434"/>
                <a:gd name="connsiteY5420" fmla="*/ 1481597 h 2765205"/>
                <a:gd name="connsiteX5421" fmla="*/ 6754833 w 8566434"/>
                <a:gd name="connsiteY5421" fmla="*/ 1499724 h 2765205"/>
                <a:gd name="connsiteX5422" fmla="*/ 6764069 w 8566434"/>
                <a:gd name="connsiteY5422" fmla="*/ 1480149 h 2765205"/>
                <a:gd name="connsiteX5423" fmla="*/ 6764552 w 8566434"/>
                <a:gd name="connsiteY5423" fmla="*/ 1497794 h 2765205"/>
                <a:gd name="connsiteX5424" fmla="*/ 6750216 w 8566434"/>
                <a:gd name="connsiteY5424" fmla="*/ 1504962 h 2765205"/>
                <a:gd name="connsiteX5425" fmla="*/ 6512701 w 8566434"/>
                <a:gd name="connsiteY5425" fmla="*/ 1528741 h 2765205"/>
                <a:gd name="connsiteX5426" fmla="*/ 6506360 w 8566434"/>
                <a:gd name="connsiteY5426" fmla="*/ 1507995 h 2765205"/>
                <a:gd name="connsiteX5427" fmla="*/ 6512632 w 8566434"/>
                <a:gd name="connsiteY5427" fmla="*/ 1476083 h 2765205"/>
                <a:gd name="connsiteX5428" fmla="*/ 6505189 w 8566434"/>
                <a:gd name="connsiteY5428" fmla="*/ 1460161 h 2765205"/>
                <a:gd name="connsiteX5429" fmla="*/ 6494367 w 8566434"/>
                <a:gd name="connsiteY5429" fmla="*/ 1474635 h 2765205"/>
                <a:gd name="connsiteX5430" fmla="*/ 6498020 w 8566434"/>
                <a:gd name="connsiteY5430" fmla="*/ 1447755 h 2765205"/>
                <a:gd name="connsiteX5431" fmla="*/ 6517388 w 8566434"/>
                <a:gd name="connsiteY5431" fmla="*/ 1483733 h 2765205"/>
                <a:gd name="connsiteX5432" fmla="*/ 6507738 w 8566434"/>
                <a:gd name="connsiteY5432" fmla="*/ 1494830 h 2765205"/>
                <a:gd name="connsiteX5433" fmla="*/ 6516285 w 8566434"/>
                <a:gd name="connsiteY5433" fmla="*/ 1525364 h 2765205"/>
                <a:gd name="connsiteX5434" fmla="*/ 6529588 w 8566434"/>
                <a:gd name="connsiteY5434" fmla="*/ 1531154 h 2765205"/>
                <a:gd name="connsiteX5435" fmla="*/ 6512701 w 8566434"/>
                <a:gd name="connsiteY5435" fmla="*/ 1528741 h 2765205"/>
                <a:gd name="connsiteX5436" fmla="*/ 6459354 w 8566434"/>
                <a:gd name="connsiteY5436" fmla="*/ 1630198 h 2765205"/>
                <a:gd name="connsiteX5437" fmla="*/ 6459354 w 8566434"/>
                <a:gd name="connsiteY5437" fmla="*/ 1630198 h 2765205"/>
                <a:gd name="connsiteX5438" fmla="*/ 6791363 w 8566434"/>
                <a:gd name="connsiteY5438" fmla="*/ 1643776 h 2765205"/>
                <a:gd name="connsiteX5439" fmla="*/ 6791363 w 8566434"/>
                <a:gd name="connsiteY5439" fmla="*/ 1643776 h 2765205"/>
                <a:gd name="connsiteX5440" fmla="*/ 6480651 w 8566434"/>
                <a:gd name="connsiteY5440" fmla="*/ 1653288 h 2765205"/>
                <a:gd name="connsiteX5441" fmla="*/ 6499950 w 8566434"/>
                <a:gd name="connsiteY5441" fmla="*/ 1617516 h 2765205"/>
                <a:gd name="connsiteX5442" fmla="*/ 6480651 w 8566434"/>
                <a:gd name="connsiteY5442" fmla="*/ 1653288 h 2765205"/>
                <a:gd name="connsiteX5443" fmla="*/ 6458940 w 8566434"/>
                <a:gd name="connsiteY5443" fmla="*/ 1683201 h 2765205"/>
                <a:gd name="connsiteX5444" fmla="*/ 6469693 w 8566434"/>
                <a:gd name="connsiteY5444" fmla="*/ 1672862 h 2765205"/>
                <a:gd name="connsiteX5445" fmla="*/ 6458940 w 8566434"/>
                <a:gd name="connsiteY5445" fmla="*/ 1683201 h 2765205"/>
                <a:gd name="connsiteX5446" fmla="*/ 6479549 w 8566434"/>
                <a:gd name="connsiteY5446" fmla="*/ 1719800 h 2765205"/>
                <a:gd name="connsiteX5447" fmla="*/ 6486992 w 8566434"/>
                <a:gd name="connsiteY5447" fmla="*/ 1694367 h 2765205"/>
                <a:gd name="connsiteX5448" fmla="*/ 6507601 w 8566434"/>
                <a:gd name="connsiteY5448" fmla="*/ 1673759 h 2765205"/>
                <a:gd name="connsiteX5449" fmla="*/ 6479549 w 8566434"/>
                <a:gd name="connsiteY5449" fmla="*/ 1719800 h 2765205"/>
                <a:gd name="connsiteX5450" fmla="*/ 6494505 w 8566434"/>
                <a:gd name="connsiteY5450" fmla="*/ 1759501 h 2765205"/>
                <a:gd name="connsiteX5451" fmla="*/ 6503672 w 8566434"/>
                <a:gd name="connsiteY5451" fmla="*/ 1735171 h 2765205"/>
                <a:gd name="connsiteX5452" fmla="*/ 6494505 w 8566434"/>
                <a:gd name="connsiteY5452" fmla="*/ 1759501 h 2765205"/>
                <a:gd name="connsiteX5453" fmla="*/ 6451841 w 8566434"/>
                <a:gd name="connsiteY5453" fmla="*/ 1786037 h 2765205"/>
                <a:gd name="connsiteX5454" fmla="*/ 6461628 w 8566434"/>
                <a:gd name="connsiteY5454" fmla="*/ 1742132 h 2765205"/>
                <a:gd name="connsiteX5455" fmla="*/ 6451841 w 8566434"/>
                <a:gd name="connsiteY5455" fmla="*/ 1786037 h 2765205"/>
                <a:gd name="connsiteX5456" fmla="*/ 6529588 w 8566434"/>
                <a:gd name="connsiteY5456" fmla="*/ 1800580 h 2765205"/>
                <a:gd name="connsiteX5457" fmla="*/ 6546406 w 8566434"/>
                <a:gd name="connsiteY5457" fmla="*/ 1790172 h 2765205"/>
                <a:gd name="connsiteX5458" fmla="*/ 6529588 w 8566434"/>
                <a:gd name="connsiteY5458" fmla="*/ 1800580 h 2765205"/>
                <a:gd name="connsiteX5459" fmla="*/ 6537583 w 8566434"/>
                <a:gd name="connsiteY5459" fmla="*/ 1898108 h 2765205"/>
                <a:gd name="connsiteX5460" fmla="*/ 6535240 w 8566434"/>
                <a:gd name="connsiteY5460" fmla="*/ 1874536 h 2765205"/>
                <a:gd name="connsiteX5461" fmla="*/ 6537583 w 8566434"/>
                <a:gd name="connsiteY5461" fmla="*/ 1898108 h 2765205"/>
                <a:gd name="connsiteX5462" fmla="*/ 6487958 w 8566434"/>
                <a:gd name="connsiteY5462" fmla="*/ 1895972 h 2765205"/>
                <a:gd name="connsiteX5463" fmla="*/ 6488026 w 8566434"/>
                <a:gd name="connsiteY5463" fmla="*/ 1873364 h 2765205"/>
                <a:gd name="connsiteX5464" fmla="*/ 6483133 w 8566434"/>
                <a:gd name="connsiteY5464" fmla="*/ 1873226 h 2765205"/>
                <a:gd name="connsiteX5465" fmla="*/ 6482581 w 8566434"/>
                <a:gd name="connsiteY5465" fmla="*/ 1830976 h 2765205"/>
                <a:gd name="connsiteX5466" fmla="*/ 6497124 w 8566434"/>
                <a:gd name="connsiteY5466" fmla="*/ 1863922 h 2765205"/>
                <a:gd name="connsiteX5467" fmla="*/ 6503396 w 8566434"/>
                <a:gd name="connsiteY5467" fmla="*/ 1891216 h 2765205"/>
                <a:gd name="connsiteX5468" fmla="*/ 6504637 w 8566434"/>
                <a:gd name="connsiteY5468" fmla="*/ 1895213 h 2765205"/>
                <a:gd name="connsiteX5469" fmla="*/ 6487958 w 8566434"/>
                <a:gd name="connsiteY5469" fmla="*/ 1895972 h 2765205"/>
                <a:gd name="connsiteX5470" fmla="*/ 6515665 w 8566434"/>
                <a:gd name="connsiteY5470" fmla="*/ 1925540 h 2765205"/>
                <a:gd name="connsiteX5471" fmla="*/ 6515665 w 8566434"/>
                <a:gd name="connsiteY5471" fmla="*/ 1925540 h 2765205"/>
                <a:gd name="connsiteX5472" fmla="*/ 6556882 w 8566434"/>
                <a:gd name="connsiteY5472" fmla="*/ 1932433 h 2765205"/>
                <a:gd name="connsiteX5473" fmla="*/ 6556882 w 8566434"/>
                <a:gd name="connsiteY5473" fmla="*/ 1932433 h 2765205"/>
                <a:gd name="connsiteX5474" fmla="*/ 6529036 w 8566434"/>
                <a:gd name="connsiteY5474" fmla="*/ 1939049 h 2765205"/>
                <a:gd name="connsiteX5475" fmla="*/ 6533585 w 8566434"/>
                <a:gd name="connsiteY5475" fmla="*/ 1914995 h 2765205"/>
                <a:gd name="connsiteX5476" fmla="*/ 6529036 w 8566434"/>
                <a:gd name="connsiteY5476" fmla="*/ 1939049 h 2765205"/>
                <a:gd name="connsiteX5477" fmla="*/ 6514424 w 8566434"/>
                <a:gd name="connsiteY5477" fmla="*/ 1953386 h 2765205"/>
                <a:gd name="connsiteX5478" fmla="*/ 6514424 w 8566434"/>
                <a:gd name="connsiteY5478" fmla="*/ 1953386 h 2765205"/>
                <a:gd name="connsiteX5479" fmla="*/ 6522833 w 8566434"/>
                <a:gd name="connsiteY5479" fmla="*/ 1987986 h 2765205"/>
                <a:gd name="connsiteX5480" fmla="*/ 6522833 w 8566434"/>
                <a:gd name="connsiteY5480" fmla="*/ 1987986 h 2765205"/>
                <a:gd name="connsiteX5481" fmla="*/ 6687632 w 8566434"/>
                <a:gd name="connsiteY5481" fmla="*/ 1981162 h 2765205"/>
                <a:gd name="connsiteX5482" fmla="*/ 6697281 w 8566434"/>
                <a:gd name="connsiteY5482" fmla="*/ 1926505 h 2765205"/>
                <a:gd name="connsiteX5483" fmla="*/ 6710584 w 8566434"/>
                <a:gd name="connsiteY5483" fmla="*/ 1961588 h 2765205"/>
                <a:gd name="connsiteX5484" fmla="*/ 6718028 w 8566434"/>
                <a:gd name="connsiteY5484" fmla="*/ 1935052 h 2765205"/>
                <a:gd name="connsiteX5485" fmla="*/ 6709895 w 8566434"/>
                <a:gd name="connsiteY5485" fmla="*/ 1995085 h 2765205"/>
                <a:gd name="connsiteX5486" fmla="*/ 6687632 w 8566434"/>
                <a:gd name="connsiteY5486" fmla="*/ 1981162 h 2765205"/>
                <a:gd name="connsiteX5487" fmla="*/ 6687494 w 8566434"/>
                <a:gd name="connsiteY5487" fmla="*/ 1994465 h 2765205"/>
                <a:gd name="connsiteX5488" fmla="*/ 6687494 w 8566434"/>
                <a:gd name="connsiteY5488" fmla="*/ 1994465 h 2765205"/>
                <a:gd name="connsiteX5489" fmla="*/ 6523109 w 8566434"/>
                <a:gd name="connsiteY5489" fmla="*/ 2009215 h 2765205"/>
                <a:gd name="connsiteX5490" fmla="*/ 6539788 w 8566434"/>
                <a:gd name="connsiteY5490" fmla="*/ 1999152 h 2765205"/>
                <a:gd name="connsiteX5491" fmla="*/ 6523109 w 8566434"/>
                <a:gd name="connsiteY5491" fmla="*/ 2009215 h 2765205"/>
                <a:gd name="connsiteX5492" fmla="*/ 6755936 w 8566434"/>
                <a:gd name="connsiteY5492" fmla="*/ 2015831 h 2765205"/>
                <a:gd name="connsiteX5493" fmla="*/ 6767378 w 8566434"/>
                <a:gd name="connsiteY5493" fmla="*/ 2004321 h 2765205"/>
                <a:gd name="connsiteX5494" fmla="*/ 6755936 w 8566434"/>
                <a:gd name="connsiteY5494" fmla="*/ 2015831 h 2765205"/>
                <a:gd name="connsiteX5495" fmla="*/ 6500915 w 8566434"/>
                <a:gd name="connsiteY5495" fmla="*/ 1994120 h 2765205"/>
                <a:gd name="connsiteX5496" fmla="*/ 6501260 w 8566434"/>
                <a:gd name="connsiteY5496" fmla="*/ 2019829 h 2765205"/>
                <a:gd name="connsiteX5497" fmla="*/ 6500915 w 8566434"/>
                <a:gd name="connsiteY5497" fmla="*/ 1994120 h 2765205"/>
                <a:gd name="connsiteX5498" fmla="*/ 6516147 w 8566434"/>
                <a:gd name="connsiteY5498" fmla="*/ 2036302 h 2765205"/>
                <a:gd name="connsiteX5499" fmla="*/ 6516147 w 8566434"/>
                <a:gd name="connsiteY5499" fmla="*/ 2036302 h 2765205"/>
                <a:gd name="connsiteX5500" fmla="*/ 6735259 w 8566434"/>
                <a:gd name="connsiteY5500" fmla="*/ 2057049 h 2765205"/>
                <a:gd name="connsiteX5501" fmla="*/ 6735259 w 8566434"/>
                <a:gd name="connsiteY5501" fmla="*/ 2057049 h 2765205"/>
                <a:gd name="connsiteX5502" fmla="*/ 6501949 w 8566434"/>
                <a:gd name="connsiteY5502" fmla="*/ 2056980 h 2765205"/>
                <a:gd name="connsiteX5503" fmla="*/ 6501949 w 8566434"/>
                <a:gd name="connsiteY5503" fmla="*/ 2056980 h 2765205"/>
                <a:gd name="connsiteX5504" fmla="*/ 6488577 w 8566434"/>
                <a:gd name="connsiteY5504" fmla="*/ 2085859 h 2765205"/>
                <a:gd name="connsiteX5505" fmla="*/ 6503603 w 8566434"/>
                <a:gd name="connsiteY5505" fmla="*/ 2080690 h 2765205"/>
                <a:gd name="connsiteX5506" fmla="*/ 6488577 w 8566434"/>
                <a:gd name="connsiteY5506" fmla="*/ 2085859 h 2765205"/>
                <a:gd name="connsiteX5507" fmla="*/ 6724782 w 8566434"/>
                <a:gd name="connsiteY5507" fmla="*/ 2112464 h 2765205"/>
                <a:gd name="connsiteX5508" fmla="*/ 6727746 w 8566434"/>
                <a:gd name="connsiteY5508" fmla="*/ 2092751 h 2765205"/>
                <a:gd name="connsiteX5509" fmla="*/ 6700452 w 8566434"/>
                <a:gd name="connsiteY5509" fmla="*/ 2068352 h 2765205"/>
                <a:gd name="connsiteX5510" fmla="*/ 6684393 w 8566434"/>
                <a:gd name="connsiteY5510" fmla="*/ 2043539 h 2765205"/>
                <a:gd name="connsiteX5511" fmla="*/ 6716718 w 8566434"/>
                <a:gd name="connsiteY5511" fmla="*/ 2058772 h 2765205"/>
                <a:gd name="connsiteX5512" fmla="*/ 6716925 w 8566434"/>
                <a:gd name="connsiteY5512" fmla="*/ 2016728 h 2765205"/>
                <a:gd name="connsiteX5513" fmla="*/ 6717821 w 8566434"/>
                <a:gd name="connsiteY5513" fmla="*/ 2042023 h 2765205"/>
                <a:gd name="connsiteX5514" fmla="*/ 6727815 w 8566434"/>
                <a:gd name="connsiteY5514" fmla="*/ 2061322 h 2765205"/>
                <a:gd name="connsiteX5515" fmla="*/ 6713134 w 8566434"/>
                <a:gd name="connsiteY5515" fmla="*/ 2058840 h 2765205"/>
                <a:gd name="connsiteX5516" fmla="*/ 6724782 w 8566434"/>
                <a:gd name="connsiteY5516" fmla="*/ 2112464 h 2765205"/>
                <a:gd name="connsiteX5517" fmla="*/ 6750422 w 8566434"/>
                <a:gd name="connsiteY5517" fmla="*/ 2108880 h 2765205"/>
                <a:gd name="connsiteX5518" fmla="*/ 6759796 w 8566434"/>
                <a:gd name="connsiteY5518" fmla="*/ 2111085 h 2765205"/>
                <a:gd name="connsiteX5519" fmla="*/ 6765861 w 8566434"/>
                <a:gd name="connsiteY5519" fmla="*/ 2070420 h 2765205"/>
                <a:gd name="connsiteX5520" fmla="*/ 6767033 w 8566434"/>
                <a:gd name="connsiteY5520" fmla="*/ 2127145 h 2765205"/>
                <a:gd name="connsiteX5521" fmla="*/ 6750422 w 8566434"/>
                <a:gd name="connsiteY5521" fmla="*/ 2108880 h 2765205"/>
                <a:gd name="connsiteX5522" fmla="*/ 6695213 w 8566434"/>
                <a:gd name="connsiteY5522" fmla="*/ 2125560 h 2765205"/>
                <a:gd name="connsiteX5523" fmla="*/ 6695213 w 8566434"/>
                <a:gd name="connsiteY5523" fmla="*/ 2125560 h 2765205"/>
                <a:gd name="connsiteX5524" fmla="*/ 6523109 w 8566434"/>
                <a:gd name="connsiteY5524" fmla="*/ 2110189 h 2765205"/>
                <a:gd name="connsiteX5525" fmla="*/ 6537445 w 8566434"/>
                <a:gd name="connsiteY5525" fmla="*/ 2121424 h 2765205"/>
                <a:gd name="connsiteX5526" fmla="*/ 6523109 w 8566434"/>
                <a:gd name="connsiteY5526" fmla="*/ 2110189 h 2765205"/>
                <a:gd name="connsiteX5527" fmla="*/ 6500709 w 8566434"/>
                <a:gd name="connsiteY5527" fmla="*/ 2126938 h 2765205"/>
                <a:gd name="connsiteX5528" fmla="*/ 6500709 w 8566434"/>
                <a:gd name="connsiteY5528" fmla="*/ 2126938 h 2765205"/>
                <a:gd name="connsiteX5529" fmla="*/ 6735190 w 8566434"/>
                <a:gd name="connsiteY5529" fmla="*/ 2147408 h 2765205"/>
                <a:gd name="connsiteX5530" fmla="*/ 6735190 w 8566434"/>
                <a:gd name="connsiteY5530" fmla="*/ 2147408 h 2765205"/>
                <a:gd name="connsiteX5531" fmla="*/ 6715202 w 8566434"/>
                <a:gd name="connsiteY5531" fmla="*/ 2146651 h 2765205"/>
                <a:gd name="connsiteX5532" fmla="*/ 6715202 w 8566434"/>
                <a:gd name="connsiteY5532" fmla="*/ 2146651 h 2765205"/>
                <a:gd name="connsiteX5533" fmla="*/ 6668195 w 8566434"/>
                <a:gd name="connsiteY5533" fmla="*/ 2154025 h 2765205"/>
                <a:gd name="connsiteX5534" fmla="*/ 6773030 w 8566434"/>
                <a:gd name="connsiteY5534" fmla="*/ 2161607 h 2765205"/>
                <a:gd name="connsiteX5535" fmla="*/ 6773236 w 8566434"/>
                <a:gd name="connsiteY5535" fmla="*/ 2059254 h 2765205"/>
                <a:gd name="connsiteX5536" fmla="*/ 6761036 w 8566434"/>
                <a:gd name="connsiteY5536" fmla="*/ 2063458 h 2765205"/>
                <a:gd name="connsiteX5537" fmla="*/ 6775787 w 8566434"/>
                <a:gd name="connsiteY5537" fmla="*/ 2051603 h 2765205"/>
                <a:gd name="connsiteX5538" fmla="*/ 6763173 w 8566434"/>
                <a:gd name="connsiteY5538" fmla="*/ 2040231 h 2765205"/>
                <a:gd name="connsiteX5539" fmla="*/ 6779991 w 8566434"/>
                <a:gd name="connsiteY5539" fmla="*/ 2041540 h 2765205"/>
                <a:gd name="connsiteX5540" fmla="*/ 6783506 w 8566434"/>
                <a:gd name="connsiteY5540" fmla="*/ 1975441 h 2765205"/>
                <a:gd name="connsiteX5541" fmla="*/ 6780198 w 8566434"/>
                <a:gd name="connsiteY5541" fmla="*/ 1968411 h 2765205"/>
                <a:gd name="connsiteX5542" fmla="*/ 6768411 w 8566434"/>
                <a:gd name="connsiteY5542" fmla="*/ 1940152 h 2765205"/>
                <a:gd name="connsiteX5543" fmla="*/ 6788814 w 8566434"/>
                <a:gd name="connsiteY5543" fmla="*/ 1898729 h 2765205"/>
                <a:gd name="connsiteX5544" fmla="*/ 6793776 w 8566434"/>
                <a:gd name="connsiteY5544" fmla="*/ 1822222 h 2765205"/>
                <a:gd name="connsiteX5545" fmla="*/ 6777510 w 8566434"/>
                <a:gd name="connsiteY5545" fmla="*/ 1809265 h 2765205"/>
                <a:gd name="connsiteX5546" fmla="*/ 6795568 w 8566434"/>
                <a:gd name="connsiteY5546" fmla="*/ 1805887 h 2765205"/>
                <a:gd name="connsiteX5547" fmla="*/ 6798876 w 8566434"/>
                <a:gd name="connsiteY5547" fmla="*/ 1734550 h 2765205"/>
                <a:gd name="connsiteX5548" fmla="*/ 6844780 w 8566434"/>
                <a:gd name="connsiteY5548" fmla="*/ 1013392 h 2765205"/>
                <a:gd name="connsiteX5549" fmla="*/ 6824930 w 8566434"/>
                <a:gd name="connsiteY5549" fmla="*/ 1017872 h 2765205"/>
                <a:gd name="connsiteX5550" fmla="*/ 6826377 w 8566434"/>
                <a:gd name="connsiteY5550" fmla="*/ 1005948 h 2765205"/>
                <a:gd name="connsiteX5551" fmla="*/ 6847399 w 8566434"/>
                <a:gd name="connsiteY5551" fmla="*/ 1005810 h 2765205"/>
                <a:gd name="connsiteX5552" fmla="*/ 6850363 w 8566434"/>
                <a:gd name="connsiteY5552" fmla="*/ 913933 h 2765205"/>
                <a:gd name="connsiteX5553" fmla="*/ 6794879 w 8566434"/>
                <a:gd name="connsiteY5553" fmla="*/ 910970 h 2765205"/>
                <a:gd name="connsiteX5554" fmla="*/ 6827204 w 8566434"/>
                <a:gd name="connsiteY5554" fmla="*/ 924755 h 2765205"/>
                <a:gd name="connsiteX5555" fmla="*/ 6838095 w 8566434"/>
                <a:gd name="connsiteY5555" fmla="*/ 927994 h 2765205"/>
                <a:gd name="connsiteX5556" fmla="*/ 6831753 w 8566434"/>
                <a:gd name="connsiteY5556" fmla="*/ 936679 h 2765205"/>
                <a:gd name="connsiteX5557" fmla="*/ 6830582 w 8566434"/>
                <a:gd name="connsiteY5557" fmla="*/ 949430 h 2765205"/>
                <a:gd name="connsiteX5558" fmla="*/ 6837750 w 8566434"/>
                <a:gd name="connsiteY5558" fmla="*/ 953152 h 2765205"/>
                <a:gd name="connsiteX5559" fmla="*/ 6817693 w 8566434"/>
                <a:gd name="connsiteY5559" fmla="*/ 960664 h 2765205"/>
                <a:gd name="connsiteX5560" fmla="*/ 6802185 w 8566434"/>
                <a:gd name="connsiteY5560" fmla="*/ 978516 h 2765205"/>
                <a:gd name="connsiteX5561" fmla="*/ 6816176 w 8566434"/>
                <a:gd name="connsiteY5561" fmla="*/ 956253 h 2765205"/>
                <a:gd name="connsiteX5562" fmla="*/ 6814246 w 8566434"/>
                <a:gd name="connsiteY5562" fmla="*/ 950395 h 2765205"/>
                <a:gd name="connsiteX5563" fmla="*/ 6802460 w 8566434"/>
                <a:gd name="connsiteY5563" fmla="*/ 947155 h 2765205"/>
                <a:gd name="connsiteX5564" fmla="*/ 6802460 w 8566434"/>
                <a:gd name="connsiteY5564" fmla="*/ 935231 h 2765205"/>
                <a:gd name="connsiteX5565" fmla="*/ 6799841 w 8566434"/>
                <a:gd name="connsiteY5565" fmla="*/ 927994 h 2765205"/>
                <a:gd name="connsiteX5566" fmla="*/ 6783437 w 8566434"/>
                <a:gd name="connsiteY5566" fmla="*/ 906214 h 2765205"/>
                <a:gd name="connsiteX5567" fmla="*/ 6770686 w 8566434"/>
                <a:gd name="connsiteY5567" fmla="*/ 921033 h 2765205"/>
                <a:gd name="connsiteX5568" fmla="*/ 6773512 w 8566434"/>
                <a:gd name="connsiteY5568" fmla="*/ 907799 h 2765205"/>
                <a:gd name="connsiteX5569" fmla="*/ 6740014 w 8566434"/>
                <a:gd name="connsiteY5569" fmla="*/ 908213 h 2765205"/>
                <a:gd name="connsiteX5570" fmla="*/ 6739325 w 8566434"/>
                <a:gd name="connsiteY5570" fmla="*/ 979619 h 2765205"/>
                <a:gd name="connsiteX5571" fmla="*/ 6731124 w 8566434"/>
                <a:gd name="connsiteY5571" fmla="*/ 981411 h 2765205"/>
                <a:gd name="connsiteX5572" fmla="*/ 6729883 w 8566434"/>
                <a:gd name="connsiteY5572" fmla="*/ 967005 h 2765205"/>
                <a:gd name="connsiteX5573" fmla="*/ 6716580 w 8566434"/>
                <a:gd name="connsiteY5573" fmla="*/ 998849 h 2765205"/>
                <a:gd name="connsiteX5574" fmla="*/ 6727953 w 8566434"/>
                <a:gd name="connsiteY5574" fmla="*/ 1000365 h 2765205"/>
                <a:gd name="connsiteX5575" fmla="*/ 6716580 w 8566434"/>
                <a:gd name="connsiteY5575" fmla="*/ 1000778 h 2765205"/>
                <a:gd name="connsiteX5576" fmla="*/ 6643589 w 8566434"/>
                <a:gd name="connsiteY5576" fmla="*/ 1301566 h 2765205"/>
                <a:gd name="connsiteX5577" fmla="*/ 6648276 w 8566434"/>
                <a:gd name="connsiteY5577" fmla="*/ 1311284 h 2765205"/>
                <a:gd name="connsiteX5578" fmla="*/ 6634284 w 8566434"/>
                <a:gd name="connsiteY5578" fmla="*/ 1341266 h 2765205"/>
                <a:gd name="connsiteX5579" fmla="*/ 6550954 w 8566434"/>
                <a:gd name="connsiteY5579" fmla="*/ 1686923 h 2765205"/>
                <a:gd name="connsiteX5580" fmla="*/ 6551230 w 8566434"/>
                <a:gd name="connsiteY5580" fmla="*/ 1649221 h 2765205"/>
                <a:gd name="connsiteX5581" fmla="*/ 6533999 w 8566434"/>
                <a:gd name="connsiteY5581" fmla="*/ 1655425 h 2765205"/>
                <a:gd name="connsiteX5582" fmla="*/ 6552609 w 8566434"/>
                <a:gd name="connsiteY5582" fmla="*/ 1647085 h 2765205"/>
                <a:gd name="connsiteX5583" fmla="*/ 6552057 w 8566434"/>
                <a:gd name="connsiteY5583" fmla="*/ 1636953 h 2765205"/>
                <a:gd name="connsiteX5584" fmla="*/ 6540892 w 8566434"/>
                <a:gd name="connsiteY5584" fmla="*/ 1635230 h 2765205"/>
                <a:gd name="connsiteX5585" fmla="*/ 6554607 w 8566434"/>
                <a:gd name="connsiteY5585" fmla="*/ 1634196 h 2765205"/>
                <a:gd name="connsiteX5586" fmla="*/ 6546061 w 8566434"/>
                <a:gd name="connsiteY5586" fmla="*/ 1608280 h 2765205"/>
                <a:gd name="connsiteX5587" fmla="*/ 6555917 w 8566434"/>
                <a:gd name="connsiteY5587" fmla="*/ 1582709 h 2765205"/>
                <a:gd name="connsiteX5588" fmla="*/ 6571218 w 8566434"/>
                <a:gd name="connsiteY5588" fmla="*/ 1332582 h 2765205"/>
                <a:gd name="connsiteX5589" fmla="*/ 6531931 w 8566434"/>
                <a:gd name="connsiteY5589" fmla="*/ 1341680 h 2765205"/>
                <a:gd name="connsiteX5590" fmla="*/ 6547646 w 8566434"/>
                <a:gd name="connsiteY5590" fmla="*/ 1322450 h 2765205"/>
                <a:gd name="connsiteX5591" fmla="*/ 6528209 w 8566434"/>
                <a:gd name="connsiteY5591" fmla="*/ 1315351 h 2765205"/>
                <a:gd name="connsiteX5592" fmla="*/ 6536418 w 8566434"/>
                <a:gd name="connsiteY5592" fmla="*/ 1305563 h 2765205"/>
                <a:gd name="connsiteX5593" fmla="*/ 6548542 w 8566434"/>
                <a:gd name="connsiteY5593" fmla="*/ 1318245 h 2765205"/>
                <a:gd name="connsiteX5594" fmla="*/ 6573079 w 8566434"/>
                <a:gd name="connsiteY5594" fmla="*/ 1302668 h 2765205"/>
                <a:gd name="connsiteX5595" fmla="*/ 6598450 w 8566434"/>
                <a:gd name="connsiteY5595" fmla="*/ 898150 h 2765205"/>
                <a:gd name="connsiteX5596" fmla="*/ 6506636 w 8566434"/>
                <a:gd name="connsiteY5596" fmla="*/ 892429 h 2765205"/>
                <a:gd name="connsiteX5597" fmla="*/ 6485958 w 8566434"/>
                <a:gd name="connsiteY5597" fmla="*/ 1038687 h 2765205"/>
                <a:gd name="connsiteX5598" fmla="*/ 6508359 w 8566434"/>
                <a:gd name="connsiteY5598" fmla="*/ 1064396 h 2765205"/>
                <a:gd name="connsiteX5599" fmla="*/ 6484167 w 8566434"/>
                <a:gd name="connsiteY5599" fmla="*/ 1061570 h 2765205"/>
                <a:gd name="connsiteX5600" fmla="*/ 6483891 w 8566434"/>
                <a:gd name="connsiteY5600" fmla="*/ 1146692 h 2765205"/>
                <a:gd name="connsiteX5601" fmla="*/ 6472863 w 8566434"/>
                <a:gd name="connsiteY5601" fmla="*/ 1230849 h 2765205"/>
                <a:gd name="connsiteX5602" fmla="*/ 6495953 w 8566434"/>
                <a:gd name="connsiteY5602" fmla="*/ 1239189 h 2765205"/>
                <a:gd name="connsiteX5603" fmla="*/ 6514011 w 8566434"/>
                <a:gd name="connsiteY5603" fmla="*/ 1230435 h 2765205"/>
                <a:gd name="connsiteX5604" fmla="*/ 6556262 w 8566434"/>
                <a:gd name="connsiteY5604" fmla="*/ 1253180 h 2765205"/>
                <a:gd name="connsiteX5605" fmla="*/ 6525384 w 8566434"/>
                <a:gd name="connsiteY5605" fmla="*/ 1295569 h 2765205"/>
                <a:gd name="connsiteX5606" fmla="*/ 6542408 w 8566434"/>
                <a:gd name="connsiteY5606" fmla="*/ 1256489 h 2765205"/>
                <a:gd name="connsiteX5607" fmla="*/ 6523660 w 8566434"/>
                <a:gd name="connsiteY5607" fmla="*/ 1256765 h 2765205"/>
                <a:gd name="connsiteX5608" fmla="*/ 6519180 w 8566434"/>
                <a:gd name="connsiteY5608" fmla="*/ 1246219 h 2765205"/>
                <a:gd name="connsiteX5609" fmla="*/ 6495746 w 8566434"/>
                <a:gd name="connsiteY5609" fmla="*/ 1266897 h 2765205"/>
                <a:gd name="connsiteX5610" fmla="*/ 6490439 w 8566434"/>
                <a:gd name="connsiteY5610" fmla="*/ 1247322 h 2765205"/>
                <a:gd name="connsiteX5611" fmla="*/ 6472587 w 8566434"/>
                <a:gd name="connsiteY5611" fmla="*/ 1239327 h 2765205"/>
                <a:gd name="connsiteX5612" fmla="*/ 6466046 w 8566434"/>
                <a:gd name="connsiteY5612" fmla="*/ 1355327 h 2765205"/>
                <a:gd name="connsiteX5613" fmla="*/ 6458389 w 8566434"/>
                <a:gd name="connsiteY5613" fmla="*/ 1477944 h 2765205"/>
                <a:gd name="connsiteX5614" fmla="*/ 6494643 w 8566434"/>
                <a:gd name="connsiteY5614" fmla="*/ 1482010 h 2765205"/>
                <a:gd name="connsiteX5615" fmla="*/ 6461904 w 8566434"/>
                <a:gd name="connsiteY5615" fmla="*/ 1499931 h 2765205"/>
                <a:gd name="connsiteX5616" fmla="*/ 6465005 w 8566434"/>
                <a:gd name="connsiteY5616" fmla="*/ 1518334 h 2765205"/>
                <a:gd name="connsiteX5617" fmla="*/ 6455149 w 8566434"/>
                <a:gd name="connsiteY5617" fmla="*/ 1517024 h 2765205"/>
                <a:gd name="connsiteX5618" fmla="*/ 6425098 w 8566434"/>
                <a:gd name="connsiteY5618" fmla="*/ 2000944 h 2765205"/>
                <a:gd name="connsiteX5619" fmla="*/ 6441020 w 8566434"/>
                <a:gd name="connsiteY5619" fmla="*/ 2007009 h 2765205"/>
                <a:gd name="connsiteX5620" fmla="*/ 6425581 w 8566434"/>
                <a:gd name="connsiteY5620" fmla="*/ 2006320 h 2765205"/>
                <a:gd name="connsiteX5621" fmla="*/ 6420342 w 8566434"/>
                <a:gd name="connsiteY5621" fmla="*/ 2074555 h 2765205"/>
                <a:gd name="connsiteX5622" fmla="*/ 6439779 w 8566434"/>
                <a:gd name="connsiteY5622" fmla="*/ 2082964 h 2765205"/>
                <a:gd name="connsiteX5623" fmla="*/ 6420825 w 8566434"/>
                <a:gd name="connsiteY5623" fmla="*/ 2078002 h 2765205"/>
                <a:gd name="connsiteX5624" fmla="*/ 6419033 w 8566434"/>
                <a:gd name="connsiteY5624" fmla="*/ 2139069 h 2765205"/>
                <a:gd name="connsiteX5625" fmla="*/ 6436471 w 8566434"/>
                <a:gd name="connsiteY5625" fmla="*/ 2142791 h 2765205"/>
                <a:gd name="connsiteX5626" fmla="*/ 6436677 w 8566434"/>
                <a:gd name="connsiteY5626" fmla="*/ 2107708 h 2765205"/>
                <a:gd name="connsiteX5627" fmla="*/ 6440124 w 8566434"/>
                <a:gd name="connsiteY5627" fmla="*/ 2141964 h 2765205"/>
                <a:gd name="connsiteX5628" fmla="*/ 6533654 w 8566434"/>
                <a:gd name="connsiteY5628" fmla="*/ 2147615 h 2765205"/>
                <a:gd name="connsiteX5629" fmla="*/ 6555779 w 8566434"/>
                <a:gd name="connsiteY5629" fmla="*/ 2049260 h 2765205"/>
                <a:gd name="connsiteX5630" fmla="*/ 6531793 w 8566434"/>
                <a:gd name="connsiteY5630" fmla="*/ 2044642 h 2765205"/>
                <a:gd name="connsiteX5631" fmla="*/ 6526279 w 8566434"/>
                <a:gd name="connsiteY5631" fmla="*/ 2087582 h 2765205"/>
                <a:gd name="connsiteX5632" fmla="*/ 6522695 w 8566434"/>
                <a:gd name="connsiteY5632" fmla="*/ 2048088 h 2765205"/>
                <a:gd name="connsiteX5633" fmla="*/ 6541098 w 8566434"/>
                <a:gd name="connsiteY5633" fmla="*/ 2042574 h 2765205"/>
                <a:gd name="connsiteX5634" fmla="*/ 6556951 w 8566434"/>
                <a:gd name="connsiteY5634" fmla="*/ 2042023 h 2765205"/>
                <a:gd name="connsiteX5635" fmla="*/ 6710032 w 8566434"/>
                <a:gd name="connsiteY5635" fmla="*/ 1371317 h 2765205"/>
                <a:gd name="connsiteX5636" fmla="*/ 6718992 w 8566434"/>
                <a:gd name="connsiteY5636" fmla="*/ 1359462 h 2765205"/>
                <a:gd name="connsiteX5637" fmla="*/ 6695489 w 8566434"/>
                <a:gd name="connsiteY5637" fmla="*/ 1760879 h 2765205"/>
                <a:gd name="connsiteX5638" fmla="*/ 6668195 w 8566434"/>
                <a:gd name="connsiteY5638" fmla="*/ 2154025 h 2765205"/>
                <a:gd name="connsiteX5639" fmla="*/ 7089532 w 8566434"/>
                <a:gd name="connsiteY5639" fmla="*/ 1179914 h 2765205"/>
                <a:gd name="connsiteX5640" fmla="*/ 7112345 w 8566434"/>
                <a:gd name="connsiteY5640" fmla="*/ 1147450 h 2765205"/>
                <a:gd name="connsiteX5641" fmla="*/ 7098492 w 8566434"/>
                <a:gd name="connsiteY5641" fmla="*/ 1153791 h 2765205"/>
                <a:gd name="connsiteX5642" fmla="*/ 7106418 w 8566434"/>
                <a:gd name="connsiteY5642" fmla="*/ 1195904 h 2765205"/>
                <a:gd name="connsiteX5643" fmla="*/ 7089532 w 8566434"/>
                <a:gd name="connsiteY5643" fmla="*/ 1179914 h 2765205"/>
                <a:gd name="connsiteX5644" fmla="*/ 7100697 w 8566434"/>
                <a:gd name="connsiteY5644" fmla="*/ 1251389 h 2765205"/>
                <a:gd name="connsiteX5645" fmla="*/ 7100697 w 8566434"/>
                <a:gd name="connsiteY5645" fmla="*/ 1251389 h 2765205"/>
                <a:gd name="connsiteX5646" fmla="*/ 7073472 w 8566434"/>
                <a:gd name="connsiteY5646" fmla="*/ 1291227 h 2765205"/>
                <a:gd name="connsiteX5647" fmla="*/ 7073472 w 8566434"/>
                <a:gd name="connsiteY5647" fmla="*/ 1291227 h 2765205"/>
                <a:gd name="connsiteX5648" fmla="*/ 7068165 w 8566434"/>
                <a:gd name="connsiteY5648" fmla="*/ 1333340 h 2765205"/>
                <a:gd name="connsiteX5649" fmla="*/ 7060721 w 8566434"/>
                <a:gd name="connsiteY5649" fmla="*/ 1326172 h 2765205"/>
                <a:gd name="connsiteX5650" fmla="*/ 7068165 w 8566434"/>
                <a:gd name="connsiteY5650" fmla="*/ 1333340 h 2765205"/>
                <a:gd name="connsiteX5651" fmla="*/ 7034874 w 8566434"/>
                <a:gd name="connsiteY5651" fmla="*/ 1479184 h 2765205"/>
                <a:gd name="connsiteX5652" fmla="*/ 7051830 w 8566434"/>
                <a:gd name="connsiteY5652" fmla="*/ 1490833 h 2765205"/>
                <a:gd name="connsiteX5653" fmla="*/ 7034874 w 8566434"/>
                <a:gd name="connsiteY5653" fmla="*/ 1479184 h 2765205"/>
                <a:gd name="connsiteX5654" fmla="*/ 7073817 w 8566434"/>
                <a:gd name="connsiteY5654" fmla="*/ 1519161 h 2765205"/>
                <a:gd name="connsiteX5655" fmla="*/ 7073817 w 8566434"/>
                <a:gd name="connsiteY5655" fmla="*/ 1519161 h 2765205"/>
                <a:gd name="connsiteX5656" fmla="*/ 7044661 w 8566434"/>
                <a:gd name="connsiteY5656" fmla="*/ 1510338 h 2765205"/>
                <a:gd name="connsiteX5657" fmla="*/ 7063064 w 8566434"/>
                <a:gd name="connsiteY5657" fmla="*/ 1531498 h 2765205"/>
                <a:gd name="connsiteX5658" fmla="*/ 7044661 w 8566434"/>
                <a:gd name="connsiteY5658" fmla="*/ 1510338 h 2765205"/>
                <a:gd name="connsiteX5659" fmla="*/ 7016057 w 8566434"/>
                <a:gd name="connsiteY5659" fmla="*/ 1563272 h 2765205"/>
                <a:gd name="connsiteX5660" fmla="*/ 7005788 w 8566434"/>
                <a:gd name="connsiteY5660" fmla="*/ 1547144 h 2765205"/>
                <a:gd name="connsiteX5661" fmla="*/ 7023157 w 8566434"/>
                <a:gd name="connsiteY5661" fmla="*/ 1536461 h 2765205"/>
                <a:gd name="connsiteX5662" fmla="*/ 7071335 w 8566434"/>
                <a:gd name="connsiteY5662" fmla="*/ 1544249 h 2765205"/>
                <a:gd name="connsiteX5663" fmla="*/ 7055620 w 8566434"/>
                <a:gd name="connsiteY5663" fmla="*/ 1567063 h 2765205"/>
                <a:gd name="connsiteX5664" fmla="*/ 7042801 w 8566434"/>
                <a:gd name="connsiteY5664" fmla="*/ 1543560 h 2765205"/>
                <a:gd name="connsiteX5665" fmla="*/ 7043559 w 8566434"/>
                <a:gd name="connsiteY5665" fmla="*/ 1565064 h 2765205"/>
                <a:gd name="connsiteX5666" fmla="*/ 7016057 w 8566434"/>
                <a:gd name="connsiteY5666" fmla="*/ 1563272 h 2765205"/>
                <a:gd name="connsiteX5667" fmla="*/ 7017367 w 8566434"/>
                <a:gd name="connsiteY5667" fmla="*/ 1594357 h 2765205"/>
                <a:gd name="connsiteX5668" fmla="*/ 7017367 w 8566434"/>
                <a:gd name="connsiteY5668" fmla="*/ 1594357 h 2765205"/>
                <a:gd name="connsiteX5669" fmla="*/ 6998068 w 8566434"/>
                <a:gd name="connsiteY5669" fmla="*/ 1733309 h 2765205"/>
                <a:gd name="connsiteX5670" fmla="*/ 6998068 w 8566434"/>
                <a:gd name="connsiteY5670" fmla="*/ 1733309 h 2765205"/>
                <a:gd name="connsiteX5671" fmla="*/ 7018401 w 8566434"/>
                <a:gd name="connsiteY5671" fmla="*/ 1843451 h 2765205"/>
                <a:gd name="connsiteX5672" fmla="*/ 7028464 w 8566434"/>
                <a:gd name="connsiteY5672" fmla="*/ 1831527 h 2765205"/>
                <a:gd name="connsiteX5673" fmla="*/ 7018401 w 8566434"/>
                <a:gd name="connsiteY5673" fmla="*/ 1843451 h 2765205"/>
                <a:gd name="connsiteX5674" fmla="*/ 7025983 w 8566434"/>
                <a:gd name="connsiteY5674" fmla="*/ 1864060 h 2765205"/>
                <a:gd name="connsiteX5675" fmla="*/ 7025983 w 8566434"/>
                <a:gd name="connsiteY5675" fmla="*/ 1864060 h 2765205"/>
                <a:gd name="connsiteX5676" fmla="*/ 6996345 w 8566434"/>
                <a:gd name="connsiteY5676" fmla="*/ 1950077 h 2765205"/>
                <a:gd name="connsiteX5677" fmla="*/ 7006546 w 8566434"/>
                <a:gd name="connsiteY5677" fmla="*/ 1923197 h 2765205"/>
                <a:gd name="connsiteX5678" fmla="*/ 6997930 w 8566434"/>
                <a:gd name="connsiteY5678" fmla="*/ 1915546 h 2765205"/>
                <a:gd name="connsiteX5679" fmla="*/ 7004754 w 8566434"/>
                <a:gd name="connsiteY5679" fmla="*/ 1901968 h 2765205"/>
                <a:gd name="connsiteX5680" fmla="*/ 7017919 w 8566434"/>
                <a:gd name="connsiteY5680" fmla="*/ 1914168 h 2765205"/>
                <a:gd name="connsiteX5681" fmla="*/ 7032599 w 8566434"/>
                <a:gd name="connsiteY5681" fmla="*/ 1871365 h 2765205"/>
                <a:gd name="connsiteX5682" fmla="*/ 7043076 w 8566434"/>
                <a:gd name="connsiteY5682" fmla="*/ 1874881 h 2765205"/>
                <a:gd name="connsiteX5683" fmla="*/ 7029498 w 8566434"/>
                <a:gd name="connsiteY5683" fmla="*/ 1918648 h 2765205"/>
                <a:gd name="connsiteX5684" fmla="*/ 6996345 w 8566434"/>
                <a:gd name="connsiteY5684" fmla="*/ 1950077 h 2765205"/>
                <a:gd name="connsiteX5685" fmla="*/ 6999309 w 8566434"/>
                <a:gd name="connsiteY5685" fmla="*/ 1993845 h 2765205"/>
                <a:gd name="connsiteX5686" fmla="*/ 7004548 w 8566434"/>
                <a:gd name="connsiteY5686" fmla="*/ 1970272 h 2765205"/>
                <a:gd name="connsiteX5687" fmla="*/ 6999309 w 8566434"/>
                <a:gd name="connsiteY5687" fmla="*/ 1993845 h 2765205"/>
                <a:gd name="connsiteX5688" fmla="*/ 6867456 w 8566434"/>
                <a:gd name="connsiteY5688" fmla="*/ 1995706 h 2765205"/>
                <a:gd name="connsiteX5689" fmla="*/ 6867456 w 8566434"/>
                <a:gd name="connsiteY5689" fmla="*/ 1995706 h 2765205"/>
                <a:gd name="connsiteX5690" fmla="*/ 7053621 w 8566434"/>
                <a:gd name="connsiteY5690" fmla="*/ 2016107 h 2765205"/>
                <a:gd name="connsiteX5691" fmla="*/ 7053621 w 8566434"/>
                <a:gd name="connsiteY5691" fmla="*/ 2016107 h 2765205"/>
                <a:gd name="connsiteX5692" fmla="*/ 6873177 w 8566434"/>
                <a:gd name="connsiteY5692" fmla="*/ 2014798 h 2765205"/>
                <a:gd name="connsiteX5693" fmla="*/ 6873177 w 8566434"/>
                <a:gd name="connsiteY5693" fmla="*/ 2014798 h 2765205"/>
                <a:gd name="connsiteX5694" fmla="*/ 7066235 w 8566434"/>
                <a:gd name="connsiteY5694" fmla="*/ 2022793 h 2765205"/>
                <a:gd name="connsiteX5695" fmla="*/ 7066235 w 8566434"/>
                <a:gd name="connsiteY5695" fmla="*/ 2022793 h 2765205"/>
                <a:gd name="connsiteX5696" fmla="*/ 6913222 w 8566434"/>
                <a:gd name="connsiteY5696" fmla="*/ 2022517 h 2765205"/>
                <a:gd name="connsiteX5697" fmla="*/ 6913222 w 8566434"/>
                <a:gd name="connsiteY5697" fmla="*/ 2022517 h 2765205"/>
                <a:gd name="connsiteX5698" fmla="*/ 6997930 w 8566434"/>
                <a:gd name="connsiteY5698" fmla="*/ 2030581 h 2765205"/>
                <a:gd name="connsiteX5699" fmla="*/ 6997930 w 8566434"/>
                <a:gd name="connsiteY5699" fmla="*/ 2030581 h 2765205"/>
                <a:gd name="connsiteX5700" fmla="*/ 6956782 w 8566434"/>
                <a:gd name="connsiteY5700" fmla="*/ 2028858 h 2765205"/>
                <a:gd name="connsiteX5701" fmla="*/ 6956782 w 8566434"/>
                <a:gd name="connsiteY5701" fmla="*/ 2028858 h 2765205"/>
                <a:gd name="connsiteX5702" fmla="*/ 7065339 w 8566434"/>
                <a:gd name="connsiteY5702" fmla="*/ 2031891 h 2765205"/>
                <a:gd name="connsiteX5703" fmla="*/ 7078366 w 8566434"/>
                <a:gd name="connsiteY5703" fmla="*/ 2040782 h 2765205"/>
                <a:gd name="connsiteX5704" fmla="*/ 7080295 w 8566434"/>
                <a:gd name="connsiteY5704" fmla="*/ 2010455 h 2765205"/>
                <a:gd name="connsiteX5705" fmla="*/ 7113311 w 8566434"/>
                <a:gd name="connsiteY5705" fmla="*/ 2028789 h 2765205"/>
                <a:gd name="connsiteX5706" fmla="*/ 7088015 w 8566434"/>
                <a:gd name="connsiteY5706" fmla="*/ 2024861 h 2765205"/>
                <a:gd name="connsiteX5707" fmla="*/ 7076298 w 8566434"/>
                <a:gd name="connsiteY5707" fmla="*/ 2049191 h 2765205"/>
                <a:gd name="connsiteX5708" fmla="*/ 7065339 w 8566434"/>
                <a:gd name="connsiteY5708" fmla="*/ 2031891 h 2765205"/>
                <a:gd name="connsiteX5709" fmla="*/ 6911913 w 8566434"/>
                <a:gd name="connsiteY5709" fmla="*/ 2062562 h 2765205"/>
                <a:gd name="connsiteX5710" fmla="*/ 6888547 w 8566434"/>
                <a:gd name="connsiteY5710" fmla="*/ 2037887 h 2765205"/>
                <a:gd name="connsiteX5711" fmla="*/ 6894888 w 8566434"/>
                <a:gd name="connsiteY5711" fmla="*/ 2026239 h 2765205"/>
                <a:gd name="connsiteX5712" fmla="*/ 6941206 w 8566434"/>
                <a:gd name="connsiteY5712" fmla="*/ 2063389 h 2765205"/>
                <a:gd name="connsiteX5713" fmla="*/ 6911913 w 8566434"/>
                <a:gd name="connsiteY5713" fmla="*/ 2062562 h 2765205"/>
                <a:gd name="connsiteX5714" fmla="*/ 6955611 w 8566434"/>
                <a:gd name="connsiteY5714" fmla="*/ 2084618 h 2765205"/>
                <a:gd name="connsiteX5715" fmla="*/ 6955611 w 8566434"/>
                <a:gd name="connsiteY5715" fmla="*/ 2084618 h 2765205"/>
                <a:gd name="connsiteX5716" fmla="*/ 7089325 w 8566434"/>
                <a:gd name="connsiteY5716" fmla="*/ 2107915 h 2765205"/>
                <a:gd name="connsiteX5717" fmla="*/ 7096493 w 8566434"/>
                <a:gd name="connsiteY5717" fmla="*/ 2072488 h 2765205"/>
                <a:gd name="connsiteX5718" fmla="*/ 7113517 w 8566434"/>
                <a:gd name="connsiteY5718" fmla="*/ 2084687 h 2765205"/>
                <a:gd name="connsiteX5719" fmla="*/ 7116412 w 8566434"/>
                <a:gd name="connsiteY5719" fmla="*/ 2066215 h 2765205"/>
                <a:gd name="connsiteX5720" fmla="*/ 7126889 w 8566434"/>
                <a:gd name="connsiteY5720" fmla="*/ 2105296 h 2765205"/>
                <a:gd name="connsiteX5721" fmla="*/ 7106969 w 8566434"/>
                <a:gd name="connsiteY5721" fmla="*/ 2088065 h 2765205"/>
                <a:gd name="connsiteX5722" fmla="*/ 7089325 w 8566434"/>
                <a:gd name="connsiteY5722" fmla="*/ 2107915 h 2765205"/>
                <a:gd name="connsiteX5723" fmla="*/ 7073472 w 8566434"/>
                <a:gd name="connsiteY5723" fmla="*/ 2105916 h 2765205"/>
                <a:gd name="connsiteX5724" fmla="*/ 7072162 w 8566434"/>
                <a:gd name="connsiteY5724" fmla="*/ 2091993 h 2765205"/>
                <a:gd name="connsiteX5725" fmla="*/ 7073472 w 8566434"/>
                <a:gd name="connsiteY5725" fmla="*/ 2105916 h 2765205"/>
                <a:gd name="connsiteX5726" fmla="*/ 7014472 w 8566434"/>
                <a:gd name="connsiteY5726" fmla="*/ 2108190 h 2765205"/>
                <a:gd name="connsiteX5727" fmla="*/ 6999723 w 8566434"/>
                <a:gd name="connsiteY5727" fmla="*/ 2080759 h 2765205"/>
                <a:gd name="connsiteX5728" fmla="*/ 7001721 w 8566434"/>
                <a:gd name="connsiteY5728" fmla="*/ 2068834 h 2765205"/>
                <a:gd name="connsiteX5729" fmla="*/ 6990487 w 8566434"/>
                <a:gd name="connsiteY5729" fmla="*/ 2068903 h 2765205"/>
                <a:gd name="connsiteX5730" fmla="*/ 7002135 w 8566434"/>
                <a:gd name="connsiteY5730" fmla="*/ 2067249 h 2765205"/>
                <a:gd name="connsiteX5731" fmla="*/ 6989797 w 8566434"/>
                <a:gd name="connsiteY5731" fmla="*/ 2046572 h 2765205"/>
                <a:gd name="connsiteX5732" fmla="*/ 7025018 w 8566434"/>
                <a:gd name="connsiteY5732" fmla="*/ 2073314 h 2765205"/>
                <a:gd name="connsiteX5733" fmla="*/ 7014472 w 8566434"/>
                <a:gd name="connsiteY5733" fmla="*/ 2108190 h 2765205"/>
                <a:gd name="connsiteX5734" fmla="*/ 7045764 w 8566434"/>
                <a:gd name="connsiteY5734" fmla="*/ 2110534 h 2765205"/>
                <a:gd name="connsiteX5735" fmla="*/ 7049762 w 8566434"/>
                <a:gd name="connsiteY5735" fmla="*/ 2087375 h 2765205"/>
                <a:gd name="connsiteX5736" fmla="*/ 7045764 w 8566434"/>
                <a:gd name="connsiteY5736" fmla="*/ 2110534 h 2765205"/>
                <a:gd name="connsiteX5737" fmla="*/ 7108279 w 8566434"/>
                <a:gd name="connsiteY5737" fmla="*/ 2139689 h 2765205"/>
                <a:gd name="connsiteX5738" fmla="*/ 7108141 w 8566434"/>
                <a:gd name="connsiteY5738" fmla="*/ 2107432 h 2765205"/>
                <a:gd name="connsiteX5739" fmla="*/ 7124476 w 8566434"/>
                <a:gd name="connsiteY5739" fmla="*/ 2132866 h 2765205"/>
                <a:gd name="connsiteX5740" fmla="*/ 7108279 w 8566434"/>
                <a:gd name="connsiteY5740" fmla="*/ 2139689 h 2765205"/>
                <a:gd name="connsiteX5741" fmla="*/ 7080227 w 8566434"/>
                <a:gd name="connsiteY5741" fmla="*/ 2146582 h 2765205"/>
                <a:gd name="connsiteX5742" fmla="*/ 7093736 w 8566434"/>
                <a:gd name="connsiteY5742" fmla="*/ 2133348 h 2765205"/>
                <a:gd name="connsiteX5743" fmla="*/ 7080227 w 8566434"/>
                <a:gd name="connsiteY5743" fmla="*/ 2146582 h 2765205"/>
                <a:gd name="connsiteX5744" fmla="*/ 6973876 w 8566434"/>
                <a:gd name="connsiteY5744" fmla="*/ 2155404 h 2765205"/>
                <a:gd name="connsiteX5745" fmla="*/ 6973532 w 8566434"/>
                <a:gd name="connsiteY5745" fmla="*/ 2141481 h 2765205"/>
                <a:gd name="connsiteX5746" fmla="*/ 6984490 w 8566434"/>
                <a:gd name="connsiteY5746" fmla="*/ 2111361 h 2765205"/>
                <a:gd name="connsiteX5747" fmla="*/ 6984628 w 8566434"/>
                <a:gd name="connsiteY5747" fmla="*/ 2160160 h 2765205"/>
                <a:gd name="connsiteX5748" fmla="*/ 6973876 w 8566434"/>
                <a:gd name="connsiteY5748" fmla="*/ 2155404 h 2765205"/>
                <a:gd name="connsiteX5749" fmla="*/ 7093736 w 8566434"/>
                <a:gd name="connsiteY5749" fmla="*/ 2174082 h 2765205"/>
                <a:gd name="connsiteX5750" fmla="*/ 7102696 w 8566434"/>
                <a:gd name="connsiteY5750" fmla="*/ 2164984 h 2765205"/>
                <a:gd name="connsiteX5751" fmla="*/ 7093736 w 8566434"/>
                <a:gd name="connsiteY5751" fmla="*/ 2174082 h 2765205"/>
                <a:gd name="connsiteX5752" fmla="*/ 7083742 w 8566434"/>
                <a:gd name="connsiteY5752" fmla="*/ 2181320 h 2765205"/>
                <a:gd name="connsiteX5753" fmla="*/ 7128267 w 8566434"/>
                <a:gd name="connsiteY5753" fmla="*/ 2180699 h 2765205"/>
                <a:gd name="connsiteX5754" fmla="*/ 7111449 w 8566434"/>
                <a:gd name="connsiteY5754" fmla="*/ 2174910 h 2765205"/>
                <a:gd name="connsiteX5755" fmla="*/ 7166865 w 8566434"/>
                <a:gd name="connsiteY5755" fmla="*/ 2183663 h 2765205"/>
                <a:gd name="connsiteX5756" fmla="*/ 7155699 w 8566434"/>
                <a:gd name="connsiteY5756" fmla="*/ 2170705 h 2765205"/>
                <a:gd name="connsiteX5757" fmla="*/ 7166934 w 8566434"/>
                <a:gd name="connsiteY5757" fmla="*/ 2174841 h 2765205"/>
                <a:gd name="connsiteX5758" fmla="*/ 7171345 w 8566434"/>
                <a:gd name="connsiteY5758" fmla="*/ 1996395 h 2765205"/>
                <a:gd name="connsiteX5759" fmla="*/ 7130955 w 8566434"/>
                <a:gd name="connsiteY5759" fmla="*/ 1993431 h 2765205"/>
                <a:gd name="connsiteX5760" fmla="*/ 7138881 w 8566434"/>
                <a:gd name="connsiteY5760" fmla="*/ 2008939 h 2765205"/>
                <a:gd name="connsiteX5761" fmla="*/ 7127715 w 8566434"/>
                <a:gd name="connsiteY5761" fmla="*/ 2006940 h 2765205"/>
                <a:gd name="connsiteX5762" fmla="*/ 7112277 w 8566434"/>
                <a:gd name="connsiteY5762" fmla="*/ 2017899 h 2765205"/>
                <a:gd name="connsiteX5763" fmla="*/ 7126200 w 8566434"/>
                <a:gd name="connsiteY5763" fmla="*/ 2002805 h 2765205"/>
                <a:gd name="connsiteX5764" fmla="*/ 7101387 w 8566434"/>
                <a:gd name="connsiteY5764" fmla="*/ 2012110 h 2765205"/>
                <a:gd name="connsiteX5765" fmla="*/ 7092151 w 8566434"/>
                <a:gd name="connsiteY5765" fmla="*/ 1988744 h 2765205"/>
                <a:gd name="connsiteX5766" fmla="*/ 7089945 w 8566434"/>
                <a:gd name="connsiteY5766" fmla="*/ 2005079 h 2765205"/>
                <a:gd name="connsiteX5767" fmla="*/ 7086705 w 8566434"/>
                <a:gd name="connsiteY5767" fmla="*/ 1990605 h 2765205"/>
                <a:gd name="connsiteX5768" fmla="*/ 7075677 w 8566434"/>
                <a:gd name="connsiteY5768" fmla="*/ 1989571 h 2765205"/>
                <a:gd name="connsiteX5769" fmla="*/ 7076643 w 8566434"/>
                <a:gd name="connsiteY5769" fmla="*/ 2005562 h 2765205"/>
                <a:gd name="connsiteX5770" fmla="*/ 7069474 w 8566434"/>
                <a:gd name="connsiteY5770" fmla="*/ 1976682 h 2765205"/>
                <a:gd name="connsiteX5771" fmla="*/ 7096148 w 8566434"/>
                <a:gd name="connsiteY5771" fmla="*/ 1541561 h 2765205"/>
                <a:gd name="connsiteX5772" fmla="*/ 7085879 w 8566434"/>
                <a:gd name="connsiteY5772" fmla="*/ 1561825 h 2765205"/>
                <a:gd name="connsiteX5773" fmla="*/ 7079813 w 8566434"/>
                <a:gd name="connsiteY5773" fmla="*/ 1561825 h 2765205"/>
                <a:gd name="connsiteX5774" fmla="*/ 7079675 w 8566434"/>
                <a:gd name="connsiteY5774" fmla="*/ 1530740 h 2765205"/>
                <a:gd name="connsiteX5775" fmla="*/ 7096631 w 8566434"/>
                <a:gd name="connsiteY5775" fmla="*/ 1533290 h 2765205"/>
                <a:gd name="connsiteX5776" fmla="*/ 7109588 w 8566434"/>
                <a:gd name="connsiteY5776" fmla="*/ 1337820 h 2765205"/>
                <a:gd name="connsiteX5777" fmla="*/ 7083259 w 8566434"/>
                <a:gd name="connsiteY5777" fmla="*/ 1329618 h 2765205"/>
                <a:gd name="connsiteX5778" fmla="*/ 7110071 w 8566434"/>
                <a:gd name="connsiteY5778" fmla="*/ 1329687 h 2765205"/>
                <a:gd name="connsiteX5779" fmla="*/ 7133643 w 8566434"/>
                <a:gd name="connsiteY5779" fmla="*/ 931371 h 2765205"/>
                <a:gd name="connsiteX5780" fmla="*/ 7031566 w 8566434"/>
                <a:gd name="connsiteY5780" fmla="*/ 925582 h 2765205"/>
                <a:gd name="connsiteX5781" fmla="*/ 6997448 w 8566434"/>
                <a:gd name="connsiteY5781" fmla="*/ 1472774 h 2765205"/>
                <a:gd name="connsiteX5782" fmla="*/ 6986765 w 8566434"/>
                <a:gd name="connsiteY5782" fmla="*/ 1633920 h 2765205"/>
                <a:gd name="connsiteX5783" fmla="*/ 7009717 w 8566434"/>
                <a:gd name="connsiteY5783" fmla="*/ 1636608 h 2765205"/>
                <a:gd name="connsiteX5784" fmla="*/ 7007373 w 8566434"/>
                <a:gd name="connsiteY5784" fmla="*/ 1657975 h 2765205"/>
                <a:gd name="connsiteX5785" fmla="*/ 6987385 w 8566434"/>
                <a:gd name="connsiteY5785" fmla="*/ 1642812 h 2765205"/>
                <a:gd name="connsiteX5786" fmla="*/ 6977942 w 8566434"/>
                <a:gd name="connsiteY5786" fmla="*/ 1786106 h 2765205"/>
                <a:gd name="connsiteX5787" fmla="*/ 7000274 w 8566434"/>
                <a:gd name="connsiteY5787" fmla="*/ 1768116 h 2765205"/>
                <a:gd name="connsiteX5788" fmla="*/ 6975461 w 8566434"/>
                <a:gd name="connsiteY5788" fmla="*/ 1813538 h 2765205"/>
                <a:gd name="connsiteX5789" fmla="*/ 6994691 w 8566434"/>
                <a:gd name="connsiteY5789" fmla="*/ 1792860 h 2765205"/>
                <a:gd name="connsiteX5790" fmla="*/ 7003927 w 8566434"/>
                <a:gd name="connsiteY5790" fmla="*/ 1812228 h 2765205"/>
                <a:gd name="connsiteX5791" fmla="*/ 6996345 w 8566434"/>
                <a:gd name="connsiteY5791" fmla="*/ 1826564 h 2765205"/>
                <a:gd name="connsiteX5792" fmla="*/ 6983526 w 8566434"/>
                <a:gd name="connsiteY5792" fmla="*/ 1833664 h 2765205"/>
                <a:gd name="connsiteX5793" fmla="*/ 6973600 w 8566434"/>
                <a:gd name="connsiteY5793" fmla="*/ 1850895 h 2765205"/>
                <a:gd name="connsiteX5794" fmla="*/ 6965881 w 8566434"/>
                <a:gd name="connsiteY5794" fmla="*/ 1982334 h 2765205"/>
                <a:gd name="connsiteX5795" fmla="*/ 6910258 w 8566434"/>
                <a:gd name="connsiteY5795" fmla="*/ 1979370 h 2765205"/>
                <a:gd name="connsiteX5796" fmla="*/ 6902952 w 8566434"/>
                <a:gd name="connsiteY5796" fmla="*/ 2018175 h 2765205"/>
                <a:gd name="connsiteX5797" fmla="*/ 6894613 w 8566434"/>
                <a:gd name="connsiteY5797" fmla="*/ 1979853 h 2765205"/>
                <a:gd name="connsiteX5798" fmla="*/ 6855532 w 8566434"/>
                <a:gd name="connsiteY5798" fmla="*/ 1977234 h 2765205"/>
                <a:gd name="connsiteX5799" fmla="*/ 6851397 w 8566434"/>
                <a:gd name="connsiteY5799" fmla="*/ 2038783 h 2765205"/>
                <a:gd name="connsiteX5800" fmla="*/ 6863045 w 8566434"/>
                <a:gd name="connsiteY5800" fmla="*/ 2057531 h 2765205"/>
                <a:gd name="connsiteX5801" fmla="*/ 6872970 w 8566434"/>
                <a:gd name="connsiteY5801" fmla="*/ 2043401 h 2765205"/>
                <a:gd name="connsiteX5802" fmla="*/ 6864286 w 8566434"/>
                <a:gd name="connsiteY5802" fmla="*/ 2067043 h 2765205"/>
                <a:gd name="connsiteX5803" fmla="*/ 6885515 w 8566434"/>
                <a:gd name="connsiteY5803" fmla="*/ 2057669 h 2765205"/>
                <a:gd name="connsiteX5804" fmla="*/ 6867043 w 8566434"/>
                <a:gd name="connsiteY5804" fmla="*/ 2072281 h 2765205"/>
                <a:gd name="connsiteX5805" fmla="*/ 6875383 w 8566434"/>
                <a:gd name="connsiteY5805" fmla="*/ 2100402 h 2765205"/>
                <a:gd name="connsiteX5806" fmla="*/ 6850914 w 8566434"/>
                <a:gd name="connsiteY5806" fmla="*/ 2060563 h 2765205"/>
                <a:gd name="connsiteX5807" fmla="*/ 6843884 w 8566434"/>
                <a:gd name="connsiteY5807" fmla="*/ 2165536 h 2765205"/>
                <a:gd name="connsiteX5808" fmla="*/ 6853258 w 8566434"/>
                <a:gd name="connsiteY5808" fmla="*/ 2165260 h 2765205"/>
                <a:gd name="connsiteX5809" fmla="*/ 6869937 w 8566434"/>
                <a:gd name="connsiteY5809" fmla="*/ 2135623 h 2765205"/>
                <a:gd name="connsiteX5810" fmla="*/ 6857531 w 8566434"/>
                <a:gd name="connsiteY5810" fmla="*/ 2165880 h 2765205"/>
                <a:gd name="connsiteX5811" fmla="*/ 7080433 w 8566434"/>
                <a:gd name="connsiteY5811" fmla="*/ 2180148 h 2765205"/>
                <a:gd name="connsiteX5812" fmla="*/ 7081881 w 8566434"/>
                <a:gd name="connsiteY5812" fmla="*/ 2160298 h 2765205"/>
                <a:gd name="connsiteX5813" fmla="*/ 7083742 w 8566434"/>
                <a:gd name="connsiteY5813" fmla="*/ 2181320 h 2765205"/>
                <a:gd name="connsiteX5814" fmla="*/ 7363645 w 8566434"/>
                <a:gd name="connsiteY5814" fmla="*/ 1100099 h 2765205"/>
                <a:gd name="connsiteX5815" fmla="*/ 7374673 w 8566434"/>
                <a:gd name="connsiteY5815" fmla="*/ 1088864 h 2765205"/>
                <a:gd name="connsiteX5816" fmla="*/ 7363645 w 8566434"/>
                <a:gd name="connsiteY5816" fmla="*/ 1100099 h 2765205"/>
                <a:gd name="connsiteX5817" fmla="*/ 7355649 w 8566434"/>
                <a:gd name="connsiteY5817" fmla="*/ 1360910 h 2765205"/>
                <a:gd name="connsiteX5818" fmla="*/ 7365299 w 8566434"/>
                <a:gd name="connsiteY5818" fmla="*/ 1352432 h 2765205"/>
                <a:gd name="connsiteX5819" fmla="*/ 7355649 w 8566434"/>
                <a:gd name="connsiteY5819" fmla="*/ 1360910 h 2765205"/>
                <a:gd name="connsiteX5820" fmla="*/ 7328562 w 8566434"/>
                <a:gd name="connsiteY5820" fmla="*/ 1338716 h 2765205"/>
                <a:gd name="connsiteX5821" fmla="*/ 7332904 w 8566434"/>
                <a:gd name="connsiteY5821" fmla="*/ 1367527 h 2765205"/>
                <a:gd name="connsiteX5822" fmla="*/ 7328562 w 8566434"/>
                <a:gd name="connsiteY5822" fmla="*/ 1338716 h 2765205"/>
                <a:gd name="connsiteX5823" fmla="*/ 7342692 w 8566434"/>
                <a:gd name="connsiteY5823" fmla="*/ 1401713 h 2765205"/>
                <a:gd name="connsiteX5824" fmla="*/ 7339383 w 8566434"/>
                <a:gd name="connsiteY5824" fmla="*/ 1383793 h 2765205"/>
                <a:gd name="connsiteX5825" fmla="*/ 7342692 w 8566434"/>
                <a:gd name="connsiteY5825" fmla="*/ 1401713 h 2765205"/>
                <a:gd name="connsiteX5826" fmla="*/ 7346069 w 8566434"/>
                <a:gd name="connsiteY5826" fmla="*/ 1521022 h 2765205"/>
                <a:gd name="connsiteX5827" fmla="*/ 7346000 w 8566434"/>
                <a:gd name="connsiteY5827" fmla="*/ 1469190 h 2765205"/>
                <a:gd name="connsiteX5828" fmla="*/ 7341589 w 8566434"/>
                <a:gd name="connsiteY5828" fmla="*/ 1460575 h 2765205"/>
                <a:gd name="connsiteX5829" fmla="*/ 7367504 w 8566434"/>
                <a:gd name="connsiteY5829" fmla="*/ 1458783 h 2765205"/>
                <a:gd name="connsiteX5830" fmla="*/ 7349997 w 8566434"/>
                <a:gd name="connsiteY5830" fmla="*/ 1482562 h 2765205"/>
                <a:gd name="connsiteX5831" fmla="*/ 7367780 w 8566434"/>
                <a:gd name="connsiteY5831" fmla="*/ 1496898 h 2765205"/>
                <a:gd name="connsiteX5832" fmla="*/ 7346069 w 8566434"/>
                <a:gd name="connsiteY5832" fmla="*/ 1521022 h 2765205"/>
                <a:gd name="connsiteX5833" fmla="*/ 7287690 w 8566434"/>
                <a:gd name="connsiteY5833" fmla="*/ 1594357 h 2765205"/>
                <a:gd name="connsiteX5834" fmla="*/ 7287690 w 8566434"/>
                <a:gd name="connsiteY5834" fmla="*/ 1594357 h 2765205"/>
                <a:gd name="connsiteX5835" fmla="*/ 7349515 w 8566434"/>
                <a:gd name="connsiteY5835" fmla="*/ 1691127 h 2765205"/>
                <a:gd name="connsiteX5836" fmla="*/ 7349515 w 8566434"/>
                <a:gd name="connsiteY5836" fmla="*/ 1691127 h 2765205"/>
                <a:gd name="connsiteX5837" fmla="*/ 7301130 w 8566434"/>
                <a:gd name="connsiteY5837" fmla="*/ 1766945 h 2765205"/>
                <a:gd name="connsiteX5838" fmla="*/ 7310366 w 8566434"/>
                <a:gd name="connsiteY5838" fmla="*/ 1757984 h 2765205"/>
                <a:gd name="connsiteX5839" fmla="*/ 7301130 w 8566434"/>
                <a:gd name="connsiteY5839" fmla="*/ 1766945 h 2765205"/>
                <a:gd name="connsiteX5840" fmla="*/ 7301130 w 8566434"/>
                <a:gd name="connsiteY5840" fmla="*/ 1788036 h 2765205"/>
                <a:gd name="connsiteX5841" fmla="*/ 7301130 w 8566434"/>
                <a:gd name="connsiteY5841" fmla="*/ 1788036 h 2765205"/>
                <a:gd name="connsiteX5842" fmla="*/ 7328907 w 8566434"/>
                <a:gd name="connsiteY5842" fmla="*/ 1876535 h 2765205"/>
                <a:gd name="connsiteX5843" fmla="*/ 7333042 w 8566434"/>
                <a:gd name="connsiteY5843" fmla="*/ 1860958 h 2765205"/>
                <a:gd name="connsiteX5844" fmla="*/ 7328907 w 8566434"/>
                <a:gd name="connsiteY5844" fmla="*/ 1876535 h 2765205"/>
                <a:gd name="connsiteX5845" fmla="*/ 7300992 w 8566434"/>
                <a:gd name="connsiteY5845" fmla="*/ 1913134 h 2765205"/>
                <a:gd name="connsiteX5846" fmla="*/ 7309814 w 8566434"/>
                <a:gd name="connsiteY5846" fmla="*/ 1903140 h 2765205"/>
                <a:gd name="connsiteX5847" fmla="*/ 7300992 w 8566434"/>
                <a:gd name="connsiteY5847" fmla="*/ 1913134 h 2765205"/>
                <a:gd name="connsiteX5848" fmla="*/ 7322221 w 8566434"/>
                <a:gd name="connsiteY5848" fmla="*/ 1973856 h 2765205"/>
                <a:gd name="connsiteX5849" fmla="*/ 7322221 w 8566434"/>
                <a:gd name="connsiteY5849" fmla="*/ 1973856 h 2765205"/>
                <a:gd name="connsiteX5850" fmla="*/ 7309401 w 8566434"/>
                <a:gd name="connsiteY5850" fmla="*/ 2117702 h 2765205"/>
                <a:gd name="connsiteX5851" fmla="*/ 7312709 w 8566434"/>
                <a:gd name="connsiteY5851" fmla="*/ 2095853 h 2765205"/>
                <a:gd name="connsiteX5852" fmla="*/ 7301199 w 8566434"/>
                <a:gd name="connsiteY5852" fmla="*/ 2099161 h 2765205"/>
                <a:gd name="connsiteX5853" fmla="*/ 7318499 w 8566434"/>
                <a:gd name="connsiteY5853" fmla="*/ 2086548 h 2765205"/>
                <a:gd name="connsiteX5854" fmla="*/ 7327459 w 8566434"/>
                <a:gd name="connsiteY5854" fmla="*/ 2119770 h 2765205"/>
                <a:gd name="connsiteX5855" fmla="*/ 7309401 w 8566434"/>
                <a:gd name="connsiteY5855" fmla="*/ 2117702 h 2765205"/>
                <a:gd name="connsiteX5856" fmla="*/ 7286311 w 8566434"/>
                <a:gd name="connsiteY5856" fmla="*/ 2176219 h 2765205"/>
                <a:gd name="connsiteX5857" fmla="*/ 7298648 w 8566434"/>
                <a:gd name="connsiteY5857" fmla="*/ 2163813 h 2765205"/>
                <a:gd name="connsiteX5858" fmla="*/ 7286311 w 8566434"/>
                <a:gd name="connsiteY5858" fmla="*/ 2176219 h 2765205"/>
                <a:gd name="connsiteX5859" fmla="*/ 7307264 w 8566434"/>
                <a:gd name="connsiteY5859" fmla="*/ 2185386 h 2765205"/>
                <a:gd name="connsiteX5860" fmla="*/ 7308091 w 8566434"/>
                <a:gd name="connsiteY5860" fmla="*/ 2151613 h 2765205"/>
                <a:gd name="connsiteX5861" fmla="*/ 7328217 w 8566434"/>
                <a:gd name="connsiteY5861" fmla="*/ 2157334 h 2765205"/>
                <a:gd name="connsiteX5862" fmla="*/ 7314364 w 8566434"/>
                <a:gd name="connsiteY5862" fmla="*/ 2185041 h 2765205"/>
                <a:gd name="connsiteX5863" fmla="*/ 7307264 w 8566434"/>
                <a:gd name="connsiteY5863" fmla="*/ 2185386 h 2765205"/>
                <a:gd name="connsiteX5864" fmla="*/ 7241441 w 8566434"/>
                <a:gd name="connsiteY5864" fmla="*/ 2184008 h 2765205"/>
                <a:gd name="connsiteX5865" fmla="*/ 7237788 w 8566434"/>
                <a:gd name="connsiteY5865" fmla="*/ 2162503 h 2765205"/>
                <a:gd name="connsiteX5866" fmla="*/ 7269149 w 8566434"/>
                <a:gd name="connsiteY5866" fmla="*/ 2166363 h 2765205"/>
                <a:gd name="connsiteX5867" fmla="*/ 7272871 w 8566434"/>
                <a:gd name="connsiteY5867" fmla="*/ 2185524 h 2765205"/>
                <a:gd name="connsiteX5868" fmla="*/ 7241441 w 8566434"/>
                <a:gd name="connsiteY5868" fmla="*/ 2184008 h 2765205"/>
                <a:gd name="connsiteX5869" fmla="*/ 7233308 w 8566434"/>
                <a:gd name="connsiteY5869" fmla="*/ 2188488 h 2765205"/>
                <a:gd name="connsiteX5870" fmla="*/ 7324702 w 8566434"/>
                <a:gd name="connsiteY5870" fmla="*/ 2192278 h 2765205"/>
                <a:gd name="connsiteX5871" fmla="*/ 7337246 w 8566434"/>
                <a:gd name="connsiteY5871" fmla="*/ 2196138 h 2765205"/>
                <a:gd name="connsiteX5872" fmla="*/ 7345035 w 8566434"/>
                <a:gd name="connsiteY5872" fmla="*/ 2071316 h 2765205"/>
                <a:gd name="connsiteX5873" fmla="*/ 7324289 w 8566434"/>
                <a:gd name="connsiteY5873" fmla="*/ 2078277 h 2765205"/>
                <a:gd name="connsiteX5874" fmla="*/ 7345724 w 8566434"/>
                <a:gd name="connsiteY5874" fmla="*/ 2058978 h 2765205"/>
                <a:gd name="connsiteX5875" fmla="*/ 7347240 w 8566434"/>
                <a:gd name="connsiteY5875" fmla="*/ 2007009 h 2765205"/>
                <a:gd name="connsiteX5876" fmla="*/ 7330492 w 8566434"/>
                <a:gd name="connsiteY5876" fmla="*/ 2022586 h 2765205"/>
                <a:gd name="connsiteX5877" fmla="*/ 7348757 w 8566434"/>
                <a:gd name="connsiteY5877" fmla="*/ 2005286 h 2765205"/>
                <a:gd name="connsiteX5878" fmla="*/ 7352341 w 8566434"/>
                <a:gd name="connsiteY5878" fmla="*/ 1969652 h 2765205"/>
                <a:gd name="connsiteX5879" fmla="*/ 7277626 w 8566434"/>
                <a:gd name="connsiteY5879" fmla="*/ 1937947 h 2765205"/>
                <a:gd name="connsiteX5880" fmla="*/ 7311193 w 8566434"/>
                <a:gd name="connsiteY5880" fmla="*/ 1950767 h 2765205"/>
                <a:gd name="connsiteX5881" fmla="*/ 7341589 w 8566434"/>
                <a:gd name="connsiteY5881" fmla="*/ 1959727 h 2765205"/>
                <a:gd name="connsiteX5882" fmla="*/ 7353306 w 8566434"/>
                <a:gd name="connsiteY5882" fmla="*/ 1935121 h 2765205"/>
                <a:gd name="connsiteX5883" fmla="*/ 7359785 w 8566434"/>
                <a:gd name="connsiteY5883" fmla="*/ 1826909 h 2765205"/>
                <a:gd name="connsiteX5884" fmla="*/ 7355719 w 8566434"/>
                <a:gd name="connsiteY5884" fmla="*/ 1822429 h 2765205"/>
                <a:gd name="connsiteX5885" fmla="*/ 7343312 w 8566434"/>
                <a:gd name="connsiteY5885" fmla="*/ 1828839 h 2765205"/>
                <a:gd name="connsiteX5886" fmla="*/ 7327597 w 8566434"/>
                <a:gd name="connsiteY5886" fmla="*/ 1816570 h 2765205"/>
                <a:gd name="connsiteX5887" fmla="*/ 7326081 w 8566434"/>
                <a:gd name="connsiteY5887" fmla="*/ 1779765 h 2765205"/>
                <a:gd name="connsiteX5888" fmla="*/ 7334972 w 8566434"/>
                <a:gd name="connsiteY5888" fmla="*/ 1762396 h 2765205"/>
                <a:gd name="connsiteX5889" fmla="*/ 7328217 w 8566434"/>
                <a:gd name="connsiteY5889" fmla="*/ 1789828 h 2765205"/>
                <a:gd name="connsiteX5890" fmla="*/ 7353995 w 8566434"/>
                <a:gd name="connsiteY5890" fmla="*/ 1810919 h 2765205"/>
                <a:gd name="connsiteX5891" fmla="*/ 7364334 w 8566434"/>
                <a:gd name="connsiteY5891" fmla="*/ 1760121 h 2765205"/>
                <a:gd name="connsiteX5892" fmla="*/ 7352892 w 8566434"/>
                <a:gd name="connsiteY5892" fmla="*/ 1755021 h 2765205"/>
                <a:gd name="connsiteX5893" fmla="*/ 7349722 w 8566434"/>
                <a:gd name="connsiteY5893" fmla="*/ 1742614 h 2765205"/>
                <a:gd name="connsiteX5894" fmla="*/ 7363714 w 8566434"/>
                <a:gd name="connsiteY5894" fmla="*/ 1756193 h 2765205"/>
                <a:gd name="connsiteX5895" fmla="*/ 7375569 w 8566434"/>
                <a:gd name="connsiteY5895" fmla="*/ 1582985 h 2765205"/>
                <a:gd name="connsiteX5896" fmla="*/ 7372398 w 8566434"/>
                <a:gd name="connsiteY5896" fmla="*/ 1544456 h 2765205"/>
                <a:gd name="connsiteX5897" fmla="*/ 7378670 w 8566434"/>
                <a:gd name="connsiteY5897" fmla="*/ 1536668 h 2765205"/>
                <a:gd name="connsiteX5898" fmla="*/ 7384391 w 8566434"/>
                <a:gd name="connsiteY5898" fmla="*/ 1430937 h 2765205"/>
                <a:gd name="connsiteX5899" fmla="*/ 7366953 w 8566434"/>
                <a:gd name="connsiteY5899" fmla="*/ 1433694 h 2765205"/>
                <a:gd name="connsiteX5900" fmla="*/ 7366747 w 8566434"/>
                <a:gd name="connsiteY5900" fmla="*/ 1423286 h 2765205"/>
                <a:gd name="connsiteX5901" fmla="*/ 7387424 w 8566434"/>
                <a:gd name="connsiteY5901" fmla="*/ 1405435 h 2765205"/>
                <a:gd name="connsiteX5902" fmla="*/ 7359509 w 8566434"/>
                <a:gd name="connsiteY5902" fmla="*/ 1401782 h 2765205"/>
                <a:gd name="connsiteX5903" fmla="*/ 7387769 w 8566434"/>
                <a:gd name="connsiteY5903" fmla="*/ 1395441 h 2765205"/>
                <a:gd name="connsiteX5904" fmla="*/ 7414924 w 8566434"/>
                <a:gd name="connsiteY5904" fmla="*/ 949016 h 2765205"/>
                <a:gd name="connsiteX5905" fmla="*/ 7376051 w 8566434"/>
                <a:gd name="connsiteY5905" fmla="*/ 947362 h 2765205"/>
                <a:gd name="connsiteX5906" fmla="*/ 7381772 w 8566434"/>
                <a:gd name="connsiteY5906" fmla="*/ 971486 h 2765205"/>
                <a:gd name="connsiteX5907" fmla="*/ 7394454 w 8566434"/>
                <a:gd name="connsiteY5907" fmla="*/ 964042 h 2765205"/>
                <a:gd name="connsiteX5908" fmla="*/ 7384253 w 8566434"/>
                <a:gd name="connsiteY5908" fmla="*/ 1040410 h 2765205"/>
                <a:gd name="connsiteX5909" fmla="*/ 7387286 w 8566434"/>
                <a:gd name="connsiteY5909" fmla="*/ 1004983 h 2765205"/>
                <a:gd name="connsiteX5910" fmla="*/ 7376120 w 8566434"/>
                <a:gd name="connsiteY5910" fmla="*/ 1004845 h 2765205"/>
                <a:gd name="connsiteX5911" fmla="*/ 7387975 w 8566434"/>
                <a:gd name="connsiteY5911" fmla="*/ 1002295 h 2765205"/>
                <a:gd name="connsiteX5912" fmla="*/ 7386735 w 8566434"/>
                <a:gd name="connsiteY5912" fmla="*/ 976793 h 2765205"/>
                <a:gd name="connsiteX5913" fmla="*/ 7371778 w 8566434"/>
                <a:gd name="connsiteY5913" fmla="*/ 980170 h 2765205"/>
                <a:gd name="connsiteX5914" fmla="*/ 7364679 w 8566434"/>
                <a:gd name="connsiteY5914" fmla="*/ 967488 h 2765205"/>
                <a:gd name="connsiteX5915" fmla="*/ 7364196 w 8566434"/>
                <a:gd name="connsiteY5915" fmla="*/ 947362 h 2765205"/>
                <a:gd name="connsiteX5916" fmla="*/ 7342830 w 8566434"/>
                <a:gd name="connsiteY5916" fmla="*/ 943571 h 2765205"/>
                <a:gd name="connsiteX5917" fmla="*/ 7336006 w 8566434"/>
                <a:gd name="connsiteY5917" fmla="*/ 963284 h 2765205"/>
                <a:gd name="connsiteX5918" fmla="*/ 7335248 w 8566434"/>
                <a:gd name="connsiteY5918" fmla="*/ 938057 h 2765205"/>
                <a:gd name="connsiteX5919" fmla="*/ 7308574 w 8566434"/>
                <a:gd name="connsiteY5919" fmla="*/ 956046 h 2765205"/>
                <a:gd name="connsiteX5920" fmla="*/ 7329665 w 8566434"/>
                <a:gd name="connsiteY5920" fmla="*/ 958803 h 2765205"/>
                <a:gd name="connsiteX5921" fmla="*/ 7306782 w 8566434"/>
                <a:gd name="connsiteY5921" fmla="*/ 997057 h 2765205"/>
                <a:gd name="connsiteX5922" fmla="*/ 7332904 w 8566434"/>
                <a:gd name="connsiteY5922" fmla="*/ 985133 h 2765205"/>
                <a:gd name="connsiteX5923" fmla="*/ 7330147 w 8566434"/>
                <a:gd name="connsiteY5923" fmla="*/ 998711 h 2765205"/>
                <a:gd name="connsiteX5924" fmla="*/ 7309332 w 8566434"/>
                <a:gd name="connsiteY5924" fmla="*/ 998022 h 2765205"/>
                <a:gd name="connsiteX5925" fmla="*/ 7303611 w 8566434"/>
                <a:gd name="connsiteY5925" fmla="*/ 1081765 h 2765205"/>
                <a:gd name="connsiteX5926" fmla="*/ 7310297 w 8566434"/>
                <a:gd name="connsiteY5926" fmla="*/ 1088933 h 2765205"/>
                <a:gd name="connsiteX5927" fmla="*/ 7318292 w 8566434"/>
                <a:gd name="connsiteY5927" fmla="*/ 1118640 h 2765205"/>
                <a:gd name="connsiteX5928" fmla="*/ 7300372 w 8566434"/>
                <a:gd name="connsiteY5928" fmla="*/ 1124843 h 2765205"/>
                <a:gd name="connsiteX5929" fmla="*/ 7328217 w 8566434"/>
                <a:gd name="connsiteY5929" fmla="*/ 1134010 h 2765205"/>
                <a:gd name="connsiteX5930" fmla="*/ 7306575 w 8566434"/>
                <a:gd name="connsiteY5930" fmla="*/ 1178259 h 2765205"/>
                <a:gd name="connsiteX5931" fmla="*/ 7319602 w 8566434"/>
                <a:gd name="connsiteY5931" fmla="*/ 1144073 h 2765205"/>
                <a:gd name="connsiteX5932" fmla="*/ 7301888 w 8566434"/>
                <a:gd name="connsiteY5932" fmla="*/ 1127324 h 2765205"/>
                <a:gd name="connsiteX5933" fmla="*/ 7287690 w 8566434"/>
                <a:gd name="connsiteY5933" fmla="*/ 1325551 h 2765205"/>
                <a:gd name="connsiteX5934" fmla="*/ 7292515 w 8566434"/>
                <a:gd name="connsiteY5934" fmla="*/ 1328722 h 2765205"/>
                <a:gd name="connsiteX5935" fmla="*/ 7309952 w 8566434"/>
                <a:gd name="connsiteY5935" fmla="*/ 1332030 h 2765205"/>
                <a:gd name="connsiteX5936" fmla="*/ 7302577 w 8566434"/>
                <a:gd name="connsiteY5936" fmla="*/ 1363253 h 2765205"/>
                <a:gd name="connsiteX5937" fmla="*/ 7292445 w 8566434"/>
                <a:gd name="connsiteY5937" fmla="*/ 1340094 h 2765205"/>
                <a:gd name="connsiteX5938" fmla="*/ 7285829 w 8566434"/>
                <a:gd name="connsiteY5938" fmla="*/ 1345126 h 2765205"/>
                <a:gd name="connsiteX5939" fmla="*/ 7271975 w 8566434"/>
                <a:gd name="connsiteY5939" fmla="*/ 1574714 h 2765205"/>
                <a:gd name="connsiteX5940" fmla="*/ 7292721 w 8566434"/>
                <a:gd name="connsiteY5940" fmla="*/ 1567339 h 2765205"/>
                <a:gd name="connsiteX5941" fmla="*/ 7271010 w 8566434"/>
                <a:gd name="connsiteY5941" fmla="*/ 1596908 h 2765205"/>
                <a:gd name="connsiteX5942" fmla="*/ 7248265 w 8566434"/>
                <a:gd name="connsiteY5942" fmla="*/ 1956005 h 2765205"/>
                <a:gd name="connsiteX5943" fmla="*/ 7251366 w 8566434"/>
                <a:gd name="connsiteY5943" fmla="*/ 1989295 h 2765205"/>
                <a:gd name="connsiteX5944" fmla="*/ 7255226 w 8566434"/>
                <a:gd name="connsiteY5944" fmla="*/ 1994327 h 2765205"/>
                <a:gd name="connsiteX5945" fmla="*/ 7251987 w 8566434"/>
                <a:gd name="connsiteY5945" fmla="*/ 1996601 h 2765205"/>
                <a:gd name="connsiteX5946" fmla="*/ 7244267 w 8566434"/>
                <a:gd name="connsiteY5946" fmla="*/ 2024033 h 2765205"/>
                <a:gd name="connsiteX5947" fmla="*/ 7233308 w 8566434"/>
                <a:gd name="connsiteY5947" fmla="*/ 2188488 h 2765205"/>
                <a:gd name="connsiteX5948" fmla="*/ 29374 w 8566434"/>
                <a:gd name="connsiteY5948" fmla="*/ 1709668 h 2765205"/>
                <a:gd name="connsiteX5949" fmla="*/ 28481 w 8566434"/>
                <a:gd name="connsiteY5949" fmla="*/ 1692575 h 2765205"/>
                <a:gd name="connsiteX5950" fmla="*/ 43369 w 8566434"/>
                <a:gd name="connsiteY5950" fmla="*/ 1711805 h 2765205"/>
                <a:gd name="connsiteX5951" fmla="*/ 62665 w 8566434"/>
                <a:gd name="connsiteY5951" fmla="*/ 1726762 h 2765205"/>
                <a:gd name="connsiteX5952" fmla="*/ 29374 w 8566434"/>
                <a:gd name="connsiteY5952" fmla="*/ 1709668 h 2765205"/>
                <a:gd name="connsiteX5953" fmla="*/ 58048 w 8566434"/>
                <a:gd name="connsiteY5953" fmla="*/ 1813813 h 2765205"/>
                <a:gd name="connsiteX5954" fmla="*/ 72867 w 8566434"/>
                <a:gd name="connsiteY5954" fmla="*/ 1799822 h 2765205"/>
                <a:gd name="connsiteX5955" fmla="*/ 58048 w 8566434"/>
                <a:gd name="connsiteY5955" fmla="*/ 1813813 h 2765205"/>
                <a:gd name="connsiteX5956" fmla="*/ 86377 w 8566434"/>
                <a:gd name="connsiteY5956" fmla="*/ 1810298 h 2765205"/>
                <a:gd name="connsiteX5957" fmla="*/ 83824 w 8566434"/>
                <a:gd name="connsiteY5957" fmla="*/ 1805336 h 2765205"/>
                <a:gd name="connsiteX5958" fmla="*/ 117531 w 8566434"/>
                <a:gd name="connsiteY5958" fmla="*/ 1809402 h 2765205"/>
                <a:gd name="connsiteX5959" fmla="*/ 106914 w 8566434"/>
                <a:gd name="connsiteY5959" fmla="*/ 1837799 h 2765205"/>
                <a:gd name="connsiteX5960" fmla="*/ 103468 w 8566434"/>
                <a:gd name="connsiteY5960" fmla="*/ 1820499 h 2765205"/>
                <a:gd name="connsiteX5961" fmla="*/ 92578 w 8566434"/>
                <a:gd name="connsiteY5961" fmla="*/ 1830149 h 2765205"/>
                <a:gd name="connsiteX5962" fmla="*/ 89132 w 8566434"/>
                <a:gd name="connsiteY5962" fmla="*/ 1841452 h 2765205"/>
                <a:gd name="connsiteX5963" fmla="*/ 86377 w 8566434"/>
                <a:gd name="connsiteY5963" fmla="*/ 1810298 h 2765205"/>
                <a:gd name="connsiteX5964" fmla="*/ 56944 w 8566434"/>
                <a:gd name="connsiteY5964" fmla="*/ 1973512 h 2765205"/>
                <a:gd name="connsiteX5965" fmla="*/ 71900 w 8566434"/>
                <a:gd name="connsiteY5965" fmla="*/ 1961864 h 2765205"/>
                <a:gd name="connsiteX5966" fmla="*/ 56944 w 8566434"/>
                <a:gd name="connsiteY5966" fmla="*/ 1973512 h 2765205"/>
                <a:gd name="connsiteX5967" fmla="*/ 64870 w 8566434"/>
                <a:gd name="connsiteY5967" fmla="*/ 1994327 h 2765205"/>
                <a:gd name="connsiteX5968" fmla="*/ 64870 w 8566434"/>
                <a:gd name="connsiteY5968" fmla="*/ 1994327 h 2765205"/>
                <a:gd name="connsiteX5969" fmla="*/ 29584 w 8566434"/>
                <a:gd name="connsiteY5969" fmla="*/ 2035544 h 2765205"/>
                <a:gd name="connsiteX5970" fmla="*/ 33577 w 8566434"/>
                <a:gd name="connsiteY5970" fmla="*/ 2019002 h 2765205"/>
                <a:gd name="connsiteX5971" fmla="*/ 29584 w 8566434"/>
                <a:gd name="connsiteY5971" fmla="*/ 2035544 h 2765205"/>
                <a:gd name="connsiteX5972" fmla="*/ 33717 w 8566434"/>
                <a:gd name="connsiteY5972" fmla="*/ 2044642 h 2765205"/>
                <a:gd name="connsiteX5973" fmla="*/ 55221 w 8566434"/>
                <a:gd name="connsiteY5973" fmla="*/ 2053602 h 2765205"/>
                <a:gd name="connsiteX5974" fmla="*/ 80656 w 8566434"/>
                <a:gd name="connsiteY5974" fmla="*/ 1996326 h 2765205"/>
                <a:gd name="connsiteX5975" fmla="*/ 65632 w 8566434"/>
                <a:gd name="connsiteY5975" fmla="*/ 2058082 h 2765205"/>
                <a:gd name="connsiteX5976" fmla="*/ 33717 w 8566434"/>
                <a:gd name="connsiteY5976" fmla="*/ 2044642 h 2765205"/>
                <a:gd name="connsiteX5977" fmla="*/ 48606 w 8566434"/>
                <a:gd name="connsiteY5977" fmla="*/ 2146582 h 2765205"/>
                <a:gd name="connsiteX5978" fmla="*/ 79140 w 8566434"/>
                <a:gd name="connsiteY5978" fmla="*/ 2204961 h 2765205"/>
                <a:gd name="connsiteX5979" fmla="*/ 77347 w 8566434"/>
                <a:gd name="connsiteY5979" fmla="*/ 2194760 h 2765205"/>
                <a:gd name="connsiteX5980" fmla="*/ 73209 w 8566434"/>
                <a:gd name="connsiteY5980" fmla="*/ 2188281 h 2765205"/>
                <a:gd name="connsiteX5981" fmla="*/ 64046 w 8566434"/>
                <a:gd name="connsiteY5981" fmla="*/ 2178701 h 2765205"/>
                <a:gd name="connsiteX5982" fmla="*/ 80863 w 8566434"/>
                <a:gd name="connsiteY5982" fmla="*/ 2144514 h 2765205"/>
                <a:gd name="connsiteX5983" fmla="*/ 78451 w 8566434"/>
                <a:gd name="connsiteY5983" fmla="*/ 2107777 h 2765205"/>
                <a:gd name="connsiteX5984" fmla="*/ 54123 w 8566434"/>
                <a:gd name="connsiteY5984" fmla="*/ 2115359 h 2765205"/>
                <a:gd name="connsiteX5985" fmla="*/ 37648 w 8566434"/>
                <a:gd name="connsiteY5985" fmla="*/ 2091511 h 2765205"/>
                <a:gd name="connsiteX5986" fmla="*/ 29999 w 8566434"/>
                <a:gd name="connsiteY5986" fmla="*/ 2091442 h 2765205"/>
                <a:gd name="connsiteX5987" fmla="*/ 33717 w 8566434"/>
                <a:gd name="connsiteY5987" fmla="*/ 2081034 h 2765205"/>
                <a:gd name="connsiteX5988" fmla="*/ 31580 w 8566434"/>
                <a:gd name="connsiteY5988" fmla="*/ 2056635 h 2765205"/>
                <a:gd name="connsiteX5989" fmla="*/ 37923 w 8566434"/>
                <a:gd name="connsiteY5989" fmla="*/ 2082964 h 2765205"/>
                <a:gd name="connsiteX5990" fmla="*/ 62186 w 8566434"/>
                <a:gd name="connsiteY5990" fmla="*/ 2105985 h 2765205"/>
                <a:gd name="connsiteX5991" fmla="*/ 74316 w 8566434"/>
                <a:gd name="connsiteY5991" fmla="*/ 2082964 h 2765205"/>
                <a:gd name="connsiteX5992" fmla="*/ 82379 w 8566434"/>
                <a:gd name="connsiteY5992" fmla="*/ 2057186 h 2765205"/>
                <a:gd name="connsiteX5993" fmla="*/ 84791 w 8566434"/>
                <a:gd name="connsiteY5993" fmla="*/ 2034372 h 2765205"/>
                <a:gd name="connsiteX5994" fmla="*/ 101541 w 8566434"/>
                <a:gd name="connsiteY5994" fmla="*/ 2034786 h 2765205"/>
                <a:gd name="connsiteX5995" fmla="*/ 97887 w 8566434"/>
                <a:gd name="connsiteY5995" fmla="*/ 2045814 h 2765205"/>
                <a:gd name="connsiteX5996" fmla="*/ 121324 w 8566434"/>
                <a:gd name="connsiteY5996" fmla="*/ 2033270 h 2765205"/>
                <a:gd name="connsiteX5997" fmla="*/ 120148 w 8566434"/>
                <a:gd name="connsiteY5997" fmla="*/ 2011214 h 2765205"/>
                <a:gd name="connsiteX5998" fmla="*/ 122495 w 8566434"/>
                <a:gd name="connsiteY5998" fmla="*/ 1983368 h 2765205"/>
                <a:gd name="connsiteX5999" fmla="*/ 94925 w 8566434"/>
                <a:gd name="connsiteY5999" fmla="*/ 1987986 h 2765205"/>
                <a:gd name="connsiteX6000" fmla="*/ 114496 w 8566434"/>
                <a:gd name="connsiteY6000" fmla="*/ 1977923 h 2765205"/>
                <a:gd name="connsiteX6001" fmla="*/ 104849 w 8566434"/>
                <a:gd name="connsiteY6001" fmla="*/ 1965861 h 2765205"/>
                <a:gd name="connsiteX6002" fmla="*/ 85270 w 8566434"/>
                <a:gd name="connsiteY6002" fmla="*/ 1966688 h 2765205"/>
                <a:gd name="connsiteX6003" fmla="*/ 84861 w 8566434"/>
                <a:gd name="connsiteY6003" fmla="*/ 1928090 h 2765205"/>
                <a:gd name="connsiteX6004" fmla="*/ 101608 w 8566434"/>
                <a:gd name="connsiteY6004" fmla="*/ 1960761 h 2765205"/>
                <a:gd name="connsiteX6005" fmla="*/ 109534 w 8566434"/>
                <a:gd name="connsiteY6005" fmla="*/ 1928849 h 2765205"/>
                <a:gd name="connsiteX6006" fmla="*/ 125179 w 8566434"/>
                <a:gd name="connsiteY6006" fmla="*/ 1935052 h 2765205"/>
                <a:gd name="connsiteX6007" fmla="*/ 137726 w 8566434"/>
                <a:gd name="connsiteY6007" fmla="*/ 1724487 h 2765205"/>
                <a:gd name="connsiteX6008" fmla="*/ 128144 w 8566434"/>
                <a:gd name="connsiteY6008" fmla="*/ 1724280 h 2765205"/>
                <a:gd name="connsiteX6009" fmla="*/ 129934 w 8566434"/>
                <a:gd name="connsiteY6009" fmla="*/ 1739788 h 2765205"/>
                <a:gd name="connsiteX6010" fmla="*/ 119458 w 8566434"/>
                <a:gd name="connsiteY6010" fmla="*/ 1738685 h 2765205"/>
                <a:gd name="connsiteX6011" fmla="*/ 123111 w 8566434"/>
                <a:gd name="connsiteY6011" fmla="*/ 1762051 h 2765205"/>
                <a:gd name="connsiteX6012" fmla="*/ 111257 w 8566434"/>
                <a:gd name="connsiteY6012" fmla="*/ 1747853 h 2765205"/>
                <a:gd name="connsiteX6013" fmla="*/ 109741 w 8566434"/>
                <a:gd name="connsiteY6013" fmla="*/ 1766738 h 2765205"/>
                <a:gd name="connsiteX6014" fmla="*/ 94441 w 8566434"/>
                <a:gd name="connsiteY6014" fmla="*/ 1768461 h 2765205"/>
                <a:gd name="connsiteX6015" fmla="*/ 116564 w 8566434"/>
                <a:gd name="connsiteY6015" fmla="*/ 1781557 h 2765205"/>
                <a:gd name="connsiteX6016" fmla="*/ 122770 w 8566434"/>
                <a:gd name="connsiteY6016" fmla="*/ 1767841 h 2765205"/>
                <a:gd name="connsiteX6017" fmla="*/ 119254 w 8566434"/>
                <a:gd name="connsiteY6017" fmla="*/ 1803682 h 2765205"/>
                <a:gd name="connsiteX6018" fmla="*/ 114774 w 8566434"/>
                <a:gd name="connsiteY6018" fmla="*/ 1783486 h 2765205"/>
                <a:gd name="connsiteX6019" fmla="*/ 69631 w 8566434"/>
                <a:gd name="connsiteY6019" fmla="*/ 1775560 h 2765205"/>
                <a:gd name="connsiteX6020" fmla="*/ 106847 w 8566434"/>
                <a:gd name="connsiteY6020" fmla="*/ 1757364 h 2765205"/>
                <a:gd name="connsiteX6021" fmla="*/ 100574 w 8566434"/>
                <a:gd name="connsiteY6021" fmla="*/ 1729105 h 2765205"/>
                <a:gd name="connsiteX6022" fmla="*/ 74864 w 8566434"/>
                <a:gd name="connsiteY6022" fmla="*/ 1738617 h 2765205"/>
                <a:gd name="connsiteX6023" fmla="*/ 89201 w 8566434"/>
                <a:gd name="connsiteY6023" fmla="*/ 1723246 h 2765205"/>
                <a:gd name="connsiteX6024" fmla="*/ 80656 w 8566434"/>
                <a:gd name="connsiteY6024" fmla="*/ 1694022 h 2765205"/>
                <a:gd name="connsiteX6025" fmla="*/ 32546 w 8566434"/>
                <a:gd name="connsiteY6025" fmla="*/ 1682925 h 2765205"/>
                <a:gd name="connsiteX6026" fmla="*/ 26132 w 8566434"/>
                <a:gd name="connsiteY6026" fmla="*/ 1644879 h 2765205"/>
                <a:gd name="connsiteX6027" fmla="*/ 15107 w 8566434"/>
                <a:gd name="connsiteY6027" fmla="*/ 1701259 h 2765205"/>
                <a:gd name="connsiteX6028" fmla="*/ 12283 w 8566434"/>
                <a:gd name="connsiteY6028" fmla="*/ 1725797 h 2765205"/>
                <a:gd name="connsiteX6029" fmla="*/ 29100 w 8566434"/>
                <a:gd name="connsiteY6029" fmla="*/ 1722764 h 2765205"/>
                <a:gd name="connsiteX6030" fmla="*/ 16209 w 8566434"/>
                <a:gd name="connsiteY6030" fmla="*/ 1727864 h 2765205"/>
                <a:gd name="connsiteX6031" fmla="*/ 20207 w 8566434"/>
                <a:gd name="connsiteY6031" fmla="*/ 1772045 h 2765205"/>
                <a:gd name="connsiteX6032" fmla="*/ 45712 w 8566434"/>
                <a:gd name="connsiteY6032" fmla="*/ 1764601 h 2765205"/>
                <a:gd name="connsiteX6033" fmla="*/ 53498 w 8566434"/>
                <a:gd name="connsiteY6033" fmla="*/ 1791826 h 2765205"/>
                <a:gd name="connsiteX6034" fmla="*/ 27032 w 8566434"/>
                <a:gd name="connsiteY6034" fmla="*/ 1771632 h 2765205"/>
                <a:gd name="connsiteX6035" fmla="*/ 8770 w 8566434"/>
                <a:gd name="connsiteY6035" fmla="*/ 1796720 h 2765205"/>
                <a:gd name="connsiteX6036" fmla="*/ -5570 w 8566434"/>
                <a:gd name="connsiteY6036" fmla="*/ 2009835 h 2765205"/>
                <a:gd name="connsiteX6037" fmla="*/ 7526 w 8566434"/>
                <a:gd name="connsiteY6037" fmla="*/ 2005148 h 2765205"/>
                <a:gd name="connsiteX6038" fmla="*/ 7321 w 8566434"/>
                <a:gd name="connsiteY6038" fmla="*/ 2011558 h 2765205"/>
                <a:gd name="connsiteX6039" fmla="*/ -5707 w 8566434"/>
                <a:gd name="connsiteY6039" fmla="*/ 2011558 h 2765205"/>
                <a:gd name="connsiteX6040" fmla="*/ 31030 w 8566434"/>
                <a:gd name="connsiteY6040" fmla="*/ 2154025 h 2765205"/>
                <a:gd name="connsiteX6041" fmla="*/ 62870 w 8566434"/>
                <a:gd name="connsiteY6041" fmla="*/ 2137552 h 2765205"/>
                <a:gd name="connsiteX6042" fmla="*/ 48606 w 8566434"/>
                <a:gd name="connsiteY6042" fmla="*/ 2146582 h 2765205"/>
                <a:gd name="connsiteX6043" fmla="*/ 7554979 w 8566434"/>
                <a:gd name="connsiteY6043" fmla="*/ 987614 h 2765205"/>
                <a:gd name="connsiteX6044" fmla="*/ 7554979 w 8566434"/>
                <a:gd name="connsiteY6044" fmla="*/ 987614 h 2765205"/>
                <a:gd name="connsiteX6045" fmla="*/ 7516658 w 8566434"/>
                <a:gd name="connsiteY6045" fmla="*/ 961836 h 2765205"/>
                <a:gd name="connsiteX6046" fmla="*/ 7522516 w 8566434"/>
                <a:gd name="connsiteY6046" fmla="*/ 997539 h 2765205"/>
                <a:gd name="connsiteX6047" fmla="*/ 7517347 w 8566434"/>
                <a:gd name="connsiteY6047" fmla="*/ 992852 h 2765205"/>
                <a:gd name="connsiteX6048" fmla="*/ 7514934 w 8566434"/>
                <a:gd name="connsiteY6048" fmla="*/ 1019457 h 2765205"/>
                <a:gd name="connsiteX6049" fmla="*/ 7516658 w 8566434"/>
                <a:gd name="connsiteY6049" fmla="*/ 961836 h 2765205"/>
                <a:gd name="connsiteX6050" fmla="*/ 7534853 w 8566434"/>
                <a:gd name="connsiteY6050" fmla="*/ 1040686 h 2765205"/>
                <a:gd name="connsiteX6051" fmla="*/ 7535749 w 8566434"/>
                <a:gd name="connsiteY6051" fmla="*/ 1012220 h 2765205"/>
                <a:gd name="connsiteX6052" fmla="*/ 7548432 w 8566434"/>
                <a:gd name="connsiteY6052" fmla="*/ 1024833 h 2765205"/>
                <a:gd name="connsiteX6053" fmla="*/ 7558219 w 8566434"/>
                <a:gd name="connsiteY6053" fmla="*/ 1004776 h 2765205"/>
                <a:gd name="connsiteX6054" fmla="*/ 7561596 w 8566434"/>
                <a:gd name="connsiteY6054" fmla="*/ 1038894 h 2765205"/>
                <a:gd name="connsiteX6055" fmla="*/ 7534853 w 8566434"/>
                <a:gd name="connsiteY6055" fmla="*/ 1040686 h 2765205"/>
                <a:gd name="connsiteX6056" fmla="*/ 7543745 w 8566434"/>
                <a:gd name="connsiteY6056" fmla="*/ 1107129 h 2765205"/>
                <a:gd name="connsiteX6057" fmla="*/ 7553739 w 8566434"/>
                <a:gd name="connsiteY6057" fmla="*/ 1096170 h 2765205"/>
                <a:gd name="connsiteX6058" fmla="*/ 7543745 w 8566434"/>
                <a:gd name="connsiteY6058" fmla="*/ 1107129 h 2765205"/>
                <a:gd name="connsiteX6059" fmla="*/ 7514934 w 8566434"/>
                <a:gd name="connsiteY6059" fmla="*/ 1256420 h 2765205"/>
                <a:gd name="connsiteX6060" fmla="*/ 7524997 w 8566434"/>
                <a:gd name="connsiteY6060" fmla="*/ 1239602 h 2765205"/>
                <a:gd name="connsiteX6061" fmla="*/ 7514934 w 8566434"/>
                <a:gd name="connsiteY6061" fmla="*/ 1256420 h 2765205"/>
                <a:gd name="connsiteX6062" fmla="*/ 7528788 w 8566434"/>
                <a:gd name="connsiteY6062" fmla="*/ 1278062 h 2765205"/>
                <a:gd name="connsiteX6063" fmla="*/ 7528788 w 8566434"/>
                <a:gd name="connsiteY6063" fmla="*/ 1278062 h 2765205"/>
                <a:gd name="connsiteX6064" fmla="*/ 7672427 w 8566434"/>
                <a:gd name="connsiteY6064" fmla="*/ 1285782 h 2765205"/>
                <a:gd name="connsiteX6065" fmla="*/ 7672427 w 8566434"/>
                <a:gd name="connsiteY6065" fmla="*/ 1285782 h 2765205"/>
                <a:gd name="connsiteX6066" fmla="*/ 7559115 w 8566434"/>
                <a:gd name="connsiteY6066" fmla="*/ 1286333 h 2765205"/>
                <a:gd name="connsiteX6067" fmla="*/ 7575725 w 8566434"/>
                <a:gd name="connsiteY6067" fmla="*/ 1272617 h 2765205"/>
                <a:gd name="connsiteX6068" fmla="*/ 7559115 w 8566434"/>
                <a:gd name="connsiteY6068" fmla="*/ 1286333 h 2765205"/>
                <a:gd name="connsiteX6069" fmla="*/ 7528512 w 8566434"/>
                <a:gd name="connsiteY6069" fmla="*/ 1305563 h 2765205"/>
                <a:gd name="connsiteX6070" fmla="*/ 7528512 w 8566434"/>
                <a:gd name="connsiteY6070" fmla="*/ 1305563 h 2765205"/>
                <a:gd name="connsiteX6071" fmla="*/ 7686281 w 8566434"/>
                <a:gd name="connsiteY6071" fmla="*/ 1327137 h 2765205"/>
                <a:gd name="connsiteX6072" fmla="*/ 7668429 w 8566434"/>
                <a:gd name="connsiteY6072" fmla="*/ 1299291 h 2765205"/>
                <a:gd name="connsiteX6073" fmla="*/ 7686281 w 8566434"/>
                <a:gd name="connsiteY6073" fmla="*/ 1327137 h 2765205"/>
                <a:gd name="connsiteX6074" fmla="*/ 7721156 w 8566434"/>
                <a:gd name="connsiteY6074" fmla="*/ 1340301 h 2765205"/>
                <a:gd name="connsiteX6075" fmla="*/ 7721156 w 8566434"/>
                <a:gd name="connsiteY6075" fmla="*/ 1340301 h 2765205"/>
                <a:gd name="connsiteX6076" fmla="*/ 7577518 w 8566434"/>
                <a:gd name="connsiteY6076" fmla="*/ 1354706 h 2765205"/>
                <a:gd name="connsiteX6077" fmla="*/ 7577518 w 8566434"/>
                <a:gd name="connsiteY6077" fmla="*/ 1354706 h 2765205"/>
                <a:gd name="connsiteX6078" fmla="*/ 7772437 w 8566434"/>
                <a:gd name="connsiteY6078" fmla="*/ 1316384 h 2765205"/>
                <a:gd name="connsiteX6079" fmla="*/ 7781328 w 8566434"/>
                <a:gd name="connsiteY6079" fmla="*/ 1362081 h 2765205"/>
                <a:gd name="connsiteX6080" fmla="*/ 7772437 w 8566434"/>
                <a:gd name="connsiteY6080" fmla="*/ 1316384 h 2765205"/>
                <a:gd name="connsiteX6081" fmla="*/ 7607017 w 8566434"/>
                <a:gd name="connsiteY6081" fmla="*/ 1372007 h 2765205"/>
                <a:gd name="connsiteX6082" fmla="*/ 7604950 w 8566434"/>
                <a:gd name="connsiteY6082" fmla="*/ 1313214 h 2765205"/>
                <a:gd name="connsiteX6083" fmla="*/ 7620596 w 8566434"/>
                <a:gd name="connsiteY6083" fmla="*/ 1332306 h 2765205"/>
                <a:gd name="connsiteX6084" fmla="*/ 7608947 w 8566434"/>
                <a:gd name="connsiteY6084" fmla="*/ 1330100 h 2765205"/>
                <a:gd name="connsiteX6085" fmla="*/ 7621698 w 8566434"/>
                <a:gd name="connsiteY6085" fmla="*/ 1373799 h 2765205"/>
                <a:gd name="connsiteX6086" fmla="*/ 7607017 w 8566434"/>
                <a:gd name="connsiteY6086" fmla="*/ 1372007 h 2765205"/>
                <a:gd name="connsiteX6087" fmla="*/ 7550155 w 8566434"/>
                <a:gd name="connsiteY6087" fmla="*/ 1358015 h 2765205"/>
                <a:gd name="connsiteX6088" fmla="*/ 7566145 w 8566434"/>
                <a:gd name="connsiteY6088" fmla="*/ 1375522 h 2765205"/>
                <a:gd name="connsiteX6089" fmla="*/ 7550155 w 8566434"/>
                <a:gd name="connsiteY6089" fmla="*/ 1358015 h 2765205"/>
                <a:gd name="connsiteX6090" fmla="*/ 7738388 w 8566434"/>
                <a:gd name="connsiteY6090" fmla="*/ 1362771 h 2765205"/>
                <a:gd name="connsiteX6091" fmla="*/ 7723983 w 8566434"/>
                <a:gd name="connsiteY6091" fmla="*/ 1366561 h 2765205"/>
                <a:gd name="connsiteX6092" fmla="*/ 7748037 w 8566434"/>
                <a:gd name="connsiteY6092" fmla="*/ 1347194 h 2765205"/>
                <a:gd name="connsiteX6093" fmla="*/ 7745969 w 8566434"/>
                <a:gd name="connsiteY6093" fmla="*/ 1397578 h 2765205"/>
                <a:gd name="connsiteX6094" fmla="*/ 7738388 w 8566434"/>
                <a:gd name="connsiteY6094" fmla="*/ 1362771 h 2765205"/>
                <a:gd name="connsiteX6095" fmla="*/ 7704890 w 8566434"/>
                <a:gd name="connsiteY6095" fmla="*/ 1403712 h 2765205"/>
                <a:gd name="connsiteX6096" fmla="*/ 7724879 w 8566434"/>
                <a:gd name="connsiteY6096" fmla="*/ 1392891 h 2765205"/>
                <a:gd name="connsiteX6097" fmla="*/ 7704890 w 8566434"/>
                <a:gd name="connsiteY6097" fmla="*/ 1403712 h 2765205"/>
                <a:gd name="connsiteX6098" fmla="*/ 7694620 w 8566434"/>
                <a:gd name="connsiteY6098" fmla="*/ 1366355 h 2765205"/>
                <a:gd name="connsiteX6099" fmla="*/ 7674357 w 8566434"/>
                <a:gd name="connsiteY6099" fmla="*/ 1368147 h 2765205"/>
                <a:gd name="connsiteX6100" fmla="*/ 7674288 w 8566434"/>
                <a:gd name="connsiteY6100" fmla="*/ 1336855 h 2765205"/>
                <a:gd name="connsiteX6101" fmla="*/ 7684558 w 8566434"/>
                <a:gd name="connsiteY6101" fmla="*/ 1353948 h 2765205"/>
                <a:gd name="connsiteX6102" fmla="*/ 7726464 w 8566434"/>
                <a:gd name="connsiteY6102" fmla="*/ 1351260 h 2765205"/>
                <a:gd name="connsiteX6103" fmla="*/ 7697653 w 8566434"/>
                <a:gd name="connsiteY6103" fmla="*/ 1371524 h 2765205"/>
                <a:gd name="connsiteX6104" fmla="*/ 7702685 w 8566434"/>
                <a:gd name="connsiteY6104" fmla="*/ 1381449 h 2765205"/>
                <a:gd name="connsiteX6105" fmla="*/ 7695172 w 8566434"/>
                <a:gd name="connsiteY6105" fmla="*/ 1405228 h 2765205"/>
                <a:gd name="connsiteX6106" fmla="*/ 7694620 w 8566434"/>
                <a:gd name="connsiteY6106" fmla="*/ 1366355 h 2765205"/>
                <a:gd name="connsiteX6107" fmla="*/ 7754378 w 8566434"/>
                <a:gd name="connsiteY6107" fmla="*/ 1407503 h 2765205"/>
                <a:gd name="connsiteX6108" fmla="*/ 7754378 w 8566434"/>
                <a:gd name="connsiteY6108" fmla="*/ 1407503 h 2765205"/>
                <a:gd name="connsiteX6109" fmla="*/ 7552636 w 8566434"/>
                <a:gd name="connsiteY6109" fmla="*/ 1395096 h 2765205"/>
                <a:gd name="connsiteX6110" fmla="*/ 7545330 w 8566434"/>
                <a:gd name="connsiteY6110" fmla="*/ 1410329 h 2765205"/>
                <a:gd name="connsiteX6111" fmla="*/ 7539954 w 8566434"/>
                <a:gd name="connsiteY6111" fmla="*/ 1390065 h 2765205"/>
                <a:gd name="connsiteX6112" fmla="*/ 7563388 w 8566434"/>
                <a:gd name="connsiteY6112" fmla="*/ 1399439 h 2765205"/>
                <a:gd name="connsiteX6113" fmla="*/ 7579034 w 8566434"/>
                <a:gd name="connsiteY6113" fmla="*/ 1395648 h 2765205"/>
                <a:gd name="connsiteX6114" fmla="*/ 7585100 w 8566434"/>
                <a:gd name="connsiteY6114" fmla="*/ 1376694 h 2765205"/>
                <a:gd name="connsiteX6115" fmla="*/ 7582687 w 8566434"/>
                <a:gd name="connsiteY6115" fmla="*/ 1393304 h 2765205"/>
                <a:gd name="connsiteX6116" fmla="*/ 7597023 w 8566434"/>
                <a:gd name="connsiteY6116" fmla="*/ 1395717 h 2765205"/>
                <a:gd name="connsiteX6117" fmla="*/ 7587581 w 8566434"/>
                <a:gd name="connsiteY6117" fmla="*/ 1398543 h 2765205"/>
                <a:gd name="connsiteX6118" fmla="*/ 7586823 w 8566434"/>
                <a:gd name="connsiteY6118" fmla="*/ 1404470 h 2765205"/>
                <a:gd name="connsiteX6119" fmla="*/ 7585719 w 8566434"/>
                <a:gd name="connsiteY6119" fmla="*/ 1415912 h 2765205"/>
                <a:gd name="connsiteX6120" fmla="*/ 7552636 w 8566434"/>
                <a:gd name="connsiteY6120" fmla="*/ 1395096 h 2765205"/>
                <a:gd name="connsiteX6121" fmla="*/ 7611704 w 8566434"/>
                <a:gd name="connsiteY6121" fmla="*/ 1424183 h 2765205"/>
                <a:gd name="connsiteX6122" fmla="*/ 7604467 w 8566434"/>
                <a:gd name="connsiteY6122" fmla="*/ 1400473 h 2765205"/>
                <a:gd name="connsiteX6123" fmla="*/ 7611704 w 8566434"/>
                <a:gd name="connsiteY6123" fmla="*/ 1424183 h 2765205"/>
                <a:gd name="connsiteX6124" fmla="*/ 7534026 w 8566434"/>
                <a:gd name="connsiteY6124" fmla="*/ 1423493 h 2765205"/>
                <a:gd name="connsiteX6125" fmla="*/ 7534026 w 8566434"/>
                <a:gd name="connsiteY6125" fmla="*/ 1423493 h 2765205"/>
                <a:gd name="connsiteX6126" fmla="*/ 7576759 w 8566434"/>
                <a:gd name="connsiteY6126" fmla="*/ 1437416 h 2765205"/>
                <a:gd name="connsiteX6127" fmla="*/ 7568558 w 8566434"/>
                <a:gd name="connsiteY6127" fmla="*/ 1428800 h 2765205"/>
                <a:gd name="connsiteX6128" fmla="*/ 7576759 w 8566434"/>
                <a:gd name="connsiteY6128" fmla="*/ 1437416 h 2765205"/>
                <a:gd name="connsiteX6129" fmla="*/ 7528099 w 8566434"/>
                <a:gd name="connsiteY6129" fmla="*/ 1471465 h 2765205"/>
                <a:gd name="connsiteX6130" fmla="*/ 7537266 w 8566434"/>
                <a:gd name="connsiteY6130" fmla="*/ 1462505 h 2765205"/>
                <a:gd name="connsiteX6131" fmla="*/ 7528099 w 8566434"/>
                <a:gd name="connsiteY6131" fmla="*/ 1471465 h 2765205"/>
                <a:gd name="connsiteX6132" fmla="*/ 7569040 w 8566434"/>
                <a:gd name="connsiteY6132" fmla="*/ 1453820 h 2765205"/>
                <a:gd name="connsiteX6133" fmla="*/ 7575036 w 8566434"/>
                <a:gd name="connsiteY6133" fmla="*/ 1452648 h 2765205"/>
                <a:gd name="connsiteX6134" fmla="*/ 7576622 w 8566434"/>
                <a:gd name="connsiteY6134" fmla="*/ 1461677 h 2765205"/>
                <a:gd name="connsiteX6135" fmla="*/ 7593853 w 8566434"/>
                <a:gd name="connsiteY6135" fmla="*/ 1460988 h 2765205"/>
                <a:gd name="connsiteX6136" fmla="*/ 7595232 w 8566434"/>
                <a:gd name="connsiteY6136" fmla="*/ 1481183 h 2765205"/>
                <a:gd name="connsiteX6137" fmla="*/ 7569040 w 8566434"/>
                <a:gd name="connsiteY6137" fmla="*/ 1453820 h 2765205"/>
                <a:gd name="connsiteX6138" fmla="*/ 7749278 w 8566434"/>
                <a:gd name="connsiteY6138" fmla="*/ 1506410 h 2765205"/>
                <a:gd name="connsiteX6139" fmla="*/ 7765613 w 8566434"/>
                <a:gd name="connsiteY6139" fmla="*/ 1495175 h 2765205"/>
                <a:gd name="connsiteX6140" fmla="*/ 7749278 w 8566434"/>
                <a:gd name="connsiteY6140" fmla="*/ 1506410 h 2765205"/>
                <a:gd name="connsiteX6141" fmla="*/ 7709853 w 8566434"/>
                <a:gd name="connsiteY6141" fmla="*/ 1505376 h 2765205"/>
                <a:gd name="connsiteX6142" fmla="*/ 7711025 w 8566434"/>
                <a:gd name="connsiteY6142" fmla="*/ 1473739 h 2765205"/>
                <a:gd name="connsiteX6143" fmla="*/ 7726257 w 8566434"/>
                <a:gd name="connsiteY6143" fmla="*/ 1488007 h 2765205"/>
                <a:gd name="connsiteX6144" fmla="*/ 7714057 w 8566434"/>
                <a:gd name="connsiteY6144" fmla="*/ 1504893 h 2765205"/>
                <a:gd name="connsiteX6145" fmla="*/ 7709853 w 8566434"/>
                <a:gd name="connsiteY6145" fmla="*/ 1505376 h 2765205"/>
                <a:gd name="connsiteX6146" fmla="*/ 7556427 w 8566434"/>
                <a:gd name="connsiteY6146" fmla="*/ 1507512 h 2765205"/>
                <a:gd name="connsiteX6147" fmla="*/ 7556496 w 8566434"/>
                <a:gd name="connsiteY6147" fmla="*/ 1480976 h 2765205"/>
                <a:gd name="connsiteX6148" fmla="*/ 7588614 w 8566434"/>
                <a:gd name="connsiteY6148" fmla="*/ 1491108 h 2765205"/>
                <a:gd name="connsiteX6149" fmla="*/ 7581860 w 8566434"/>
                <a:gd name="connsiteY6149" fmla="*/ 1506134 h 2765205"/>
                <a:gd name="connsiteX6150" fmla="*/ 7568558 w 8566434"/>
                <a:gd name="connsiteY6150" fmla="*/ 1491660 h 2765205"/>
                <a:gd name="connsiteX6151" fmla="*/ 7556427 w 8566434"/>
                <a:gd name="connsiteY6151" fmla="*/ 1507512 h 2765205"/>
                <a:gd name="connsiteX6152" fmla="*/ 7729910 w 8566434"/>
                <a:gd name="connsiteY6152" fmla="*/ 1538597 h 2765205"/>
                <a:gd name="connsiteX6153" fmla="*/ 7758169 w 8566434"/>
                <a:gd name="connsiteY6153" fmla="*/ 1532394 h 2765205"/>
                <a:gd name="connsiteX6154" fmla="*/ 7729910 w 8566434"/>
                <a:gd name="connsiteY6154" fmla="*/ 1538597 h 2765205"/>
                <a:gd name="connsiteX6155" fmla="*/ 7688142 w 8566434"/>
                <a:gd name="connsiteY6155" fmla="*/ 1553830 h 2765205"/>
                <a:gd name="connsiteX6156" fmla="*/ 7688142 w 8566434"/>
                <a:gd name="connsiteY6156" fmla="*/ 1553830 h 2765205"/>
                <a:gd name="connsiteX6157" fmla="*/ 7578138 w 8566434"/>
                <a:gd name="connsiteY6157" fmla="*/ 1567684 h 2765205"/>
                <a:gd name="connsiteX6158" fmla="*/ 7573106 w 8566434"/>
                <a:gd name="connsiteY6158" fmla="*/ 1541699 h 2765205"/>
                <a:gd name="connsiteX6159" fmla="*/ 7578138 w 8566434"/>
                <a:gd name="connsiteY6159" fmla="*/ 1567684 h 2765205"/>
                <a:gd name="connsiteX6160" fmla="*/ 7555669 w 8566434"/>
                <a:gd name="connsiteY6160" fmla="*/ 1574507 h 2765205"/>
                <a:gd name="connsiteX6161" fmla="*/ 7555669 w 8566434"/>
                <a:gd name="connsiteY6161" fmla="*/ 1574507 h 2765205"/>
                <a:gd name="connsiteX6162" fmla="*/ 7698894 w 8566434"/>
                <a:gd name="connsiteY6162" fmla="*/ 1595529 h 2765205"/>
                <a:gd name="connsiteX6163" fmla="*/ 7698894 w 8566434"/>
                <a:gd name="connsiteY6163" fmla="*/ 1595529 h 2765205"/>
                <a:gd name="connsiteX6164" fmla="*/ 7543400 w 8566434"/>
                <a:gd name="connsiteY6164" fmla="*/ 1603180 h 2765205"/>
                <a:gd name="connsiteX6165" fmla="*/ 7543400 w 8566434"/>
                <a:gd name="connsiteY6165" fmla="*/ 1603180 h 2765205"/>
                <a:gd name="connsiteX6166" fmla="*/ 7707509 w 8566434"/>
                <a:gd name="connsiteY6166" fmla="*/ 1609383 h 2765205"/>
                <a:gd name="connsiteX6167" fmla="*/ 7707509 w 8566434"/>
                <a:gd name="connsiteY6167" fmla="*/ 1609383 h 2765205"/>
                <a:gd name="connsiteX6168" fmla="*/ 7583928 w 8566434"/>
                <a:gd name="connsiteY6168" fmla="*/ 1623650 h 2765205"/>
                <a:gd name="connsiteX6169" fmla="*/ 7583928 w 8566434"/>
                <a:gd name="connsiteY6169" fmla="*/ 1623650 h 2765205"/>
                <a:gd name="connsiteX6170" fmla="*/ 7744177 w 8566434"/>
                <a:gd name="connsiteY6170" fmla="*/ 1589671 h 2765205"/>
                <a:gd name="connsiteX6171" fmla="*/ 7744109 w 8566434"/>
                <a:gd name="connsiteY6171" fmla="*/ 1640261 h 2765205"/>
                <a:gd name="connsiteX6172" fmla="*/ 7744177 w 8566434"/>
                <a:gd name="connsiteY6172" fmla="*/ 1589671 h 2765205"/>
                <a:gd name="connsiteX6173" fmla="*/ 7542435 w 8566434"/>
                <a:gd name="connsiteY6173" fmla="*/ 1636884 h 2765205"/>
                <a:gd name="connsiteX6174" fmla="*/ 7551189 w 8566434"/>
                <a:gd name="connsiteY6174" fmla="*/ 1627510 h 2765205"/>
                <a:gd name="connsiteX6175" fmla="*/ 7542435 w 8566434"/>
                <a:gd name="connsiteY6175" fmla="*/ 1636884 h 2765205"/>
                <a:gd name="connsiteX6176" fmla="*/ 7563250 w 8566434"/>
                <a:gd name="connsiteY6176" fmla="*/ 1649911 h 2765205"/>
                <a:gd name="connsiteX6177" fmla="*/ 7563250 w 8566434"/>
                <a:gd name="connsiteY6177" fmla="*/ 1649911 h 2765205"/>
                <a:gd name="connsiteX6178" fmla="*/ 7701100 w 8566434"/>
                <a:gd name="connsiteY6178" fmla="*/ 1693471 h 2765205"/>
                <a:gd name="connsiteX6179" fmla="*/ 7718607 w 8566434"/>
                <a:gd name="connsiteY6179" fmla="*/ 1649842 h 2765205"/>
                <a:gd name="connsiteX6180" fmla="*/ 7708613 w 8566434"/>
                <a:gd name="connsiteY6180" fmla="*/ 1636264 h 2765205"/>
                <a:gd name="connsiteX6181" fmla="*/ 7740249 w 8566434"/>
                <a:gd name="connsiteY6181" fmla="*/ 1649842 h 2765205"/>
                <a:gd name="connsiteX6182" fmla="*/ 7708681 w 8566434"/>
                <a:gd name="connsiteY6182" fmla="*/ 1652047 h 2765205"/>
                <a:gd name="connsiteX6183" fmla="*/ 7701100 w 8566434"/>
                <a:gd name="connsiteY6183" fmla="*/ 1693471 h 2765205"/>
                <a:gd name="connsiteX6184" fmla="*/ 7572279 w 8566434"/>
                <a:gd name="connsiteY6184" fmla="*/ 1708221 h 2765205"/>
                <a:gd name="connsiteX6185" fmla="*/ 7580619 w 8566434"/>
                <a:gd name="connsiteY6185" fmla="*/ 1668382 h 2765205"/>
                <a:gd name="connsiteX6186" fmla="*/ 7553946 w 8566434"/>
                <a:gd name="connsiteY6186" fmla="*/ 1662937 h 2765205"/>
                <a:gd name="connsiteX6187" fmla="*/ 7586202 w 8566434"/>
                <a:gd name="connsiteY6187" fmla="*/ 1663282 h 2765205"/>
                <a:gd name="connsiteX6188" fmla="*/ 7585582 w 8566434"/>
                <a:gd name="connsiteY6188" fmla="*/ 1690094 h 2765205"/>
                <a:gd name="connsiteX6189" fmla="*/ 7572279 w 8566434"/>
                <a:gd name="connsiteY6189" fmla="*/ 1708221 h 2765205"/>
                <a:gd name="connsiteX6190" fmla="*/ 7714402 w 8566434"/>
                <a:gd name="connsiteY6190" fmla="*/ 1713183 h 2765205"/>
                <a:gd name="connsiteX6191" fmla="*/ 7714402 w 8566434"/>
                <a:gd name="connsiteY6191" fmla="*/ 1713183 h 2765205"/>
                <a:gd name="connsiteX6192" fmla="*/ 7575519 w 8566434"/>
                <a:gd name="connsiteY6192" fmla="*/ 1747163 h 2765205"/>
                <a:gd name="connsiteX6193" fmla="*/ 7575519 w 8566434"/>
                <a:gd name="connsiteY6193" fmla="*/ 1747163 h 2765205"/>
                <a:gd name="connsiteX6194" fmla="*/ 7568833 w 8566434"/>
                <a:gd name="connsiteY6194" fmla="*/ 1773217 h 2765205"/>
                <a:gd name="connsiteX6195" fmla="*/ 7568833 w 8566434"/>
                <a:gd name="connsiteY6195" fmla="*/ 1773217 h 2765205"/>
                <a:gd name="connsiteX6196" fmla="*/ 7654231 w 8566434"/>
                <a:gd name="connsiteY6196" fmla="*/ 1789138 h 2765205"/>
                <a:gd name="connsiteX6197" fmla="*/ 7653610 w 8566434"/>
                <a:gd name="connsiteY6197" fmla="*/ 1752953 h 2765205"/>
                <a:gd name="connsiteX6198" fmla="*/ 7671117 w 8566434"/>
                <a:gd name="connsiteY6198" fmla="*/ 1747370 h 2765205"/>
                <a:gd name="connsiteX6199" fmla="*/ 7671462 w 8566434"/>
                <a:gd name="connsiteY6199" fmla="*/ 1754607 h 2765205"/>
                <a:gd name="connsiteX6200" fmla="*/ 7656850 w 8566434"/>
                <a:gd name="connsiteY6200" fmla="*/ 1754056 h 2765205"/>
                <a:gd name="connsiteX6201" fmla="*/ 7654231 w 8566434"/>
                <a:gd name="connsiteY6201" fmla="*/ 1789138 h 2765205"/>
                <a:gd name="connsiteX6202" fmla="*/ 7666086 w 8566434"/>
                <a:gd name="connsiteY6202" fmla="*/ 1800994 h 2765205"/>
                <a:gd name="connsiteX6203" fmla="*/ 7677045 w 8566434"/>
                <a:gd name="connsiteY6203" fmla="*/ 1784520 h 2765205"/>
                <a:gd name="connsiteX6204" fmla="*/ 7666086 w 8566434"/>
                <a:gd name="connsiteY6204" fmla="*/ 1800994 h 2765205"/>
                <a:gd name="connsiteX6205" fmla="*/ 7569040 w 8566434"/>
                <a:gd name="connsiteY6205" fmla="*/ 1865162 h 2765205"/>
                <a:gd name="connsiteX6206" fmla="*/ 7569040 w 8566434"/>
                <a:gd name="connsiteY6206" fmla="*/ 1865162 h 2765205"/>
                <a:gd name="connsiteX6207" fmla="*/ 7644995 w 8566434"/>
                <a:gd name="connsiteY6207" fmla="*/ 1857167 h 2765205"/>
                <a:gd name="connsiteX6208" fmla="*/ 7641548 w 8566434"/>
                <a:gd name="connsiteY6208" fmla="*/ 1846966 h 2765205"/>
                <a:gd name="connsiteX6209" fmla="*/ 7655816 w 8566434"/>
                <a:gd name="connsiteY6209" fmla="*/ 1832837 h 2765205"/>
                <a:gd name="connsiteX6210" fmla="*/ 7645822 w 8566434"/>
                <a:gd name="connsiteY6210" fmla="*/ 1887218 h 2765205"/>
                <a:gd name="connsiteX6211" fmla="*/ 7644995 w 8566434"/>
                <a:gd name="connsiteY6211" fmla="*/ 1857167 h 2765205"/>
                <a:gd name="connsiteX6212" fmla="*/ 7672772 w 8566434"/>
                <a:gd name="connsiteY6212" fmla="*/ 1925678 h 2765205"/>
                <a:gd name="connsiteX6213" fmla="*/ 7672772 w 8566434"/>
                <a:gd name="connsiteY6213" fmla="*/ 1925678 h 2765205"/>
                <a:gd name="connsiteX6214" fmla="*/ 7604812 w 8566434"/>
                <a:gd name="connsiteY6214" fmla="*/ 1925471 h 2765205"/>
                <a:gd name="connsiteX6215" fmla="*/ 7612531 w 8566434"/>
                <a:gd name="connsiteY6215" fmla="*/ 1872331 h 2765205"/>
                <a:gd name="connsiteX6216" fmla="*/ 7609981 w 8566434"/>
                <a:gd name="connsiteY6216" fmla="*/ 1714011 h 2765205"/>
                <a:gd name="connsiteX6217" fmla="*/ 7598678 w 8566434"/>
                <a:gd name="connsiteY6217" fmla="*/ 1605592 h 2765205"/>
                <a:gd name="connsiteX6218" fmla="*/ 7581033 w 8566434"/>
                <a:gd name="connsiteY6218" fmla="*/ 1609245 h 2765205"/>
                <a:gd name="connsiteX6219" fmla="*/ 7587098 w 8566434"/>
                <a:gd name="connsiteY6219" fmla="*/ 1592979 h 2765205"/>
                <a:gd name="connsiteX6220" fmla="*/ 7593301 w 8566434"/>
                <a:gd name="connsiteY6220" fmla="*/ 1554726 h 2765205"/>
                <a:gd name="connsiteX6221" fmla="*/ 7597919 w 8566434"/>
                <a:gd name="connsiteY6221" fmla="*/ 1601801 h 2765205"/>
                <a:gd name="connsiteX6222" fmla="*/ 7608672 w 8566434"/>
                <a:gd name="connsiteY6222" fmla="*/ 1601250 h 2765205"/>
                <a:gd name="connsiteX6223" fmla="*/ 7605915 w 8566434"/>
                <a:gd name="connsiteY6223" fmla="*/ 1433970 h 2765205"/>
                <a:gd name="connsiteX6224" fmla="*/ 7629556 w 8566434"/>
                <a:gd name="connsiteY6224" fmla="*/ 1436589 h 2765205"/>
                <a:gd name="connsiteX6225" fmla="*/ 7645271 w 8566434"/>
                <a:gd name="connsiteY6225" fmla="*/ 1417014 h 2765205"/>
                <a:gd name="connsiteX6226" fmla="*/ 7639963 w 8566434"/>
                <a:gd name="connsiteY6226" fmla="*/ 1437692 h 2765205"/>
                <a:gd name="connsiteX6227" fmla="*/ 7690968 w 8566434"/>
                <a:gd name="connsiteY6227" fmla="*/ 1442103 h 2765205"/>
                <a:gd name="connsiteX6228" fmla="*/ 7680422 w 8566434"/>
                <a:gd name="connsiteY6228" fmla="*/ 1445618 h 2765205"/>
                <a:gd name="connsiteX6229" fmla="*/ 7675666 w 8566434"/>
                <a:gd name="connsiteY6229" fmla="*/ 1493176 h 2765205"/>
                <a:gd name="connsiteX6230" fmla="*/ 7698619 w 8566434"/>
                <a:gd name="connsiteY6230" fmla="*/ 1518678 h 2765205"/>
                <a:gd name="connsiteX6231" fmla="*/ 7719227 w 8566434"/>
                <a:gd name="connsiteY6231" fmla="*/ 1527500 h 2765205"/>
                <a:gd name="connsiteX6232" fmla="*/ 7704959 w 8566434"/>
                <a:gd name="connsiteY6232" fmla="*/ 1547558 h 2765205"/>
                <a:gd name="connsiteX6233" fmla="*/ 7704822 w 8566434"/>
                <a:gd name="connsiteY6233" fmla="*/ 1521780 h 2765205"/>
                <a:gd name="connsiteX6234" fmla="*/ 7684764 w 8566434"/>
                <a:gd name="connsiteY6234" fmla="*/ 1524261 h 2765205"/>
                <a:gd name="connsiteX6235" fmla="*/ 7672840 w 8566434"/>
                <a:gd name="connsiteY6235" fmla="*/ 1505651 h 2765205"/>
                <a:gd name="connsiteX6236" fmla="*/ 7658090 w 8566434"/>
                <a:gd name="connsiteY6236" fmla="*/ 1608832 h 2765205"/>
                <a:gd name="connsiteX6237" fmla="*/ 7673254 w 8566434"/>
                <a:gd name="connsiteY6237" fmla="*/ 1620273 h 2765205"/>
                <a:gd name="connsiteX6238" fmla="*/ 7676355 w 8566434"/>
                <a:gd name="connsiteY6238" fmla="*/ 1599320 h 2765205"/>
                <a:gd name="connsiteX6239" fmla="*/ 7665259 w 8566434"/>
                <a:gd name="connsiteY6239" fmla="*/ 1597252 h 2765205"/>
                <a:gd name="connsiteX6240" fmla="*/ 7671875 w 8566434"/>
                <a:gd name="connsiteY6240" fmla="*/ 1567684 h 2765205"/>
                <a:gd name="connsiteX6241" fmla="*/ 7688487 w 8566434"/>
                <a:gd name="connsiteY6241" fmla="*/ 1579401 h 2765205"/>
                <a:gd name="connsiteX6242" fmla="*/ 7680009 w 8566434"/>
                <a:gd name="connsiteY6242" fmla="*/ 1600492 h 2765205"/>
                <a:gd name="connsiteX6243" fmla="*/ 7683592 w 8566434"/>
                <a:gd name="connsiteY6243" fmla="*/ 1620135 h 2765205"/>
                <a:gd name="connsiteX6244" fmla="*/ 7675322 w 8566434"/>
                <a:gd name="connsiteY6244" fmla="*/ 1618550 h 2765205"/>
                <a:gd name="connsiteX6245" fmla="*/ 7683524 w 8566434"/>
                <a:gd name="connsiteY6245" fmla="*/ 1661972 h 2765205"/>
                <a:gd name="connsiteX6246" fmla="*/ 7660021 w 8566434"/>
                <a:gd name="connsiteY6246" fmla="*/ 1671002 h 2765205"/>
                <a:gd name="connsiteX6247" fmla="*/ 7676287 w 8566434"/>
                <a:gd name="connsiteY6247" fmla="*/ 1643225 h 2765205"/>
                <a:gd name="connsiteX6248" fmla="*/ 7672565 w 8566434"/>
                <a:gd name="connsiteY6248" fmla="*/ 1627028 h 2765205"/>
                <a:gd name="connsiteX6249" fmla="*/ 7655678 w 8566434"/>
                <a:gd name="connsiteY6249" fmla="*/ 1623306 h 2765205"/>
                <a:gd name="connsiteX6250" fmla="*/ 7646511 w 8566434"/>
                <a:gd name="connsiteY6250" fmla="*/ 1699674 h 2765205"/>
                <a:gd name="connsiteX6251" fmla="*/ 7673598 w 8566434"/>
                <a:gd name="connsiteY6251" fmla="*/ 1686716 h 2765205"/>
                <a:gd name="connsiteX6252" fmla="*/ 7683937 w 8566434"/>
                <a:gd name="connsiteY6252" fmla="*/ 1734757 h 2765205"/>
                <a:gd name="connsiteX6253" fmla="*/ 7669877 w 8566434"/>
                <a:gd name="connsiteY6253" fmla="*/ 1722075 h 2765205"/>
                <a:gd name="connsiteX6254" fmla="*/ 7659745 w 8566434"/>
                <a:gd name="connsiteY6254" fmla="*/ 1731655 h 2765205"/>
                <a:gd name="connsiteX6255" fmla="*/ 7641686 w 8566434"/>
                <a:gd name="connsiteY6255" fmla="*/ 1720558 h 2765205"/>
                <a:gd name="connsiteX6256" fmla="*/ 7608120 w 8566434"/>
                <a:gd name="connsiteY6256" fmla="*/ 1926436 h 2765205"/>
                <a:gd name="connsiteX6257" fmla="*/ 7604812 w 8566434"/>
                <a:gd name="connsiteY6257" fmla="*/ 1925471 h 2765205"/>
                <a:gd name="connsiteX6258" fmla="*/ 7687383 w 8566434"/>
                <a:gd name="connsiteY6258" fmla="*/ 1939739 h 2765205"/>
                <a:gd name="connsiteX6259" fmla="*/ 7698136 w 8566434"/>
                <a:gd name="connsiteY6259" fmla="*/ 1923059 h 2765205"/>
                <a:gd name="connsiteX6260" fmla="*/ 7687383 w 8566434"/>
                <a:gd name="connsiteY6260" fmla="*/ 1939739 h 2765205"/>
                <a:gd name="connsiteX6261" fmla="*/ 7566973 w 8566434"/>
                <a:gd name="connsiteY6261" fmla="*/ 1935397 h 2765205"/>
                <a:gd name="connsiteX6262" fmla="*/ 7567386 w 8566434"/>
                <a:gd name="connsiteY6262" fmla="*/ 1914237 h 2765205"/>
                <a:gd name="connsiteX6263" fmla="*/ 7587029 w 8566434"/>
                <a:gd name="connsiteY6263" fmla="*/ 1939532 h 2765205"/>
                <a:gd name="connsiteX6264" fmla="*/ 7566973 w 8566434"/>
                <a:gd name="connsiteY6264" fmla="*/ 1935397 h 2765205"/>
                <a:gd name="connsiteX6265" fmla="*/ 7610946 w 8566434"/>
                <a:gd name="connsiteY6265" fmla="*/ 1953110 h 2765205"/>
                <a:gd name="connsiteX6266" fmla="*/ 7610946 w 8566434"/>
                <a:gd name="connsiteY6266" fmla="*/ 1953110 h 2765205"/>
                <a:gd name="connsiteX6267" fmla="*/ 7687039 w 8566434"/>
                <a:gd name="connsiteY6267" fmla="*/ 1961105 h 2765205"/>
                <a:gd name="connsiteX6268" fmla="*/ 7687039 w 8566434"/>
                <a:gd name="connsiteY6268" fmla="*/ 1961105 h 2765205"/>
                <a:gd name="connsiteX6269" fmla="*/ 7641756 w 8566434"/>
                <a:gd name="connsiteY6269" fmla="*/ 1940911 h 2765205"/>
                <a:gd name="connsiteX6270" fmla="*/ 7647821 w 8566434"/>
                <a:gd name="connsiteY6270" fmla="*/ 1905966 h 2765205"/>
                <a:gd name="connsiteX6271" fmla="*/ 7645339 w 8566434"/>
                <a:gd name="connsiteY6271" fmla="*/ 1936913 h 2765205"/>
                <a:gd name="connsiteX6272" fmla="*/ 7657608 w 8566434"/>
                <a:gd name="connsiteY6272" fmla="*/ 1962484 h 2765205"/>
                <a:gd name="connsiteX6273" fmla="*/ 7641756 w 8566434"/>
                <a:gd name="connsiteY6273" fmla="*/ 1940911 h 2765205"/>
                <a:gd name="connsiteX6274" fmla="*/ 7559942 w 8566434"/>
                <a:gd name="connsiteY6274" fmla="*/ 1990123 h 2765205"/>
                <a:gd name="connsiteX6275" fmla="*/ 7558494 w 8566434"/>
                <a:gd name="connsiteY6275" fmla="*/ 1976958 h 2765205"/>
                <a:gd name="connsiteX6276" fmla="*/ 7540505 w 8566434"/>
                <a:gd name="connsiteY6276" fmla="*/ 1980611 h 2765205"/>
                <a:gd name="connsiteX6277" fmla="*/ 7557460 w 8566434"/>
                <a:gd name="connsiteY6277" fmla="*/ 1970272 h 2765205"/>
                <a:gd name="connsiteX6278" fmla="*/ 7556220 w 8566434"/>
                <a:gd name="connsiteY6278" fmla="*/ 1949319 h 2765205"/>
                <a:gd name="connsiteX6279" fmla="*/ 7594335 w 8566434"/>
                <a:gd name="connsiteY6279" fmla="*/ 1989502 h 2765205"/>
                <a:gd name="connsiteX6280" fmla="*/ 7563250 w 8566434"/>
                <a:gd name="connsiteY6280" fmla="*/ 1962966 h 2765205"/>
                <a:gd name="connsiteX6281" fmla="*/ 7559942 w 8566434"/>
                <a:gd name="connsiteY6281" fmla="*/ 1990123 h 2765205"/>
                <a:gd name="connsiteX6282" fmla="*/ 7652370 w 8566434"/>
                <a:gd name="connsiteY6282" fmla="*/ 1994672 h 2765205"/>
                <a:gd name="connsiteX6283" fmla="*/ 7652370 w 8566434"/>
                <a:gd name="connsiteY6283" fmla="*/ 1994672 h 2765205"/>
                <a:gd name="connsiteX6284" fmla="*/ 7610602 w 8566434"/>
                <a:gd name="connsiteY6284" fmla="*/ 2001771 h 2765205"/>
                <a:gd name="connsiteX6285" fmla="*/ 7610602 w 8566434"/>
                <a:gd name="connsiteY6285" fmla="*/ 2001771 h 2765205"/>
                <a:gd name="connsiteX6286" fmla="*/ 7569522 w 8566434"/>
                <a:gd name="connsiteY6286" fmla="*/ 2022724 h 2765205"/>
                <a:gd name="connsiteX6287" fmla="*/ 7566835 w 8566434"/>
                <a:gd name="connsiteY6287" fmla="*/ 2004321 h 2765205"/>
                <a:gd name="connsiteX6288" fmla="*/ 7569522 w 8566434"/>
                <a:gd name="connsiteY6288" fmla="*/ 2022724 h 2765205"/>
                <a:gd name="connsiteX6289" fmla="*/ 7589166 w 8566434"/>
                <a:gd name="connsiteY6289" fmla="*/ 2024033 h 2765205"/>
                <a:gd name="connsiteX6290" fmla="*/ 7597575 w 8566434"/>
                <a:gd name="connsiteY6290" fmla="*/ 2006251 h 2765205"/>
                <a:gd name="connsiteX6291" fmla="*/ 7613634 w 8566434"/>
                <a:gd name="connsiteY6291" fmla="*/ 2020725 h 2765205"/>
                <a:gd name="connsiteX6292" fmla="*/ 7607500 w 8566434"/>
                <a:gd name="connsiteY6292" fmla="*/ 2027687 h 2765205"/>
                <a:gd name="connsiteX6293" fmla="*/ 7589166 w 8566434"/>
                <a:gd name="connsiteY6293" fmla="*/ 2024033 h 2765205"/>
                <a:gd name="connsiteX6294" fmla="*/ 7579724 w 8566434"/>
                <a:gd name="connsiteY6294" fmla="*/ 2062493 h 2765205"/>
                <a:gd name="connsiteX6295" fmla="*/ 7566421 w 8566434"/>
                <a:gd name="connsiteY6295" fmla="*/ 2055877 h 2765205"/>
                <a:gd name="connsiteX6296" fmla="*/ 7583376 w 8566434"/>
                <a:gd name="connsiteY6296" fmla="*/ 2057186 h 2765205"/>
                <a:gd name="connsiteX6297" fmla="*/ 7584617 w 8566434"/>
                <a:gd name="connsiteY6297" fmla="*/ 2041816 h 2765205"/>
                <a:gd name="connsiteX6298" fmla="*/ 7619631 w 8566434"/>
                <a:gd name="connsiteY6298" fmla="*/ 2050501 h 2765205"/>
                <a:gd name="connsiteX6299" fmla="*/ 7643823 w 8566434"/>
                <a:gd name="connsiteY6299" fmla="*/ 2046503 h 2765205"/>
                <a:gd name="connsiteX6300" fmla="*/ 7664570 w 8566434"/>
                <a:gd name="connsiteY6300" fmla="*/ 2069110 h 2765205"/>
                <a:gd name="connsiteX6301" fmla="*/ 7595990 w 8566434"/>
                <a:gd name="connsiteY6301" fmla="*/ 2052637 h 2765205"/>
                <a:gd name="connsiteX6302" fmla="*/ 7582481 w 8566434"/>
                <a:gd name="connsiteY6302" fmla="*/ 2074142 h 2765205"/>
                <a:gd name="connsiteX6303" fmla="*/ 7579724 w 8566434"/>
                <a:gd name="connsiteY6303" fmla="*/ 2062493 h 2765205"/>
                <a:gd name="connsiteX6304" fmla="*/ 7562837 w 8566434"/>
                <a:gd name="connsiteY6304" fmla="*/ 2105502 h 2765205"/>
                <a:gd name="connsiteX6305" fmla="*/ 7573658 w 8566434"/>
                <a:gd name="connsiteY6305" fmla="*/ 2087996 h 2765205"/>
                <a:gd name="connsiteX6306" fmla="*/ 7562837 w 8566434"/>
                <a:gd name="connsiteY6306" fmla="*/ 2105502 h 2765205"/>
                <a:gd name="connsiteX6307" fmla="*/ 7541263 w 8566434"/>
                <a:gd name="connsiteY6307" fmla="*/ 2125215 h 2765205"/>
                <a:gd name="connsiteX6308" fmla="*/ 7541263 w 8566434"/>
                <a:gd name="connsiteY6308" fmla="*/ 2125215 h 2765205"/>
                <a:gd name="connsiteX6309" fmla="*/ 7582411 w 8566434"/>
                <a:gd name="connsiteY6309" fmla="*/ 2166501 h 2765205"/>
                <a:gd name="connsiteX6310" fmla="*/ 7582411 w 8566434"/>
                <a:gd name="connsiteY6310" fmla="*/ 2166501 h 2765205"/>
                <a:gd name="connsiteX6311" fmla="*/ 7524584 w 8566434"/>
                <a:gd name="connsiteY6311" fmla="*/ 2207856 h 2765205"/>
                <a:gd name="connsiteX6312" fmla="*/ 7666775 w 8566434"/>
                <a:gd name="connsiteY6312" fmla="*/ 2216126 h 2765205"/>
                <a:gd name="connsiteX6313" fmla="*/ 7687659 w 8566434"/>
                <a:gd name="connsiteY6313" fmla="*/ 2083860 h 2765205"/>
                <a:gd name="connsiteX6314" fmla="*/ 7682421 w 8566434"/>
                <a:gd name="connsiteY6314" fmla="*/ 2076554 h 2765205"/>
                <a:gd name="connsiteX6315" fmla="*/ 7698687 w 8566434"/>
                <a:gd name="connsiteY6315" fmla="*/ 2013971 h 2765205"/>
                <a:gd name="connsiteX6316" fmla="*/ 7677527 w 8566434"/>
                <a:gd name="connsiteY6316" fmla="*/ 2007767 h 2765205"/>
                <a:gd name="connsiteX6317" fmla="*/ 7699170 w 8566434"/>
                <a:gd name="connsiteY6317" fmla="*/ 2009008 h 2765205"/>
                <a:gd name="connsiteX6318" fmla="*/ 7733907 w 8566434"/>
                <a:gd name="connsiteY6318" fmla="*/ 1777077 h 2765205"/>
                <a:gd name="connsiteX6319" fmla="*/ 7741903 w 8566434"/>
                <a:gd name="connsiteY6319" fmla="*/ 1745096 h 2765205"/>
                <a:gd name="connsiteX6320" fmla="*/ 7712955 w 8566434"/>
                <a:gd name="connsiteY6320" fmla="*/ 1739444 h 2765205"/>
                <a:gd name="connsiteX6321" fmla="*/ 7741007 w 8566434"/>
                <a:gd name="connsiteY6321" fmla="*/ 1740478 h 2765205"/>
                <a:gd name="connsiteX6322" fmla="*/ 7734390 w 8566434"/>
                <a:gd name="connsiteY6322" fmla="*/ 1716078 h 2765205"/>
                <a:gd name="connsiteX6323" fmla="*/ 7745211 w 8566434"/>
                <a:gd name="connsiteY6323" fmla="*/ 1718353 h 2765205"/>
                <a:gd name="connsiteX6324" fmla="*/ 7746658 w 8566434"/>
                <a:gd name="connsiteY6324" fmla="*/ 1702087 h 2765205"/>
                <a:gd name="connsiteX6325" fmla="*/ 7737009 w 8566434"/>
                <a:gd name="connsiteY6325" fmla="*/ 1681547 h 2765205"/>
                <a:gd name="connsiteX6326" fmla="*/ 7749898 w 8566434"/>
                <a:gd name="connsiteY6326" fmla="*/ 1683270 h 2765205"/>
                <a:gd name="connsiteX6327" fmla="*/ 7768370 w 8566434"/>
                <a:gd name="connsiteY6327" fmla="*/ 1561618 h 2765205"/>
                <a:gd name="connsiteX6328" fmla="*/ 7747210 w 8566434"/>
                <a:gd name="connsiteY6328" fmla="*/ 1566925 h 2765205"/>
                <a:gd name="connsiteX6329" fmla="*/ 7758169 w 8566434"/>
                <a:gd name="connsiteY6329" fmla="*/ 1541354 h 2765205"/>
                <a:gd name="connsiteX6330" fmla="*/ 7758514 w 8566434"/>
                <a:gd name="connsiteY6330" fmla="*/ 1560378 h 2765205"/>
                <a:gd name="connsiteX6331" fmla="*/ 7768232 w 8566434"/>
                <a:gd name="connsiteY6331" fmla="*/ 1561274 h 2765205"/>
                <a:gd name="connsiteX6332" fmla="*/ 7792425 w 8566434"/>
                <a:gd name="connsiteY6332" fmla="*/ 1408192 h 2765205"/>
                <a:gd name="connsiteX6333" fmla="*/ 7781948 w 8566434"/>
                <a:gd name="connsiteY6333" fmla="*/ 1407985 h 2765205"/>
                <a:gd name="connsiteX6334" fmla="*/ 7793183 w 8566434"/>
                <a:gd name="connsiteY6334" fmla="*/ 1405573 h 2765205"/>
                <a:gd name="connsiteX6335" fmla="*/ 7792976 w 8566434"/>
                <a:gd name="connsiteY6335" fmla="*/ 1395648 h 2765205"/>
                <a:gd name="connsiteX6336" fmla="*/ 7782017 w 8566434"/>
                <a:gd name="connsiteY6336" fmla="*/ 1393442 h 2765205"/>
                <a:gd name="connsiteX6337" fmla="*/ 7794768 w 8566434"/>
                <a:gd name="connsiteY6337" fmla="*/ 1393856 h 2765205"/>
                <a:gd name="connsiteX6338" fmla="*/ 7802487 w 8566434"/>
                <a:gd name="connsiteY6338" fmla="*/ 1334718 h 2765205"/>
                <a:gd name="connsiteX6339" fmla="*/ 7784912 w 8566434"/>
                <a:gd name="connsiteY6339" fmla="*/ 1329687 h 2765205"/>
                <a:gd name="connsiteX6340" fmla="*/ 7798421 w 8566434"/>
                <a:gd name="connsiteY6340" fmla="*/ 1314592 h 2765205"/>
                <a:gd name="connsiteX6341" fmla="*/ 7806554 w 8566434"/>
                <a:gd name="connsiteY6341" fmla="*/ 1318590 h 2765205"/>
                <a:gd name="connsiteX6342" fmla="*/ 7812482 w 8566434"/>
                <a:gd name="connsiteY6342" fmla="*/ 1277373 h 2765205"/>
                <a:gd name="connsiteX6343" fmla="*/ 7803866 w 8566434"/>
                <a:gd name="connsiteY6343" fmla="*/ 1267172 h 2765205"/>
                <a:gd name="connsiteX6344" fmla="*/ 7804969 w 8566434"/>
                <a:gd name="connsiteY6344" fmla="*/ 1242222 h 2765205"/>
                <a:gd name="connsiteX6345" fmla="*/ 7781535 w 8566434"/>
                <a:gd name="connsiteY6345" fmla="*/ 1255317 h 2765205"/>
                <a:gd name="connsiteX6346" fmla="*/ 7803521 w 8566434"/>
                <a:gd name="connsiteY6346" fmla="*/ 1267379 h 2765205"/>
                <a:gd name="connsiteX6347" fmla="*/ 7778019 w 8566434"/>
                <a:gd name="connsiteY6347" fmla="*/ 1275168 h 2765205"/>
                <a:gd name="connsiteX6348" fmla="*/ 7779467 w 8566434"/>
                <a:gd name="connsiteY6348" fmla="*/ 1293088 h 2765205"/>
                <a:gd name="connsiteX6349" fmla="*/ 7774642 w 8566434"/>
                <a:gd name="connsiteY6349" fmla="*/ 1278338 h 2765205"/>
                <a:gd name="connsiteX6350" fmla="*/ 7747762 w 8566434"/>
                <a:gd name="connsiteY6350" fmla="*/ 1286609 h 2765205"/>
                <a:gd name="connsiteX6351" fmla="*/ 7743902 w 8566434"/>
                <a:gd name="connsiteY6351" fmla="*/ 1235743 h 2765205"/>
                <a:gd name="connsiteX6352" fmla="*/ 7720605 w 8566434"/>
                <a:gd name="connsiteY6352" fmla="*/ 1260693 h 2765205"/>
                <a:gd name="connsiteX6353" fmla="*/ 7718607 w 8566434"/>
                <a:gd name="connsiteY6353" fmla="*/ 1242428 h 2765205"/>
                <a:gd name="connsiteX6354" fmla="*/ 7708750 w 8566434"/>
                <a:gd name="connsiteY6354" fmla="*/ 1257936 h 2765205"/>
                <a:gd name="connsiteX6355" fmla="*/ 7656988 w 8566434"/>
                <a:gd name="connsiteY6355" fmla="*/ 1253180 h 2765205"/>
                <a:gd name="connsiteX6356" fmla="*/ 7602124 w 8566434"/>
                <a:gd name="connsiteY6356" fmla="*/ 1246564 h 2765205"/>
                <a:gd name="connsiteX6357" fmla="*/ 7596817 w 8566434"/>
                <a:gd name="connsiteY6357" fmla="*/ 1047992 h 2765205"/>
                <a:gd name="connsiteX6358" fmla="*/ 7583238 w 8566434"/>
                <a:gd name="connsiteY6358" fmla="*/ 1045028 h 2765205"/>
                <a:gd name="connsiteX6359" fmla="*/ 7597851 w 8566434"/>
                <a:gd name="connsiteY6359" fmla="*/ 1043788 h 2765205"/>
                <a:gd name="connsiteX6360" fmla="*/ 7592888 w 8566434"/>
                <a:gd name="connsiteY6360" fmla="*/ 1021387 h 2765205"/>
                <a:gd name="connsiteX6361" fmla="*/ 7594266 w 8566434"/>
                <a:gd name="connsiteY6361" fmla="*/ 960044 h 2765205"/>
                <a:gd name="connsiteX6362" fmla="*/ 7560562 w 8566434"/>
                <a:gd name="connsiteY6362" fmla="*/ 958941 h 2765205"/>
                <a:gd name="connsiteX6363" fmla="*/ 7554911 w 8566434"/>
                <a:gd name="connsiteY6363" fmla="*/ 966799 h 2765205"/>
                <a:gd name="connsiteX6364" fmla="*/ 7550223 w 8566434"/>
                <a:gd name="connsiteY6364" fmla="*/ 958459 h 2765205"/>
                <a:gd name="connsiteX6365" fmla="*/ 7486813 w 8566434"/>
                <a:gd name="connsiteY6365" fmla="*/ 953979 h 2765205"/>
                <a:gd name="connsiteX6366" fmla="*/ 7489501 w 8566434"/>
                <a:gd name="connsiteY6366" fmla="*/ 1025867 h 2765205"/>
                <a:gd name="connsiteX6367" fmla="*/ 7513556 w 8566434"/>
                <a:gd name="connsiteY6367" fmla="*/ 1028555 h 2765205"/>
                <a:gd name="connsiteX6368" fmla="*/ 7489294 w 8566434"/>
                <a:gd name="connsiteY6368" fmla="*/ 1029796 h 2765205"/>
                <a:gd name="connsiteX6369" fmla="*/ 7490604 w 8566434"/>
                <a:gd name="connsiteY6369" fmla="*/ 1079835 h 2765205"/>
                <a:gd name="connsiteX6370" fmla="*/ 7511074 w 8566434"/>
                <a:gd name="connsiteY6370" fmla="*/ 1054402 h 2765205"/>
                <a:gd name="connsiteX6371" fmla="*/ 7517622 w 8566434"/>
                <a:gd name="connsiteY6371" fmla="*/ 1062811 h 2765205"/>
                <a:gd name="connsiteX6372" fmla="*/ 7493016 w 8566434"/>
                <a:gd name="connsiteY6372" fmla="*/ 1080869 h 2765205"/>
                <a:gd name="connsiteX6373" fmla="*/ 7501356 w 8566434"/>
                <a:gd name="connsiteY6373" fmla="*/ 1418324 h 2765205"/>
                <a:gd name="connsiteX6374" fmla="*/ 7500116 w 8566434"/>
                <a:gd name="connsiteY6374" fmla="*/ 1480011 h 2765205"/>
                <a:gd name="connsiteX6375" fmla="*/ 7500529 w 8566434"/>
                <a:gd name="connsiteY6375" fmla="*/ 1500000 h 2765205"/>
                <a:gd name="connsiteX6376" fmla="*/ 7519966 w 8566434"/>
                <a:gd name="connsiteY6376" fmla="*/ 1532877 h 2765205"/>
                <a:gd name="connsiteX6377" fmla="*/ 7504458 w 8566434"/>
                <a:gd name="connsiteY6377" fmla="*/ 1521228 h 2765205"/>
                <a:gd name="connsiteX6378" fmla="*/ 7508042 w 8566434"/>
                <a:gd name="connsiteY6378" fmla="*/ 1661628 h 2765205"/>
                <a:gd name="connsiteX6379" fmla="*/ 7514452 w 8566434"/>
                <a:gd name="connsiteY6379" fmla="*/ 1687544 h 2765205"/>
                <a:gd name="connsiteX6380" fmla="*/ 7530924 w 8566434"/>
                <a:gd name="connsiteY6380" fmla="*/ 1684028 h 2765205"/>
                <a:gd name="connsiteX6381" fmla="*/ 7545743 w 8566434"/>
                <a:gd name="connsiteY6381" fmla="*/ 1691610 h 2765205"/>
                <a:gd name="connsiteX6382" fmla="*/ 7549879 w 8566434"/>
                <a:gd name="connsiteY6382" fmla="*/ 1667348 h 2765205"/>
                <a:gd name="connsiteX6383" fmla="*/ 7559666 w 8566434"/>
                <a:gd name="connsiteY6383" fmla="*/ 1714149 h 2765205"/>
                <a:gd name="connsiteX6384" fmla="*/ 7551671 w 8566434"/>
                <a:gd name="connsiteY6384" fmla="*/ 1700432 h 2765205"/>
                <a:gd name="connsiteX6385" fmla="*/ 7554703 w 8566434"/>
                <a:gd name="connsiteY6385" fmla="*/ 1760948 h 2765205"/>
                <a:gd name="connsiteX6386" fmla="*/ 7546570 w 8566434"/>
                <a:gd name="connsiteY6386" fmla="*/ 1796789 h 2765205"/>
                <a:gd name="connsiteX6387" fmla="*/ 7531476 w 8566434"/>
                <a:gd name="connsiteY6387" fmla="*/ 1809609 h 2765205"/>
                <a:gd name="connsiteX6388" fmla="*/ 7538575 w 8566434"/>
                <a:gd name="connsiteY6388" fmla="*/ 1826496 h 2765205"/>
                <a:gd name="connsiteX6389" fmla="*/ 7524032 w 8566434"/>
                <a:gd name="connsiteY6389" fmla="*/ 1808506 h 2765205"/>
                <a:gd name="connsiteX6390" fmla="*/ 7513280 w 8566434"/>
                <a:gd name="connsiteY6390" fmla="*/ 1816570 h 2765205"/>
                <a:gd name="connsiteX6391" fmla="*/ 7513969 w 8566434"/>
                <a:gd name="connsiteY6391" fmla="*/ 1830424 h 2765205"/>
                <a:gd name="connsiteX6392" fmla="*/ 7515761 w 8566434"/>
                <a:gd name="connsiteY6392" fmla="*/ 1875432 h 2765205"/>
                <a:gd name="connsiteX6393" fmla="*/ 7533819 w 8566434"/>
                <a:gd name="connsiteY6393" fmla="*/ 1859579 h 2765205"/>
                <a:gd name="connsiteX6394" fmla="*/ 7531958 w 8566434"/>
                <a:gd name="connsiteY6394" fmla="*/ 1869849 h 2765205"/>
                <a:gd name="connsiteX6395" fmla="*/ 7532579 w 8566434"/>
                <a:gd name="connsiteY6395" fmla="*/ 1892181 h 2765205"/>
                <a:gd name="connsiteX6396" fmla="*/ 7536301 w 8566434"/>
                <a:gd name="connsiteY6396" fmla="*/ 1904449 h 2765205"/>
                <a:gd name="connsiteX6397" fmla="*/ 7535956 w 8566434"/>
                <a:gd name="connsiteY6397" fmla="*/ 1951180 h 2765205"/>
                <a:gd name="connsiteX6398" fmla="*/ 7521758 w 8566434"/>
                <a:gd name="connsiteY6398" fmla="*/ 2018313 h 2765205"/>
                <a:gd name="connsiteX6399" fmla="*/ 7521482 w 8566434"/>
                <a:gd name="connsiteY6399" fmla="*/ 2133693 h 2765205"/>
                <a:gd name="connsiteX6400" fmla="*/ 7536714 w 8566434"/>
                <a:gd name="connsiteY6400" fmla="*/ 2129764 h 2765205"/>
                <a:gd name="connsiteX6401" fmla="*/ 7532234 w 8566434"/>
                <a:gd name="connsiteY6401" fmla="*/ 2137070 h 2765205"/>
                <a:gd name="connsiteX6402" fmla="*/ 7522309 w 8566434"/>
                <a:gd name="connsiteY6402" fmla="*/ 2136519 h 2765205"/>
                <a:gd name="connsiteX6403" fmla="*/ 7524584 w 8566434"/>
                <a:gd name="connsiteY6403" fmla="*/ 2207856 h 2765205"/>
                <a:gd name="connsiteX6404" fmla="*/ 2773678 w 8566434"/>
                <a:gd name="connsiteY6404" fmla="*/ 2207787 h 2765205"/>
                <a:gd name="connsiteX6405" fmla="*/ 2773678 w 8566434"/>
                <a:gd name="connsiteY6405" fmla="*/ 2207787 h 2765205"/>
                <a:gd name="connsiteX6406" fmla="*/ 2708751 w 8566434"/>
                <a:gd name="connsiteY6406" fmla="*/ 2226534 h 2765205"/>
                <a:gd name="connsiteX6407" fmla="*/ 2795665 w 8566434"/>
                <a:gd name="connsiteY6407" fmla="*/ 2232944 h 2765205"/>
                <a:gd name="connsiteX6408" fmla="*/ 2798491 w 8566434"/>
                <a:gd name="connsiteY6408" fmla="*/ 2185662 h 2765205"/>
                <a:gd name="connsiteX6409" fmla="*/ 2707235 w 8566434"/>
                <a:gd name="connsiteY6409" fmla="*/ 2179665 h 2765205"/>
                <a:gd name="connsiteX6410" fmla="*/ 2715368 w 8566434"/>
                <a:gd name="connsiteY6410" fmla="*/ 2216471 h 2765205"/>
                <a:gd name="connsiteX6411" fmla="*/ 2699722 w 8566434"/>
                <a:gd name="connsiteY6411" fmla="*/ 2200205 h 2765205"/>
                <a:gd name="connsiteX6412" fmla="*/ 2703444 w 8566434"/>
                <a:gd name="connsiteY6412" fmla="*/ 2180768 h 2765205"/>
                <a:gd name="connsiteX6413" fmla="*/ 2677115 w 8566434"/>
                <a:gd name="connsiteY6413" fmla="*/ 2176977 h 2765205"/>
                <a:gd name="connsiteX6414" fmla="*/ 2682284 w 8566434"/>
                <a:gd name="connsiteY6414" fmla="*/ 2222812 h 2765205"/>
                <a:gd name="connsiteX6415" fmla="*/ 2708751 w 8566434"/>
                <a:gd name="connsiteY6415" fmla="*/ 2226534 h 2765205"/>
                <a:gd name="connsiteX6416" fmla="*/ 8184330 w 8566434"/>
                <a:gd name="connsiteY6416" fmla="*/ 1018147 h 2765205"/>
                <a:gd name="connsiteX6417" fmla="*/ 8184330 w 8566434"/>
                <a:gd name="connsiteY6417" fmla="*/ 1018147 h 2765205"/>
                <a:gd name="connsiteX6418" fmla="*/ 8066331 w 8566434"/>
                <a:gd name="connsiteY6418" fmla="*/ 1022834 h 2765205"/>
                <a:gd name="connsiteX6419" fmla="*/ 8066331 w 8566434"/>
                <a:gd name="connsiteY6419" fmla="*/ 1022834 h 2765205"/>
                <a:gd name="connsiteX6420" fmla="*/ 7941095 w 8566434"/>
                <a:gd name="connsiteY6420" fmla="*/ 1037033 h 2765205"/>
                <a:gd name="connsiteX6421" fmla="*/ 7941095 w 8566434"/>
                <a:gd name="connsiteY6421" fmla="*/ 1037033 h 2765205"/>
                <a:gd name="connsiteX6422" fmla="*/ 8031662 w 8566434"/>
                <a:gd name="connsiteY6422" fmla="*/ 1043305 h 2765205"/>
                <a:gd name="connsiteX6423" fmla="*/ 8031662 w 8566434"/>
                <a:gd name="connsiteY6423" fmla="*/ 1043305 h 2765205"/>
                <a:gd name="connsiteX6424" fmla="*/ 7949090 w 8566434"/>
                <a:gd name="connsiteY6424" fmla="*/ 1062673 h 2765205"/>
                <a:gd name="connsiteX6425" fmla="*/ 7957223 w 8566434"/>
                <a:gd name="connsiteY6425" fmla="*/ 1041031 h 2765205"/>
                <a:gd name="connsiteX6426" fmla="*/ 7949090 w 8566434"/>
                <a:gd name="connsiteY6426" fmla="*/ 1062673 h 2765205"/>
                <a:gd name="connsiteX6427" fmla="*/ 8154417 w 8566434"/>
                <a:gd name="connsiteY6427" fmla="*/ 1070392 h 2765205"/>
                <a:gd name="connsiteX6428" fmla="*/ 8154417 w 8566434"/>
                <a:gd name="connsiteY6428" fmla="*/ 1070392 h 2765205"/>
                <a:gd name="connsiteX6429" fmla="*/ 8031662 w 8566434"/>
                <a:gd name="connsiteY6429" fmla="*/ 1070392 h 2765205"/>
                <a:gd name="connsiteX6430" fmla="*/ 8036487 w 8566434"/>
                <a:gd name="connsiteY6430" fmla="*/ 1055091 h 2765205"/>
                <a:gd name="connsiteX6431" fmla="*/ 8031662 w 8566434"/>
                <a:gd name="connsiteY6431" fmla="*/ 1070392 h 2765205"/>
                <a:gd name="connsiteX6432" fmla="*/ 8176404 w 8566434"/>
                <a:gd name="connsiteY6432" fmla="*/ 1076871 h 2765205"/>
                <a:gd name="connsiteX6433" fmla="*/ 8177507 w 8566434"/>
                <a:gd name="connsiteY6433" fmla="*/ 1056263 h 2765205"/>
                <a:gd name="connsiteX6434" fmla="*/ 8176404 w 8566434"/>
                <a:gd name="connsiteY6434" fmla="*/ 1076871 h 2765205"/>
                <a:gd name="connsiteX6435" fmla="*/ 8034763 w 8566434"/>
                <a:gd name="connsiteY6435" fmla="*/ 1086245 h 2765205"/>
                <a:gd name="connsiteX6436" fmla="*/ 8052891 w 8566434"/>
                <a:gd name="connsiteY6436" fmla="*/ 1073149 h 2765205"/>
                <a:gd name="connsiteX6437" fmla="*/ 8046825 w 8566434"/>
                <a:gd name="connsiteY6437" fmla="*/ 1050887 h 2765205"/>
                <a:gd name="connsiteX6438" fmla="*/ 8060955 w 8566434"/>
                <a:gd name="connsiteY6438" fmla="*/ 1072805 h 2765205"/>
                <a:gd name="connsiteX6439" fmla="*/ 8068812 w 8566434"/>
                <a:gd name="connsiteY6439" fmla="*/ 1044477 h 2765205"/>
                <a:gd name="connsiteX6440" fmla="*/ 8078186 w 8566434"/>
                <a:gd name="connsiteY6440" fmla="*/ 1085556 h 2765205"/>
                <a:gd name="connsiteX6441" fmla="*/ 8034763 w 8566434"/>
                <a:gd name="connsiteY6441" fmla="*/ 1086245 h 2765205"/>
                <a:gd name="connsiteX6442" fmla="*/ 8005264 w 8566434"/>
                <a:gd name="connsiteY6442" fmla="*/ 1085556 h 2765205"/>
                <a:gd name="connsiteX6443" fmla="*/ 8020841 w 8566434"/>
                <a:gd name="connsiteY6443" fmla="*/ 1081145 h 2765205"/>
                <a:gd name="connsiteX6444" fmla="*/ 8005264 w 8566434"/>
                <a:gd name="connsiteY6444" fmla="*/ 1085556 h 2765205"/>
                <a:gd name="connsiteX6445" fmla="*/ 7948884 w 8566434"/>
                <a:gd name="connsiteY6445" fmla="*/ 1084315 h 2765205"/>
                <a:gd name="connsiteX6446" fmla="*/ 7948884 w 8566434"/>
                <a:gd name="connsiteY6446" fmla="*/ 1084315 h 2765205"/>
                <a:gd name="connsiteX6447" fmla="*/ 8183779 w 8566434"/>
                <a:gd name="connsiteY6447" fmla="*/ 1092379 h 2765205"/>
                <a:gd name="connsiteX6448" fmla="*/ 8183779 w 8566434"/>
                <a:gd name="connsiteY6448" fmla="*/ 1092379 h 2765205"/>
                <a:gd name="connsiteX6449" fmla="*/ 8155037 w 8566434"/>
                <a:gd name="connsiteY6449" fmla="*/ 1091759 h 2765205"/>
                <a:gd name="connsiteX6450" fmla="*/ 8155037 w 8566434"/>
                <a:gd name="connsiteY6450" fmla="*/ 1091759 h 2765205"/>
                <a:gd name="connsiteX6451" fmla="*/ 7995546 w 8566434"/>
                <a:gd name="connsiteY6451" fmla="*/ 1106440 h 2765205"/>
                <a:gd name="connsiteX6452" fmla="*/ 8019945 w 8566434"/>
                <a:gd name="connsiteY6452" fmla="*/ 1104993 h 2765205"/>
                <a:gd name="connsiteX6453" fmla="*/ 7995546 w 8566434"/>
                <a:gd name="connsiteY6453" fmla="*/ 1106440 h 2765205"/>
                <a:gd name="connsiteX6454" fmla="*/ 8056061 w 8566434"/>
                <a:gd name="connsiteY6454" fmla="*/ 1116020 h 2765205"/>
                <a:gd name="connsiteX6455" fmla="*/ 8055855 w 8566434"/>
                <a:gd name="connsiteY6455" fmla="*/ 1092793 h 2765205"/>
                <a:gd name="connsiteX6456" fmla="*/ 8070122 w 8566434"/>
                <a:gd name="connsiteY6456" fmla="*/ 1126911 h 2765205"/>
                <a:gd name="connsiteX6457" fmla="*/ 8056061 w 8566434"/>
                <a:gd name="connsiteY6457" fmla="*/ 1116020 h 2765205"/>
                <a:gd name="connsiteX6458" fmla="*/ 8087422 w 8566434"/>
                <a:gd name="connsiteY6458" fmla="*/ 1147726 h 2765205"/>
                <a:gd name="connsiteX6459" fmla="*/ 8089972 w 8566434"/>
                <a:gd name="connsiteY6459" fmla="*/ 1142832 h 2765205"/>
                <a:gd name="connsiteX6460" fmla="*/ 8101896 w 8566434"/>
                <a:gd name="connsiteY6460" fmla="*/ 1146278 h 2765205"/>
                <a:gd name="connsiteX6461" fmla="*/ 8107479 w 8566434"/>
                <a:gd name="connsiteY6461" fmla="*/ 1132080 h 2765205"/>
                <a:gd name="connsiteX6462" fmla="*/ 8077635 w 8566434"/>
                <a:gd name="connsiteY6462" fmla="*/ 1122430 h 2765205"/>
                <a:gd name="connsiteX6463" fmla="*/ 8114579 w 8566434"/>
                <a:gd name="connsiteY6463" fmla="*/ 1127048 h 2765205"/>
                <a:gd name="connsiteX6464" fmla="*/ 8132292 w 8566434"/>
                <a:gd name="connsiteY6464" fmla="*/ 1140489 h 2765205"/>
                <a:gd name="connsiteX6465" fmla="*/ 8121195 w 8566434"/>
                <a:gd name="connsiteY6465" fmla="*/ 1138076 h 2765205"/>
                <a:gd name="connsiteX6466" fmla="*/ 8126296 w 8566434"/>
                <a:gd name="connsiteY6466" fmla="*/ 1163647 h 2765205"/>
                <a:gd name="connsiteX6467" fmla="*/ 8117060 w 8566434"/>
                <a:gd name="connsiteY6467" fmla="*/ 1150690 h 2765205"/>
                <a:gd name="connsiteX6468" fmla="*/ 8087422 w 8566434"/>
                <a:gd name="connsiteY6468" fmla="*/ 1147726 h 2765205"/>
                <a:gd name="connsiteX6469" fmla="*/ 8039519 w 8566434"/>
                <a:gd name="connsiteY6469" fmla="*/ 1168955 h 2765205"/>
                <a:gd name="connsiteX6470" fmla="*/ 8023598 w 8566434"/>
                <a:gd name="connsiteY6470" fmla="*/ 1145245 h 2765205"/>
                <a:gd name="connsiteX6471" fmla="*/ 8043862 w 8566434"/>
                <a:gd name="connsiteY6471" fmla="*/ 1134975 h 2765205"/>
                <a:gd name="connsiteX6472" fmla="*/ 8064264 w 8566434"/>
                <a:gd name="connsiteY6472" fmla="*/ 1138352 h 2765205"/>
                <a:gd name="connsiteX6473" fmla="*/ 8040485 w 8566434"/>
                <a:gd name="connsiteY6473" fmla="*/ 1153653 h 2765205"/>
                <a:gd name="connsiteX6474" fmla="*/ 8049514 w 8566434"/>
                <a:gd name="connsiteY6474" fmla="*/ 1167921 h 2765205"/>
                <a:gd name="connsiteX6475" fmla="*/ 8039519 w 8566434"/>
                <a:gd name="connsiteY6475" fmla="*/ 1168955 h 2765205"/>
                <a:gd name="connsiteX6476" fmla="*/ 7989962 w 8566434"/>
                <a:gd name="connsiteY6476" fmla="*/ 1171918 h 2765205"/>
                <a:gd name="connsiteX6477" fmla="*/ 8000922 w 8566434"/>
                <a:gd name="connsiteY6477" fmla="*/ 1143797 h 2765205"/>
                <a:gd name="connsiteX6478" fmla="*/ 8017395 w 8566434"/>
                <a:gd name="connsiteY6478" fmla="*/ 1151723 h 2765205"/>
                <a:gd name="connsiteX6479" fmla="*/ 8001611 w 8566434"/>
                <a:gd name="connsiteY6479" fmla="*/ 1145727 h 2765205"/>
                <a:gd name="connsiteX6480" fmla="*/ 7989962 w 8566434"/>
                <a:gd name="connsiteY6480" fmla="*/ 1171918 h 2765205"/>
                <a:gd name="connsiteX6481" fmla="*/ 7961221 w 8566434"/>
                <a:gd name="connsiteY6481" fmla="*/ 1150345 h 2765205"/>
                <a:gd name="connsiteX6482" fmla="*/ 7972869 w 8566434"/>
                <a:gd name="connsiteY6482" fmla="*/ 1117192 h 2765205"/>
                <a:gd name="connsiteX6483" fmla="*/ 7995201 w 8566434"/>
                <a:gd name="connsiteY6483" fmla="*/ 1123947 h 2765205"/>
                <a:gd name="connsiteX6484" fmla="*/ 7975213 w 8566434"/>
                <a:gd name="connsiteY6484" fmla="*/ 1127600 h 2765205"/>
                <a:gd name="connsiteX6485" fmla="*/ 7980313 w 8566434"/>
                <a:gd name="connsiteY6485" fmla="*/ 1170126 h 2765205"/>
                <a:gd name="connsiteX6486" fmla="*/ 7961221 w 8566434"/>
                <a:gd name="connsiteY6486" fmla="*/ 1150345 h 2765205"/>
                <a:gd name="connsiteX6487" fmla="*/ 7928619 w 8566434"/>
                <a:gd name="connsiteY6487" fmla="*/ 1187220 h 2765205"/>
                <a:gd name="connsiteX6488" fmla="*/ 7932962 w 8566434"/>
                <a:gd name="connsiteY6488" fmla="*/ 1171298 h 2765205"/>
                <a:gd name="connsiteX6489" fmla="*/ 7928619 w 8566434"/>
                <a:gd name="connsiteY6489" fmla="*/ 1187220 h 2765205"/>
                <a:gd name="connsiteX6490" fmla="*/ 7975006 w 8566434"/>
                <a:gd name="connsiteY6490" fmla="*/ 1195077 h 2765205"/>
                <a:gd name="connsiteX6491" fmla="*/ 7975006 w 8566434"/>
                <a:gd name="connsiteY6491" fmla="*/ 1195077 h 2765205"/>
                <a:gd name="connsiteX6492" fmla="*/ 7935788 w 8566434"/>
                <a:gd name="connsiteY6492" fmla="*/ 1215479 h 2765205"/>
                <a:gd name="connsiteX6493" fmla="*/ 7934341 w 8566434"/>
                <a:gd name="connsiteY6493" fmla="*/ 1196387 h 2765205"/>
                <a:gd name="connsiteX6494" fmla="*/ 7935788 w 8566434"/>
                <a:gd name="connsiteY6494" fmla="*/ 1215479 h 2765205"/>
                <a:gd name="connsiteX6495" fmla="*/ 7921452 w 8566434"/>
                <a:gd name="connsiteY6495" fmla="*/ 1270618 h 2765205"/>
                <a:gd name="connsiteX6496" fmla="*/ 7931446 w 8566434"/>
                <a:gd name="connsiteY6496" fmla="*/ 1254146 h 2765205"/>
                <a:gd name="connsiteX6497" fmla="*/ 7921452 w 8566434"/>
                <a:gd name="connsiteY6497" fmla="*/ 1270618 h 2765205"/>
                <a:gd name="connsiteX6498" fmla="*/ 7967631 w 8566434"/>
                <a:gd name="connsiteY6498" fmla="*/ 1271514 h 2765205"/>
                <a:gd name="connsiteX6499" fmla="*/ 7961497 w 8566434"/>
                <a:gd name="connsiteY6499" fmla="*/ 1270756 h 2765205"/>
                <a:gd name="connsiteX6500" fmla="*/ 7948952 w 8566434"/>
                <a:gd name="connsiteY6500" fmla="*/ 1265173 h 2765205"/>
                <a:gd name="connsiteX6501" fmla="*/ 7952123 w 8566434"/>
                <a:gd name="connsiteY6501" fmla="*/ 1241119 h 2765205"/>
                <a:gd name="connsiteX6502" fmla="*/ 7961083 w 8566434"/>
                <a:gd name="connsiteY6502" fmla="*/ 1243945 h 2765205"/>
                <a:gd name="connsiteX6503" fmla="*/ 7961703 w 8566434"/>
                <a:gd name="connsiteY6503" fmla="*/ 1226300 h 2765205"/>
                <a:gd name="connsiteX6504" fmla="*/ 7949022 w 8566434"/>
                <a:gd name="connsiteY6504" fmla="*/ 1228092 h 2765205"/>
                <a:gd name="connsiteX6505" fmla="*/ 7949435 w 8566434"/>
                <a:gd name="connsiteY6505" fmla="*/ 1220855 h 2765205"/>
                <a:gd name="connsiteX6506" fmla="*/ 7963564 w 8566434"/>
                <a:gd name="connsiteY6506" fmla="*/ 1222992 h 2765205"/>
                <a:gd name="connsiteX6507" fmla="*/ 7961635 w 8566434"/>
                <a:gd name="connsiteY6507" fmla="*/ 1212722 h 2765205"/>
                <a:gd name="connsiteX6508" fmla="*/ 7988171 w 8566434"/>
                <a:gd name="connsiteY6508" fmla="*/ 1199488 h 2765205"/>
                <a:gd name="connsiteX6509" fmla="*/ 7979072 w 8566434"/>
                <a:gd name="connsiteY6509" fmla="*/ 1230504 h 2765205"/>
                <a:gd name="connsiteX6510" fmla="*/ 7967562 w 8566434"/>
                <a:gd name="connsiteY6510" fmla="*/ 1216719 h 2765205"/>
                <a:gd name="connsiteX6511" fmla="*/ 7955776 w 8566434"/>
                <a:gd name="connsiteY6511" fmla="*/ 1256144 h 2765205"/>
                <a:gd name="connsiteX6512" fmla="*/ 7976867 w 8566434"/>
                <a:gd name="connsiteY6512" fmla="*/ 1266759 h 2765205"/>
                <a:gd name="connsiteX6513" fmla="*/ 7978521 w 8566434"/>
                <a:gd name="connsiteY6513" fmla="*/ 1238362 h 2765205"/>
                <a:gd name="connsiteX6514" fmla="*/ 7987895 w 8566434"/>
                <a:gd name="connsiteY6514" fmla="*/ 1285437 h 2765205"/>
                <a:gd name="connsiteX6515" fmla="*/ 7967631 w 8566434"/>
                <a:gd name="connsiteY6515" fmla="*/ 1271514 h 2765205"/>
                <a:gd name="connsiteX6516" fmla="*/ 7990583 w 8566434"/>
                <a:gd name="connsiteY6516" fmla="*/ 1340301 h 2765205"/>
                <a:gd name="connsiteX6517" fmla="*/ 7989618 w 8566434"/>
                <a:gd name="connsiteY6517" fmla="*/ 1311008 h 2765205"/>
                <a:gd name="connsiteX6518" fmla="*/ 7932893 w 8566434"/>
                <a:gd name="connsiteY6518" fmla="*/ 1294742 h 2765205"/>
                <a:gd name="connsiteX6519" fmla="*/ 7958602 w 8566434"/>
                <a:gd name="connsiteY6519" fmla="*/ 1303220 h 2765205"/>
                <a:gd name="connsiteX6520" fmla="*/ 7973490 w 8566434"/>
                <a:gd name="connsiteY6520" fmla="*/ 1288608 h 2765205"/>
                <a:gd name="connsiteX6521" fmla="*/ 7969699 w 8566434"/>
                <a:gd name="connsiteY6521" fmla="*/ 1299498 h 2765205"/>
                <a:gd name="connsiteX6522" fmla="*/ 7990583 w 8566434"/>
                <a:gd name="connsiteY6522" fmla="*/ 1340301 h 2765205"/>
                <a:gd name="connsiteX6523" fmla="*/ 7979348 w 8566434"/>
                <a:gd name="connsiteY6523" fmla="*/ 1385860 h 2765205"/>
                <a:gd name="connsiteX6524" fmla="*/ 7959636 w 8566434"/>
                <a:gd name="connsiteY6524" fmla="*/ 1365114 h 2765205"/>
                <a:gd name="connsiteX6525" fmla="*/ 7973834 w 8566434"/>
                <a:gd name="connsiteY6525" fmla="*/ 1325482 h 2765205"/>
                <a:gd name="connsiteX6526" fmla="*/ 7980176 w 8566434"/>
                <a:gd name="connsiteY6526" fmla="*/ 1343748 h 2765205"/>
                <a:gd name="connsiteX6527" fmla="*/ 7984862 w 8566434"/>
                <a:gd name="connsiteY6527" fmla="*/ 1362702 h 2765205"/>
                <a:gd name="connsiteX6528" fmla="*/ 7987895 w 8566434"/>
                <a:gd name="connsiteY6528" fmla="*/ 1371800 h 2765205"/>
                <a:gd name="connsiteX6529" fmla="*/ 7986586 w 8566434"/>
                <a:gd name="connsiteY6529" fmla="*/ 1413155 h 2765205"/>
                <a:gd name="connsiteX6530" fmla="*/ 7979348 w 8566434"/>
                <a:gd name="connsiteY6530" fmla="*/ 1385860 h 2765205"/>
                <a:gd name="connsiteX6531" fmla="*/ 7953364 w 8566434"/>
                <a:gd name="connsiteY6531" fmla="*/ 1418738 h 2765205"/>
                <a:gd name="connsiteX6532" fmla="*/ 7971835 w 8566434"/>
                <a:gd name="connsiteY6532" fmla="*/ 1410329 h 2765205"/>
                <a:gd name="connsiteX6533" fmla="*/ 7972387 w 8566434"/>
                <a:gd name="connsiteY6533" fmla="*/ 1444998 h 2765205"/>
                <a:gd name="connsiteX6534" fmla="*/ 7953364 w 8566434"/>
                <a:gd name="connsiteY6534" fmla="*/ 1418738 h 2765205"/>
                <a:gd name="connsiteX6535" fmla="*/ 7989894 w 8566434"/>
                <a:gd name="connsiteY6535" fmla="*/ 1451132 h 2765205"/>
                <a:gd name="connsiteX6536" fmla="*/ 7990928 w 8566434"/>
                <a:gd name="connsiteY6536" fmla="*/ 1433281 h 2765205"/>
                <a:gd name="connsiteX6537" fmla="*/ 7989894 w 8566434"/>
                <a:gd name="connsiteY6537" fmla="*/ 1451132 h 2765205"/>
                <a:gd name="connsiteX6538" fmla="*/ 7975833 w 8566434"/>
                <a:gd name="connsiteY6538" fmla="*/ 1463676 h 2765205"/>
                <a:gd name="connsiteX6539" fmla="*/ 7975833 w 8566434"/>
                <a:gd name="connsiteY6539" fmla="*/ 1463676 h 2765205"/>
                <a:gd name="connsiteX6540" fmla="*/ 7937304 w 8566434"/>
                <a:gd name="connsiteY6540" fmla="*/ 1483527 h 2765205"/>
                <a:gd name="connsiteX6541" fmla="*/ 7951296 w 8566434"/>
                <a:gd name="connsiteY6541" fmla="*/ 1467260 h 2765205"/>
                <a:gd name="connsiteX6542" fmla="*/ 7937304 w 8566434"/>
                <a:gd name="connsiteY6542" fmla="*/ 1483527 h 2765205"/>
                <a:gd name="connsiteX6543" fmla="*/ 7969354 w 8566434"/>
                <a:gd name="connsiteY6543" fmla="*/ 1541699 h 2765205"/>
                <a:gd name="connsiteX6544" fmla="*/ 7969354 w 8566434"/>
                <a:gd name="connsiteY6544" fmla="*/ 1541699 h 2765205"/>
                <a:gd name="connsiteX6545" fmla="*/ 7950469 w 8566434"/>
                <a:gd name="connsiteY6545" fmla="*/ 1555691 h 2765205"/>
                <a:gd name="connsiteX6546" fmla="*/ 7951847 w 8566434"/>
                <a:gd name="connsiteY6546" fmla="*/ 1511855 h 2765205"/>
                <a:gd name="connsiteX6547" fmla="*/ 7926828 w 8566434"/>
                <a:gd name="connsiteY6547" fmla="*/ 1533635 h 2765205"/>
                <a:gd name="connsiteX6548" fmla="*/ 7947781 w 8566434"/>
                <a:gd name="connsiteY6548" fmla="*/ 1510890 h 2765205"/>
                <a:gd name="connsiteX6549" fmla="*/ 7973558 w 8566434"/>
                <a:gd name="connsiteY6549" fmla="*/ 1506547 h 2765205"/>
                <a:gd name="connsiteX6550" fmla="*/ 7950469 w 8566434"/>
                <a:gd name="connsiteY6550" fmla="*/ 1555691 h 2765205"/>
                <a:gd name="connsiteX6551" fmla="*/ 7950469 w 8566434"/>
                <a:gd name="connsiteY6551" fmla="*/ 1574232 h 2765205"/>
                <a:gd name="connsiteX6552" fmla="*/ 7974041 w 8566434"/>
                <a:gd name="connsiteY6552" fmla="*/ 1570234 h 2765205"/>
                <a:gd name="connsiteX6553" fmla="*/ 7950469 w 8566434"/>
                <a:gd name="connsiteY6553" fmla="*/ 1574232 h 2765205"/>
                <a:gd name="connsiteX6554" fmla="*/ 7929791 w 8566434"/>
                <a:gd name="connsiteY6554" fmla="*/ 1622547 h 2765205"/>
                <a:gd name="connsiteX6555" fmla="*/ 7946195 w 8566434"/>
                <a:gd name="connsiteY6555" fmla="*/ 1606764 h 2765205"/>
                <a:gd name="connsiteX6556" fmla="*/ 7929791 w 8566434"/>
                <a:gd name="connsiteY6556" fmla="*/ 1622547 h 2765205"/>
                <a:gd name="connsiteX6557" fmla="*/ 7920556 w 8566434"/>
                <a:gd name="connsiteY6557" fmla="*/ 1664040 h 2765205"/>
                <a:gd name="connsiteX6558" fmla="*/ 7925863 w 8566434"/>
                <a:gd name="connsiteY6558" fmla="*/ 1650600 h 2765205"/>
                <a:gd name="connsiteX6559" fmla="*/ 7920556 w 8566434"/>
                <a:gd name="connsiteY6559" fmla="*/ 1664040 h 2765205"/>
                <a:gd name="connsiteX6560" fmla="*/ 7896225 w 8566434"/>
                <a:gd name="connsiteY6560" fmla="*/ 1764188 h 2765205"/>
                <a:gd name="connsiteX6561" fmla="*/ 7906564 w 8566434"/>
                <a:gd name="connsiteY6561" fmla="*/ 1740547 h 2765205"/>
                <a:gd name="connsiteX6562" fmla="*/ 7935099 w 8566434"/>
                <a:gd name="connsiteY6562" fmla="*/ 1745027 h 2765205"/>
                <a:gd name="connsiteX6563" fmla="*/ 7896225 w 8566434"/>
                <a:gd name="connsiteY6563" fmla="*/ 1764188 h 2765205"/>
                <a:gd name="connsiteX6564" fmla="*/ 7942474 w 8566434"/>
                <a:gd name="connsiteY6564" fmla="*/ 1774182 h 2765205"/>
                <a:gd name="connsiteX6565" fmla="*/ 7942474 w 8566434"/>
                <a:gd name="connsiteY6565" fmla="*/ 1774182 h 2765205"/>
                <a:gd name="connsiteX6566" fmla="*/ 7932755 w 8566434"/>
                <a:gd name="connsiteY6566" fmla="*/ 1816502 h 2765205"/>
                <a:gd name="connsiteX6567" fmla="*/ 7962462 w 8566434"/>
                <a:gd name="connsiteY6567" fmla="*/ 1797478 h 2765205"/>
                <a:gd name="connsiteX6568" fmla="*/ 7972869 w 8566434"/>
                <a:gd name="connsiteY6568" fmla="*/ 1774802 h 2765205"/>
                <a:gd name="connsiteX6569" fmla="*/ 7973420 w 8566434"/>
                <a:gd name="connsiteY6569" fmla="*/ 1801407 h 2765205"/>
                <a:gd name="connsiteX6570" fmla="*/ 7932755 w 8566434"/>
                <a:gd name="connsiteY6570" fmla="*/ 1816502 h 2765205"/>
                <a:gd name="connsiteX6571" fmla="*/ 7921658 w 8566434"/>
                <a:gd name="connsiteY6571" fmla="*/ 1848827 h 2765205"/>
                <a:gd name="connsiteX6572" fmla="*/ 7936960 w 8566434"/>
                <a:gd name="connsiteY6572" fmla="*/ 1835042 h 2765205"/>
                <a:gd name="connsiteX6573" fmla="*/ 7921658 w 8566434"/>
                <a:gd name="connsiteY6573" fmla="*/ 1848827 h 2765205"/>
                <a:gd name="connsiteX6574" fmla="*/ 7956052 w 8566434"/>
                <a:gd name="connsiteY6574" fmla="*/ 1890596 h 2765205"/>
                <a:gd name="connsiteX6575" fmla="*/ 7956052 w 8566434"/>
                <a:gd name="connsiteY6575" fmla="*/ 1890596 h 2765205"/>
                <a:gd name="connsiteX6576" fmla="*/ 7905323 w 8566434"/>
                <a:gd name="connsiteY6576" fmla="*/ 1942978 h 2765205"/>
                <a:gd name="connsiteX6577" fmla="*/ 7930343 w 8566434"/>
                <a:gd name="connsiteY6577" fmla="*/ 1939325 h 2765205"/>
                <a:gd name="connsiteX6578" fmla="*/ 7905323 w 8566434"/>
                <a:gd name="connsiteY6578" fmla="*/ 1942978 h 2765205"/>
                <a:gd name="connsiteX6579" fmla="*/ 7955431 w 8566434"/>
                <a:gd name="connsiteY6579" fmla="*/ 1953937 h 2765205"/>
                <a:gd name="connsiteX6580" fmla="*/ 7955431 w 8566434"/>
                <a:gd name="connsiteY6580" fmla="*/ 1953937 h 2765205"/>
                <a:gd name="connsiteX6581" fmla="*/ 7899809 w 8566434"/>
                <a:gd name="connsiteY6581" fmla="*/ 1967033 h 2765205"/>
                <a:gd name="connsiteX6582" fmla="*/ 7899809 w 8566434"/>
                <a:gd name="connsiteY6582" fmla="*/ 1967033 h 2765205"/>
                <a:gd name="connsiteX6583" fmla="*/ 7955845 w 8566434"/>
                <a:gd name="connsiteY6583" fmla="*/ 1987848 h 2765205"/>
                <a:gd name="connsiteX6584" fmla="*/ 7955845 w 8566434"/>
                <a:gd name="connsiteY6584" fmla="*/ 1987848 h 2765205"/>
                <a:gd name="connsiteX6585" fmla="*/ 7878994 w 8566434"/>
                <a:gd name="connsiteY6585" fmla="*/ 2015969 h 2765205"/>
                <a:gd name="connsiteX6586" fmla="*/ 7888161 w 8566434"/>
                <a:gd name="connsiteY6586" fmla="*/ 2041885 h 2765205"/>
                <a:gd name="connsiteX6587" fmla="*/ 7878994 w 8566434"/>
                <a:gd name="connsiteY6587" fmla="*/ 2015969 h 2765205"/>
                <a:gd name="connsiteX6588" fmla="*/ 7892434 w 8566434"/>
                <a:gd name="connsiteY6588" fmla="*/ 2140171 h 2765205"/>
                <a:gd name="connsiteX6589" fmla="*/ 7893331 w 8566434"/>
                <a:gd name="connsiteY6589" fmla="*/ 2114945 h 2765205"/>
                <a:gd name="connsiteX6590" fmla="*/ 7887541 w 8566434"/>
                <a:gd name="connsiteY6590" fmla="*/ 2087099 h 2765205"/>
                <a:gd name="connsiteX6591" fmla="*/ 7898982 w 8566434"/>
                <a:gd name="connsiteY6591" fmla="*/ 2092545 h 2765205"/>
                <a:gd name="connsiteX6592" fmla="*/ 7897190 w 8566434"/>
                <a:gd name="connsiteY6592" fmla="*/ 2114945 h 2765205"/>
                <a:gd name="connsiteX6593" fmla="*/ 7913456 w 8566434"/>
                <a:gd name="connsiteY6593" fmla="*/ 2092200 h 2765205"/>
                <a:gd name="connsiteX6594" fmla="*/ 7903738 w 8566434"/>
                <a:gd name="connsiteY6594" fmla="*/ 2126455 h 2765205"/>
                <a:gd name="connsiteX6595" fmla="*/ 7918143 w 8566434"/>
                <a:gd name="connsiteY6595" fmla="*/ 2121838 h 2765205"/>
                <a:gd name="connsiteX6596" fmla="*/ 7926896 w 8566434"/>
                <a:gd name="connsiteY6596" fmla="*/ 2144031 h 2765205"/>
                <a:gd name="connsiteX6597" fmla="*/ 7895536 w 8566434"/>
                <a:gd name="connsiteY6597" fmla="*/ 2137070 h 2765205"/>
                <a:gd name="connsiteX6598" fmla="*/ 7904427 w 8566434"/>
                <a:gd name="connsiteY6598" fmla="*/ 2164157 h 2765205"/>
                <a:gd name="connsiteX6599" fmla="*/ 7892434 w 8566434"/>
                <a:gd name="connsiteY6599" fmla="*/ 2140171 h 2765205"/>
                <a:gd name="connsiteX6600" fmla="*/ 7867277 w 8566434"/>
                <a:gd name="connsiteY6600" fmla="*/ 2215920 h 2765205"/>
                <a:gd name="connsiteX6601" fmla="*/ 7867277 w 8566434"/>
                <a:gd name="connsiteY6601" fmla="*/ 2215920 h 2765205"/>
                <a:gd name="connsiteX6602" fmla="*/ 7901739 w 8566434"/>
                <a:gd name="connsiteY6602" fmla="*/ 2231497 h 2765205"/>
                <a:gd name="connsiteX6603" fmla="*/ 7957912 w 8566434"/>
                <a:gd name="connsiteY6603" fmla="*/ 2224191 h 2765205"/>
                <a:gd name="connsiteX6604" fmla="*/ 7940130 w 8566434"/>
                <a:gd name="connsiteY6604" fmla="*/ 2210544 h 2765205"/>
                <a:gd name="connsiteX6605" fmla="*/ 7957706 w 8566434"/>
                <a:gd name="connsiteY6605" fmla="*/ 2185179 h 2765205"/>
                <a:gd name="connsiteX6606" fmla="*/ 7977556 w 8566434"/>
                <a:gd name="connsiteY6606" fmla="*/ 1871641 h 2765205"/>
                <a:gd name="connsiteX6607" fmla="*/ 7961773 w 8566434"/>
                <a:gd name="connsiteY6607" fmla="*/ 1812986 h 2765205"/>
                <a:gd name="connsiteX6608" fmla="*/ 7979555 w 8566434"/>
                <a:gd name="connsiteY6608" fmla="*/ 1811815 h 2765205"/>
                <a:gd name="connsiteX6609" fmla="*/ 7985620 w 8566434"/>
                <a:gd name="connsiteY6609" fmla="*/ 1731931 h 2765205"/>
                <a:gd name="connsiteX6610" fmla="*/ 7976522 w 8566434"/>
                <a:gd name="connsiteY6610" fmla="*/ 1769357 h 2765205"/>
                <a:gd name="connsiteX6611" fmla="*/ 7956741 w 8566434"/>
                <a:gd name="connsiteY6611" fmla="*/ 1753298 h 2765205"/>
                <a:gd name="connsiteX6612" fmla="*/ 7948539 w 8566434"/>
                <a:gd name="connsiteY6612" fmla="*/ 1755365 h 2765205"/>
                <a:gd name="connsiteX6613" fmla="*/ 7930274 w 8566434"/>
                <a:gd name="connsiteY6613" fmla="*/ 1718008 h 2765205"/>
                <a:gd name="connsiteX6614" fmla="*/ 7940475 w 8566434"/>
                <a:gd name="connsiteY6614" fmla="*/ 1690163 h 2765205"/>
                <a:gd name="connsiteX6615" fmla="*/ 7927310 w 8566434"/>
                <a:gd name="connsiteY6615" fmla="*/ 1691334 h 2765205"/>
                <a:gd name="connsiteX6616" fmla="*/ 7943783 w 8566434"/>
                <a:gd name="connsiteY6616" fmla="*/ 1642674 h 2765205"/>
                <a:gd name="connsiteX6617" fmla="*/ 7961703 w 8566434"/>
                <a:gd name="connsiteY6617" fmla="*/ 1641846 h 2765205"/>
                <a:gd name="connsiteX6618" fmla="*/ 7971353 w 8566434"/>
                <a:gd name="connsiteY6618" fmla="*/ 1617654 h 2765205"/>
                <a:gd name="connsiteX6619" fmla="*/ 7964943 w 8566434"/>
                <a:gd name="connsiteY6619" fmla="*/ 1641984 h 2765205"/>
                <a:gd name="connsiteX6620" fmla="*/ 7948126 w 8566434"/>
                <a:gd name="connsiteY6620" fmla="*/ 1686992 h 2765205"/>
                <a:gd name="connsiteX6621" fmla="*/ 7974179 w 8566434"/>
                <a:gd name="connsiteY6621" fmla="*/ 1649566 h 2765205"/>
                <a:gd name="connsiteX6622" fmla="*/ 7989894 w 8566434"/>
                <a:gd name="connsiteY6622" fmla="*/ 1649359 h 2765205"/>
                <a:gd name="connsiteX6623" fmla="*/ 7984931 w 8566434"/>
                <a:gd name="connsiteY6623" fmla="*/ 1609659 h 2765205"/>
                <a:gd name="connsiteX6624" fmla="*/ 7997889 w 8566434"/>
                <a:gd name="connsiteY6624" fmla="*/ 1588223 h 2765205"/>
                <a:gd name="connsiteX6625" fmla="*/ 7977349 w 8566434"/>
                <a:gd name="connsiteY6625" fmla="*/ 1587465 h 2765205"/>
                <a:gd name="connsiteX6626" fmla="*/ 7955018 w 8566434"/>
                <a:gd name="connsiteY6626" fmla="*/ 1595185 h 2765205"/>
                <a:gd name="connsiteX6627" fmla="*/ 7981899 w 8566434"/>
                <a:gd name="connsiteY6627" fmla="*/ 1579539 h 2765205"/>
                <a:gd name="connsiteX6628" fmla="*/ 7994994 w 8566434"/>
                <a:gd name="connsiteY6628" fmla="*/ 1585121 h 2765205"/>
                <a:gd name="connsiteX6629" fmla="*/ 8000784 w 8566434"/>
                <a:gd name="connsiteY6629" fmla="*/ 1515508 h 2765205"/>
                <a:gd name="connsiteX6630" fmla="*/ 7983691 w 8566434"/>
                <a:gd name="connsiteY6630" fmla="*/ 1519436 h 2765205"/>
                <a:gd name="connsiteX6631" fmla="*/ 7982588 w 8566434"/>
                <a:gd name="connsiteY6631" fmla="*/ 1506754 h 2765205"/>
                <a:gd name="connsiteX6632" fmla="*/ 8000164 w 8566434"/>
                <a:gd name="connsiteY6632" fmla="*/ 1513716 h 2765205"/>
                <a:gd name="connsiteX6633" fmla="*/ 8008159 w 8566434"/>
                <a:gd name="connsiteY6633" fmla="*/ 1379037 h 2765205"/>
                <a:gd name="connsiteX6634" fmla="*/ 7998854 w 8566434"/>
                <a:gd name="connsiteY6634" fmla="*/ 1379450 h 2765205"/>
                <a:gd name="connsiteX6635" fmla="*/ 8008779 w 8566434"/>
                <a:gd name="connsiteY6635" fmla="*/ 1355465 h 2765205"/>
                <a:gd name="connsiteX6636" fmla="*/ 8021323 w 8566434"/>
                <a:gd name="connsiteY6636" fmla="*/ 1180120 h 2765205"/>
                <a:gd name="connsiteX6637" fmla="*/ 8008503 w 8566434"/>
                <a:gd name="connsiteY6637" fmla="*/ 1169988 h 2765205"/>
                <a:gd name="connsiteX6638" fmla="*/ 8198322 w 8566434"/>
                <a:gd name="connsiteY6638" fmla="*/ 1187978 h 2765205"/>
                <a:gd name="connsiteX6639" fmla="*/ 8200527 w 8566434"/>
                <a:gd name="connsiteY6639" fmla="*/ 1113539 h 2765205"/>
                <a:gd name="connsiteX6640" fmla="*/ 8185778 w 8566434"/>
                <a:gd name="connsiteY6640" fmla="*/ 1147450 h 2765205"/>
                <a:gd name="connsiteX6641" fmla="*/ 8151660 w 8566434"/>
                <a:gd name="connsiteY6641" fmla="*/ 1147381 h 2765205"/>
                <a:gd name="connsiteX6642" fmla="*/ 8172406 w 8566434"/>
                <a:gd name="connsiteY6642" fmla="*/ 1139524 h 2765205"/>
                <a:gd name="connsiteX6643" fmla="*/ 8176266 w 8566434"/>
                <a:gd name="connsiteY6643" fmla="*/ 1140902 h 2765205"/>
                <a:gd name="connsiteX6644" fmla="*/ 8191774 w 8566434"/>
                <a:gd name="connsiteY6644" fmla="*/ 1104786 h 2765205"/>
                <a:gd name="connsiteX6645" fmla="*/ 8201286 w 8566434"/>
                <a:gd name="connsiteY6645" fmla="*/ 1106026 h 2765205"/>
                <a:gd name="connsiteX6646" fmla="*/ 8209487 w 8566434"/>
                <a:gd name="connsiteY6646" fmla="*/ 999262 h 2765205"/>
                <a:gd name="connsiteX6647" fmla="*/ 8094383 w 8566434"/>
                <a:gd name="connsiteY6647" fmla="*/ 992577 h 2765205"/>
                <a:gd name="connsiteX6648" fmla="*/ 8074326 w 8566434"/>
                <a:gd name="connsiteY6648" fmla="*/ 993197 h 2765205"/>
                <a:gd name="connsiteX6649" fmla="*/ 8064539 w 8566434"/>
                <a:gd name="connsiteY6649" fmla="*/ 1005328 h 2765205"/>
                <a:gd name="connsiteX6650" fmla="*/ 8064677 w 8566434"/>
                <a:gd name="connsiteY6650" fmla="*/ 991680 h 2765205"/>
                <a:gd name="connsiteX6651" fmla="*/ 8033868 w 8566434"/>
                <a:gd name="connsiteY6651" fmla="*/ 991818 h 2765205"/>
                <a:gd name="connsiteX6652" fmla="*/ 8038486 w 8566434"/>
                <a:gd name="connsiteY6652" fmla="*/ 1000227 h 2765205"/>
                <a:gd name="connsiteX6653" fmla="*/ 8061299 w 8566434"/>
                <a:gd name="connsiteY6653" fmla="*/ 1015115 h 2765205"/>
                <a:gd name="connsiteX6654" fmla="*/ 8041449 w 8566434"/>
                <a:gd name="connsiteY6654" fmla="*/ 1011531 h 2765205"/>
                <a:gd name="connsiteX6655" fmla="*/ 8011812 w 8566434"/>
                <a:gd name="connsiteY6655" fmla="*/ 1030278 h 2765205"/>
                <a:gd name="connsiteX6656" fmla="*/ 8011536 w 8566434"/>
                <a:gd name="connsiteY6656" fmla="*/ 983892 h 2765205"/>
                <a:gd name="connsiteX6657" fmla="*/ 8007814 w 8566434"/>
                <a:gd name="connsiteY6657" fmla="*/ 1002984 h 2765205"/>
                <a:gd name="connsiteX6658" fmla="*/ 7994856 w 8566434"/>
                <a:gd name="connsiteY6658" fmla="*/ 984788 h 2765205"/>
                <a:gd name="connsiteX6659" fmla="*/ 7929033 w 8566434"/>
                <a:gd name="connsiteY6659" fmla="*/ 981411 h 2765205"/>
                <a:gd name="connsiteX6660" fmla="*/ 7927379 w 8566434"/>
                <a:gd name="connsiteY6660" fmla="*/ 1017183 h 2765205"/>
                <a:gd name="connsiteX6661" fmla="*/ 7952398 w 8566434"/>
                <a:gd name="connsiteY6661" fmla="*/ 1005121 h 2765205"/>
                <a:gd name="connsiteX6662" fmla="*/ 7958326 w 8566434"/>
                <a:gd name="connsiteY6662" fmla="*/ 1014288 h 2765205"/>
                <a:gd name="connsiteX6663" fmla="*/ 7926552 w 8566434"/>
                <a:gd name="connsiteY6663" fmla="*/ 1022972 h 2765205"/>
                <a:gd name="connsiteX6664" fmla="*/ 7923588 w 8566434"/>
                <a:gd name="connsiteY6664" fmla="*/ 1107612 h 2765205"/>
                <a:gd name="connsiteX6665" fmla="*/ 7938752 w 8566434"/>
                <a:gd name="connsiteY6665" fmla="*/ 1096239 h 2765205"/>
                <a:gd name="connsiteX6666" fmla="*/ 7936477 w 8566434"/>
                <a:gd name="connsiteY6666" fmla="*/ 1107818 h 2765205"/>
                <a:gd name="connsiteX6667" fmla="*/ 7934409 w 8566434"/>
                <a:gd name="connsiteY6667" fmla="*/ 1114435 h 2765205"/>
                <a:gd name="connsiteX6668" fmla="*/ 7920142 w 8566434"/>
                <a:gd name="connsiteY6668" fmla="*/ 1116158 h 2765205"/>
                <a:gd name="connsiteX6669" fmla="*/ 7934616 w 8566434"/>
                <a:gd name="connsiteY6669" fmla="*/ 1138972 h 2765205"/>
                <a:gd name="connsiteX6670" fmla="*/ 7919384 w 8566434"/>
                <a:gd name="connsiteY6670" fmla="*/ 1136974 h 2765205"/>
                <a:gd name="connsiteX6671" fmla="*/ 7908631 w 8566434"/>
                <a:gd name="connsiteY6671" fmla="*/ 1309561 h 2765205"/>
                <a:gd name="connsiteX6672" fmla="*/ 7919935 w 8566434"/>
                <a:gd name="connsiteY6672" fmla="*/ 1311698 h 2765205"/>
                <a:gd name="connsiteX6673" fmla="*/ 7907391 w 8566434"/>
                <a:gd name="connsiteY6673" fmla="*/ 1311077 h 2765205"/>
                <a:gd name="connsiteX6674" fmla="*/ 7919315 w 8566434"/>
                <a:gd name="connsiteY6674" fmla="*/ 1339681 h 2765205"/>
                <a:gd name="connsiteX6675" fmla="*/ 7906633 w 8566434"/>
                <a:gd name="connsiteY6675" fmla="*/ 1336993 h 2765205"/>
                <a:gd name="connsiteX6676" fmla="*/ 7896914 w 8566434"/>
                <a:gd name="connsiteY6676" fmla="*/ 1513991 h 2765205"/>
                <a:gd name="connsiteX6677" fmla="*/ 7917799 w 8566434"/>
                <a:gd name="connsiteY6677" fmla="*/ 1516197 h 2765205"/>
                <a:gd name="connsiteX6678" fmla="*/ 7915868 w 8566434"/>
                <a:gd name="connsiteY6678" fmla="*/ 1531843 h 2765205"/>
                <a:gd name="connsiteX6679" fmla="*/ 7894295 w 8566434"/>
                <a:gd name="connsiteY6679" fmla="*/ 1536530 h 2765205"/>
                <a:gd name="connsiteX6680" fmla="*/ 7890298 w 8566434"/>
                <a:gd name="connsiteY6680" fmla="*/ 1611106 h 2765205"/>
                <a:gd name="connsiteX6681" fmla="*/ 7902566 w 8566434"/>
                <a:gd name="connsiteY6681" fmla="*/ 1633920 h 2765205"/>
                <a:gd name="connsiteX6682" fmla="*/ 7887609 w 8566434"/>
                <a:gd name="connsiteY6682" fmla="*/ 1635850 h 2765205"/>
                <a:gd name="connsiteX6683" fmla="*/ 7890229 w 8566434"/>
                <a:gd name="connsiteY6683" fmla="*/ 1648463 h 2765205"/>
                <a:gd name="connsiteX6684" fmla="*/ 7885542 w 8566434"/>
                <a:gd name="connsiteY6684" fmla="*/ 1674448 h 2765205"/>
                <a:gd name="connsiteX6685" fmla="*/ 7895329 w 8566434"/>
                <a:gd name="connsiteY6685" fmla="*/ 1667280 h 2765205"/>
                <a:gd name="connsiteX6686" fmla="*/ 7904359 w 8566434"/>
                <a:gd name="connsiteY6686" fmla="*/ 1715596 h 2765205"/>
                <a:gd name="connsiteX6687" fmla="*/ 7890229 w 8566434"/>
                <a:gd name="connsiteY6687" fmla="*/ 1671691 h 2765205"/>
                <a:gd name="connsiteX6688" fmla="*/ 7879959 w 8566434"/>
                <a:gd name="connsiteY6688" fmla="*/ 1768599 h 2765205"/>
                <a:gd name="connsiteX6689" fmla="*/ 7868655 w 8566434"/>
                <a:gd name="connsiteY6689" fmla="*/ 1968618 h 2765205"/>
                <a:gd name="connsiteX6690" fmla="*/ 7878994 w 8566434"/>
                <a:gd name="connsiteY6690" fmla="*/ 1980266 h 2765205"/>
                <a:gd name="connsiteX6691" fmla="*/ 7866450 w 8566434"/>
                <a:gd name="connsiteY6691" fmla="*/ 1978681 h 2765205"/>
                <a:gd name="connsiteX6692" fmla="*/ 7860591 w 8566434"/>
                <a:gd name="connsiteY6692" fmla="*/ 2063183 h 2765205"/>
                <a:gd name="connsiteX6693" fmla="*/ 7894571 w 8566434"/>
                <a:gd name="connsiteY6693" fmla="*/ 2059599 h 2765205"/>
                <a:gd name="connsiteX6694" fmla="*/ 7903600 w 8566434"/>
                <a:gd name="connsiteY6694" fmla="*/ 2031270 h 2765205"/>
                <a:gd name="connsiteX6695" fmla="*/ 7899534 w 8566434"/>
                <a:gd name="connsiteY6695" fmla="*/ 2052913 h 2765205"/>
                <a:gd name="connsiteX6696" fmla="*/ 7912009 w 8566434"/>
                <a:gd name="connsiteY6696" fmla="*/ 2062562 h 2765205"/>
                <a:gd name="connsiteX6697" fmla="*/ 7856593 w 8566434"/>
                <a:gd name="connsiteY6697" fmla="*/ 2078208 h 2765205"/>
                <a:gd name="connsiteX6698" fmla="*/ 7886989 w 8566434"/>
                <a:gd name="connsiteY6698" fmla="*/ 2075658 h 2765205"/>
                <a:gd name="connsiteX6699" fmla="*/ 7858248 w 8566434"/>
                <a:gd name="connsiteY6699" fmla="*/ 2113222 h 2765205"/>
                <a:gd name="connsiteX6700" fmla="*/ 7854181 w 8566434"/>
                <a:gd name="connsiteY6700" fmla="*/ 2176012 h 2765205"/>
                <a:gd name="connsiteX6701" fmla="*/ 7872239 w 8566434"/>
                <a:gd name="connsiteY6701" fmla="*/ 2179734 h 2765205"/>
                <a:gd name="connsiteX6702" fmla="*/ 7853836 w 8566434"/>
                <a:gd name="connsiteY6702" fmla="*/ 2178632 h 2765205"/>
                <a:gd name="connsiteX6703" fmla="*/ 7851838 w 8566434"/>
                <a:gd name="connsiteY6703" fmla="*/ 2227637 h 2765205"/>
                <a:gd name="connsiteX6704" fmla="*/ 7891883 w 8566434"/>
                <a:gd name="connsiteY6704" fmla="*/ 2223295 h 2765205"/>
                <a:gd name="connsiteX6705" fmla="*/ 7900636 w 8566434"/>
                <a:gd name="connsiteY6705" fmla="*/ 2190555 h 2765205"/>
                <a:gd name="connsiteX6706" fmla="*/ 7920349 w 8566434"/>
                <a:gd name="connsiteY6706" fmla="*/ 2149408 h 2765205"/>
                <a:gd name="connsiteX6707" fmla="*/ 7940544 w 8566434"/>
                <a:gd name="connsiteY6707" fmla="*/ 2150234 h 2765205"/>
                <a:gd name="connsiteX6708" fmla="*/ 7906219 w 8566434"/>
                <a:gd name="connsiteY6708" fmla="*/ 2189039 h 2765205"/>
                <a:gd name="connsiteX6709" fmla="*/ 7913181 w 8566434"/>
                <a:gd name="connsiteY6709" fmla="*/ 2203444 h 2765205"/>
                <a:gd name="connsiteX6710" fmla="*/ 7925725 w 8566434"/>
                <a:gd name="connsiteY6710" fmla="*/ 2188695 h 2765205"/>
                <a:gd name="connsiteX6711" fmla="*/ 7929929 w 8566434"/>
                <a:gd name="connsiteY6711" fmla="*/ 2226190 h 2765205"/>
                <a:gd name="connsiteX6712" fmla="*/ 7900085 w 8566434"/>
                <a:gd name="connsiteY6712" fmla="*/ 2224880 h 2765205"/>
                <a:gd name="connsiteX6713" fmla="*/ 7901739 w 8566434"/>
                <a:gd name="connsiteY6713" fmla="*/ 2231497 h 2765205"/>
                <a:gd name="connsiteX6714" fmla="*/ 2841431 w 8566434"/>
                <a:gd name="connsiteY6714" fmla="*/ 2234874 h 2765205"/>
                <a:gd name="connsiteX6715" fmla="*/ 2917455 w 8566434"/>
                <a:gd name="connsiteY6715" fmla="*/ 2240250 h 2765205"/>
                <a:gd name="connsiteX6716" fmla="*/ 2913526 w 8566434"/>
                <a:gd name="connsiteY6716" fmla="*/ 2213438 h 2765205"/>
                <a:gd name="connsiteX6717" fmla="*/ 2916421 w 8566434"/>
                <a:gd name="connsiteY6717" fmla="*/ 2196621 h 2765205"/>
                <a:gd name="connsiteX6718" fmla="*/ 2913526 w 8566434"/>
                <a:gd name="connsiteY6718" fmla="*/ 2192072 h 2765205"/>
                <a:gd name="connsiteX6719" fmla="*/ 2831024 w 8566434"/>
                <a:gd name="connsiteY6719" fmla="*/ 2186075 h 2765205"/>
                <a:gd name="connsiteX6720" fmla="*/ 2801731 w 8566434"/>
                <a:gd name="connsiteY6720" fmla="*/ 2182836 h 2765205"/>
                <a:gd name="connsiteX6721" fmla="*/ 2800628 w 8566434"/>
                <a:gd name="connsiteY6721" fmla="*/ 2233082 h 2765205"/>
                <a:gd name="connsiteX6722" fmla="*/ 2828818 w 8566434"/>
                <a:gd name="connsiteY6722" fmla="*/ 2235287 h 2765205"/>
                <a:gd name="connsiteX6723" fmla="*/ 2835641 w 8566434"/>
                <a:gd name="connsiteY6723" fmla="*/ 2223433 h 2765205"/>
                <a:gd name="connsiteX6724" fmla="*/ 2841431 w 8566434"/>
                <a:gd name="connsiteY6724" fmla="*/ 2234874 h 2765205"/>
                <a:gd name="connsiteX6725" fmla="*/ 1759315 w 8566434"/>
                <a:gd name="connsiteY6725" fmla="*/ 2241008 h 2765205"/>
                <a:gd name="connsiteX6726" fmla="*/ 1777786 w 8566434"/>
                <a:gd name="connsiteY6726" fmla="*/ 2289945 h 2765205"/>
                <a:gd name="connsiteX6727" fmla="*/ 1794535 w 8566434"/>
                <a:gd name="connsiteY6727" fmla="*/ 2241215 h 2765205"/>
                <a:gd name="connsiteX6728" fmla="*/ 1809354 w 8566434"/>
                <a:gd name="connsiteY6728" fmla="*/ 2266993 h 2765205"/>
                <a:gd name="connsiteX6729" fmla="*/ 1775167 w 8566434"/>
                <a:gd name="connsiteY6729" fmla="*/ 2237769 h 2765205"/>
                <a:gd name="connsiteX6730" fmla="*/ 1759315 w 8566434"/>
                <a:gd name="connsiteY6730" fmla="*/ 2241008 h 2765205"/>
                <a:gd name="connsiteX6731" fmla="*/ 5638392 w 8566434"/>
                <a:gd name="connsiteY6731" fmla="*/ 2410563 h 2765205"/>
                <a:gd name="connsiteX6732" fmla="*/ 5671476 w 8566434"/>
                <a:gd name="connsiteY6732" fmla="*/ 2412424 h 2765205"/>
                <a:gd name="connsiteX6733" fmla="*/ 5668374 w 8566434"/>
                <a:gd name="connsiteY6733" fmla="*/ 2399880 h 2765205"/>
                <a:gd name="connsiteX6734" fmla="*/ 5684641 w 8566434"/>
                <a:gd name="connsiteY6734" fmla="*/ 2392298 h 2765205"/>
                <a:gd name="connsiteX6735" fmla="*/ 5681953 w 8566434"/>
                <a:gd name="connsiteY6735" fmla="*/ 2413251 h 2765205"/>
                <a:gd name="connsiteX6736" fmla="*/ 5698288 w 8566434"/>
                <a:gd name="connsiteY6736" fmla="*/ 2415043 h 2765205"/>
                <a:gd name="connsiteX6737" fmla="*/ 5706214 w 8566434"/>
                <a:gd name="connsiteY6737" fmla="*/ 2366727 h 2765205"/>
                <a:gd name="connsiteX6738" fmla="*/ 5655279 w 8566434"/>
                <a:gd name="connsiteY6738" fmla="*/ 2363694 h 2765205"/>
                <a:gd name="connsiteX6739" fmla="*/ 5649696 w 8566434"/>
                <a:gd name="connsiteY6739" fmla="*/ 2377961 h 2765205"/>
                <a:gd name="connsiteX6740" fmla="*/ 5649076 w 8566434"/>
                <a:gd name="connsiteY6740" fmla="*/ 2362798 h 2765205"/>
                <a:gd name="connsiteX6741" fmla="*/ 5592075 w 8566434"/>
                <a:gd name="connsiteY6741" fmla="*/ 2358938 h 2765205"/>
                <a:gd name="connsiteX6742" fmla="*/ 5623987 w 8566434"/>
                <a:gd name="connsiteY6742" fmla="*/ 2384647 h 2765205"/>
                <a:gd name="connsiteX6743" fmla="*/ 5642734 w 8566434"/>
                <a:gd name="connsiteY6743" fmla="*/ 2377134 h 2765205"/>
                <a:gd name="connsiteX6744" fmla="*/ 5638392 w 8566434"/>
                <a:gd name="connsiteY6744" fmla="*/ 2410563 h 2765205"/>
                <a:gd name="connsiteX6745" fmla="*/ 3717670 w 8566434"/>
                <a:gd name="connsiteY6745" fmla="*/ 2388231 h 2765205"/>
                <a:gd name="connsiteX6746" fmla="*/ 3717670 w 8566434"/>
                <a:gd name="connsiteY6746" fmla="*/ 2388231 h 2765205"/>
                <a:gd name="connsiteX6747" fmla="*/ 3386349 w 8566434"/>
                <a:gd name="connsiteY6747" fmla="*/ 2401809 h 2765205"/>
                <a:gd name="connsiteX6748" fmla="*/ 3386349 w 8566434"/>
                <a:gd name="connsiteY6748" fmla="*/ 2401809 h 2765205"/>
                <a:gd name="connsiteX6749" fmla="*/ 3980686 w 8566434"/>
                <a:gd name="connsiteY6749" fmla="*/ 2409874 h 2765205"/>
                <a:gd name="connsiteX6750" fmla="*/ 3980686 w 8566434"/>
                <a:gd name="connsiteY6750" fmla="*/ 2409874 h 2765205"/>
                <a:gd name="connsiteX6751" fmla="*/ 3840080 w 8566434"/>
                <a:gd name="connsiteY6751" fmla="*/ 2408357 h 2765205"/>
                <a:gd name="connsiteX6752" fmla="*/ 3844973 w 8566434"/>
                <a:gd name="connsiteY6752" fmla="*/ 2385474 h 2765205"/>
                <a:gd name="connsiteX6753" fmla="*/ 3840080 w 8566434"/>
                <a:gd name="connsiteY6753" fmla="*/ 2408357 h 2765205"/>
                <a:gd name="connsiteX6754" fmla="*/ 3308602 w 8566434"/>
                <a:gd name="connsiteY6754" fmla="*/ 2387198 h 2765205"/>
                <a:gd name="connsiteX6755" fmla="*/ 3329831 w 8566434"/>
                <a:gd name="connsiteY6755" fmla="*/ 2416835 h 2765205"/>
                <a:gd name="connsiteX6756" fmla="*/ 3308602 w 8566434"/>
                <a:gd name="connsiteY6756" fmla="*/ 2387198 h 2765205"/>
                <a:gd name="connsiteX6757" fmla="*/ 3909073 w 8566434"/>
                <a:gd name="connsiteY6757" fmla="*/ 2420350 h 2765205"/>
                <a:gd name="connsiteX6758" fmla="*/ 3920308 w 8566434"/>
                <a:gd name="connsiteY6758" fmla="*/ 2410770 h 2765205"/>
                <a:gd name="connsiteX6759" fmla="*/ 3909073 w 8566434"/>
                <a:gd name="connsiteY6759" fmla="*/ 2420350 h 2765205"/>
                <a:gd name="connsiteX6760" fmla="*/ 3841527 w 8566434"/>
                <a:gd name="connsiteY6760" fmla="*/ 2423728 h 2765205"/>
                <a:gd name="connsiteX6761" fmla="*/ 3841527 w 8566434"/>
                <a:gd name="connsiteY6761" fmla="*/ 2423728 h 2765205"/>
                <a:gd name="connsiteX6762" fmla="*/ 4475496 w 8566434"/>
                <a:gd name="connsiteY6762" fmla="*/ 2442819 h 2765205"/>
                <a:gd name="connsiteX6763" fmla="*/ 4475496 w 8566434"/>
                <a:gd name="connsiteY6763" fmla="*/ 2442819 h 2765205"/>
                <a:gd name="connsiteX6764" fmla="*/ 4398025 w 8566434"/>
                <a:gd name="connsiteY6764" fmla="*/ 2447369 h 2765205"/>
                <a:gd name="connsiteX6765" fmla="*/ 4397473 w 8566434"/>
                <a:gd name="connsiteY6765" fmla="*/ 2407461 h 2765205"/>
                <a:gd name="connsiteX6766" fmla="*/ 4398025 w 8566434"/>
                <a:gd name="connsiteY6766" fmla="*/ 2447369 h 2765205"/>
                <a:gd name="connsiteX6767" fmla="*/ 3599326 w 8566434"/>
                <a:gd name="connsiteY6767" fmla="*/ 2442337 h 2765205"/>
                <a:gd name="connsiteX6768" fmla="*/ 3603324 w 8566434"/>
                <a:gd name="connsiteY6768" fmla="*/ 2426622 h 2765205"/>
                <a:gd name="connsiteX6769" fmla="*/ 3599326 w 8566434"/>
                <a:gd name="connsiteY6769" fmla="*/ 2442337 h 2765205"/>
                <a:gd name="connsiteX6770" fmla="*/ 4620100 w 8566434"/>
                <a:gd name="connsiteY6770" fmla="*/ 2449988 h 2765205"/>
                <a:gd name="connsiteX6771" fmla="*/ 4620100 w 8566434"/>
                <a:gd name="connsiteY6771" fmla="*/ 2449988 h 2765205"/>
                <a:gd name="connsiteX6772" fmla="*/ 4489488 w 8566434"/>
                <a:gd name="connsiteY6772" fmla="*/ 2449712 h 2765205"/>
                <a:gd name="connsiteX6773" fmla="*/ 4489488 w 8566434"/>
                <a:gd name="connsiteY6773" fmla="*/ 2449712 h 2765205"/>
                <a:gd name="connsiteX6774" fmla="*/ 4247562 w 8566434"/>
                <a:gd name="connsiteY6774" fmla="*/ 2456053 h 2765205"/>
                <a:gd name="connsiteX6775" fmla="*/ 4247562 w 8566434"/>
                <a:gd name="connsiteY6775" fmla="*/ 2456053 h 2765205"/>
                <a:gd name="connsiteX6776" fmla="*/ 4633540 w 8566434"/>
                <a:gd name="connsiteY6776" fmla="*/ 2463566 h 2765205"/>
                <a:gd name="connsiteX6777" fmla="*/ 4643810 w 8566434"/>
                <a:gd name="connsiteY6777" fmla="*/ 2452262 h 2765205"/>
                <a:gd name="connsiteX6778" fmla="*/ 4633540 w 8566434"/>
                <a:gd name="connsiteY6778" fmla="*/ 2463566 h 2765205"/>
                <a:gd name="connsiteX6779" fmla="*/ 4349226 w 8566434"/>
                <a:gd name="connsiteY6779" fmla="*/ 2463428 h 2765205"/>
                <a:gd name="connsiteX6780" fmla="*/ 4349226 w 8566434"/>
                <a:gd name="connsiteY6780" fmla="*/ 2463428 h 2765205"/>
                <a:gd name="connsiteX6781" fmla="*/ 4149620 w 8566434"/>
                <a:gd name="connsiteY6781" fmla="*/ 2452952 h 2765205"/>
                <a:gd name="connsiteX6782" fmla="*/ 4168161 w 8566434"/>
                <a:gd name="connsiteY6782" fmla="*/ 2465289 h 2765205"/>
                <a:gd name="connsiteX6783" fmla="*/ 4149620 w 8566434"/>
                <a:gd name="connsiteY6783" fmla="*/ 2452952 h 2765205"/>
                <a:gd name="connsiteX6784" fmla="*/ 4770838 w 8566434"/>
                <a:gd name="connsiteY6784" fmla="*/ 2481211 h 2765205"/>
                <a:gd name="connsiteX6785" fmla="*/ 4778558 w 8566434"/>
                <a:gd name="connsiteY6785" fmla="*/ 2441027 h 2765205"/>
                <a:gd name="connsiteX6786" fmla="*/ 4794686 w 8566434"/>
                <a:gd name="connsiteY6786" fmla="*/ 2445370 h 2765205"/>
                <a:gd name="connsiteX6787" fmla="*/ 4788552 w 8566434"/>
                <a:gd name="connsiteY6787" fmla="*/ 2457569 h 2765205"/>
                <a:gd name="connsiteX6788" fmla="*/ 4796340 w 8566434"/>
                <a:gd name="connsiteY6788" fmla="*/ 2484243 h 2765205"/>
                <a:gd name="connsiteX6789" fmla="*/ 4770838 w 8566434"/>
                <a:gd name="connsiteY6789" fmla="*/ 2481211 h 2765205"/>
                <a:gd name="connsiteX6790" fmla="*/ 3840011 w 8566434"/>
                <a:gd name="connsiteY6790" fmla="*/ 2480521 h 2765205"/>
                <a:gd name="connsiteX6791" fmla="*/ 3853934 w 8566434"/>
                <a:gd name="connsiteY6791" fmla="*/ 2432412 h 2765205"/>
                <a:gd name="connsiteX6792" fmla="*/ 3848282 w 8566434"/>
                <a:gd name="connsiteY6792" fmla="*/ 2475903 h 2765205"/>
                <a:gd name="connsiteX6793" fmla="*/ 3840011 w 8566434"/>
                <a:gd name="connsiteY6793" fmla="*/ 2480521 h 2765205"/>
                <a:gd name="connsiteX6794" fmla="*/ 5155851 w 8566434"/>
                <a:gd name="connsiteY6794" fmla="*/ 2483899 h 2765205"/>
                <a:gd name="connsiteX6795" fmla="*/ 5155851 w 8566434"/>
                <a:gd name="connsiteY6795" fmla="*/ 2483899 h 2765205"/>
                <a:gd name="connsiteX6796" fmla="*/ 4868849 w 8566434"/>
                <a:gd name="connsiteY6796" fmla="*/ 2483761 h 2765205"/>
                <a:gd name="connsiteX6797" fmla="*/ 4868849 w 8566434"/>
                <a:gd name="connsiteY6797" fmla="*/ 2483761 h 2765205"/>
                <a:gd name="connsiteX6798" fmla="*/ 4494451 w 8566434"/>
                <a:gd name="connsiteY6798" fmla="*/ 2484174 h 2765205"/>
                <a:gd name="connsiteX6799" fmla="*/ 4494451 w 8566434"/>
                <a:gd name="connsiteY6799" fmla="*/ 2484174 h 2765205"/>
                <a:gd name="connsiteX6800" fmla="*/ 5260341 w 8566434"/>
                <a:gd name="connsiteY6800" fmla="*/ 2488792 h 2765205"/>
                <a:gd name="connsiteX6801" fmla="*/ 5279019 w 8566434"/>
                <a:gd name="connsiteY6801" fmla="*/ 2470320 h 2765205"/>
                <a:gd name="connsiteX6802" fmla="*/ 5277917 w 8566434"/>
                <a:gd name="connsiteY6802" fmla="*/ 2490515 h 2765205"/>
                <a:gd name="connsiteX6803" fmla="*/ 5260341 w 8566434"/>
                <a:gd name="connsiteY6803" fmla="*/ 2488792 h 2765205"/>
                <a:gd name="connsiteX6804" fmla="*/ 5136966 w 8566434"/>
                <a:gd name="connsiteY6804" fmla="*/ 2492514 h 2765205"/>
                <a:gd name="connsiteX6805" fmla="*/ 5134622 w 8566434"/>
                <a:gd name="connsiteY6805" fmla="*/ 2466254 h 2765205"/>
                <a:gd name="connsiteX6806" fmla="*/ 5123594 w 8566434"/>
                <a:gd name="connsiteY6806" fmla="*/ 2467908 h 2765205"/>
                <a:gd name="connsiteX6807" fmla="*/ 5125662 w 8566434"/>
                <a:gd name="connsiteY6807" fmla="*/ 2462118 h 2765205"/>
                <a:gd name="connsiteX6808" fmla="*/ 5138965 w 8566434"/>
                <a:gd name="connsiteY6808" fmla="*/ 2460947 h 2765205"/>
                <a:gd name="connsiteX6809" fmla="*/ 5140688 w 8566434"/>
                <a:gd name="connsiteY6809" fmla="*/ 2492928 h 2765205"/>
                <a:gd name="connsiteX6810" fmla="*/ 5136966 w 8566434"/>
                <a:gd name="connsiteY6810" fmla="*/ 2492514 h 2765205"/>
                <a:gd name="connsiteX6811" fmla="*/ 4923575 w 8566434"/>
                <a:gd name="connsiteY6811" fmla="*/ 2494513 h 2765205"/>
                <a:gd name="connsiteX6812" fmla="*/ 4924816 w 8566434"/>
                <a:gd name="connsiteY6812" fmla="*/ 2460464 h 2765205"/>
                <a:gd name="connsiteX6813" fmla="*/ 4933845 w 8566434"/>
                <a:gd name="connsiteY6813" fmla="*/ 2460878 h 2765205"/>
                <a:gd name="connsiteX6814" fmla="*/ 4923575 w 8566434"/>
                <a:gd name="connsiteY6814" fmla="*/ 2494513 h 2765205"/>
                <a:gd name="connsiteX6815" fmla="*/ 4529671 w 8566434"/>
                <a:gd name="connsiteY6815" fmla="*/ 2490377 h 2765205"/>
                <a:gd name="connsiteX6816" fmla="*/ 4534840 w 8566434"/>
                <a:gd name="connsiteY6816" fmla="*/ 2475283 h 2765205"/>
                <a:gd name="connsiteX6817" fmla="*/ 4529671 w 8566434"/>
                <a:gd name="connsiteY6817" fmla="*/ 2490377 h 2765205"/>
                <a:gd name="connsiteX6818" fmla="*/ 4419323 w 8566434"/>
                <a:gd name="connsiteY6818" fmla="*/ 2492790 h 2765205"/>
                <a:gd name="connsiteX6819" fmla="*/ 4424837 w 8566434"/>
                <a:gd name="connsiteY6819" fmla="*/ 2468735 h 2765205"/>
                <a:gd name="connsiteX6820" fmla="*/ 4411396 w 8566434"/>
                <a:gd name="connsiteY6820" fmla="*/ 2458741 h 2765205"/>
                <a:gd name="connsiteX6821" fmla="*/ 4429179 w 8566434"/>
                <a:gd name="connsiteY6821" fmla="*/ 2453434 h 2765205"/>
                <a:gd name="connsiteX6822" fmla="*/ 4425181 w 8566434"/>
                <a:gd name="connsiteY6822" fmla="*/ 2471699 h 2765205"/>
                <a:gd name="connsiteX6823" fmla="*/ 4463786 w 8566434"/>
                <a:gd name="connsiteY6823" fmla="*/ 2475697 h 2765205"/>
                <a:gd name="connsiteX6824" fmla="*/ 4465020 w 8566434"/>
                <a:gd name="connsiteY6824" fmla="*/ 2492721 h 2765205"/>
                <a:gd name="connsiteX6825" fmla="*/ 4432005 w 8566434"/>
                <a:gd name="connsiteY6825" fmla="*/ 2470114 h 2765205"/>
                <a:gd name="connsiteX6826" fmla="*/ 4419323 w 8566434"/>
                <a:gd name="connsiteY6826" fmla="*/ 2492790 h 2765205"/>
                <a:gd name="connsiteX6827" fmla="*/ 5357938 w 8566434"/>
                <a:gd name="connsiteY6827" fmla="*/ 2498304 h 2765205"/>
                <a:gd name="connsiteX6828" fmla="*/ 5357938 w 8566434"/>
                <a:gd name="connsiteY6828" fmla="*/ 2498304 h 2765205"/>
                <a:gd name="connsiteX6829" fmla="*/ 4508373 w 8566434"/>
                <a:gd name="connsiteY6829" fmla="*/ 2497546 h 2765205"/>
                <a:gd name="connsiteX6830" fmla="*/ 4508373 w 8566434"/>
                <a:gd name="connsiteY6830" fmla="*/ 2497546 h 2765205"/>
                <a:gd name="connsiteX6831" fmla="*/ 5666721 w 8566434"/>
                <a:gd name="connsiteY6831" fmla="*/ 2505817 h 2765205"/>
                <a:gd name="connsiteX6832" fmla="*/ 5677817 w 8566434"/>
                <a:gd name="connsiteY6832" fmla="*/ 2494168 h 2765205"/>
                <a:gd name="connsiteX6833" fmla="*/ 5666721 w 8566434"/>
                <a:gd name="connsiteY6833" fmla="*/ 2505817 h 2765205"/>
                <a:gd name="connsiteX6834" fmla="*/ 4721833 w 8566434"/>
                <a:gd name="connsiteY6834" fmla="*/ 2506644 h 2765205"/>
                <a:gd name="connsiteX6835" fmla="*/ 4721075 w 8566434"/>
                <a:gd name="connsiteY6835" fmla="*/ 2490929 h 2765205"/>
                <a:gd name="connsiteX6836" fmla="*/ 4757329 w 8566434"/>
                <a:gd name="connsiteY6836" fmla="*/ 2495754 h 2765205"/>
                <a:gd name="connsiteX6837" fmla="*/ 4721833 w 8566434"/>
                <a:gd name="connsiteY6837" fmla="*/ 2506644 h 2765205"/>
                <a:gd name="connsiteX6838" fmla="*/ 4256454 w 8566434"/>
                <a:gd name="connsiteY6838" fmla="*/ 2506023 h 2765205"/>
                <a:gd name="connsiteX6839" fmla="*/ 4278923 w 8566434"/>
                <a:gd name="connsiteY6839" fmla="*/ 2494375 h 2765205"/>
                <a:gd name="connsiteX6840" fmla="*/ 4256454 w 8566434"/>
                <a:gd name="connsiteY6840" fmla="*/ 2506023 h 2765205"/>
                <a:gd name="connsiteX6841" fmla="*/ 5370482 w 8566434"/>
                <a:gd name="connsiteY6841" fmla="*/ 2511399 h 2765205"/>
                <a:gd name="connsiteX6842" fmla="*/ 5368139 w 8566434"/>
                <a:gd name="connsiteY6842" fmla="*/ 2507540 h 2765205"/>
                <a:gd name="connsiteX6843" fmla="*/ 5373860 w 8566434"/>
                <a:gd name="connsiteY6843" fmla="*/ 2482107 h 2765205"/>
                <a:gd name="connsiteX6844" fmla="*/ 5377789 w 8566434"/>
                <a:gd name="connsiteY6844" fmla="*/ 2507540 h 2765205"/>
                <a:gd name="connsiteX6845" fmla="*/ 5370482 w 8566434"/>
                <a:gd name="connsiteY6845" fmla="*/ 2511399 h 2765205"/>
                <a:gd name="connsiteX6846" fmla="*/ 4785864 w 8566434"/>
                <a:gd name="connsiteY6846" fmla="*/ 2511537 h 2765205"/>
                <a:gd name="connsiteX6847" fmla="*/ 4790068 w 8566434"/>
                <a:gd name="connsiteY6847" fmla="*/ 2495065 h 2765205"/>
                <a:gd name="connsiteX6848" fmla="*/ 4785864 w 8566434"/>
                <a:gd name="connsiteY6848" fmla="*/ 2511537 h 2765205"/>
                <a:gd name="connsiteX6849" fmla="*/ 4488454 w 8566434"/>
                <a:gd name="connsiteY6849" fmla="*/ 2511744 h 2765205"/>
                <a:gd name="connsiteX6850" fmla="*/ 4488454 w 8566434"/>
                <a:gd name="connsiteY6850" fmla="*/ 2511744 h 2765205"/>
                <a:gd name="connsiteX6851" fmla="*/ 4427111 w 8566434"/>
                <a:gd name="connsiteY6851" fmla="*/ 2511951 h 2765205"/>
                <a:gd name="connsiteX6852" fmla="*/ 4427111 w 8566434"/>
                <a:gd name="connsiteY6852" fmla="*/ 2511951 h 2765205"/>
                <a:gd name="connsiteX6853" fmla="*/ 5602689 w 8566434"/>
                <a:gd name="connsiteY6853" fmla="*/ 2521049 h 2765205"/>
                <a:gd name="connsiteX6854" fmla="*/ 5599864 w 8566434"/>
                <a:gd name="connsiteY6854" fmla="*/ 2494582 h 2765205"/>
                <a:gd name="connsiteX6855" fmla="*/ 5615509 w 8566434"/>
                <a:gd name="connsiteY6855" fmla="*/ 2506506 h 2765205"/>
                <a:gd name="connsiteX6856" fmla="*/ 5602689 w 8566434"/>
                <a:gd name="connsiteY6856" fmla="*/ 2521049 h 2765205"/>
                <a:gd name="connsiteX6857" fmla="*/ 5322235 w 8566434"/>
                <a:gd name="connsiteY6857" fmla="*/ 2519464 h 2765205"/>
                <a:gd name="connsiteX6858" fmla="*/ 5322235 w 8566434"/>
                <a:gd name="connsiteY6858" fmla="*/ 2519464 h 2765205"/>
                <a:gd name="connsiteX6859" fmla="*/ 5106915 w 8566434"/>
                <a:gd name="connsiteY6859" fmla="*/ 2520360 h 2765205"/>
                <a:gd name="connsiteX6860" fmla="*/ 5107397 w 8566434"/>
                <a:gd name="connsiteY6860" fmla="*/ 2492928 h 2765205"/>
                <a:gd name="connsiteX6861" fmla="*/ 5120355 w 8566434"/>
                <a:gd name="connsiteY6861" fmla="*/ 2486173 h 2765205"/>
                <a:gd name="connsiteX6862" fmla="*/ 5120355 w 8566434"/>
                <a:gd name="connsiteY6862" fmla="*/ 2519877 h 2765205"/>
                <a:gd name="connsiteX6863" fmla="*/ 5106915 w 8566434"/>
                <a:gd name="connsiteY6863" fmla="*/ 2520360 h 2765205"/>
                <a:gd name="connsiteX6864" fmla="*/ 4773664 w 8566434"/>
                <a:gd name="connsiteY6864" fmla="*/ 2500303 h 2765205"/>
                <a:gd name="connsiteX6865" fmla="*/ 4777041 w 8566434"/>
                <a:gd name="connsiteY6865" fmla="*/ 2512158 h 2765205"/>
                <a:gd name="connsiteX6866" fmla="*/ 4773664 w 8566434"/>
                <a:gd name="connsiteY6866" fmla="*/ 2500303 h 2765205"/>
                <a:gd name="connsiteX6867" fmla="*/ 4509752 w 8566434"/>
                <a:gd name="connsiteY6867" fmla="*/ 2518912 h 2765205"/>
                <a:gd name="connsiteX6868" fmla="*/ 4509752 w 8566434"/>
                <a:gd name="connsiteY6868" fmla="*/ 2518912 h 2765205"/>
                <a:gd name="connsiteX6869" fmla="*/ 4469086 w 8566434"/>
                <a:gd name="connsiteY6869" fmla="*/ 2518016 h 2765205"/>
                <a:gd name="connsiteX6870" fmla="*/ 4467363 w 8566434"/>
                <a:gd name="connsiteY6870" fmla="*/ 2498717 h 2765205"/>
                <a:gd name="connsiteX6871" fmla="*/ 4469086 w 8566434"/>
                <a:gd name="connsiteY6871" fmla="*/ 2518016 h 2765205"/>
                <a:gd name="connsiteX6872" fmla="*/ 5185771 w 8566434"/>
                <a:gd name="connsiteY6872" fmla="*/ 2526218 h 2765205"/>
                <a:gd name="connsiteX6873" fmla="*/ 5182456 w 8566434"/>
                <a:gd name="connsiteY6873" fmla="*/ 2508229 h 2765205"/>
                <a:gd name="connsiteX6874" fmla="*/ 5185771 w 8566434"/>
                <a:gd name="connsiteY6874" fmla="*/ 2526218 h 2765205"/>
                <a:gd name="connsiteX6875" fmla="*/ 5806224 w 8566434"/>
                <a:gd name="connsiteY6875" fmla="*/ 2532284 h 2765205"/>
                <a:gd name="connsiteX6876" fmla="*/ 5806224 w 8566434"/>
                <a:gd name="connsiteY6876" fmla="*/ 2532284 h 2765205"/>
                <a:gd name="connsiteX6877" fmla="*/ 5618404 w 8566434"/>
                <a:gd name="connsiteY6877" fmla="*/ 2532490 h 2765205"/>
                <a:gd name="connsiteX6878" fmla="*/ 5618404 w 8566434"/>
                <a:gd name="connsiteY6878" fmla="*/ 2532490 h 2765205"/>
                <a:gd name="connsiteX6879" fmla="*/ 5381028 w 8566434"/>
                <a:gd name="connsiteY6879" fmla="*/ 2538073 h 2765205"/>
                <a:gd name="connsiteX6880" fmla="*/ 5395916 w 8566434"/>
                <a:gd name="connsiteY6880" fmla="*/ 2501061 h 2765205"/>
                <a:gd name="connsiteX6881" fmla="*/ 5391504 w 8566434"/>
                <a:gd name="connsiteY6881" fmla="*/ 2487896 h 2765205"/>
                <a:gd name="connsiteX6882" fmla="*/ 5418661 w 8566434"/>
                <a:gd name="connsiteY6882" fmla="*/ 2488448 h 2765205"/>
                <a:gd name="connsiteX6883" fmla="*/ 5395571 w 8566434"/>
                <a:gd name="connsiteY6883" fmla="*/ 2501819 h 2765205"/>
                <a:gd name="connsiteX6884" fmla="*/ 5417006 w 8566434"/>
                <a:gd name="connsiteY6884" fmla="*/ 2503887 h 2765205"/>
                <a:gd name="connsiteX6885" fmla="*/ 5381028 w 8566434"/>
                <a:gd name="connsiteY6885" fmla="*/ 2538073 h 2765205"/>
                <a:gd name="connsiteX6886" fmla="*/ 4971547 w 8566434"/>
                <a:gd name="connsiteY6886" fmla="*/ 2532559 h 2765205"/>
                <a:gd name="connsiteX6887" fmla="*/ 4971547 w 8566434"/>
                <a:gd name="connsiteY6887" fmla="*/ 2532559 h 2765205"/>
                <a:gd name="connsiteX6888" fmla="*/ 4868160 w 8566434"/>
                <a:gd name="connsiteY6888" fmla="*/ 2533180 h 2765205"/>
                <a:gd name="connsiteX6889" fmla="*/ 4868160 w 8566434"/>
                <a:gd name="connsiteY6889" fmla="*/ 2533180 h 2765205"/>
                <a:gd name="connsiteX6890" fmla="*/ 4836248 w 8566434"/>
                <a:gd name="connsiteY6890" fmla="*/ 2506919 h 2765205"/>
                <a:gd name="connsiteX6891" fmla="*/ 4822601 w 8566434"/>
                <a:gd name="connsiteY6891" fmla="*/ 2496029 h 2765205"/>
                <a:gd name="connsiteX6892" fmla="*/ 4832526 w 8566434"/>
                <a:gd name="connsiteY6892" fmla="*/ 2498166 h 2765205"/>
                <a:gd name="connsiteX6893" fmla="*/ 4842658 w 8566434"/>
                <a:gd name="connsiteY6893" fmla="*/ 2485760 h 2765205"/>
                <a:gd name="connsiteX6894" fmla="*/ 4833980 w 8566434"/>
                <a:gd name="connsiteY6894" fmla="*/ 2536488 h 2765205"/>
                <a:gd name="connsiteX6895" fmla="*/ 4836248 w 8566434"/>
                <a:gd name="connsiteY6895" fmla="*/ 2506919 h 2765205"/>
                <a:gd name="connsiteX6896" fmla="*/ 4699501 w 8566434"/>
                <a:gd name="connsiteY6896" fmla="*/ 2497201 h 2765205"/>
                <a:gd name="connsiteX6897" fmla="*/ 4728794 w 8566434"/>
                <a:gd name="connsiteY6897" fmla="*/ 2535178 h 2765205"/>
                <a:gd name="connsiteX6898" fmla="*/ 4699501 w 8566434"/>
                <a:gd name="connsiteY6898" fmla="*/ 2497201 h 2765205"/>
                <a:gd name="connsiteX6899" fmla="*/ 5694704 w 8566434"/>
                <a:gd name="connsiteY6899" fmla="*/ 2540072 h 2765205"/>
                <a:gd name="connsiteX6900" fmla="*/ 5705732 w 8566434"/>
                <a:gd name="connsiteY6900" fmla="*/ 2528700 h 2765205"/>
                <a:gd name="connsiteX6901" fmla="*/ 5694704 w 8566434"/>
                <a:gd name="connsiteY6901" fmla="*/ 2540072 h 2765205"/>
                <a:gd name="connsiteX6902" fmla="*/ 5247728 w 8566434"/>
                <a:gd name="connsiteY6902" fmla="*/ 2540348 h 2765205"/>
                <a:gd name="connsiteX6903" fmla="*/ 5254344 w 8566434"/>
                <a:gd name="connsiteY6903" fmla="*/ 2501061 h 2765205"/>
                <a:gd name="connsiteX6904" fmla="*/ 5258273 w 8566434"/>
                <a:gd name="connsiteY6904" fmla="*/ 2501474 h 2765205"/>
                <a:gd name="connsiteX6905" fmla="*/ 5257101 w 8566434"/>
                <a:gd name="connsiteY6905" fmla="*/ 2526425 h 2765205"/>
                <a:gd name="connsiteX6906" fmla="*/ 5278606 w 8566434"/>
                <a:gd name="connsiteY6906" fmla="*/ 2523668 h 2765205"/>
                <a:gd name="connsiteX6907" fmla="*/ 5260617 w 8566434"/>
                <a:gd name="connsiteY6907" fmla="*/ 2535868 h 2765205"/>
                <a:gd name="connsiteX6908" fmla="*/ 5247728 w 8566434"/>
                <a:gd name="connsiteY6908" fmla="*/ 2540348 h 2765205"/>
                <a:gd name="connsiteX6909" fmla="*/ 4985607 w 8566434"/>
                <a:gd name="connsiteY6909" fmla="*/ 2538349 h 2765205"/>
                <a:gd name="connsiteX6910" fmla="*/ 4989743 w 8566434"/>
                <a:gd name="connsiteY6910" fmla="*/ 2522152 h 2765205"/>
                <a:gd name="connsiteX6911" fmla="*/ 4985607 w 8566434"/>
                <a:gd name="connsiteY6911" fmla="*/ 2538349 h 2765205"/>
                <a:gd name="connsiteX6912" fmla="*/ 4910480 w 8566434"/>
                <a:gd name="connsiteY6912" fmla="*/ 2539590 h 2765205"/>
                <a:gd name="connsiteX6913" fmla="*/ 4904069 w 8566434"/>
                <a:gd name="connsiteY6913" fmla="*/ 2523117 h 2765205"/>
                <a:gd name="connsiteX6914" fmla="*/ 4910480 w 8566434"/>
                <a:gd name="connsiteY6914" fmla="*/ 2539590 h 2765205"/>
                <a:gd name="connsiteX6915" fmla="*/ 4847414 w 8566434"/>
                <a:gd name="connsiteY6915" fmla="*/ 2539590 h 2765205"/>
                <a:gd name="connsiteX6916" fmla="*/ 4847414 w 8566434"/>
                <a:gd name="connsiteY6916" fmla="*/ 2539590 h 2765205"/>
                <a:gd name="connsiteX6917" fmla="*/ 5644182 w 8566434"/>
                <a:gd name="connsiteY6917" fmla="*/ 2541175 h 2765205"/>
                <a:gd name="connsiteX6918" fmla="*/ 5668030 w 8566434"/>
                <a:gd name="connsiteY6918" fmla="*/ 2535454 h 2765205"/>
                <a:gd name="connsiteX6919" fmla="*/ 5644182 w 8566434"/>
                <a:gd name="connsiteY6919" fmla="*/ 2541175 h 2765205"/>
                <a:gd name="connsiteX6920" fmla="*/ 5205063 w 8566434"/>
                <a:gd name="connsiteY6920" fmla="*/ 2545448 h 2765205"/>
                <a:gd name="connsiteX6921" fmla="*/ 5230014 w 8566434"/>
                <a:gd name="connsiteY6921" fmla="*/ 2521049 h 2765205"/>
                <a:gd name="connsiteX6922" fmla="*/ 5214093 w 8566434"/>
                <a:gd name="connsiteY6922" fmla="*/ 2502439 h 2765205"/>
                <a:gd name="connsiteX6923" fmla="*/ 5220364 w 8566434"/>
                <a:gd name="connsiteY6923" fmla="*/ 2493755 h 2765205"/>
                <a:gd name="connsiteX6924" fmla="*/ 5242283 w 8566434"/>
                <a:gd name="connsiteY6924" fmla="*/ 2520084 h 2765205"/>
                <a:gd name="connsiteX6925" fmla="*/ 5240284 w 8566434"/>
                <a:gd name="connsiteY6925" fmla="*/ 2527390 h 2765205"/>
                <a:gd name="connsiteX6926" fmla="*/ 5226430 w 8566434"/>
                <a:gd name="connsiteY6926" fmla="*/ 2535178 h 2765205"/>
                <a:gd name="connsiteX6927" fmla="*/ 5228360 w 8566434"/>
                <a:gd name="connsiteY6927" fmla="*/ 2544621 h 2765205"/>
                <a:gd name="connsiteX6928" fmla="*/ 5205063 w 8566434"/>
                <a:gd name="connsiteY6928" fmla="*/ 2545448 h 2765205"/>
                <a:gd name="connsiteX6929" fmla="*/ 5171221 w 8566434"/>
                <a:gd name="connsiteY6929" fmla="*/ 2547103 h 2765205"/>
                <a:gd name="connsiteX6930" fmla="*/ 5171221 w 8566434"/>
                <a:gd name="connsiteY6930" fmla="*/ 2547103 h 2765205"/>
                <a:gd name="connsiteX6931" fmla="*/ 6108114 w 8566434"/>
                <a:gd name="connsiteY6931" fmla="*/ 2552272 h 2765205"/>
                <a:gd name="connsiteX6932" fmla="*/ 6108114 w 8566434"/>
                <a:gd name="connsiteY6932" fmla="*/ 2552272 h 2765205"/>
                <a:gd name="connsiteX6933" fmla="*/ 6049459 w 8566434"/>
                <a:gd name="connsiteY6933" fmla="*/ 2554271 h 2765205"/>
                <a:gd name="connsiteX6934" fmla="*/ 6038155 w 8566434"/>
                <a:gd name="connsiteY6934" fmla="*/ 2520635 h 2765205"/>
                <a:gd name="connsiteX6935" fmla="*/ 6066001 w 8566434"/>
                <a:gd name="connsiteY6935" fmla="*/ 2529251 h 2765205"/>
                <a:gd name="connsiteX6936" fmla="*/ 6048356 w 8566434"/>
                <a:gd name="connsiteY6936" fmla="*/ 2530698 h 2765205"/>
                <a:gd name="connsiteX6937" fmla="*/ 6049459 w 8566434"/>
                <a:gd name="connsiteY6937" fmla="*/ 2554271 h 2765205"/>
                <a:gd name="connsiteX6938" fmla="*/ 5563816 w 8566434"/>
                <a:gd name="connsiteY6938" fmla="*/ 2550962 h 2765205"/>
                <a:gd name="connsiteX6939" fmla="*/ 5579806 w 8566434"/>
                <a:gd name="connsiteY6939" fmla="*/ 2534420 h 2765205"/>
                <a:gd name="connsiteX6940" fmla="*/ 5563816 w 8566434"/>
                <a:gd name="connsiteY6940" fmla="*/ 2550962 h 2765205"/>
                <a:gd name="connsiteX6941" fmla="*/ 5261926 w 8566434"/>
                <a:gd name="connsiteY6941" fmla="*/ 2552961 h 2765205"/>
                <a:gd name="connsiteX6942" fmla="*/ 5261926 w 8566434"/>
                <a:gd name="connsiteY6942" fmla="*/ 2552961 h 2765205"/>
                <a:gd name="connsiteX6943" fmla="*/ 5005940 w 8566434"/>
                <a:gd name="connsiteY6943" fmla="*/ 2553168 h 2765205"/>
                <a:gd name="connsiteX6944" fmla="*/ 5005940 w 8566434"/>
                <a:gd name="connsiteY6944" fmla="*/ 2553168 h 2765205"/>
                <a:gd name="connsiteX6945" fmla="*/ 6576870 w 8566434"/>
                <a:gd name="connsiteY6945" fmla="*/ 2555718 h 2765205"/>
                <a:gd name="connsiteX6946" fmla="*/ 6599064 w 8566434"/>
                <a:gd name="connsiteY6946" fmla="*/ 2554822 h 2765205"/>
                <a:gd name="connsiteX6947" fmla="*/ 6576870 w 8566434"/>
                <a:gd name="connsiteY6947" fmla="*/ 2555718 h 2765205"/>
                <a:gd name="connsiteX6948" fmla="*/ 6536894 w 8566434"/>
                <a:gd name="connsiteY6948" fmla="*/ 2561852 h 2765205"/>
                <a:gd name="connsiteX6949" fmla="*/ 6563843 w 8566434"/>
                <a:gd name="connsiteY6949" fmla="*/ 2554684 h 2765205"/>
                <a:gd name="connsiteX6950" fmla="*/ 6536894 w 8566434"/>
                <a:gd name="connsiteY6950" fmla="*/ 2561852 h 2765205"/>
                <a:gd name="connsiteX6951" fmla="*/ 6407108 w 8566434"/>
                <a:gd name="connsiteY6951" fmla="*/ 2559647 h 2765205"/>
                <a:gd name="connsiteX6952" fmla="*/ 6399389 w 8566434"/>
                <a:gd name="connsiteY6952" fmla="*/ 2535247 h 2765205"/>
                <a:gd name="connsiteX6953" fmla="*/ 6407108 w 8566434"/>
                <a:gd name="connsiteY6953" fmla="*/ 2559647 h 2765205"/>
                <a:gd name="connsiteX6954" fmla="*/ 5144341 w 8566434"/>
                <a:gd name="connsiteY6954" fmla="*/ 2560681 h 2765205"/>
                <a:gd name="connsiteX6955" fmla="*/ 5138896 w 8566434"/>
                <a:gd name="connsiteY6955" fmla="*/ 2543380 h 2765205"/>
                <a:gd name="connsiteX6956" fmla="*/ 5144341 w 8566434"/>
                <a:gd name="connsiteY6956" fmla="*/ 2560681 h 2765205"/>
                <a:gd name="connsiteX6957" fmla="*/ 6335290 w 8566434"/>
                <a:gd name="connsiteY6957" fmla="*/ 2566402 h 2765205"/>
                <a:gd name="connsiteX6958" fmla="*/ 6345214 w 8566434"/>
                <a:gd name="connsiteY6958" fmla="*/ 2555511 h 2765205"/>
                <a:gd name="connsiteX6959" fmla="*/ 6335290 w 8566434"/>
                <a:gd name="connsiteY6959" fmla="*/ 2566402 h 2765205"/>
                <a:gd name="connsiteX6960" fmla="*/ 5488619 w 8566434"/>
                <a:gd name="connsiteY6960" fmla="*/ 2566402 h 2765205"/>
                <a:gd name="connsiteX6961" fmla="*/ 5488895 w 8566434"/>
                <a:gd name="connsiteY6961" fmla="*/ 2528010 h 2765205"/>
                <a:gd name="connsiteX6962" fmla="*/ 5518877 w 8566434"/>
                <a:gd name="connsiteY6962" fmla="*/ 2530698 h 2765205"/>
                <a:gd name="connsiteX6963" fmla="*/ 5526948 w 8566434"/>
                <a:gd name="connsiteY6963" fmla="*/ 2566608 h 2765205"/>
                <a:gd name="connsiteX6964" fmla="*/ 5488619 w 8566434"/>
                <a:gd name="connsiteY6964" fmla="*/ 2566402 h 2765205"/>
                <a:gd name="connsiteX6965" fmla="*/ 6197647 w 8566434"/>
                <a:gd name="connsiteY6965" fmla="*/ 2565712 h 2765205"/>
                <a:gd name="connsiteX6966" fmla="*/ 6224183 w 8566434"/>
                <a:gd name="connsiteY6966" fmla="*/ 2567435 h 2765205"/>
                <a:gd name="connsiteX6967" fmla="*/ 6235417 w 8566434"/>
                <a:gd name="connsiteY6967" fmla="*/ 2529044 h 2765205"/>
                <a:gd name="connsiteX6968" fmla="*/ 6242310 w 8566434"/>
                <a:gd name="connsiteY6968" fmla="*/ 2530078 h 2765205"/>
                <a:gd name="connsiteX6969" fmla="*/ 6228456 w 8566434"/>
                <a:gd name="connsiteY6969" fmla="*/ 2572880 h 2765205"/>
                <a:gd name="connsiteX6970" fmla="*/ 6205297 w 8566434"/>
                <a:gd name="connsiteY6970" fmla="*/ 2580807 h 2765205"/>
                <a:gd name="connsiteX6971" fmla="*/ 6197647 w 8566434"/>
                <a:gd name="connsiteY6971" fmla="*/ 2565712 h 2765205"/>
                <a:gd name="connsiteX6972" fmla="*/ 5901822 w 8566434"/>
                <a:gd name="connsiteY6972" fmla="*/ 2580944 h 2765205"/>
                <a:gd name="connsiteX6973" fmla="*/ 5901822 w 8566434"/>
                <a:gd name="connsiteY6973" fmla="*/ 2580944 h 2765205"/>
                <a:gd name="connsiteX6974" fmla="*/ 5751980 w 8566434"/>
                <a:gd name="connsiteY6974" fmla="*/ 2580807 h 2765205"/>
                <a:gd name="connsiteX6975" fmla="*/ 5767281 w 8566434"/>
                <a:gd name="connsiteY6975" fmla="*/ 2570123 h 2765205"/>
                <a:gd name="connsiteX6976" fmla="*/ 5751980 w 8566434"/>
                <a:gd name="connsiteY6976" fmla="*/ 2580807 h 2765205"/>
                <a:gd name="connsiteX6977" fmla="*/ 5641149 w 8566434"/>
                <a:gd name="connsiteY6977" fmla="*/ 2588733 h 2765205"/>
                <a:gd name="connsiteX6978" fmla="*/ 5651075 w 8566434"/>
                <a:gd name="connsiteY6978" fmla="*/ 2570399 h 2765205"/>
                <a:gd name="connsiteX6979" fmla="*/ 5641149 w 8566434"/>
                <a:gd name="connsiteY6979" fmla="*/ 2588733 h 2765205"/>
                <a:gd name="connsiteX6980" fmla="*/ 5597727 w 8566434"/>
                <a:gd name="connsiteY6980" fmla="*/ 2579153 h 2765205"/>
                <a:gd name="connsiteX6981" fmla="*/ 5590559 w 8566434"/>
                <a:gd name="connsiteY6981" fmla="*/ 2542829 h 2765205"/>
                <a:gd name="connsiteX6982" fmla="*/ 5599864 w 8566434"/>
                <a:gd name="connsiteY6982" fmla="*/ 2546344 h 2765205"/>
                <a:gd name="connsiteX6983" fmla="*/ 5622333 w 8566434"/>
                <a:gd name="connsiteY6983" fmla="*/ 2545448 h 2765205"/>
                <a:gd name="connsiteX6984" fmla="*/ 5621850 w 8566434"/>
                <a:gd name="connsiteY6984" fmla="*/ 2593627 h 2765205"/>
                <a:gd name="connsiteX6985" fmla="*/ 5597727 w 8566434"/>
                <a:gd name="connsiteY6985" fmla="*/ 2579153 h 2765205"/>
                <a:gd name="connsiteX6986" fmla="*/ 6145747 w 8566434"/>
                <a:gd name="connsiteY6986" fmla="*/ 2596590 h 2765205"/>
                <a:gd name="connsiteX6987" fmla="*/ 6126448 w 8566434"/>
                <a:gd name="connsiteY6987" fmla="*/ 2571709 h 2765205"/>
                <a:gd name="connsiteX6988" fmla="*/ 6136235 w 8566434"/>
                <a:gd name="connsiteY6988" fmla="*/ 2573294 h 2765205"/>
                <a:gd name="connsiteX6989" fmla="*/ 6135064 w 8566434"/>
                <a:gd name="connsiteY6989" fmla="*/ 2550411 h 2765205"/>
                <a:gd name="connsiteX6990" fmla="*/ 6120727 w 8566434"/>
                <a:gd name="connsiteY6990" fmla="*/ 2546965 h 2765205"/>
                <a:gd name="connsiteX6991" fmla="*/ 6144782 w 8566434"/>
                <a:gd name="connsiteY6991" fmla="*/ 2528010 h 2765205"/>
                <a:gd name="connsiteX6992" fmla="*/ 6141680 w 8566434"/>
                <a:gd name="connsiteY6992" fmla="*/ 2550687 h 2765205"/>
                <a:gd name="connsiteX6993" fmla="*/ 6159394 w 8566434"/>
                <a:gd name="connsiteY6993" fmla="*/ 2550687 h 2765205"/>
                <a:gd name="connsiteX6994" fmla="*/ 6159600 w 8566434"/>
                <a:gd name="connsiteY6994" fmla="*/ 2565161 h 2765205"/>
                <a:gd name="connsiteX6995" fmla="*/ 6176900 w 8566434"/>
                <a:gd name="connsiteY6995" fmla="*/ 2564196 h 2765205"/>
                <a:gd name="connsiteX6996" fmla="*/ 6166148 w 8566434"/>
                <a:gd name="connsiteY6996" fmla="*/ 2569572 h 2765205"/>
                <a:gd name="connsiteX6997" fmla="*/ 6167665 w 8566434"/>
                <a:gd name="connsiteY6997" fmla="*/ 2589974 h 2765205"/>
                <a:gd name="connsiteX6998" fmla="*/ 6156981 w 8566434"/>
                <a:gd name="connsiteY6998" fmla="*/ 2560612 h 2765205"/>
                <a:gd name="connsiteX6999" fmla="*/ 6137200 w 8566434"/>
                <a:gd name="connsiteY6999" fmla="*/ 2556545 h 2765205"/>
                <a:gd name="connsiteX7000" fmla="*/ 6146987 w 8566434"/>
                <a:gd name="connsiteY7000" fmla="*/ 2575844 h 2765205"/>
                <a:gd name="connsiteX7001" fmla="*/ 6145747 w 8566434"/>
                <a:gd name="connsiteY7001" fmla="*/ 2596590 h 2765205"/>
                <a:gd name="connsiteX7002" fmla="*/ 6371475 w 8566434"/>
                <a:gd name="connsiteY7002" fmla="*/ 2599416 h 2765205"/>
                <a:gd name="connsiteX7003" fmla="*/ 6374990 w 8566434"/>
                <a:gd name="connsiteY7003" fmla="*/ 2578877 h 2765205"/>
                <a:gd name="connsiteX7004" fmla="*/ 6374783 w 8566434"/>
                <a:gd name="connsiteY7004" fmla="*/ 2599554 h 2765205"/>
                <a:gd name="connsiteX7005" fmla="*/ 6371475 w 8566434"/>
                <a:gd name="connsiteY7005" fmla="*/ 2599416 h 2765205"/>
                <a:gd name="connsiteX7006" fmla="*/ 6103358 w 8566434"/>
                <a:gd name="connsiteY7006" fmla="*/ 2598865 h 2765205"/>
                <a:gd name="connsiteX7007" fmla="*/ 6082198 w 8566434"/>
                <a:gd name="connsiteY7007" fmla="*/ 2592662 h 2765205"/>
                <a:gd name="connsiteX7008" fmla="*/ 6079716 w 8566434"/>
                <a:gd name="connsiteY7008" fmla="*/ 2558682 h 2765205"/>
                <a:gd name="connsiteX7009" fmla="*/ 6098809 w 8566434"/>
                <a:gd name="connsiteY7009" fmla="*/ 2566539 h 2765205"/>
                <a:gd name="connsiteX7010" fmla="*/ 6113352 w 8566434"/>
                <a:gd name="connsiteY7010" fmla="*/ 2564402 h 2765205"/>
                <a:gd name="connsiteX7011" fmla="*/ 6082956 w 8566434"/>
                <a:gd name="connsiteY7011" fmla="*/ 2576051 h 2765205"/>
                <a:gd name="connsiteX7012" fmla="*/ 6092468 w 8566434"/>
                <a:gd name="connsiteY7012" fmla="*/ 2593213 h 2765205"/>
                <a:gd name="connsiteX7013" fmla="*/ 6118522 w 8566434"/>
                <a:gd name="connsiteY7013" fmla="*/ 2583288 h 2765205"/>
                <a:gd name="connsiteX7014" fmla="*/ 6117418 w 8566434"/>
                <a:gd name="connsiteY7014" fmla="*/ 2598727 h 2765205"/>
                <a:gd name="connsiteX7015" fmla="*/ 6103358 w 8566434"/>
                <a:gd name="connsiteY7015" fmla="*/ 2598865 h 2765205"/>
                <a:gd name="connsiteX7016" fmla="*/ 5794024 w 8566434"/>
                <a:gd name="connsiteY7016" fmla="*/ 2602863 h 2765205"/>
                <a:gd name="connsiteX7017" fmla="*/ 5803949 w 8566434"/>
                <a:gd name="connsiteY7017" fmla="*/ 2591697 h 2765205"/>
                <a:gd name="connsiteX7018" fmla="*/ 5794024 w 8566434"/>
                <a:gd name="connsiteY7018" fmla="*/ 2602863 h 2765205"/>
                <a:gd name="connsiteX7019" fmla="*/ 5772106 w 8566434"/>
                <a:gd name="connsiteY7019" fmla="*/ 2602587 h 2765205"/>
                <a:gd name="connsiteX7020" fmla="*/ 5797953 w 8566434"/>
                <a:gd name="connsiteY7020" fmla="*/ 2568193 h 2765205"/>
                <a:gd name="connsiteX7021" fmla="*/ 5772106 w 8566434"/>
                <a:gd name="connsiteY7021" fmla="*/ 2602587 h 2765205"/>
                <a:gd name="connsiteX7022" fmla="*/ 6661648 w 8566434"/>
                <a:gd name="connsiteY7022" fmla="*/ 2608928 h 2765205"/>
                <a:gd name="connsiteX7023" fmla="*/ 6661440 w 8566434"/>
                <a:gd name="connsiteY7023" fmla="*/ 2597280 h 2765205"/>
                <a:gd name="connsiteX7024" fmla="*/ 6637386 w 8566434"/>
                <a:gd name="connsiteY7024" fmla="*/ 2601691 h 2765205"/>
                <a:gd name="connsiteX7025" fmla="*/ 6664749 w 8566434"/>
                <a:gd name="connsiteY7025" fmla="*/ 2587561 h 2765205"/>
                <a:gd name="connsiteX7026" fmla="*/ 6661648 w 8566434"/>
                <a:gd name="connsiteY7026" fmla="*/ 2608928 h 2765205"/>
                <a:gd name="connsiteX7027" fmla="*/ 6481065 w 8566434"/>
                <a:gd name="connsiteY7027" fmla="*/ 2607205 h 2765205"/>
                <a:gd name="connsiteX7028" fmla="*/ 6481065 w 8566434"/>
                <a:gd name="connsiteY7028" fmla="*/ 2607205 h 2765205"/>
                <a:gd name="connsiteX7029" fmla="*/ 6450945 w 8566434"/>
                <a:gd name="connsiteY7029" fmla="*/ 2603414 h 2765205"/>
                <a:gd name="connsiteX7030" fmla="*/ 6469003 w 8566434"/>
                <a:gd name="connsiteY7030" fmla="*/ 2590318 h 2765205"/>
                <a:gd name="connsiteX7031" fmla="*/ 6450945 w 8566434"/>
                <a:gd name="connsiteY7031" fmla="*/ 2603414 h 2765205"/>
                <a:gd name="connsiteX7032" fmla="*/ 6029471 w 8566434"/>
                <a:gd name="connsiteY7032" fmla="*/ 2595212 h 2765205"/>
                <a:gd name="connsiteX7033" fmla="*/ 6005278 w 8566434"/>
                <a:gd name="connsiteY7033" fmla="*/ 2579566 h 2765205"/>
                <a:gd name="connsiteX7034" fmla="*/ 6015065 w 8566434"/>
                <a:gd name="connsiteY7034" fmla="*/ 2544897 h 2765205"/>
                <a:gd name="connsiteX7035" fmla="*/ 6036639 w 8566434"/>
                <a:gd name="connsiteY7035" fmla="*/ 2547999 h 2765205"/>
                <a:gd name="connsiteX7036" fmla="*/ 6014514 w 8566434"/>
                <a:gd name="connsiteY7036" fmla="*/ 2550549 h 2765205"/>
                <a:gd name="connsiteX7037" fmla="*/ 6030987 w 8566434"/>
                <a:gd name="connsiteY7037" fmla="*/ 2593833 h 2765205"/>
                <a:gd name="connsiteX7038" fmla="*/ 6043462 w 8566434"/>
                <a:gd name="connsiteY7038" fmla="*/ 2571984 h 2765205"/>
                <a:gd name="connsiteX7039" fmla="*/ 6059591 w 8566434"/>
                <a:gd name="connsiteY7039" fmla="*/ 2570950 h 2765205"/>
                <a:gd name="connsiteX7040" fmla="*/ 6043883 w 8566434"/>
                <a:gd name="connsiteY7040" fmla="*/ 2575844 h 2765205"/>
                <a:gd name="connsiteX7041" fmla="*/ 6039603 w 8566434"/>
                <a:gd name="connsiteY7041" fmla="*/ 2592455 h 2765205"/>
                <a:gd name="connsiteX7042" fmla="*/ 6064346 w 8566434"/>
                <a:gd name="connsiteY7042" fmla="*/ 2585631 h 2765205"/>
                <a:gd name="connsiteX7043" fmla="*/ 6074478 w 8566434"/>
                <a:gd name="connsiteY7043" fmla="*/ 2611960 h 2765205"/>
                <a:gd name="connsiteX7044" fmla="*/ 6027748 w 8566434"/>
                <a:gd name="connsiteY7044" fmla="*/ 2607963 h 2765205"/>
                <a:gd name="connsiteX7045" fmla="*/ 6029471 w 8566434"/>
                <a:gd name="connsiteY7045" fmla="*/ 2595212 h 2765205"/>
                <a:gd name="connsiteX7046" fmla="*/ 6606921 w 8566434"/>
                <a:gd name="connsiteY7046" fmla="*/ 2621955 h 2765205"/>
                <a:gd name="connsiteX7047" fmla="*/ 6625255 w 8566434"/>
                <a:gd name="connsiteY7047" fmla="*/ 2609824 h 2765205"/>
                <a:gd name="connsiteX7048" fmla="*/ 6606921 w 8566434"/>
                <a:gd name="connsiteY7048" fmla="*/ 2621955 h 2765205"/>
                <a:gd name="connsiteX7049" fmla="*/ 6500709 w 8566434"/>
                <a:gd name="connsiteY7049" fmla="*/ 2621334 h 2765205"/>
                <a:gd name="connsiteX7050" fmla="*/ 6512150 w 8566434"/>
                <a:gd name="connsiteY7050" fmla="*/ 2605757 h 2765205"/>
                <a:gd name="connsiteX7051" fmla="*/ 6500709 w 8566434"/>
                <a:gd name="connsiteY7051" fmla="*/ 2621334 h 2765205"/>
                <a:gd name="connsiteX7052" fmla="*/ 6370096 w 8566434"/>
                <a:gd name="connsiteY7052" fmla="*/ 2636980 h 2765205"/>
                <a:gd name="connsiteX7053" fmla="*/ 6379746 w 8566434"/>
                <a:gd name="connsiteY7053" fmla="*/ 2618233 h 2765205"/>
                <a:gd name="connsiteX7054" fmla="*/ 6370096 w 8566434"/>
                <a:gd name="connsiteY7054" fmla="*/ 2636980 h 2765205"/>
                <a:gd name="connsiteX7055" fmla="*/ 6501673 w 8566434"/>
                <a:gd name="connsiteY7055" fmla="*/ 2642563 h 2765205"/>
                <a:gd name="connsiteX7056" fmla="*/ 6501673 w 8566434"/>
                <a:gd name="connsiteY7056" fmla="*/ 2642563 h 2765205"/>
                <a:gd name="connsiteX7057" fmla="*/ 6639178 w 8566434"/>
                <a:gd name="connsiteY7057" fmla="*/ 2635602 h 2765205"/>
                <a:gd name="connsiteX7058" fmla="*/ 6644278 w 8566434"/>
                <a:gd name="connsiteY7058" fmla="*/ 2667789 h 2765205"/>
                <a:gd name="connsiteX7059" fmla="*/ 6681704 w 8566434"/>
                <a:gd name="connsiteY7059" fmla="*/ 2668755 h 2765205"/>
                <a:gd name="connsiteX7060" fmla="*/ 6678603 w 8566434"/>
                <a:gd name="connsiteY7060" fmla="*/ 2637807 h 2765205"/>
                <a:gd name="connsiteX7061" fmla="*/ 6686253 w 8566434"/>
                <a:gd name="connsiteY7061" fmla="*/ 2668341 h 2765205"/>
                <a:gd name="connsiteX7062" fmla="*/ 6720234 w 8566434"/>
                <a:gd name="connsiteY7062" fmla="*/ 2668892 h 2765205"/>
                <a:gd name="connsiteX7063" fmla="*/ 6712927 w 8566434"/>
                <a:gd name="connsiteY7063" fmla="*/ 2642839 h 2765205"/>
                <a:gd name="connsiteX7064" fmla="*/ 6708309 w 8566434"/>
                <a:gd name="connsiteY7064" fmla="*/ 2639806 h 2765205"/>
                <a:gd name="connsiteX7065" fmla="*/ 6718234 w 8566434"/>
                <a:gd name="connsiteY7065" fmla="*/ 2634361 h 2765205"/>
                <a:gd name="connsiteX7066" fmla="*/ 6720853 w 8566434"/>
                <a:gd name="connsiteY7066" fmla="*/ 2615545 h 2765205"/>
                <a:gd name="connsiteX7067" fmla="*/ 6712720 w 8566434"/>
                <a:gd name="connsiteY7067" fmla="*/ 2607343 h 2765205"/>
                <a:gd name="connsiteX7068" fmla="*/ 6711687 w 8566434"/>
                <a:gd name="connsiteY7068" fmla="*/ 2616303 h 2765205"/>
                <a:gd name="connsiteX7069" fmla="*/ 6698108 w 8566434"/>
                <a:gd name="connsiteY7069" fmla="*/ 2595832 h 2765205"/>
                <a:gd name="connsiteX7070" fmla="*/ 6699074 w 8566434"/>
                <a:gd name="connsiteY7070" fmla="*/ 2564609 h 2765205"/>
                <a:gd name="connsiteX7071" fmla="*/ 6690803 w 8566434"/>
                <a:gd name="connsiteY7071" fmla="*/ 2556545 h 2765205"/>
                <a:gd name="connsiteX7072" fmla="*/ 6672813 w 8566434"/>
                <a:gd name="connsiteY7072" fmla="*/ 2597142 h 2765205"/>
                <a:gd name="connsiteX7073" fmla="*/ 6668609 w 8566434"/>
                <a:gd name="connsiteY7073" fmla="*/ 2574672 h 2765205"/>
                <a:gd name="connsiteX7074" fmla="*/ 6617122 w 8566434"/>
                <a:gd name="connsiteY7074" fmla="*/ 2588526 h 2765205"/>
                <a:gd name="connsiteX7075" fmla="*/ 6642141 w 8566434"/>
                <a:gd name="connsiteY7075" fmla="*/ 2558682 h 2765205"/>
                <a:gd name="connsiteX7076" fmla="*/ 6615675 w 8566434"/>
                <a:gd name="connsiteY7076" fmla="*/ 2553030 h 2765205"/>
                <a:gd name="connsiteX7077" fmla="*/ 6649792 w 8566434"/>
                <a:gd name="connsiteY7077" fmla="*/ 2548619 h 2765205"/>
                <a:gd name="connsiteX7078" fmla="*/ 6658408 w 8566434"/>
                <a:gd name="connsiteY7078" fmla="*/ 2544621 h 2765205"/>
                <a:gd name="connsiteX7079" fmla="*/ 6163253 w 8566434"/>
                <a:gd name="connsiteY7079" fmla="*/ 2511124 h 2765205"/>
                <a:gd name="connsiteX7080" fmla="*/ 6051733 w 8566434"/>
                <a:gd name="connsiteY7080" fmla="*/ 2507816 h 2765205"/>
                <a:gd name="connsiteX7081" fmla="*/ 6004727 w 8566434"/>
                <a:gd name="connsiteY7081" fmla="*/ 2501130 h 2765205"/>
                <a:gd name="connsiteX7082" fmla="*/ 5836344 w 8566434"/>
                <a:gd name="connsiteY7082" fmla="*/ 2491549 h 2765205"/>
                <a:gd name="connsiteX7083" fmla="*/ 5830417 w 8566434"/>
                <a:gd name="connsiteY7083" fmla="*/ 2503129 h 2765205"/>
                <a:gd name="connsiteX7084" fmla="*/ 5852335 w 8566434"/>
                <a:gd name="connsiteY7084" fmla="*/ 2509745 h 2765205"/>
                <a:gd name="connsiteX7085" fmla="*/ 5830761 w 8566434"/>
                <a:gd name="connsiteY7085" fmla="*/ 2507609 h 2765205"/>
                <a:gd name="connsiteX7086" fmla="*/ 5849784 w 8566434"/>
                <a:gd name="connsiteY7086" fmla="*/ 2557717 h 2765205"/>
                <a:gd name="connsiteX7087" fmla="*/ 5855574 w 8566434"/>
                <a:gd name="connsiteY7087" fmla="*/ 2541106 h 2765205"/>
                <a:gd name="connsiteX7088" fmla="*/ 5857642 w 8566434"/>
                <a:gd name="connsiteY7088" fmla="*/ 2571295 h 2765205"/>
                <a:gd name="connsiteX7089" fmla="*/ 5842409 w 8566434"/>
                <a:gd name="connsiteY7089" fmla="*/ 2570950 h 2765205"/>
                <a:gd name="connsiteX7090" fmla="*/ 5840755 w 8566434"/>
                <a:gd name="connsiteY7090" fmla="*/ 2543243 h 2765205"/>
                <a:gd name="connsiteX7091" fmla="*/ 5818217 w 8566434"/>
                <a:gd name="connsiteY7091" fmla="*/ 2545173 h 2765205"/>
                <a:gd name="connsiteX7092" fmla="*/ 5829520 w 8566434"/>
                <a:gd name="connsiteY7092" fmla="*/ 2490515 h 2765205"/>
                <a:gd name="connsiteX7093" fmla="*/ 5654038 w 8566434"/>
                <a:gd name="connsiteY7093" fmla="*/ 2479074 h 2765205"/>
                <a:gd name="connsiteX7094" fmla="*/ 5661069 w 8566434"/>
                <a:gd name="connsiteY7094" fmla="*/ 2499889 h 2765205"/>
                <a:gd name="connsiteX7095" fmla="*/ 5643286 w 8566434"/>
                <a:gd name="connsiteY7095" fmla="*/ 2478867 h 2765205"/>
                <a:gd name="connsiteX7096" fmla="*/ 5637979 w 8566434"/>
                <a:gd name="connsiteY7096" fmla="*/ 2506023 h 2765205"/>
                <a:gd name="connsiteX7097" fmla="*/ 5627502 w 8566434"/>
                <a:gd name="connsiteY7097" fmla="*/ 2487138 h 2765205"/>
                <a:gd name="connsiteX7098" fmla="*/ 5638392 w 8566434"/>
                <a:gd name="connsiteY7098" fmla="*/ 2487483 h 2765205"/>
                <a:gd name="connsiteX7099" fmla="*/ 5605240 w 8566434"/>
                <a:gd name="connsiteY7099" fmla="*/ 2476800 h 2765205"/>
                <a:gd name="connsiteX7100" fmla="*/ 5575120 w 8566434"/>
                <a:gd name="connsiteY7100" fmla="*/ 2474869 h 2765205"/>
                <a:gd name="connsiteX7101" fmla="*/ 5567814 w 8566434"/>
                <a:gd name="connsiteY7101" fmla="*/ 2485828 h 2765205"/>
                <a:gd name="connsiteX7102" fmla="*/ 5569054 w 8566434"/>
                <a:gd name="connsiteY7102" fmla="*/ 2473560 h 2765205"/>
                <a:gd name="connsiteX7103" fmla="*/ 5462772 w 8566434"/>
                <a:gd name="connsiteY7103" fmla="*/ 2467081 h 2765205"/>
                <a:gd name="connsiteX7104" fmla="*/ 5463048 w 8566434"/>
                <a:gd name="connsiteY7104" fmla="*/ 2477626 h 2765205"/>
                <a:gd name="connsiteX7105" fmla="*/ 5461739 w 8566434"/>
                <a:gd name="connsiteY7105" fmla="*/ 2467081 h 2765205"/>
                <a:gd name="connsiteX7106" fmla="*/ 5427759 w 8566434"/>
                <a:gd name="connsiteY7106" fmla="*/ 2465358 h 2765205"/>
                <a:gd name="connsiteX7107" fmla="*/ 5436030 w 8566434"/>
                <a:gd name="connsiteY7107" fmla="*/ 2489275 h 2765205"/>
                <a:gd name="connsiteX7108" fmla="*/ 5426449 w 8566434"/>
                <a:gd name="connsiteY7108" fmla="*/ 2490515 h 2765205"/>
                <a:gd name="connsiteX7109" fmla="*/ 5427828 w 8566434"/>
                <a:gd name="connsiteY7109" fmla="*/ 2466047 h 2765205"/>
                <a:gd name="connsiteX7110" fmla="*/ 5228291 w 8566434"/>
                <a:gd name="connsiteY7110" fmla="*/ 2453158 h 2765205"/>
                <a:gd name="connsiteX7111" fmla="*/ 5206786 w 8566434"/>
                <a:gd name="connsiteY7111" fmla="*/ 2463910 h 2765205"/>
                <a:gd name="connsiteX7112" fmla="*/ 5214230 w 8566434"/>
                <a:gd name="connsiteY7112" fmla="*/ 2450195 h 2765205"/>
                <a:gd name="connsiteX7113" fmla="*/ 5189624 w 8566434"/>
                <a:gd name="connsiteY7113" fmla="*/ 2450953 h 2765205"/>
                <a:gd name="connsiteX7114" fmla="*/ 5178803 w 8566434"/>
                <a:gd name="connsiteY7114" fmla="*/ 2485415 h 2765205"/>
                <a:gd name="connsiteX7115" fmla="*/ 5185282 w 8566434"/>
                <a:gd name="connsiteY7115" fmla="*/ 2449919 h 2765205"/>
                <a:gd name="connsiteX7116" fmla="*/ 5075071 w 8566434"/>
                <a:gd name="connsiteY7116" fmla="*/ 2443578 h 2765205"/>
                <a:gd name="connsiteX7117" fmla="*/ 5086651 w 8566434"/>
                <a:gd name="connsiteY7117" fmla="*/ 2453847 h 2765205"/>
                <a:gd name="connsiteX7118" fmla="*/ 5070936 w 8566434"/>
                <a:gd name="connsiteY7118" fmla="*/ 2462808 h 2765205"/>
                <a:gd name="connsiteX7119" fmla="*/ 5066801 w 8566434"/>
                <a:gd name="connsiteY7119" fmla="*/ 2464875 h 2765205"/>
                <a:gd name="connsiteX7120" fmla="*/ 5048811 w 8566434"/>
                <a:gd name="connsiteY7120" fmla="*/ 2470320 h 2765205"/>
                <a:gd name="connsiteX7121" fmla="*/ 5047846 w 8566434"/>
                <a:gd name="connsiteY7121" fmla="*/ 2462739 h 2765205"/>
                <a:gd name="connsiteX7122" fmla="*/ 5073210 w 8566434"/>
                <a:gd name="connsiteY7122" fmla="*/ 2444474 h 2765205"/>
                <a:gd name="connsiteX7123" fmla="*/ 5039231 w 8566434"/>
                <a:gd name="connsiteY7123" fmla="*/ 2447920 h 2765205"/>
                <a:gd name="connsiteX7124" fmla="*/ 4996842 w 8566434"/>
                <a:gd name="connsiteY7124" fmla="*/ 2438270 h 2765205"/>
                <a:gd name="connsiteX7125" fmla="*/ 4986641 w 8566434"/>
                <a:gd name="connsiteY7125" fmla="*/ 2459361 h 2765205"/>
                <a:gd name="connsiteX7126" fmla="*/ 4987675 w 8566434"/>
                <a:gd name="connsiteY7126" fmla="*/ 2437650 h 2765205"/>
                <a:gd name="connsiteX7127" fmla="*/ 4958589 w 8566434"/>
                <a:gd name="connsiteY7127" fmla="*/ 2435651 h 2765205"/>
                <a:gd name="connsiteX7128" fmla="*/ 4959416 w 8566434"/>
                <a:gd name="connsiteY7128" fmla="*/ 2486242 h 2765205"/>
                <a:gd name="connsiteX7129" fmla="*/ 4975682 w 8566434"/>
                <a:gd name="connsiteY7129" fmla="*/ 2458810 h 2765205"/>
                <a:gd name="connsiteX7130" fmla="*/ 4956866 w 8566434"/>
                <a:gd name="connsiteY7130" fmla="*/ 2520291 h 2765205"/>
                <a:gd name="connsiteX7131" fmla="*/ 4955074 w 8566434"/>
                <a:gd name="connsiteY7131" fmla="*/ 2492721 h 2765205"/>
                <a:gd name="connsiteX7132" fmla="*/ 4950111 w 8566434"/>
                <a:gd name="connsiteY7132" fmla="*/ 2493617 h 2765205"/>
                <a:gd name="connsiteX7133" fmla="*/ 4948664 w 8566434"/>
                <a:gd name="connsiteY7133" fmla="*/ 2541933 h 2765205"/>
                <a:gd name="connsiteX7134" fmla="*/ 4933087 w 8566434"/>
                <a:gd name="connsiteY7134" fmla="*/ 2518568 h 2765205"/>
                <a:gd name="connsiteX7135" fmla="*/ 4944528 w 8566434"/>
                <a:gd name="connsiteY7135" fmla="*/ 2434893 h 2765205"/>
                <a:gd name="connsiteX7136" fmla="*/ 4810746 w 8566434"/>
                <a:gd name="connsiteY7136" fmla="*/ 2426691 h 2765205"/>
                <a:gd name="connsiteX7137" fmla="*/ 4799511 w 8566434"/>
                <a:gd name="connsiteY7137" fmla="*/ 2440131 h 2765205"/>
                <a:gd name="connsiteX7138" fmla="*/ 4750712 w 8566434"/>
                <a:gd name="connsiteY7138" fmla="*/ 2423176 h 2765205"/>
                <a:gd name="connsiteX7139" fmla="*/ 4767737 w 8566434"/>
                <a:gd name="connsiteY7139" fmla="*/ 2442957 h 2765205"/>
                <a:gd name="connsiteX7140" fmla="*/ 4727967 w 8566434"/>
                <a:gd name="connsiteY7140" fmla="*/ 2450470 h 2765205"/>
                <a:gd name="connsiteX7141" fmla="*/ 4748093 w 8566434"/>
                <a:gd name="connsiteY7141" fmla="*/ 2422418 h 2765205"/>
                <a:gd name="connsiteX7142" fmla="*/ 4617274 w 8566434"/>
                <a:gd name="connsiteY7142" fmla="*/ 2415181 h 2765205"/>
                <a:gd name="connsiteX7143" fmla="*/ 4612312 w 8566434"/>
                <a:gd name="connsiteY7143" fmla="*/ 2428897 h 2765205"/>
                <a:gd name="connsiteX7144" fmla="*/ 4607142 w 8566434"/>
                <a:gd name="connsiteY7144" fmla="*/ 2418627 h 2765205"/>
                <a:gd name="connsiteX7145" fmla="*/ 4550210 w 8566434"/>
                <a:gd name="connsiteY7145" fmla="*/ 2421522 h 2765205"/>
                <a:gd name="connsiteX7146" fmla="*/ 4555035 w 8566434"/>
                <a:gd name="connsiteY7146" fmla="*/ 2408702 h 2765205"/>
                <a:gd name="connsiteX7147" fmla="*/ 4530360 w 8566434"/>
                <a:gd name="connsiteY7147" fmla="*/ 2424279 h 2765205"/>
                <a:gd name="connsiteX7148" fmla="*/ 4532014 w 8566434"/>
                <a:gd name="connsiteY7148" fmla="*/ 2408977 h 2765205"/>
                <a:gd name="connsiteX7149" fmla="*/ 4518919 w 8566434"/>
                <a:gd name="connsiteY7149" fmla="*/ 2407668 h 2765205"/>
                <a:gd name="connsiteX7150" fmla="*/ 4513956 w 8566434"/>
                <a:gd name="connsiteY7150" fmla="*/ 2423865 h 2765205"/>
                <a:gd name="connsiteX7151" fmla="*/ 4514025 w 8566434"/>
                <a:gd name="connsiteY7151" fmla="*/ 2407461 h 2765205"/>
                <a:gd name="connsiteX7152" fmla="*/ 4465847 w 8566434"/>
                <a:gd name="connsiteY7152" fmla="*/ 2407737 h 2765205"/>
                <a:gd name="connsiteX7153" fmla="*/ 4474324 w 8566434"/>
                <a:gd name="connsiteY7153" fmla="*/ 2423176 h 2765205"/>
                <a:gd name="connsiteX7154" fmla="*/ 4462952 w 8566434"/>
                <a:gd name="connsiteY7154" fmla="*/ 2422142 h 2765205"/>
                <a:gd name="connsiteX7155" fmla="*/ 4464606 w 8566434"/>
                <a:gd name="connsiteY7155" fmla="*/ 2446955 h 2765205"/>
                <a:gd name="connsiteX7156" fmla="*/ 4453923 w 8566434"/>
                <a:gd name="connsiteY7156" fmla="*/ 2422004 h 2765205"/>
                <a:gd name="connsiteX7157" fmla="*/ 4464261 w 8566434"/>
                <a:gd name="connsiteY7157" fmla="*/ 2406979 h 2765205"/>
                <a:gd name="connsiteX7158" fmla="*/ 4434279 w 8566434"/>
                <a:gd name="connsiteY7158" fmla="*/ 2402016 h 2765205"/>
                <a:gd name="connsiteX7159" fmla="*/ 4437519 w 8566434"/>
                <a:gd name="connsiteY7159" fmla="*/ 2438202 h 2765205"/>
                <a:gd name="connsiteX7160" fmla="*/ 4428214 w 8566434"/>
                <a:gd name="connsiteY7160" fmla="*/ 2441648 h 2765205"/>
                <a:gd name="connsiteX7161" fmla="*/ 4432074 w 8566434"/>
                <a:gd name="connsiteY7161" fmla="*/ 2418627 h 2765205"/>
                <a:gd name="connsiteX7162" fmla="*/ 4420908 w 8566434"/>
                <a:gd name="connsiteY7162" fmla="*/ 2421522 h 2765205"/>
                <a:gd name="connsiteX7163" fmla="*/ 4433245 w 8566434"/>
                <a:gd name="connsiteY7163" fmla="*/ 2405669 h 2765205"/>
                <a:gd name="connsiteX7164" fmla="*/ 4300083 w 8566434"/>
                <a:gd name="connsiteY7164" fmla="*/ 2396089 h 2765205"/>
                <a:gd name="connsiteX7165" fmla="*/ 4300979 w 8566434"/>
                <a:gd name="connsiteY7165" fmla="*/ 2414767 h 2765205"/>
                <a:gd name="connsiteX7166" fmla="*/ 4313875 w 8566434"/>
                <a:gd name="connsiteY7166" fmla="*/ 2412493 h 2765205"/>
                <a:gd name="connsiteX7167" fmla="*/ 4305942 w 8566434"/>
                <a:gd name="connsiteY7167" fmla="*/ 2418214 h 2765205"/>
                <a:gd name="connsiteX7168" fmla="*/ 4305666 w 8566434"/>
                <a:gd name="connsiteY7168" fmla="*/ 2432274 h 2765205"/>
                <a:gd name="connsiteX7169" fmla="*/ 4294983 w 8566434"/>
                <a:gd name="connsiteY7169" fmla="*/ 2394228 h 2765205"/>
                <a:gd name="connsiteX7170" fmla="*/ 4283886 w 8566434"/>
                <a:gd name="connsiteY7170" fmla="*/ 2393538 h 2765205"/>
                <a:gd name="connsiteX7171" fmla="*/ 4282300 w 8566434"/>
                <a:gd name="connsiteY7171" fmla="*/ 2464048 h 2765205"/>
                <a:gd name="connsiteX7172" fmla="*/ 4300634 w 8566434"/>
                <a:gd name="connsiteY7172" fmla="*/ 2437788 h 2765205"/>
                <a:gd name="connsiteX7173" fmla="*/ 4298774 w 8566434"/>
                <a:gd name="connsiteY7173" fmla="*/ 2456398 h 2765205"/>
                <a:gd name="connsiteX7174" fmla="*/ 4288711 w 8566434"/>
                <a:gd name="connsiteY7174" fmla="*/ 2456398 h 2765205"/>
                <a:gd name="connsiteX7175" fmla="*/ 4293122 w 8566434"/>
                <a:gd name="connsiteY7175" fmla="*/ 2479074 h 2765205"/>
                <a:gd name="connsiteX7176" fmla="*/ 4282714 w 8566434"/>
                <a:gd name="connsiteY7176" fmla="*/ 2464600 h 2765205"/>
                <a:gd name="connsiteX7177" fmla="*/ 4242462 w 8566434"/>
                <a:gd name="connsiteY7177" fmla="*/ 2495065 h 2765205"/>
                <a:gd name="connsiteX7178" fmla="*/ 4212893 w 8566434"/>
                <a:gd name="connsiteY7178" fmla="*/ 2469838 h 2765205"/>
                <a:gd name="connsiteX7179" fmla="*/ 4178569 w 8566434"/>
                <a:gd name="connsiteY7179" fmla="*/ 2458948 h 2765205"/>
                <a:gd name="connsiteX7180" fmla="*/ 4244805 w 8566434"/>
                <a:gd name="connsiteY7180" fmla="*/ 2485208 h 2765205"/>
                <a:gd name="connsiteX7181" fmla="*/ 4274512 w 8566434"/>
                <a:gd name="connsiteY7181" fmla="*/ 2480728 h 2765205"/>
                <a:gd name="connsiteX7182" fmla="*/ 4277889 w 8566434"/>
                <a:gd name="connsiteY7182" fmla="*/ 2457638 h 2765205"/>
                <a:gd name="connsiteX7183" fmla="*/ 4249768 w 8566434"/>
                <a:gd name="connsiteY7183" fmla="*/ 2415939 h 2765205"/>
                <a:gd name="connsiteX7184" fmla="*/ 4267895 w 8566434"/>
                <a:gd name="connsiteY7184" fmla="*/ 2425864 h 2765205"/>
                <a:gd name="connsiteX7185" fmla="*/ 4276580 w 8566434"/>
                <a:gd name="connsiteY7185" fmla="*/ 2416559 h 2765205"/>
                <a:gd name="connsiteX7186" fmla="*/ 4279543 w 8566434"/>
                <a:gd name="connsiteY7186" fmla="*/ 2393332 h 2765205"/>
                <a:gd name="connsiteX7187" fmla="*/ 4249906 w 8566434"/>
                <a:gd name="connsiteY7187" fmla="*/ 2391884 h 2765205"/>
                <a:gd name="connsiteX7188" fmla="*/ 4242255 w 8566434"/>
                <a:gd name="connsiteY7188" fmla="*/ 2416628 h 2765205"/>
                <a:gd name="connsiteX7189" fmla="*/ 4229573 w 8566434"/>
                <a:gd name="connsiteY7189" fmla="*/ 2435376 h 2765205"/>
                <a:gd name="connsiteX7190" fmla="*/ 4198902 w 8566434"/>
                <a:gd name="connsiteY7190" fmla="*/ 2435858 h 2765205"/>
                <a:gd name="connsiteX7191" fmla="*/ 4211515 w 8566434"/>
                <a:gd name="connsiteY7191" fmla="*/ 2429931 h 2765205"/>
                <a:gd name="connsiteX7192" fmla="*/ 4209447 w 8566434"/>
                <a:gd name="connsiteY7192" fmla="*/ 2389472 h 2765205"/>
                <a:gd name="connsiteX7193" fmla="*/ 4195800 w 8566434"/>
                <a:gd name="connsiteY7193" fmla="*/ 2415319 h 2765205"/>
                <a:gd name="connsiteX7194" fmla="*/ 4172848 w 8566434"/>
                <a:gd name="connsiteY7194" fmla="*/ 2383131 h 2765205"/>
                <a:gd name="connsiteX7195" fmla="*/ 4183738 w 8566434"/>
                <a:gd name="connsiteY7195" fmla="*/ 2411321 h 2765205"/>
                <a:gd name="connsiteX7196" fmla="*/ 4166851 w 8566434"/>
                <a:gd name="connsiteY7196" fmla="*/ 2405256 h 2765205"/>
                <a:gd name="connsiteX7197" fmla="*/ 4170642 w 8566434"/>
                <a:gd name="connsiteY7197" fmla="*/ 2386164 h 2765205"/>
                <a:gd name="connsiteX7198" fmla="*/ 4152860 w 8566434"/>
                <a:gd name="connsiteY7198" fmla="*/ 2406496 h 2765205"/>
                <a:gd name="connsiteX7199" fmla="*/ 4131493 w 8566434"/>
                <a:gd name="connsiteY7199" fmla="*/ 2383407 h 2765205"/>
                <a:gd name="connsiteX7200" fmla="*/ 4113090 w 8566434"/>
                <a:gd name="connsiteY7200" fmla="*/ 2402499 h 2765205"/>
                <a:gd name="connsiteX7201" fmla="*/ 4116881 w 8566434"/>
                <a:gd name="connsiteY7201" fmla="*/ 2381201 h 2765205"/>
                <a:gd name="connsiteX7202" fmla="*/ 3915828 w 8566434"/>
                <a:gd name="connsiteY7202" fmla="*/ 2370311 h 2765205"/>
                <a:gd name="connsiteX7203" fmla="*/ 3917896 w 8566434"/>
                <a:gd name="connsiteY7203" fmla="*/ 2389541 h 2765205"/>
                <a:gd name="connsiteX7204" fmla="*/ 3895771 w 8566434"/>
                <a:gd name="connsiteY7204" fmla="*/ 2369553 h 2765205"/>
                <a:gd name="connsiteX7205" fmla="*/ 3826433 w 8566434"/>
                <a:gd name="connsiteY7205" fmla="*/ 2368863 h 2765205"/>
                <a:gd name="connsiteX7206" fmla="*/ 3820712 w 8566434"/>
                <a:gd name="connsiteY7206" fmla="*/ 2414905 h 2765205"/>
                <a:gd name="connsiteX7207" fmla="*/ 3806031 w 8566434"/>
                <a:gd name="connsiteY7207" fmla="*/ 2403739 h 2765205"/>
                <a:gd name="connsiteX7208" fmla="*/ 3792522 w 8566434"/>
                <a:gd name="connsiteY7208" fmla="*/ 2416077 h 2765205"/>
                <a:gd name="connsiteX7209" fmla="*/ 3786181 w 8566434"/>
                <a:gd name="connsiteY7209" fmla="*/ 2399121 h 2765205"/>
                <a:gd name="connsiteX7210" fmla="*/ 3761230 w 8566434"/>
                <a:gd name="connsiteY7210" fmla="*/ 2399121 h 2765205"/>
                <a:gd name="connsiteX7211" fmla="*/ 3754958 w 8566434"/>
                <a:gd name="connsiteY7211" fmla="*/ 2409874 h 2765205"/>
                <a:gd name="connsiteX7212" fmla="*/ 3755027 w 8566434"/>
                <a:gd name="connsiteY7212" fmla="*/ 2360662 h 2765205"/>
                <a:gd name="connsiteX7213" fmla="*/ 3704436 w 8566434"/>
                <a:gd name="connsiteY7213" fmla="*/ 2375067 h 2765205"/>
                <a:gd name="connsiteX7214" fmla="*/ 3704919 w 8566434"/>
                <a:gd name="connsiteY7214" fmla="*/ 2355423 h 2765205"/>
                <a:gd name="connsiteX7215" fmla="*/ 3684034 w 8566434"/>
                <a:gd name="connsiteY7215" fmla="*/ 2362040 h 2765205"/>
                <a:gd name="connsiteX7216" fmla="*/ 3682656 w 8566434"/>
                <a:gd name="connsiteY7216" fmla="*/ 2387611 h 2765205"/>
                <a:gd name="connsiteX7217" fmla="*/ 3697819 w 8566434"/>
                <a:gd name="connsiteY7217" fmla="*/ 2402637 h 2765205"/>
                <a:gd name="connsiteX7218" fmla="*/ 3740415 w 8566434"/>
                <a:gd name="connsiteY7218" fmla="*/ 2411597 h 2765205"/>
                <a:gd name="connsiteX7219" fmla="*/ 3738761 w 8566434"/>
                <a:gd name="connsiteY7219" fmla="*/ 2433515 h 2765205"/>
                <a:gd name="connsiteX7220" fmla="*/ 3726079 w 8566434"/>
                <a:gd name="connsiteY7220" fmla="*/ 2433653 h 2765205"/>
                <a:gd name="connsiteX7221" fmla="*/ 3730835 w 8566434"/>
                <a:gd name="connsiteY7221" fmla="*/ 2416697 h 2765205"/>
                <a:gd name="connsiteX7222" fmla="*/ 3702782 w 8566434"/>
                <a:gd name="connsiteY7222" fmla="*/ 2423521 h 2765205"/>
                <a:gd name="connsiteX7223" fmla="*/ 3700025 w 8566434"/>
                <a:gd name="connsiteY7223" fmla="*/ 2406910 h 2765205"/>
                <a:gd name="connsiteX7224" fmla="*/ 3679003 w 8566434"/>
                <a:gd name="connsiteY7224" fmla="*/ 2393056 h 2765205"/>
                <a:gd name="connsiteX7225" fmla="*/ 3679623 w 8566434"/>
                <a:gd name="connsiteY7225" fmla="*/ 2404980 h 2765205"/>
                <a:gd name="connsiteX7226" fmla="*/ 3665012 w 8566434"/>
                <a:gd name="connsiteY7226" fmla="*/ 2394228 h 2765205"/>
                <a:gd name="connsiteX7227" fmla="*/ 3666045 w 8566434"/>
                <a:gd name="connsiteY7227" fmla="*/ 2411045 h 2765205"/>
                <a:gd name="connsiteX7228" fmla="*/ 3645437 w 8566434"/>
                <a:gd name="connsiteY7228" fmla="*/ 2385061 h 2765205"/>
                <a:gd name="connsiteX7229" fmla="*/ 3641439 w 8566434"/>
                <a:gd name="connsiteY7229" fmla="*/ 2400293 h 2765205"/>
                <a:gd name="connsiteX7230" fmla="*/ 3615523 w 8566434"/>
                <a:gd name="connsiteY7230" fmla="*/ 2351563 h 2765205"/>
                <a:gd name="connsiteX7231" fmla="*/ 3250568 w 8566434"/>
                <a:gd name="connsiteY7231" fmla="*/ 2331231 h 2765205"/>
                <a:gd name="connsiteX7232" fmla="*/ 3266489 w 8566434"/>
                <a:gd name="connsiteY7232" fmla="*/ 2337640 h 2765205"/>
                <a:gd name="connsiteX7233" fmla="*/ 3276828 w 8566434"/>
                <a:gd name="connsiteY7233" fmla="*/ 2416628 h 2765205"/>
                <a:gd name="connsiteX7234" fmla="*/ 3287305 w 8566434"/>
                <a:gd name="connsiteY7234" fmla="*/ 2409460 h 2765205"/>
                <a:gd name="connsiteX7235" fmla="*/ 3294610 w 8566434"/>
                <a:gd name="connsiteY7235" fmla="*/ 2439856 h 2765205"/>
                <a:gd name="connsiteX7236" fmla="*/ 3270487 w 8566434"/>
                <a:gd name="connsiteY7236" fmla="*/ 2442888 h 2765205"/>
                <a:gd name="connsiteX7237" fmla="*/ 3303640 w 8566434"/>
                <a:gd name="connsiteY7237" fmla="*/ 2455571 h 2765205"/>
                <a:gd name="connsiteX7238" fmla="*/ 3315839 w 8566434"/>
                <a:gd name="connsiteY7238" fmla="*/ 2447644 h 2765205"/>
                <a:gd name="connsiteX7239" fmla="*/ 3320664 w 8566434"/>
                <a:gd name="connsiteY7239" fmla="*/ 2456673 h 2765205"/>
                <a:gd name="connsiteX7240" fmla="*/ 3345477 w 8566434"/>
                <a:gd name="connsiteY7240" fmla="*/ 2455157 h 2765205"/>
                <a:gd name="connsiteX7241" fmla="*/ 3340721 w 8566434"/>
                <a:gd name="connsiteY7241" fmla="*/ 2389334 h 2765205"/>
                <a:gd name="connsiteX7242" fmla="*/ 3352852 w 8566434"/>
                <a:gd name="connsiteY7242" fmla="*/ 2420281 h 2765205"/>
                <a:gd name="connsiteX7243" fmla="*/ 3352576 w 8566434"/>
                <a:gd name="connsiteY7243" fmla="*/ 2459499 h 2765205"/>
                <a:gd name="connsiteX7244" fmla="*/ 3367739 w 8566434"/>
                <a:gd name="connsiteY7244" fmla="*/ 2455157 h 2765205"/>
                <a:gd name="connsiteX7245" fmla="*/ 3404959 w 8566434"/>
                <a:gd name="connsiteY7245" fmla="*/ 2461636 h 2765205"/>
                <a:gd name="connsiteX7246" fmla="*/ 3426739 w 8566434"/>
                <a:gd name="connsiteY7246" fmla="*/ 2369415 h 2765205"/>
                <a:gd name="connsiteX7247" fmla="*/ 3415504 w 8566434"/>
                <a:gd name="connsiteY7247" fmla="*/ 2390230 h 2765205"/>
                <a:gd name="connsiteX7248" fmla="*/ 3429910 w 8566434"/>
                <a:gd name="connsiteY7248" fmla="*/ 2394641 h 2765205"/>
                <a:gd name="connsiteX7249" fmla="*/ 3429289 w 8566434"/>
                <a:gd name="connsiteY7249" fmla="*/ 2463152 h 2765205"/>
                <a:gd name="connsiteX7250" fmla="*/ 3433493 w 8566434"/>
                <a:gd name="connsiteY7250" fmla="*/ 2463083 h 2765205"/>
                <a:gd name="connsiteX7251" fmla="*/ 3443832 w 8566434"/>
                <a:gd name="connsiteY7251" fmla="*/ 2429173 h 2765205"/>
                <a:gd name="connsiteX7252" fmla="*/ 3454929 w 8566434"/>
                <a:gd name="connsiteY7252" fmla="*/ 2376170 h 2765205"/>
                <a:gd name="connsiteX7253" fmla="*/ 3475331 w 8566434"/>
                <a:gd name="connsiteY7253" fmla="*/ 2378789 h 2765205"/>
                <a:gd name="connsiteX7254" fmla="*/ 3466922 w 8566434"/>
                <a:gd name="connsiteY7254" fmla="*/ 2414491 h 2765205"/>
                <a:gd name="connsiteX7255" fmla="*/ 3455412 w 8566434"/>
                <a:gd name="connsiteY7255" fmla="*/ 2414629 h 2765205"/>
                <a:gd name="connsiteX7256" fmla="*/ 3457962 w 8566434"/>
                <a:gd name="connsiteY7256" fmla="*/ 2435651 h 2765205"/>
                <a:gd name="connsiteX7257" fmla="*/ 3453413 w 8566434"/>
                <a:gd name="connsiteY7257" fmla="*/ 2464669 h 2765205"/>
                <a:gd name="connsiteX7258" fmla="*/ 3548046 w 8566434"/>
                <a:gd name="connsiteY7258" fmla="*/ 2470527 h 2765205"/>
                <a:gd name="connsiteX7259" fmla="*/ 3549149 w 8566434"/>
                <a:gd name="connsiteY7259" fmla="*/ 2443578 h 2765205"/>
                <a:gd name="connsiteX7260" fmla="*/ 3553422 w 8566434"/>
                <a:gd name="connsiteY7260" fmla="*/ 2471217 h 2765205"/>
                <a:gd name="connsiteX7261" fmla="*/ 3627172 w 8566434"/>
                <a:gd name="connsiteY7261" fmla="*/ 2469769 h 2765205"/>
                <a:gd name="connsiteX7262" fmla="*/ 3697613 w 8566434"/>
                <a:gd name="connsiteY7262" fmla="*/ 2479419 h 2765205"/>
                <a:gd name="connsiteX7263" fmla="*/ 3696165 w 8566434"/>
                <a:gd name="connsiteY7263" fmla="*/ 2466943 h 2765205"/>
                <a:gd name="connsiteX7264" fmla="*/ 3720496 w 8566434"/>
                <a:gd name="connsiteY7264" fmla="*/ 2462187 h 2765205"/>
                <a:gd name="connsiteX7265" fmla="*/ 3722495 w 8566434"/>
                <a:gd name="connsiteY7265" fmla="*/ 2445094 h 2765205"/>
                <a:gd name="connsiteX7266" fmla="*/ 3728078 w 8566434"/>
                <a:gd name="connsiteY7266" fmla="*/ 2458741 h 2765205"/>
                <a:gd name="connsiteX7267" fmla="*/ 3740208 w 8566434"/>
                <a:gd name="connsiteY7267" fmla="*/ 2449850 h 2765205"/>
                <a:gd name="connsiteX7268" fmla="*/ 3789696 w 8566434"/>
                <a:gd name="connsiteY7268" fmla="*/ 2483416 h 2765205"/>
                <a:gd name="connsiteX7269" fmla="*/ 3827605 w 8566434"/>
                <a:gd name="connsiteY7269" fmla="*/ 2481762 h 2765205"/>
                <a:gd name="connsiteX7270" fmla="*/ 3812166 w 8566434"/>
                <a:gd name="connsiteY7270" fmla="*/ 2475766 h 2765205"/>
                <a:gd name="connsiteX7271" fmla="*/ 3830017 w 8566434"/>
                <a:gd name="connsiteY7271" fmla="*/ 2468184 h 2765205"/>
                <a:gd name="connsiteX7272" fmla="*/ 3828845 w 8566434"/>
                <a:gd name="connsiteY7272" fmla="*/ 2488448 h 2765205"/>
                <a:gd name="connsiteX7273" fmla="*/ 4329514 w 8566434"/>
                <a:gd name="connsiteY7273" fmla="*/ 2518844 h 2765205"/>
                <a:gd name="connsiteX7274" fmla="*/ 4322415 w 8566434"/>
                <a:gd name="connsiteY7274" fmla="*/ 2511744 h 2765205"/>
                <a:gd name="connsiteX7275" fmla="*/ 4308216 w 8566434"/>
                <a:gd name="connsiteY7275" fmla="*/ 2497890 h 2765205"/>
                <a:gd name="connsiteX7276" fmla="*/ 4319933 w 8566434"/>
                <a:gd name="connsiteY7276" fmla="*/ 2457914 h 2765205"/>
                <a:gd name="connsiteX7277" fmla="*/ 4308705 w 8566434"/>
                <a:gd name="connsiteY7277" fmla="*/ 2444267 h 2765205"/>
                <a:gd name="connsiteX7278" fmla="*/ 4316073 w 8566434"/>
                <a:gd name="connsiteY7278" fmla="*/ 2432205 h 2765205"/>
                <a:gd name="connsiteX7279" fmla="*/ 4330410 w 8566434"/>
                <a:gd name="connsiteY7279" fmla="*/ 2453641 h 2765205"/>
                <a:gd name="connsiteX7280" fmla="*/ 4349020 w 8566434"/>
                <a:gd name="connsiteY7280" fmla="*/ 2401258 h 2765205"/>
                <a:gd name="connsiteX7281" fmla="*/ 4332684 w 8566434"/>
                <a:gd name="connsiteY7281" fmla="*/ 2453434 h 2765205"/>
                <a:gd name="connsiteX7282" fmla="*/ 4331857 w 8566434"/>
                <a:gd name="connsiteY7282" fmla="*/ 2490308 h 2765205"/>
                <a:gd name="connsiteX7283" fmla="*/ 4363287 w 8566434"/>
                <a:gd name="connsiteY7283" fmla="*/ 2500234 h 2765205"/>
                <a:gd name="connsiteX7284" fmla="*/ 4350260 w 8566434"/>
                <a:gd name="connsiteY7284" fmla="*/ 2508160 h 2765205"/>
                <a:gd name="connsiteX7285" fmla="*/ 4347917 w 8566434"/>
                <a:gd name="connsiteY7285" fmla="*/ 2522565 h 2765205"/>
                <a:gd name="connsiteX7286" fmla="*/ 4399817 w 8566434"/>
                <a:gd name="connsiteY7286" fmla="*/ 2524013 h 2765205"/>
                <a:gd name="connsiteX7287" fmla="*/ 4401754 w 8566434"/>
                <a:gd name="connsiteY7287" fmla="*/ 2514156 h 2765205"/>
                <a:gd name="connsiteX7288" fmla="*/ 4402712 w 8566434"/>
                <a:gd name="connsiteY7288" fmla="*/ 2524220 h 2765205"/>
                <a:gd name="connsiteX7289" fmla="*/ 4544903 w 8566434"/>
                <a:gd name="connsiteY7289" fmla="*/ 2532697 h 2765205"/>
                <a:gd name="connsiteX7290" fmla="*/ 4536701 w 8566434"/>
                <a:gd name="connsiteY7290" fmla="*/ 2502991 h 2765205"/>
                <a:gd name="connsiteX7291" fmla="*/ 4553381 w 8566434"/>
                <a:gd name="connsiteY7291" fmla="*/ 2495616 h 2765205"/>
                <a:gd name="connsiteX7292" fmla="*/ 4546558 w 8566434"/>
                <a:gd name="connsiteY7292" fmla="*/ 2534076 h 2765205"/>
                <a:gd name="connsiteX7293" fmla="*/ 4574334 w 8566434"/>
                <a:gd name="connsiteY7293" fmla="*/ 2533731 h 2765205"/>
                <a:gd name="connsiteX7294" fmla="*/ 4581502 w 8566434"/>
                <a:gd name="connsiteY7294" fmla="*/ 2519326 h 2765205"/>
                <a:gd name="connsiteX7295" fmla="*/ 4578401 w 8566434"/>
                <a:gd name="connsiteY7295" fmla="*/ 2535178 h 2765205"/>
                <a:gd name="connsiteX7296" fmla="*/ 4609279 w 8566434"/>
                <a:gd name="connsiteY7296" fmla="*/ 2537040 h 2765205"/>
                <a:gd name="connsiteX7297" fmla="*/ 4599767 w 8566434"/>
                <a:gd name="connsiteY7297" fmla="*/ 2518637 h 2765205"/>
                <a:gd name="connsiteX7298" fmla="*/ 4610520 w 8566434"/>
                <a:gd name="connsiteY7298" fmla="*/ 2536971 h 2765205"/>
                <a:gd name="connsiteX7299" fmla="*/ 4665315 w 8566434"/>
                <a:gd name="connsiteY7299" fmla="*/ 2540623 h 2765205"/>
                <a:gd name="connsiteX7300" fmla="*/ 4665521 w 8566434"/>
                <a:gd name="connsiteY7300" fmla="*/ 2528700 h 2765205"/>
                <a:gd name="connsiteX7301" fmla="*/ 4668003 w 8566434"/>
                <a:gd name="connsiteY7301" fmla="*/ 2540692 h 2765205"/>
                <a:gd name="connsiteX7302" fmla="*/ 4687577 w 8566434"/>
                <a:gd name="connsiteY7302" fmla="*/ 2540555 h 2765205"/>
                <a:gd name="connsiteX7303" fmla="*/ 4683786 w 8566434"/>
                <a:gd name="connsiteY7303" fmla="*/ 2521669 h 2765205"/>
                <a:gd name="connsiteX7304" fmla="*/ 4694332 w 8566434"/>
                <a:gd name="connsiteY7304" fmla="*/ 2541726 h 2765205"/>
                <a:gd name="connsiteX7305" fmla="*/ 4826254 w 8566434"/>
                <a:gd name="connsiteY7305" fmla="*/ 2543174 h 2765205"/>
                <a:gd name="connsiteX7306" fmla="*/ 4831078 w 8566434"/>
                <a:gd name="connsiteY7306" fmla="*/ 2551031 h 2765205"/>
                <a:gd name="connsiteX7307" fmla="*/ 4986021 w 8566434"/>
                <a:gd name="connsiteY7307" fmla="*/ 2560474 h 2765205"/>
                <a:gd name="connsiteX7308" fmla="*/ 4988020 w 8566434"/>
                <a:gd name="connsiteY7308" fmla="*/ 2547861 h 2765205"/>
                <a:gd name="connsiteX7309" fmla="*/ 4988088 w 8566434"/>
                <a:gd name="connsiteY7309" fmla="*/ 2560819 h 2765205"/>
                <a:gd name="connsiteX7310" fmla="*/ 5045365 w 8566434"/>
                <a:gd name="connsiteY7310" fmla="*/ 2556890 h 2765205"/>
                <a:gd name="connsiteX7311" fmla="*/ 5034475 w 8566434"/>
                <a:gd name="connsiteY7311" fmla="*/ 2539797 h 2765205"/>
                <a:gd name="connsiteX7312" fmla="*/ 5044193 w 8566434"/>
                <a:gd name="connsiteY7312" fmla="*/ 2535730 h 2765205"/>
                <a:gd name="connsiteX7313" fmla="*/ 5056538 w 8566434"/>
                <a:gd name="connsiteY7313" fmla="*/ 2530354 h 2765205"/>
                <a:gd name="connsiteX7314" fmla="*/ 5083342 w 8566434"/>
                <a:gd name="connsiteY7314" fmla="*/ 2523737 h 2765205"/>
                <a:gd name="connsiteX7315" fmla="*/ 5081619 w 8566434"/>
                <a:gd name="connsiteY7315" fmla="*/ 2518637 h 2765205"/>
                <a:gd name="connsiteX7316" fmla="*/ 5069626 w 8566434"/>
                <a:gd name="connsiteY7316" fmla="*/ 2482107 h 2765205"/>
                <a:gd name="connsiteX7317" fmla="*/ 5024688 w 8566434"/>
                <a:gd name="connsiteY7317" fmla="*/ 2519670 h 2765205"/>
                <a:gd name="connsiteX7318" fmla="*/ 5036612 w 8566434"/>
                <a:gd name="connsiteY7318" fmla="*/ 2503542 h 2765205"/>
                <a:gd name="connsiteX7319" fmla="*/ 5026549 w 8566434"/>
                <a:gd name="connsiteY7319" fmla="*/ 2494996 h 2765205"/>
                <a:gd name="connsiteX7320" fmla="*/ 5092372 w 8566434"/>
                <a:gd name="connsiteY7320" fmla="*/ 2474732 h 2765205"/>
                <a:gd name="connsiteX7321" fmla="*/ 5101814 w 8566434"/>
                <a:gd name="connsiteY7321" fmla="*/ 2543243 h 2765205"/>
                <a:gd name="connsiteX7322" fmla="*/ 5115737 w 8566434"/>
                <a:gd name="connsiteY7322" fmla="*/ 2542898 h 2765205"/>
                <a:gd name="connsiteX7323" fmla="*/ 5116357 w 8566434"/>
                <a:gd name="connsiteY7323" fmla="*/ 2572122 h 2765205"/>
                <a:gd name="connsiteX7324" fmla="*/ 5125111 w 8566434"/>
                <a:gd name="connsiteY7324" fmla="*/ 2541589 h 2765205"/>
                <a:gd name="connsiteX7325" fmla="*/ 5141308 w 8566434"/>
                <a:gd name="connsiteY7325" fmla="*/ 2569985 h 2765205"/>
                <a:gd name="connsiteX7326" fmla="*/ 5269784 w 8566434"/>
                <a:gd name="connsiteY7326" fmla="*/ 2579084 h 2765205"/>
                <a:gd name="connsiteX7327" fmla="*/ 5278123 w 8566434"/>
                <a:gd name="connsiteY7327" fmla="*/ 2559785 h 2765205"/>
                <a:gd name="connsiteX7328" fmla="*/ 5299697 w 8566434"/>
                <a:gd name="connsiteY7328" fmla="*/ 2556683 h 2765205"/>
                <a:gd name="connsiteX7329" fmla="*/ 5272885 w 8566434"/>
                <a:gd name="connsiteY7329" fmla="*/ 2578739 h 2765205"/>
                <a:gd name="connsiteX7330" fmla="*/ 5366209 w 8566434"/>
                <a:gd name="connsiteY7330" fmla="*/ 2584529 h 2765205"/>
                <a:gd name="connsiteX7331" fmla="*/ 5332919 w 8566434"/>
                <a:gd name="connsiteY7331" fmla="*/ 2571088 h 2765205"/>
                <a:gd name="connsiteX7332" fmla="*/ 5349598 w 8566434"/>
                <a:gd name="connsiteY7332" fmla="*/ 2565230 h 2765205"/>
                <a:gd name="connsiteX7333" fmla="*/ 5335745 w 8566434"/>
                <a:gd name="connsiteY7333" fmla="*/ 2540072 h 2765205"/>
                <a:gd name="connsiteX7334" fmla="*/ 5348496 w 8566434"/>
                <a:gd name="connsiteY7334" fmla="*/ 2539521 h 2765205"/>
                <a:gd name="connsiteX7335" fmla="*/ 5347944 w 8566434"/>
                <a:gd name="connsiteY7335" fmla="*/ 2512571 h 2765205"/>
                <a:gd name="connsiteX7336" fmla="*/ 5336571 w 8566434"/>
                <a:gd name="connsiteY7336" fmla="*/ 2527872 h 2765205"/>
                <a:gd name="connsiteX7337" fmla="*/ 5346634 w 8566434"/>
                <a:gd name="connsiteY7337" fmla="*/ 2471699 h 2765205"/>
                <a:gd name="connsiteX7338" fmla="*/ 5346772 w 8566434"/>
                <a:gd name="connsiteY7338" fmla="*/ 2511744 h 2765205"/>
                <a:gd name="connsiteX7339" fmla="*/ 5363038 w 8566434"/>
                <a:gd name="connsiteY7339" fmla="*/ 2533593 h 2765205"/>
                <a:gd name="connsiteX7340" fmla="*/ 5347048 w 8566434"/>
                <a:gd name="connsiteY7340" fmla="*/ 2556200 h 2765205"/>
                <a:gd name="connsiteX7341" fmla="*/ 5365520 w 8566434"/>
                <a:gd name="connsiteY7341" fmla="*/ 2559302 h 2765205"/>
                <a:gd name="connsiteX7342" fmla="*/ 5373446 w 8566434"/>
                <a:gd name="connsiteY7342" fmla="*/ 2539176 h 2765205"/>
                <a:gd name="connsiteX7343" fmla="*/ 5370689 w 8566434"/>
                <a:gd name="connsiteY7343" fmla="*/ 2565850 h 2765205"/>
                <a:gd name="connsiteX7344" fmla="*/ 5383096 w 8566434"/>
                <a:gd name="connsiteY7344" fmla="*/ 2563507 h 2765205"/>
                <a:gd name="connsiteX7345" fmla="*/ 5376479 w 8566434"/>
                <a:gd name="connsiteY7345" fmla="*/ 2584184 h 2765205"/>
                <a:gd name="connsiteX7346" fmla="*/ 5423899 w 8566434"/>
                <a:gd name="connsiteY7346" fmla="*/ 2588113 h 2765205"/>
                <a:gd name="connsiteX7347" fmla="*/ 5433755 w 8566434"/>
                <a:gd name="connsiteY7347" fmla="*/ 2533938 h 2765205"/>
                <a:gd name="connsiteX7348" fmla="*/ 5416386 w 8566434"/>
                <a:gd name="connsiteY7348" fmla="*/ 2515328 h 2765205"/>
                <a:gd name="connsiteX7349" fmla="*/ 5452158 w 8566434"/>
                <a:gd name="connsiteY7349" fmla="*/ 2524771 h 2765205"/>
                <a:gd name="connsiteX7350" fmla="*/ 5426656 w 8566434"/>
                <a:gd name="connsiteY7350" fmla="*/ 2557372 h 2765205"/>
                <a:gd name="connsiteX7351" fmla="*/ 5427483 w 8566434"/>
                <a:gd name="connsiteY7351" fmla="*/ 2590112 h 2765205"/>
                <a:gd name="connsiteX7352" fmla="*/ 5465805 w 8566434"/>
                <a:gd name="connsiteY7352" fmla="*/ 2570192 h 2765205"/>
                <a:gd name="connsiteX7353" fmla="*/ 5468493 w 8566434"/>
                <a:gd name="connsiteY7353" fmla="*/ 2589836 h 2765205"/>
                <a:gd name="connsiteX7354" fmla="*/ 5562782 w 8566434"/>
                <a:gd name="connsiteY7354" fmla="*/ 2596728 h 2765205"/>
                <a:gd name="connsiteX7355" fmla="*/ 5587113 w 8566434"/>
                <a:gd name="connsiteY7355" fmla="*/ 2584322 h 2765205"/>
                <a:gd name="connsiteX7356" fmla="*/ 5587043 w 8566434"/>
                <a:gd name="connsiteY7356" fmla="*/ 2598176 h 2765205"/>
                <a:gd name="connsiteX7357" fmla="*/ 5812772 w 8566434"/>
                <a:gd name="connsiteY7357" fmla="*/ 2612029 h 2765205"/>
                <a:gd name="connsiteX7358" fmla="*/ 5805741 w 8566434"/>
                <a:gd name="connsiteY7358" fmla="*/ 2554684 h 2765205"/>
                <a:gd name="connsiteX7359" fmla="*/ 5821601 w 8566434"/>
                <a:gd name="connsiteY7359" fmla="*/ 2591352 h 2765205"/>
                <a:gd name="connsiteX7360" fmla="*/ 5838343 w 8566434"/>
                <a:gd name="connsiteY7360" fmla="*/ 2581910 h 2765205"/>
                <a:gd name="connsiteX7361" fmla="*/ 5860950 w 8566434"/>
                <a:gd name="connsiteY7361" fmla="*/ 2588871 h 2765205"/>
                <a:gd name="connsiteX7362" fmla="*/ 5866326 w 8566434"/>
                <a:gd name="connsiteY7362" fmla="*/ 2590525 h 2765205"/>
                <a:gd name="connsiteX7363" fmla="*/ 5865292 w 8566434"/>
                <a:gd name="connsiteY7363" fmla="*/ 2603414 h 2765205"/>
                <a:gd name="connsiteX7364" fmla="*/ 5861433 w 8566434"/>
                <a:gd name="connsiteY7364" fmla="*/ 2614649 h 2765205"/>
                <a:gd name="connsiteX7365" fmla="*/ 5894034 w 8566434"/>
                <a:gd name="connsiteY7365" fmla="*/ 2617199 h 2765205"/>
                <a:gd name="connsiteX7366" fmla="*/ 5895274 w 8566434"/>
                <a:gd name="connsiteY7366" fmla="*/ 2586665 h 2765205"/>
                <a:gd name="connsiteX7367" fmla="*/ 5924291 w 8566434"/>
                <a:gd name="connsiteY7367" fmla="*/ 2618853 h 2765205"/>
                <a:gd name="connsiteX7368" fmla="*/ 5979156 w 8566434"/>
                <a:gd name="connsiteY7368" fmla="*/ 2622437 h 2765205"/>
                <a:gd name="connsiteX7369" fmla="*/ 6003693 w 8566434"/>
                <a:gd name="connsiteY7369" fmla="*/ 2623609 h 2765205"/>
                <a:gd name="connsiteX7370" fmla="*/ 6639729 w 8566434"/>
                <a:gd name="connsiteY7370" fmla="*/ 2664274 h 2765205"/>
                <a:gd name="connsiteX7371" fmla="*/ 6634836 w 8566434"/>
                <a:gd name="connsiteY7371" fmla="*/ 2614028 h 2765205"/>
                <a:gd name="connsiteX7372" fmla="*/ 6642555 w 8566434"/>
                <a:gd name="connsiteY7372" fmla="*/ 2632225 h 2765205"/>
                <a:gd name="connsiteX7373" fmla="*/ 6674054 w 8566434"/>
                <a:gd name="connsiteY7373" fmla="*/ 2620025 h 2765205"/>
                <a:gd name="connsiteX7374" fmla="*/ 6639178 w 8566434"/>
                <a:gd name="connsiteY7374" fmla="*/ 2635602 h 2765205"/>
                <a:gd name="connsiteX7375" fmla="*/ 6487337 w 8566434"/>
                <a:gd name="connsiteY7375" fmla="*/ 395896 h 2765205"/>
                <a:gd name="connsiteX7376" fmla="*/ 6487337 w 8566434"/>
                <a:gd name="connsiteY7376" fmla="*/ 395896 h 2765205"/>
                <a:gd name="connsiteX7377" fmla="*/ 6722508 w 8566434"/>
                <a:gd name="connsiteY7377" fmla="*/ 417607 h 2765205"/>
                <a:gd name="connsiteX7378" fmla="*/ 6733605 w 8566434"/>
                <a:gd name="connsiteY7378" fmla="*/ 406097 h 2765205"/>
                <a:gd name="connsiteX7379" fmla="*/ 6722508 w 8566434"/>
                <a:gd name="connsiteY7379" fmla="*/ 417607 h 2765205"/>
                <a:gd name="connsiteX7380" fmla="*/ 6693973 w 8566434"/>
                <a:gd name="connsiteY7380" fmla="*/ 429393 h 2765205"/>
                <a:gd name="connsiteX7381" fmla="*/ 6699280 w 8566434"/>
                <a:gd name="connsiteY7381" fmla="*/ 414023 h 2765205"/>
                <a:gd name="connsiteX7382" fmla="*/ 6693973 w 8566434"/>
                <a:gd name="connsiteY7382" fmla="*/ 429393 h 2765205"/>
                <a:gd name="connsiteX7383" fmla="*/ 7101387 w 8566434"/>
                <a:gd name="connsiteY7383" fmla="*/ 437251 h 2765205"/>
                <a:gd name="connsiteX7384" fmla="*/ 7101387 w 8566434"/>
                <a:gd name="connsiteY7384" fmla="*/ 437251 h 2765205"/>
                <a:gd name="connsiteX7385" fmla="*/ 6472518 w 8566434"/>
                <a:gd name="connsiteY7385" fmla="*/ 436286 h 2765205"/>
                <a:gd name="connsiteX7386" fmla="*/ 6480238 w 8566434"/>
                <a:gd name="connsiteY7386" fmla="*/ 425947 h 2765205"/>
                <a:gd name="connsiteX7387" fmla="*/ 6491817 w 8566434"/>
                <a:gd name="connsiteY7387" fmla="*/ 436562 h 2765205"/>
                <a:gd name="connsiteX7388" fmla="*/ 6529312 w 8566434"/>
                <a:gd name="connsiteY7388" fmla="*/ 442489 h 2765205"/>
                <a:gd name="connsiteX7389" fmla="*/ 6472518 w 8566434"/>
                <a:gd name="connsiteY7389" fmla="*/ 436286 h 2765205"/>
                <a:gd name="connsiteX7390" fmla="*/ 7225726 w 8566434"/>
                <a:gd name="connsiteY7390" fmla="*/ 451036 h 2765205"/>
                <a:gd name="connsiteX7391" fmla="*/ 7225726 w 8566434"/>
                <a:gd name="connsiteY7391" fmla="*/ 451036 h 2765205"/>
                <a:gd name="connsiteX7392" fmla="*/ 6652343 w 8566434"/>
                <a:gd name="connsiteY7392" fmla="*/ 450209 h 2765205"/>
                <a:gd name="connsiteX7393" fmla="*/ 6652343 w 8566434"/>
                <a:gd name="connsiteY7393" fmla="*/ 450209 h 2765205"/>
                <a:gd name="connsiteX7394" fmla="*/ 7135297 w 8566434"/>
                <a:gd name="connsiteY7394" fmla="*/ 471644 h 2765205"/>
                <a:gd name="connsiteX7395" fmla="*/ 7135297 w 8566434"/>
                <a:gd name="connsiteY7395" fmla="*/ 471644 h 2765205"/>
                <a:gd name="connsiteX7396" fmla="*/ 6840024 w 8566434"/>
                <a:gd name="connsiteY7396" fmla="*/ 451863 h 2765205"/>
                <a:gd name="connsiteX7397" fmla="*/ 6851052 w 8566434"/>
                <a:gd name="connsiteY7397" fmla="*/ 422639 h 2765205"/>
                <a:gd name="connsiteX7398" fmla="*/ 6852224 w 8566434"/>
                <a:gd name="connsiteY7398" fmla="*/ 440559 h 2765205"/>
                <a:gd name="connsiteX7399" fmla="*/ 6866146 w 8566434"/>
                <a:gd name="connsiteY7399" fmla="*/ 446073 h 2765205"/>
                <a:gd name="connsiteX7400" fmla="*/ 6867180 w 8566434"/>
                <a:gd name="connsiteY7400" fmla="*/ 427326 h 2765205"/>
                <a:gd name="connsiteX7401" fmla="*/ 6896818 w 8566434"/>
                <a:gd name="connsiteY7401" fmla="*/ 439250 h 2765205"/>
                <a:gd name="connsiteX7402" fmla="*/ 6894130 w 8566434"/>
                <a:gd name="connsiteY7402" fmla="*/ 461512 h 2765205"/>
                <a:gd name="connsiteX7403" fmla="*/ 6912464 w 8566434"/>
                <a:gd name="connsiteY7403" fmla="*/ 462684 h 2765205"/>
                <a:gd name="connsiteX7404" fmla="*/ 6913360 w 8566434"/>
                <a:gd name="connsiteY7404" fmla="*/ 470886 h 2765205"/>
                <a:gd name="connsiteX7405" fmla="*/ 6887651 w 8566434"/>
                <a:gd name="connsiteY7405" fmla="*/ 469852 h 2765205"/>
                <a:gd name="connsiteX7406" fmla="*/ 6887996 w 8566434"/>
                <a:gd name="connsiteY7406" fmla="*/ 441386 h 2765205"/>
                <a:gd name="connsiteX7407" fmla="*/ 6865595 w 8566434"/>
                <a:gd name="connsiteY7407" fmla="*/ 448485 h 2765205"/>
                <a:gd name="connsiteX7408" fmla="*/ 6862838 w 8566434"/>
                <a:gd name="connsiteY7408" fmla="*/ 458686 h 2765205"/>
                <a:gd name="connsiteX7409" fmla="*/ 6852293 w 8566434"/>
                <a:gd name="connsiteY7409" fmla="*/ 458618 h 2765205"/>
                <a:gd name="connsiteX7410" fmla="*/ 6856222 w 8566434"/>
                <a:gd name="connsiteY7410" fmla="*/ 468267 h 2765205"/>
                <a:gd name="connsiteX7411" fmla="*/ 6840024 w 8566434"/>
                <a:gd name="connsiteY7411" fmla="*/ 451863 h 2765205"/>
                <a:gd name="connsiteX7412" fmla="*/ 6762967 w 8566434"/>
                <a:gd name="connsiteY7412" fmla="*/ 471231 h 2765205"/>
                <a:gd name="connsiteX7413" fmla="*/ 6773787 w 8566434"/>
                <a:gd name="connsiteY7413" fmla="*/ 459513 h 2765205"/>
                <a:gd name="connsiteX7414" fmla="*/ 6762967 w 8566434"/>
                <a:gd name="connsiteY7414" fmla="*/ 471231 h 2765205"/>
                <a:gd name="connsiteX7415" fmla="*/ 6742082 w 8566434"/>
                <a:gd name="connsiteY7415" fmla="*/ 471369 h 2765205"/>
                <a:gd name="connsiteX7416" fmla="*/ 6742082 w 8566434"/>
                <a:gd name="connsiteY7416" fmla="*/ 471369 h 2765205"/>
                <a:gd name="connsiteX7417" fmla="*/ 6710170 w 8566434"/>
                <a:gd name="connsiteY7417" fmla="*/ 473781 h 2765205"/>
                <a:gd name="connsiteX7418" fmla="*/ 6709688 w 8566434"/>
                <a:gd name="connsiteY7418" fmla="*/ 452690 h 2765205"/>
                <a:gd name="connsiteX7419" fmla="*/ 6701417 w 8566434"/>
                <a:gd name="connsiteY7419" fmla="*/ 440490 h 2765205"/>
                <a:gd name="connsiteX7420" fmla="*/ 6719337 w 8566434"/>
                <a:gd name="connsiteY7420" fmla="*/ 437320 h 2765205"/>
                <a:gd name="connsiteX7421" fmla="*/ 6710170 w 8566434"/>
                <a:gd name="connsiteY7421" fmla="*/ 473781 h 2765205"/>
                <a:gd name="connsiteX7422" fmla="*/ 7516520 w 8566434"/>
                <a:gd name="connsiteY7422" fmla="*/ 481845 h 2765205"/>
                <a:gd name="connsiteX7423" fmla="*/ 7509558 w 8566434"/>
                <a:gd name="connsiteY7423" fmla="*/ 455516 h 2765205"/>
                <a:gd name="connsiteX7424" fmla="*/ 7528512 w 8566434"/>
                <a:gd name="connsiteY7424" fmla="*/ 452070 h 2765205"/>
                <a:gd name="connsiteX7425" fmla="*/ 7516520 w 8566434"/>
                <a:gd name="connsiteY7425" fmla="*/ 481845 h 2765205"/>
                <a:gd name="connsiteX7426" fmla="*/ 6943963 w 8566434"/>
                <a:gd name="connsiteY7426" fmla="*/ 461512 h 2765205"/>
                <a:gd name="connsiteX7427" fmla="*/ 6968569 w 8566434"/>
                <a:gd name="connsiteY7427" fmla="*/ 461030 h 2765205"/>
                <a:gd name="connsiteX7428" fmla="*/ 6980699 w 8566434"/>
                <a:gd name="connsiteY7428" fmla="*/ 476262 h 2765205"/>
                <a:gd name="connsiteX7429" fmla="*/ 6960298 w 8566434"/>
                <a:gd name="connsiteY7429" fmla="*/ 475504 h 2765205"/>
                <a:gd name="connsiteX7430" fmla="*/ 6943963 w 8566434"/>
                <a:gd name="connsiteY7430" fmla="*/ 461512 h 2765205"/>
                <a:gd name="connsiteX7431" fmla="*/ 6480376 w 8566434"/>
                <a:gd name="connsiteY7431" fmla="*/ 476469 h 2765205"/>
                <a:gd name="connsiteX7432" fmla="*/ 6499330 w 8566434"/>
                <a:gd name="connsiteY7432" fmla="*/ 462960 h 2765205"/>
                <a:gd name="connsiteX7433" fmla="*/ 6480376 w 8566434"/>
                <a:gd name="connsiteY7433" fmla="*/ 476469 h 2765205"/>
                <a:gd name="connsiteX7434" fmla="*/ 7287207 w 8566434"/>
                <a:gd name="connsiteY7434" fmla="*/ 485636 h 2765205"/>
                <a:gd name="connsiteX7435" fmla="*/ 7284174 w 8566434"/>
                <a:gd name="connsiteY7435" fmla="*/ 467233 h 2765205"/>
                <a:gd name="connsiteX7436" fmla="*/ 7287207 w 8566434"/>
                <a:gd name="connsiteY7436" fmla="*/ 485636 h 2765205"/>
                <a:gd name="connsiteX7437" fmla="*/ 7018746 w 8566434"/>
                <a:gd name="connsiteY7437" fmla="*/ 487083 h 2765205"/>
                <a:gd name="connsiteX7438" fmla="*/ 7018746 w 8566434"/>
                <a:gd name="connsiteY7438" fmla="*/ 487083 h 2765205"/>
                <a:gd name="connsiteX7439" fmla="*/ 7306919 w 8566434"/>
                <a:gd name="connsiteY7439" fmla="*/ 477434 h 2765205"/>
                <a:gd name="connsiteX7440" fmla="*/ 7325184 w 8566434"/>
                <a:gd name="connsiteY7440" fmla="*/ 477847 h 2765205"/>
                <a:gd name="connsiteX7441" fmla="*/ 7326218 w 8566434"/>
                <a:gd name="connsiteY7441" fmla="*/ 491701 h 2765205"/>
                <a:gd name="connsiteX7442" fmla="*/ 7306919 w 8566434"/>
                <a:gd name="connsiteY7442" fmla="*/ 477434 h 2765205"/>
                <a:gd name="connsiteX7443" fmla="*/ 6941412 w 8566434"/>
                <a:gd name="connsiteY7443" fmla="*/ 492666 h 2765205"/>
                <a:gd name="connsiteX7444" fmla="*/ 6941412 w 8566434"/>
                <a:gd name="connsiteY7444" fmla="*/ 492666 h 2765205"/>
                <a:gd name="connsiteX7445" fmla="*/ 6844987 w 8566434"/>
                <a:gd name="connsiteY7445" fmla="*/ 491977 h 2765205"/>
                <a:gd name="connsiteX7446" fmla="*/ 6844987 w 8566434"/>
                <a:gd name="connsiteY7446" fmla="*/ 491977 h 2765205"/>
                <a:gd name="connsiteX7447" fmla="*/ 6451841 w 8566434"/>
                <a:gd name="connsiteY7447" fmla="*/ 492459 h 2765205"/>
                <a:gd name="connsiteX7448" fmla="*/ 6451841 w 8566434"/>
                <a:gd name="connsiteY7448" fmla="*/ 492459 h 2765205"/>
                <a:gd name="connsiteX7449" fmla="*/ 7447250 w 8566434"/>
                <a:gd name="connsiteY7449" fmla="*/ 500524 h 2765205"/>
                <a:gd name="connsiteX7450" fmla="*/ 7462414 w 8566434"/>
                <a:gd name="connsiteY7450" fmla="*/ 495492 h 2765205"/>
                <a:gd name="connsiteX7451" fmla="*/ 7447250 w 8566434"/>
                <a:gd name="connsiteY7451" fmla="*/ 500524 h 2765205"/>
                <a:gd name="connsiteX7452" fmla="*/ 6896956 w 8566434"/>
                <a:gd name="connsiteY7452" fmla="*/ 491012 h 2765205"/>
                <a:gd name="connsiteX7453" fmla="*/ 6934451 w 8566434"/>
                <a:gd name="connsiteY7453" fmla="*/ 500248 h 2765205"/>
                <a:gd name="connsiteX7454" fmla="*/ 6930660 w 8566434"/>
                <a:gd name="connsiteY7454" fmla="*/ 491701 h 2765205"/>
                <a:gd name="connsiteX7455" fmla="*/ 6896956 w 8566434"/>
                <a:gd name="connsiteY7455" fmla="*/ 491012 h 2765205"/>
                <a:gd name="connsiteX7456" fmla="*/ 7583445 w 8566434"/>
                <a:gd name="connsiteY7456" fmla="*/ 513137 h 2765205"/>
                <a:gd name="connsiteX7457" fmla="*/ 7616874 w 8566434"/>
                <a:gd name="connsiteY7457" fmla="*/ 460478 h 2765205"/>
                <a:gd name="connsiteX7458" fmla="*/ 7591303 w 8566434"/>
                <a:gd name="connsiteY7458" fmla="*/ 511758 h 2765205"/>
                <a:gd name="connsiteX7459" fmla="*/ 7583445 w 8566434"/>
                <a:gd name="connsiteY7459" fmla="*/ 513137 h 2765205"/>
                <a:gd name="connsiteX7460" fmla="*/ 7279901 w 8566434"/>
                <a:gd name="connsiteY7460" fmla="*/ 505004 h 2765205"/>
                <a:gd name="connsiteX7461" fmla="*/ 7290515 w 8566434"/>
                <a:gd name="connsiteY7461" fmla="*/ 495285 h 2765205"/>
                <a:gd name="connsiteX7462" fmla="*/ 7279901 w 8566434"/>
                <a:gd name="connsiteY7462" fmla="*/ 505004 h 2765205"/>
                <a:gd name="connsiteX7463" fmla="*/ 6962434 w 8566434"/>
                <a:gd name="connsiteY7463" fmla="*/ 505279 h 2765205"/>
                <a:gd name="connsiteX7464" fmla="*/ 6973324 w 8566434"/>
                <a:gd name="connsiteY7464" fmla="*/ 494872 h 2765205"/>
                <a:gd name="connsiteX7465" fmla="*/ 6962434 w 8566434"/>
                <a:gd name="connsiteY7465" fmla="*/ 505279 h 2765205"/>
                <a:gd name="connsiteX7466" fmla="*/ 7191747 w 8566434"/>
                <a:gd name="connsiteY7466" fmla="*/ 513895 h 2765205"/>
                <a:gd name="connsiteX7467" fmla="*/ 7191747 w 8566434"/>
                <a:gd name="connsiteY7467" fmla="*/ 513895 h 2765205"/>
                <a:gd name="connsiteX7468" fmla="*/ 7590269 w 8566434"/>
                <a:gd name="connsiteY7468" fmla="*/ 520856 h 2765205"/>
                <a:gd name="connsiteX7469" fmla="*/ 7590269 w 8566434"/>
                <a:gd name="connsiteY7469" fmla="*/ 520856 h 2765205"/>
                <a:gd name="connsiteX7470" fmla="*/ 8279033 w 8566434"/>
                <a:gd name="connsiteY7470" fmla="*/ 527542 h 2765205"/>
                <a:gd name="connsiteX7471" fmla="*/ 8279033 w 8566434"/>
                <a:gd name="connsiteY7471" fmla="*/ 527542 h 2765205"/>
                <a:gd name="connsiteX7472" fmla="*/ 7807450 w 8566434"/>
                <a:gd name="connsiteY7472" fmla="*/ 516032 h 2765205"/>
                <a:gd name="connsiteX7473" fmla="*/ 7786842 w 8566434"/>
                <a:gd name="connsiteY7473" fmla="*/ 507692 h 2765205"/>
                <a:gd name="connsiteX7474" fmla="*/ 7803659 w 8566434"/>
                <a:gd name="connsiteY7474" fmla="*/ 514171 h 2765205"/>
                <a:gd name="connsiteX7475" fmla="*/ 7804142 w 8566434"/>
                <a:gd name="connsiteY7475" fmla="*/ 479984 h 2765205"/>
                <a:gd name="connsiteX7476" fmla="*/ 7807864 w 8566434"/>
                <a:gd name="connsiteY7476" fmla="*/ 506244 h 2765205"/>
                <a:gd name="connsiteX7477" fmla="*/ 7818754 w 8566434"/>
                <a:gd name="connsiteY7477" fmla="*/ 493838 h 2765205"/>
                <a:gd name="connsiteX7478" fmla="*/ 7822338 w 8566434"/>
                <a:gd name="connsiteY7478" fmla="*/ 507071 h 2765205"/>
                <a:gd name="connsiteX7479" fmla="*/ 7813378 w 8566434"/>
                <a:gd name="connsiteY7479" fmla="*/ 506175 h 2765205"/>
                <a:gd name="connsiteX7480" fmla="*/ 7807795 w 8566434"/>
                <a:gd name="connsiteY7480" fmla="*/ 529334 h 2765205"/>
                <a:gd name="connsiteX7481" fmla="*/ 7807450 w 8566434"/>
                <a:gd name="connsiteY7481" fmla="*/ 516032 h 2765205"/>
                <a:gd name="connsiteX7482" fmla="*/ 7506388 w 8566434"/>
                <a:gd name="connsiteY7482" fmla="*/ 528369 h 2765205"/>
                <a:gd name="connsiteX7483" fmla="*/ 7501012 w 8566434"/>
                <a:gd name="connsiteY7483" fmla="*/ 502040 h 2765205"/>
                <a:gd name="connsiteX7484" fmla="*/ 7510454 w 8566434"/>
                <a:gd name="connsiteY7484" fmla="*/ 507140 h 2765205"/>
                <a:gd name="connsiteX7485" fmla="*/ 7530580 w 8566434"/>
                <a:gd name="connsiteY7485" fmla="*/ 497284 h 2765205"/>
                <a:gd name="connsiteX7486" fmla="*/ 7536783 w 8566434"/>
                <a:gd name="connsiteY7486" fmla="*/ 477778 h 2765205"/>
                <a:gd name="connsiteX7487" fmla="*/ 7535543 w 8566434"/>
                <a:gd name="connsiteY7487" fmla="*/ 506934 h 2765205"/>
                <a:gd name="connsiteX7488" fmla="*/ 7547811 w 8566434"/>
                <a:gd name="connsiteY7488" fmla="*/ 501213 h 2765205"/>
                <a:gd name="connsiteX7489" fmla="*/ 7545330 w 8566434"/>
                <a:gd name="connsiteY7489" fmla="*/ 514308 h 2765205"/>
                <a:gd name="connsiteX7490" fmla="*/ 7562423 w 8566434"/>
                <a:gd name="connsiteY7490" fmla="*/ 512379 h 2765205"/>
                <a:gd name="connsiteX7491" fmla="*/ 7508455 w 8566434"/>
                <a:gd name="connsiteY7491" fmla="*/ 509897 h 2765205"/>
                <a:gd name="connsiteX7492" fmla="*/ 7506388 w 8566434"/>
                <a:gd name="connsiteY7492" fmla="*/ 528369 h 2765205"/>
                <a:gd name="connsiteX7493" fmla="*/ 7279626 w 8566434"/>
                <a:gd name="connsiteY7493" fmla="*/ 527473 h 2765205"/>
                <a:gd name="connsiteX7494" fmla="*/ 7279626 w 8566434"/>
                <a:gd name="connsiteY7494" fmla="*/ 527473 h 2765205"/>
                <a:gd name="connsiteX7495" fmla="*/ 7440151 w 8566434"/>
                <a:gd name="connsiteY7495" fmla="*/ 534710 h 2765205"/>
                <a:gd name="connsiteX7496" fmla="*/ 7450972 w 8566434"/>
                <a:gd name="connsiteY7496" fmla="*/ 524303 h 2765205"/>
                <a:gd name="connsiteX7497" fmla="*/ 7440151 w 8566434"/>
                <a:gd name="connsiteY7497" fmla="*/ 534710 h 2765205"/>
                <a:gd name="connsiteX7498" fmla="*/ 7311882 w 8566434"/>
                <a:gd name="connsiteY7498" fmla="*/ 516583 h 2765205"/>
                <a:gd name="connsiteX7499" fmla="*/ 7311951 w 8566434"/>
                <a:gd name="connsiteY7499" fmla="*/ 505417 h 2765205"/>
                <a:gd name="connsiteX7500" fmla="*/ 7355167 w 8566434"/>
                <a:gd name="connsiteY7500" fmla="*/ 510793 h 2765205"/>
                <a:gd name="connsiteX7501" fmla="*/ 7381013 w 8566434"/>
                <a:gd name="connsiteY7501" fmla="*/ 531815 h 2765205"/>
                <a:gd name="connsiteX7502" fmla="*/ 7311882 w 8566434"/>
                <a:gd name="connsiteY7502" fmla="*/ 516583 h 2765205"/>
                <a:gd name="connsiteX7503" fmla="*/ 7465515 w 8566434"/>
                <a:gd name="connsiteY7503" fmla="*/ 540844 h 2765205"/>
                <a:gd name="connsiteX7504" fmla="*/ 7465515 w 8566434"/>
                <a:gd name="connsiteY7504" fmla="*/ 540844 h 2765205"/>
                <a:gd name="connsiteX7505" fmla="*/ 8313977 w 8566434"/>
                <a:gd name="connsiteY7505" fmla="*/ 547806 h 2765205"/>
                <a:gd name="connsiteX7506" fmla="*/ 8313977 w 8566434"/>
                <a:gd name="connsiteY7506" fmla="*/ 547806 h 2765205"/>
                <a:gd name="connsiteX7507" fmla="*/ 7995614 w 8566434"/>
                <a:gd name="connsiteY7507" fmla="*/ 549047 h 2765205"/>
                <a:gd name="connsiteX7508" fmla="*/ 7997820 w 8566434"/>
                <a:gd name="connsiteY7508" fmla="*/ 510518 h 2765205"/>
                <a:gd name="connsiteX7509" fmla="*/ 8008297 w 8566434"/>
                <a:gd name="connsiteY7509" fmla="*/ 512517 h 2765205"/>
                <a:gd name="connsiteX7510" fmla="*/ 8013397 w 8566434"/>
                <a:gd name="connsiteY7510" fmla="*/ 499076 h 2765205"/>
                <a:gd name="connsiteX7511" fmla="*/ 8020703 w 8566434"/>
                <a:gd name="connsiteY7511" fmla="*/ 536916 h 2765205"/>
                <a:gd name="connsiteX7512" fmla="*/ 7995614 w 8566434"/>
                <a:gd name="connsiteY7512" fmla="*/ 549047 h 2765205"/>
                <a:gd name="connsiteX7513" fmla="*/ 7925243 w 8566434"/>
                <a:gd name="connsiteY7513" fmla="*/ 551252 h 2765205"/>
                <a:gd name="connsiteX7514" fmla="*/ 7954260 w 8566434"/>
                <a:gd name="connsiteY7514" fmla="*/ 512999 h 2765205"/>
                <a:gd name="connsiteX7515" fmla="*/ 7925243 w 8566434"/>
                <a:gd name="connsiteY7515" fmla="*/ 551252 h 2765205"/>
                <a:gd name="connsiteX7516" fmla="*/ 7555600 w 8566434"/>
                <a:gd name="connsiteY7516" fmla="*/ 547461 h 2765205"/>
                <a:gd name="connsiteX7517" fmla="*/ 7565387 w 8566434"/>
                <a:gd name="connsiteY7517" fmla="*/ 538501 h 2765205"/>
                <a:gd name="connsiteX7518" fmla="*/ 7555600 w 8566434"/>
                <a:gd name="connsiteY7518" fmla="*/ 547461 h 2765205"/>
                <a:gd name="connsiteX7519" fmla="*/ 7419956 w 8566434"/>
                <a:gd name="connsiteY7519" fmla="*/ 547254 h 2765205"/>
                <a:gd name="connsiteX7520" fmla="*/ 7431949 w 8566434"/>
                <a:gd name="connsiteY7520" fmla="*/ 535330 h 2765205"/>
                <a:gd name="connsiteX7521" fmla="*/ 7419956 w 8566434"/>
                <a:gd name="connsiteY7521" fmla="*/ 547254 h 2765205"/>
                <a:gd name="connsiteX7522" fmla="*/ 8279377 w 8566434"/>
                <a:gd name="connsiteY7522" fmla="*/ 561798 h 2765205"/>
                <a:gd name="connsiteX7523" fmla="*/ 8288682 w 8566434"/>
                <a:gd name="connsiteY7523" fmla="*/ 552286 h 2765205"/>
                <a:gd name="connsiteX7524" fmla="*/ 8279377 w 8566434"/>
                <a:gd name="connsiteY7524" fmla="*/ 561798 h 2765205"/>
                <a:gd name="connsiteX7525" fmla="*/ 8081495 w 8566434"/>
                <a:gd name="connsiteY7525" fmla="*/ 560971 h 2765205"/>
                <a:gd name="connsiteX7526" fmla="*/ 8073844 w 8566434"/>
                <a:gd name="connsiteY7526" fmla="*/ 536364 h 2765205"/>
                <a:gd name="connsiteX7527" fmla="*/ 8081495 w 8566434"/>
                <a:gd name="connsiteY7527" fmla="*/ 560971 h 2765205"/>
                <a:gd name="connsiteX7528" fmla="*/ 7726946 w 8566434"/>
                <a:gd name="connsiteY7528" fmla="*/ 561729 h 2765205"/>
                <a:gd name="connsiteX7529" fmla="*/ 7726946 w 8566434"/>
                <a:gd name="connsiteY7529" fmla="*/ 561729 h 2765205"/>
                <a:gd name="connsiteX7530" fmla="*/ 8459270 w 8566434"/>
                <a:gd name="connsiteY7530" fmla="*/ 569724 h 2765205"/>
                <a:gd name="connsiteX7531" fmla="*/ 8458512 w 8566434"/>
                <a:gd name="connsiteY7531" fmla="*/ 555801 h 2765205"/>
                <a:gd name="connsiteX7532" fmla="*/ 8459270 w 8566434"/>
                <a:gd name="connsiteY7532" fmla="*/ 569724 h 2765205"/>
                <a:gd name="connsiteX7533" fmla="*/ 8312392 w 8566434"/>
                <a:gd name="connsiteY7533" fmla="*/ 560212 h 2765205"/>
                <a:gd name="connsiteX7534" fmla="*/ 8325625 w 8566434"/>
                <a:gd name="connsiteY7534" fmla="*/ 558696 h 2765205"/>
                <a:gd name="connsiteX7535" fmla="*/ 8326453 w 8566434"/>
                <a:gd name="connsiteY7535" fmla="*/ 527198 h 2765205"/>
                <a:gd name="connsiteX7536" fmla="*/ 8342167 w 8566434"/>
                <a:gd name="connsiteY7536" fmla="*/ 535193 h 2765205"/>
                <a:gd name="connsiteX7537" fmla="*/ 8353609 w 8566434"/>
                <a:gd name="connsiteY7537" fmla="*/ 515274 h 2765205"/>
                <a:gd name="connsiteX7538" fmla="*/ 8344235 w 8566434"/>
                <a:gd name="connsiteY7538" fmla="*/ 547944 h 2765205"/>
                <a:gd name="connsiteX7539" fmla="*/ 8337825 w 8566434"/>
                <a:gd name="connsiteY7539" fmla="*/ 545669 h 2765205"/>
                <a:gd name="connsiteX7540" fmla="*/ 8324936 w 8566434"/>
                <a:gd name="connsiteY7540" fmla="*/ 574204 h 2765205"/>
                <a:gd name="connsiteX7541" fmla="*/ 8312392 w 8566434"/>
                <a:gd name="connsiteY7541" fmla="*/ 560212 h 2765205"/>
                <a:gd name="connsiteX7542" fmla="*/ 8093281 w 8566434"/>
                <a:gd name="connsiteY7542" fmla="*/ 566071 h 2765205"/>
                <a:gd name="connsiteX7543" fmla="*/ 8109754 w 8566434"/>
                <a:gd name="connsiteY7543" fmla="*/ 550839 h 2765205"/>
                <a:gd name="connsiteX7544" fmla="*/ 8093281 w 8566434"/>
                <a:gd name="connsiteY7544" fmla="*/ 566071 h 2765205"/>
                <a:gd name="connsiteX7545" fmla="*/ 8472504 w 8566434"/>
                <a:gd name="connsiteY7545" fmla="*/ 574756 h 2765205"/>
                <a:gd name="connsiteX7546" fmla="*/ 8472504 w 8566434"/>
                <a:gd name="connsiteY7546" fmla="*/ 574756 h 2765205"/>
                <a:gd name="connsiteX7547" fmla="*/ 8236437 w 8566434"/>
                <a:gd name="connsiteY7547" fmla="*/ 580269 h 2765205"/>
                <a:gd name="connsiteX7548" fmla="*/ 8238850 w 8566434"/>
                <a:gd name="connsiteY7548" fmla="*/ 543050 h 2765205"/>
                <a:gd name="connsiteX7549" fmla="*/ 8249326 w 8566434"/>
                <a:gd name="connsiteY7549" fmla="*/ 536296 h 2765205"/>
                <a:gd name="connsiteX7550" fmla="*/ 8236437 w 8566434"/>
                <a:gd name="connsiteY7550" fmla="*/ 580269 h 2765205"/>
                <a:gd name="connsiteX7551" fmla="*/ 8189362 w 8566434"/>
                <a:gd name="connsiteY7551" fmla="*/ 574824 h 2765205"/>
                <a:gd name="connsiteX7552" fmla="*/ 8189362 w 8566434"/>
                <a:gd name="connsiteY7552" fmla="*/ 574824 h 2765205"/>
                <a:gd name="connsiteX7553" fmla="*/ 8073086 w 8566434"/>
                <a:gd name="connsiteY7553" fmla="*/ 574824 h 2765205"/>
                <a:gd name="connsiteX7554" fmla="*/ 8073086 w 8566434"/>
                <a:gd name="connsiteY7554" fmla="*/ 574824 h 2765205"/>
                <a:gd name="connsiteX7555" fmla="*/ 7880855 w 8566434"/>
                <a:gd name="connsiteY7555" fmla="*/ 574893 h 2765205"/>
                <a:gd name="connsiteX7556" fmla="*/ 7891194 w 8566434"/>
                <a:gd name="connsiteY7556" fmla="*/ 556904 h 2765205"/>
                <a:gd name="connsiteX7557" fmla="*/ 7880855 w 8566434"/>
                <a:gd name="connsiteY7557" fmla="*/ 574893 h 2765205"/>
                <a:gd name="connsiteX7558" fmla="*/ 8189844 w 8566434"/>
                <a:gd name="connsiteY7558" fmla="*/ 541120 h 2765205"/>
                <a:gd name="connsiteX7559" fmla="*/ 8181987 w 8566434"/>
                <a:gd name="connsiteY7559" fmla="*/ 561591 h 2765205"/>
                <a:gd name="connsiteX7560" fmla="*/ 8155519 w 8566434"/>
                <a:gd name="connsiteY7560" fmla="*/ 571516 h 2765205"/>
                <a:gd name="connsiteX7561" fmla="*/ 8144216 w 8566434"/>
                <a:gd name="connsiteY7561" fmla="*/ 560833 h 2765205"/>
                <a:gd name="connsiteX7562" fmla="*/ 8159724 w 8566434"/>
                <a:gd name="connsiteY7562" fmla="*/ 554423 h 2765205"/>
                <a:gd name="connsiteX7563" fmla="*/ 8148972 w 8566434"/>
                <a:gd name="connsiteY7563" fmla="*/ 538156 h 2765205"/>
                <a:gd name="connsiteX7564" fmla="*/ 8171993 w 8566434"/>
                <a:gd name="connsiteY7564" fmla="*/ 547048 h 2765205"/>
                <a:gd name="connsiteX7565" fmla="*/ 8193428 w 8566434"/>
                <a:gd name="connsiteY7565" fmla="*/ 529403 h 2765205"/>
                <a:gd name="connsiteX7566" fmla="*/ 8211555 w 8566434"/>
                <a:gd name="connsiteY7566" fmla="*/ 571723 h 2765205"/>
                <a:gd name="connsiteX7567" fmla="*/ 8205834 w 8566434"/>
                <a:gd name="connsiteY7567" fmla="*/ 590264 h 2765205"/>
                <a:gd name="connsiteX7568" fmla="*/ 8189844 w 8566434"/>
                <a:gd name="connsiteY7568" fmla="*/ 541120 h 2765205"/>
                <a:gd name="connsiteX7569" fmla="*/ 8394550 w 8566434"/>
                <a:gd name="connsiteY7569" fmla="*/ 596122 h 2765205"/>
                <a:gd name="connsiteX7570" fmla="*/ 8406543 w 8566434"/>
                <a:gd name="connsiteY7570" fmla="*/ 584818 h 2765205"/>
                <a:gd name="connsiteX7571" fmla="*/ 8394550 w 8566434"/>
                <a:gd name="connsiteY7571" fmla="*/ 596122 h 2765205"/>
                <a:gd name="connsiteX7572" fmla="*/ 8287028 w 8566434"/>
                <a:gd name="connsiteY7572" fmla="*/ 594675 h 2765205"/>
                <a:gd name="connsiteX7573" fmla="*/ 8292197 w 8566434"/>
                <a:gd name="connsiteY7573" fmla="*/ 569379 h 2765205"/>
                <a:gd name="connsiteX7574" fmla="*/ 8287028 w 8566434"/>
                <a:gd name="connsiteY7574" fmla="*/ 594675 h 2765205"/>
                <a:gd name="connsiteX7575" fmla="*/ 8348578 w 8566434"/>
                <a:gd name="connsiteY7575" fmla="*/ 604117 h 2765205"/>
                <a:gd name="connsiteX7576" fmla="*/ 8347681 w 8566434"/>
                <a:gd name="connsiteY7576" fmla="*/ 589988 h 2765205"/>
                <a:gd name="connsiteX7577" fmla="*/ 8348578 w 8566434"/>
                <a:gd name="connsiteY7577" fmla="*/ 604117 h 2765205"/>
                <a:gd name="connsiteX7578" fmla="*/ 8456169 w 8566434"/>
                <a:gd name="connsiteY7578" fmla="*/ 587162 h 2765205"/>
                <a:gd name="connsiteX7579" fmla="*/ 8461545 w 8566434"/>
                <a:gd name="connsiteY7579" fmla="*/ 608942 h 2765205"/>
                <a:gd name="connsiteX7580" fmla="*/ 8456169 w 8566434"/>
                <a:gd name="connsiteY7580" fmla="*/ 587162 h 2765205"/>
                <a:gd name="connsiteX7581" fmla="*/ 8473813 w 8566434"/>
                <a:gd name="connsiteY7581" fmla="*/ 630033 h 2765205"/>
                <a:gd name="connsiteX7582" fmla="*/ 8473813 w 8566434"/>
                <a:gd name="connsiteY7582" fmla="*/ 630033 h 2765205"/>
                <a:gd name="connsiteX7583" fmla="*/ 8500763 w 8566434"/>
                <a:gd name="connsiteY7583" fmla="*/ 663875 h 2765205"/>
                <a:gd name="connsiteX7584" fmla="*/ 8437283 w 8566434"/>
                <a:gd name="connsiteY7584" fmla="*/ 659257 h 2765205"/>
                <a:gd name="connsiteX7585" fmla="*/ 8429909 w 8566434"/>
                <a:gd name="connsiteY7585" fmla="*/ 645886 h 2765205"/>
                <a:gd name="connsiteX7586" fmla="*/ 8458994 w 8566434"/>
                <a:gd name="connsiteY7586" fmla="*/ 661669 h 2765205"/>
                <a:gd name="connsiteX7587" fmla="*/ 8473676 w 8566434"/>
                <a:gd name="connsiteY7587" fmla="*/ 655122 h 2765205"/>
                <a:gd name="connsiteX7588" fmla="*/ 8503244 w 8566434"/>
                <a:gd name="connsiteY7588" fmla="*/ 653467 h 2765205"/>
                <a:gd name="connsiteX7589" fmla="*/ 8524817 w 8566434"/>
                <a:gd name="connsiteY7589" fmla="*/ 674283 h 2765205"/>
                <a:gd name="connsiteX7590" fmla="*/ 8523991 w 8566434"/>
                <a:gd name="connsiteY7590" fmla="*/ 692617 h 2765205"/>
                <a:gd name="connsiteX7591" fmla="*/ 8510206 w 8566434"/>
                <a:gd name="connsiteY7591" fmla="*/ 689584 h 2765205"/>
                <a:gd name="connsiteX7592" fmla="*/ 8502210 w 8566434"/>
                <a:gd name="connsiteY7592" fmla="*/ 707918 h 2765205"/>
                <a:gd name="connsiteX7593" fmla="*/ 8500763 w 8566434"/>
                <a:gd name="connsiteY7593" fmla="*/ 663875 h 2765205"/>
                <a:gd name="connsiteX7594" fmla="*/ 8474847 w 8566434"/>
                <a:gd name="connsiteY7594" fmla="*/ 755338 h 2765205"/>
                <a:gd name="connsiteX7595" fmla="*/ 8467748 w 8566434"/>
                <a:gd name="connsiteY7595" fmla="*/ 722530 h 2765205"/>
                <a:gd name="connsiteX7596" fmla="*/ 8450448 w 8566434"/>
                <a:gd name="connsiteY7596" fmla="*/ 727217 h 2765205"/>
                <a:gd name="connsiteX7597" fmla="*/ 8449552 w 8566434"/>
                <a:gd name="connsiteY7597" fmla="*/ 706402 h 2765205"/>
                <a:gd name="connsiteX7598" fmla="*/ 8464026 w 8566434"/>
                <a:gd name="connsiteY7598" fmla="*/ 678901 h 2765205"/>
                <a:gd name="connsiteX7599" fmla="*/ 8474158 w 8566434"/>
                <a:gd name="connsiteY7599" fmla="*/ 706264 h 2765205"/>
                <a:gd name="connsiteX7600" fmla="*/ 8480154 w 8566434"/>
                <a:gd name="connsiteY7600" fmla="*/ 743621 h 2765205"/>
                <a:gd name="connsiteX7601" fmla="*/ 8474847 w 8566434"/>
                <a:gd name="connsiteY7601" fmla="*/ 755338 h 2765205"/>
                <a:gd name="connsiteX7602" fmla="*/ 8528401 w 8566434"/>
                <a:gd name="connsiteY7602" fmla="*/ 767951 h 2765205"/>
                <a:gd name="connsiteX7603" fmla="*/ 8528401 w 8566434"/>
                <a:gd name="connsiteY7603" fmla="*/ 767951 h 2765205"/>
                <a:gd name="connsiteX7604" fmla="*/ 8500142 w 8566434"/>
                <a:gd name="connsiteY7604" fmla="*/ 775326 h 2765205"/>
                <a:gd name="connsiteX7605" fmla="*/ 8499591 w 8566434"/>
                <a:gd name="connsiteY7605" fmla="*/ 755338 h 2765205"/>
                <a:gd name="connsiteX7606" fmla="*/ 8500142 w 8566434"/>
                <a:gd name="connsiteY7606" fmla="*/ 775326 h 2765205"/>
                <a:gd name="connsiteX7607" fmla="*/ 8465887 w 8566434"/>
                <a:gd name="connsiteY7607" fmla="*/ 796968 h 2765205"/>
                <a:gd name="connsiteX7608" fmla="*/ 8465887 w 8566434"/>
                <a:gd name="connsiteY7608" fmla="*/ 796968 h 2765205"/>
                <a:gd name="connsiteX7609" fmla="*/ 8444107 w 8566434"/>
                <a:gd name="connsiteY7609" fmla="*/ 808823 h 2765205"/>
                <a:gd name="connsiteX7610" fmla="*/ 8444107 w 8566434"/>
                <a:gd name="connsiteY7610" fmla="*/ 808823 h 2765205"/>
                <a:gd name="connsiteX7611" fmla="*/ 8445141 w 8566434"/>
                <a:gd name="connsiteY7611" fmla="*/ 829708 h 2765205"/>
                <a:gd name="connsiteX7612" fmla="*/ 8445141 w 8566434"/>
                <a:gd name="connsiteY7612" fmla="*/ 829708 h 2765205"/>
                <a:gd name="connsiteX7613" fmla="*/ 8472504 w 8566434"/>
                <a:gd name="connsiteY7613" fmla="*/ 989544 h 2765205"/>
                <a:gd name="connsiteX7614" fmla="*/ 8472504 w 8566434"/>
                <a:gd name="connsiteY7614" fmla="*/ 989544 h 2765205"/>
                <a:gd name="connsiteX7615" fmla="*/ 8486151 w 8566434"/>
                <a:gd name="connsiteY7615" fmla="*/ 1002984 h 2765205"/>
                <a:gd name="connsiteX7616" fmla="*/ 8497041 w 8566434"/>
                <a:gd name="connsiteY7616" fmla="*/ 934059 h 2765205"/>
                <a:gd name="connsiteX7617" fmla="*/ 8509034 w 8566434"/>
                <a:gd name="connsiteY7617" fmla="*/ 923652 h 2765205"/>
                <a:gd name="connsiteX7618" fmla="*/ 8526748 w 8566434"/>
                <a:gd name="connsiteY7618" fmla="*/ 921171 h 2765205"/>
                <a:gd name="connsiteX7619" fmla="*/ 8515650 w 8566434"/>
                <a:gd name="connsiteY7619" fmla="*/ 949361 h 2765205"/>
                <a:gd name="connsiteX7620" fmla="*/ 8513652 w 8566434"/>
                <a:gd name="connsiteY7620" fmla="*/ 929648 h 2765205"/>
                <a:gd name="connsiteX7621" fmla="*/ 8497592 w 8566434"/>
                <a:gd name="connsiteY7621" fmla="*/ 959631 h 2765205"/>
                <a:gd name="connsiteX7622" fmla="*/ 8519097 w 8566434"/>
                <a:gd name="connsiteY7622" fmla="*/ 964317 h 2765205"/>
                <a:gd name="connsiteX7623" fmla="*/ 8497730 w 8566434"/>
                <a:gd name="connsiteY7623" fmla="*/ 963077 h 2765205"/>
                <a:gd name="connsiteX7624" fmla="*/ 8506966 w 8566434"/>
                <a:gd name="connsiteY7624" fmla="*/ 981411 h 2765205"/>
                <a:gd name="connsiteX7625" fmla="*/ 8486151 w 8566434"/>
                <a:gd name="connsiteY7625" fmla="*/ 1002984 h 2765205"/>
                <a:gd name="connsiteX7626" fmla="*/ 8459683 w 8566434"/>
                <a:gd name="connsiteY7626" fmla="*/ 1029934 h 2765205"/>
                <a:gd name="connsiteX7627" fmla="*/ 8459683 w 8566434"/>
                <a:gd name="connsiteY7627" fmla="*/ 1029934 h 2765205"/>
                <a:gd name="connsiteX7628" fmla="*/ 8526885 w 8566434"/>
                <a:gd name="connsiteY7628" fmla="*/ 1056883 h 2765205"/>
                <a:gd name="connsiteX7629" fmla="*/ 8526885 w 8566434"/>
                <a:gd name="connsiteY7629" fmla="*/ 1056883 h 2765205"/>
                <a:gd name="connsiteX7630" fmla="*/ 8514479 w 8566434"/>
                <a:gd name="connsiteY7630" fmla="*/ 1056814 h 2765205"/>
                <a:gd name="connsiteX7631" fmla="*/ 8514479 w 8566434"/>
                <a:gd name="connsiteY7631" fmla="*/ 1056814 h 2765205"/>
                <a:gd name="connsiteX7632" fmla="*/ 8451550 w 8566434"/>
                <a:gd name="connsiteY7632" fmla="*/ 1083902 h 2765205"/>
                <a:gd name="connsiteX7633" fmla="*/ 8451550 w 8566434"/>
                <a:gd name="connsiteY7633" fmla="*/ 1083902 h 2765205"/>
                <a:gd name="connsiteX7634" fmla="*/ 8507449 w 8566434"/>
                <a:gd name="connsiteY7634" fmla="*/ 1091828 h 2765205"/>
                <a:gd name="connsiteX7635" fmla="*/ 8511446 w 8566434"/>
                <a:gd name="connsiteY7635" fmla="*/ 1075906 h 2765205"/>
                <a:gd name="connsiteX7636" fmla="*/ 8507449 w 8566434"/>
                <a:gd name="connsiteY7636" fmla="*/ 1091828 h 2765205"/>
                <a:gd name="connsiteX7637" fmla="*/ 8476433 w 8566434"/>
                <a:gd name="connsiteY7637" fmla="*/ 1055918 h 2765205"/>
                <a:gd name="connsiteX7638" fmla="*/ 8458581 w 8566434"/>
                <a:gd name="connsiteY7638" fmla="*/ 1055987 h 2765205"/>
                <a:gd name="connsiteX7639" fmla="*/ 8467886 w 8566434"/>
                <a:gd name="connsiteY7639" fmla="*/ 1046131 h 2765205"/>
                <a:gd name="connsiteX7640" fmla="*/ 8481809 w 8566434"/>
                <a:gd name="connsiteY7640" fmla="*/ 1059571 h 2765205"/>
                <a:gd name="connsiteX7641" fmla="*/ 8482360 w 8566434"/>
                <a:gd name="connsiteY7641" fmla="*/ 1009187 h 2765205"/>
                <a:gd name="connsiteX7642" fmla="*/ 8489597 w 8566434"/>
                <a:gd name="connsiteY7642" fmla="*/ 1074252 h 2765205"/>
                <a:gd name="connsiteX7643" fmla="*/ 8497385 w 8566434"/>
                <a:gd name="connsiteY7643" fmla="*/ 1093482 h 2765205"/>
                <a:gd name="connsiteX7644" fmla="*/ 8476433 w 8566434"/>
                <a:gd name="connsiteY7644" fmla="*/ 1055918 h 2765205"/>
                <a:gd name="connsiteX7645" fmla="*/ 8429701 w 8566434"/>
                <a:gd name="connsiteY7645" fmla="*/ 1139662 h 2765205"/>
                <a:gd name="connsiteX7646" fmla="*/ 8441488 w 8566434"/>
                <a:gd name="connsiteY7646" fmla="*/ 1116848 h 2765205"/>
                <a:gd name="connsiteX7647" fmla="*/ 8429701 w 8566434"/>
                <a:gd name="connsiteY7647" fmla="*/ 1139662 h 2765205"/>
                <a:gd name="connsiteX7648" fmla="*/ 8480981 w 8566434"/>
                <a:gd name="connsiteY7648" fmla="*/ 1194664 h 2765205"/>
                <a:gd name="connsiteX7649" fmla="*/ 8492078 w 8566434"/>
                <a:gd name="connsiteY7649" fmla="*/ 1239534 h 2765205"/>
                <a:gd name="connsiteX7650" fmla="*/ 8480981 w 8566434"/>
                <a:gd name="connsiteY7650" fmla="*/ 1194664 h 2765205"/>
                <a:gd name="connsiteX7651" fmla="*/ 8513307 w 8566434"/>
                <a:gd name="connsiteY7651" fmla="*/ 1251182 h 2765205"/>
                <a:gd name="connsiteX7652" fmla="*/ 8513307 w 8566434"/>
                <a:gd name="connsiteY7652" fmla="*/ 1251182 h 2765205"/>
                <a:gd name="connsiteX7653" fmla="*/ 8432045 w 8566434"/>
                <a:gd name="connsiteY7653" fmla="*/ 1256696 h 2765205"/>
                <a:gd name="connsiteX7654" fmla="*/ 8432045 w 8566434"/>
                <a:gd name="connsiteY7654" fmla="*/ 1256696 h 2765205"/>
                <a:gd name="connsiteX7655" fmla="*/ 8479258 w 8566434"/>
                <a:gd name="connsiteY7655" fmla="*/ 1277235 h 2765205"/>
                <a:gd name="connsiteX7656" fmla="*/ 8483738 w 8566434"/>
                <a:gd name="connsiteY7656" fmla="*/ 1261245 h 2765205"/>
                <a:gd name="connsiteX7657" fmla="*/ 8479258 w 8566434"/>
                <a:gd name="connsiteY7657" fmla="*/ 1277235 h 2765205"/>
                <a:gd name="connsiteX7658" fmla="*/ 8445141 w 8566434"/>
                <a:gd name="connsiteY7658" fmla="*/ 1284817 h 2765205"/>
                <a:gd name="connsiteX7659" fmla="*/ 8445141 w 8566434"/>
                <a:gd name="connsiteY7659" fmla="*/ 1284817 h 2765205"/>
                <a:gd name="connsiteX7660" fmla="*/ 8508069 w 8566434"/>
                <a:gd name="connsiteY7660" fmla="*/ 1290607 h 2765205"/>
                <a:gd name="connsiteX7661" fmla="*/ 8508138 w 8566434"/>
                <a:gd name="connsiteY7661" fmla="*/ 1268688 h 2765205"/>
                <a:gd name="connsiteX7662" fmla="*/ 8508069 w 8566434"/>
                <a:gd name="connsiteY7662" fmla="*/ 1290607 h 2765205"/>
                <a:gd name="connsiteX7663" fmla="*/ 8429288 w 8566434"/>
                <a:gd name="connsiteY7663" fmla="*/ 1337475 h 2765205"/>
                <a:gd name="connsiteX7664" fmla="*/ 8448518 w 8566434"/>
                <a:gd name="connsiteY7664" fmla="*/ 1337820 h 2765205"/>
                <a:gd name="connsiteX7665" fmla="*/ 8449965 w 8566434"/>
                <a:gd name="connsiteY7665" fmla="*/ 1349192 h 2765205"/>
                <a:gd name="connsiteX7666" fmla="*/ 8462923 w 8566434"/>
                <a:gd name="connsiteY7666" fmla="*/ 1343679 h 2765205"/>
                <a:gd name="connsiteX7667" fmla="*/ 8462440 w 8566434"/>
                <a:gd name="connsiteY7667" fmla="*/ 1377521 h 2765205"/>
                <a:gd name="connsiteX7668" fmla="*/ 8453688 w 8566434"/>
                <a:gd name="connsiteY7668" fmla="*/ 1353466 h 2765205"/>
                <a:gd name="connsiteX7669" fmla="*/ 8450861 w 8566434"/>
                <a:gd name="connsiteY7669" fmla="*/ 1370146 h 2765205"/>
                <a:gd name="connsiteX7670" fmla="*/ 8437628 w 8566434"/>
                <a:gd name="connsiteY7670" fmla="*/ 1362702 h 2765205"/>
                <a:gd name="connsiteX7671" fmla="*/ 8433285 w 8566434"/>
                <a:gd name="connsiteY7671" fmla="*/ 1377314 h 2765205"/>
                <a:gd name="connsiteX7672" fmla="*/ 8429288 w 8566434"/>
                <a:gd name="connsiteY7672" fmla="*/ 1337475 h 2765205"/>
                <a:gd name="connsiteX7673" fmla="*/ 8444934 w 8566434"/>
                <a:gd name="connsiteY7673" fmla="*/ 1428663 h 2765205"/>
                <a:gd name="connsiteX7674" fmla="*/ 8449345 w 8566434"/>
                <a:gd name="connsiteY7674" fmla="*/ 1413568 h 2765205"/>
                <a:gd name="connsiteX7675" fmla="*/ 8444934 w 8566434"/>
                <a:gd name="connsiteY7675" fmla="*/ 1428663 h 2765205"/>
                <a:gd name="connsiteX7676" fmla="*/ 8487529 w 8566434"/>
                <a:gd name="connsiteY7676" fmla="*/ 1491591 h 2765205"/>
                <a:gd name="connsiteX7677" fmla="*/ 8487667 w 8566434"/>
                <a:gd name="connsiteY7677" fmla="*/ 1468570 h 2765205"/>
                <a:gd name="connsiteX7678" fmla="*/ 8487529 w 8566434"/>
                <a:gd name="connsiteY7678" fmla="*/ 1491591 h 2765205"/>
                <a:gd name="connsiteX7679" fmla="*/ 8487116 w 8566434"/>
                <a:gd name="connsiteY7679" fmla="*/ 1526260 h 2765205"/>
                <a:gd name="connsiteX7680" fmla="*/ 8487116 w 8566434"/>
                <a:gd name="connsiteY7680" fmla="*/ 1526260 h 2765205"/>
                <a:gd name="connsiteX7681" fmla="*/ 8435491 w 8566434"/>
                <a:gd name="connsiteY7681" fmla="*/ 1535565 h 2765205"/>
                <a:gd name="connsiteX7682" fmla="*/ 8436870 w 8566434"/>
                <a:gd name="connsiteY7682" fmla="*/ 1505583 h 2765205"/>
                <a:gd name="connsiteX7683" fmla="*/ 8424187 w 8566434"/>
                <a:gd name="connsiteY7683" fmla="*/ 1481872 h 2765205"/>
                <a:gd name="connsiteX7684" fmla="*/ 8456926 w 8566434"/>
                <a:gd name="connsiteY7684" fmla="*/ 1484078 h 2765205"/>
                <a:gd name="connsiteX7685" fmla="*/ 8467954 w 8566434"/>
                <a:gd name="connsiteY7685" fmla="*/ 1507995 h 2765205"/>
                <a:gd name="connsiteX7686" fmla="*/ 8435491 w 8566434"/>
                <a:gd name="connsiteY7686" fmla="*/ 1535565 h 2765205"/>
                <a:gd name="connsiteX7687" fmla="*/ 8390414 w 8566434"/>
                <a:gd name="connsiteY7687" fmla="*/ 1556242 h 2765205"/>
                <a:gd name="connsiteX7688" fmla="*/ 8390414 w 8566434"/>
                <a:gd name="connsiteY7688" fmla="*/ 1556242 h 2765205"/>
                <a:gd name="connsiteX7689" fmla="*/ 8416675 w 8566434"/>
                <a:gd name="connsiteY7689" fmla="*/ 1626545 h 2765205"/>
                <a:gd name="connsiteX7690" fmla="*/ 8422740 w 8566434"/>
                <a:gd name="connsiteY7690" fmla="*/ 1597597 h 2765205"/>
                <a:gd name="connsiteX7691" fmla="*/ 8412815 w 8566434"/>
                <a:gd name="connsiteY7691" fmla="*/ 1602146 h 2765205"/>
                <a:gd name="connsiteX7692" fmla="*/ 8410402 w 8566434"/>
                <a:gd name="connsiteY7692" fmla="*/ 1568235 h 2765205"/>
                <a:gd name="connsiteX7693" fmla="*/ 8429977 w 8566434"/>
                <a:gd name="connsiteY7693" fmla="*/ 1595254 h 2765205"/>
                <a:gd name="connsiteX7694" fmla="*/ 8427082 w 8566434"/>
                <a:gd name="connsiteY7694" fmla="*/ 1561343 h 2765205"/>
                <a:gd name="connsiteX7695" fmla="*/ 8440523 w 8566434"/>
                <a:gd name="connsiteY7695" fmla="*/ 1575472 h 2765205"/>
                <a:gd name="connsiteX7696" fmla="*/ 8442039 w 8566434"/>
                <a:gd name="connsiteY7696" fmla="*/ 1565409 h 2765205"/>
                <a:gd name="connsiteX7697" fmla="*/ 8465335 w 8566434"/>
                <a:gd name="connsiteY7697" fmla="*/ 1563066 h 2765205"/>
                <a:gd name="connsiteX7698" fmla="*/ 8470711 w 8566434"/>
                <a:gd name="connsiteY7698" fmla="*/ 1603525 h 2765205"/>
                <a:gd name="connsiteX7699" fmla="*/ 8425428 w 8566434"/>
                <a:gd name="connsiteY7699" fmla="*/ 1596356 h 2765205"/>
                <a:gd name="connsiteX7700" fmla="*/ 8416675 w 8566434"/>
                <a:gd name="connsiteY7700" fmla="*/ 1626545 h 2765205"/>
                <a:gd name="connsiteX7701" fmla="*/ 8417226 w 8566434"/>
                <a:gd name="connsiteY7701" fmla="*/ 1670312 h 2765205"/>
                <a:gd name="connsiteX7702" fmla="*/ 8417226 w 8566434"/>
                <a:gd name="connsiteY7702" fmla="*/ 1670312 h 2765205"/>
                <a:gd name="connsiteX7703" fmla="*/ 8402959 w 8566434"/>
                <a:gd name="connsiteY7703" fmla="*/ 1671071 h 2765205"/>
                <a:gd name="connsiteX7704" fmla="*/ 8402959 w 8566434"/>
                <a:gd name="connsiteY7704" fmla="*/ 1671071 h 2765205"/>
                <a:gd name="connsiteX7705" fmla="*/ 8387795 w 8566434"/>
                <a:gd name="connsiteY7705" fmla="*/ 1711667 h 2765205"/>
                <a:gd name="connsiteX7706" fmla="*/ 8398410 w 8566434"/>
                <a:gd name="connsiteY7706" fmla="*/ 1708910 h 2765205"/>
                <a:gd name="connsiteX7707" fmla="*/ 8403097 w 8566434"/>
                <a:gd name="connsiteY7707" fmla="*/ 1687061 h 2765205"/>
                <a:gd name="connsiteX7708" fmla="*/ 8405302 w 8566434"/>
                <a:gd name="connsiteY7708" fmla="*/ 1709186 h 2765205"/>
                <a:gd name="connsiteX7709" fmla="*/ 8387795 w 8566434"/>
                <a:gd name="connsiteY7709" fmla="*/ 1711667 h 2765205"/>
                <a:gd name="connsiteX7710" fmla="*/ 8445279 w 8566434"/>
                <a:gd name="connsiteY7710" fmla="*/ 1720214 h 2765205"/>
                <a:gd name="connsiteX7711" fmla="*/ 8458926 w 8566434"/>
                <a:gd name="connsiteY7711" fmla="*/ 1643501 h 2765205"/>
                <a:gd name="connsiteX7712" fmla="*/ 8460787 w 8566434"/>
                <a:gd name="connsiteY7712" fmla="*/ 1655907 h 2765205"/>
                <a:gd name="connsiteX7713" fmla="*/ 8466990 w 8566434"/>
                <a:gd name="connsiteY7713" fmla="*/ 1701190 h 2765205"/>
                <a:gd name="connsiteX7714" fmla="*/ 8474572 w 8566434"/>
                <a:gd name="connsiteY7714" fmla="*/ 1672036 h 2765205"/>
                <a:gd name="connsiteX7715" fmla="*/ 8474227 w 8566434"/>
                <a:gd name="connsiteY7715" fmla="*/ 1720076 h 2765205"/>
                <a:gd name="connsiteX7716" fmla="*/ 8448863 w 8566434"/>
                <a:gd name="connsiteY7716" fmla="*/ 1706704 h 2765205"/>
                <a:gd name="connsiteX7717" fmla="*/ 8449483 w 8566434"/>
                <a:gd name="connsiteY7717" fmla="*/ 1719318 h 2765205"/>
                <a:gd name="connsiteX7718" fmla="*/ 8445279 w 8566434"/>
                <a:gd name="connsiteY7718" fmla="*/ 1720214 h 2765205"/>
                <a:gd name="connsiteX7719" fmla="*/ 8417571 w 8566434"/>
                <a:gd name="connsiteY7719" fmla="*/ 1691403 h 2765205"/>
                <a:gd name="connsiteX7720" fmla="*/ 8421155 w 8566434"/>
                <a:gd name="connsiteY7720" fmla="*/ 1687957 h 2765205"/>
                <a:gd name="connsiteX7721" fmla="*/ 8436938 w 8566434"/>
                <a:gd name="connsiteY7721" fmla="*/ 1720834 h 2765205"/>
                <a:gd name="connsiteX7722" fmla="*/ 8417571 w 8566434"/>
                <a:gd name="connsiteY7722" fmla="*/ 1691403 h 2765205"/>
                <a:gd name="connsiteX7723" fmla="*/ 8394964 w 8566434"/>
                <a:gd name="connsiteY7723" fmla="*/ 1827461 h 2765205"/>
                <a:gd name="connsiteX7724" fmla="*/ 8413022 w 8566434"/>
                <a:gd name="connsiteY7724" fmla="*/ 1810919 h 2765205"/>
                <a:gd name="connsiteX7725" fmla="*/ 8419294 w 8566434"/>
                <a:gd name="connsiteY7725" fmla="*/ 1780523 h 2765205"/>
                <a:gd name="connsiteX7726" fmla="*/ 8421706 w 8566434"/>
                <a:gd name="connsiteY7726" fmla="*/ 1823601 h 2765205"/>
                <a:gd name="connsiteX7727" fmla="*/ 8394964 w 8566434"/>
                <a:gd name="connsiteY7727" fmla="*/ 1827461 h 2765205"/>
                <a:gd name="connsiteX7728" fmla="*/ 8472917 w 8566434"/>
                <a:gd name="connsiteY7728" fmla="*/ 1870538 h 2765205"/>
                <a:gd name="connsiteX7729" fmla="*/ 8472917 w 8566434"/>
                <a:gd name="connsiteY7729" fmla="*/ 1870538 h 2765205"/>
                <a:gd name="connsiteX7730" fmla="*/ 8431632 w 8566434"/>
                <a:gd name="connsiteY7730" fmla="*/ 1878120 h 2765205"/>
                <a:gd name="connsiteX7731" fmla="*/ 8432803 w 8566434"/>
                <a:gd name="connsiteY7731" fmla="*/ 1857718 h 2765205"/>
                <a:gd name="connsiteX7732" fmla="*/ 8416813 w 8566434"/>
                <a:gd name="connsiteY7732" fmla="*/ 1826564 h 2765205"/>
                <a:gd name="connsiteX7733" fmla="*/ 8434457 w 8566434"/>
                <a:gd name="connsiteY7733" fmla="*/ 1824773 h 2765205"/>
                <a:gd name="connsiteX7734" fmla="*/ 8456375 w 8566434"/>
                <a:gd name="connsiteY7734" fmla="*/ 1871917 h 2765205"/>
                <a:gd name="connsiteX7735" fmla="*/ 8431632 w 8566434"/>
                <a:gd name="connsiteY7735" fmla="*/ 1878120 h 2765205"/>
                <a:gd name="connsiteX7736" fmla="*/ 8409782 w 8566434"/>
                <a:gd name="connsiteY7736" fmla="*/ 1877086 h 2765205"/>
                <a:gd name="connsiteX7737" fmla="*/ 8409782 w 8566434"/>
                <a:gd name="connsiteY7737" fmla="*/ 1877086 h 2765205"/>
                <a:gd name="connsiteX7738" fmla="*/ 8410540 w 8566434"/>
                <a:gd name="connsiteY7738" fmla="*/ 1899900 h 2765205"/>
                <a:gd name="connsiteX7739" fmla="*/ 8422051 w 8566434"/>
                <a:gd name="connsiteY7739" fmla="*/ 1888321 h 2765205"/>
                <a:gd name="connsiteX7740" fmla="*/ 8410540 w 8566434"/>
                <a:gd name="connsiteY7740" fmla="*/ 1899900 h 2765205"/>
                <a:gd name="connsiteX7741" fmla="*/ 8361053 w 8566434"/>
                <a:gd name="connsiteY7741" fmla="*/ 2118667 h 2765205"/>
                <a:gd name="connsiteX7742" fmla="*/ 8361053 w 8566434"/>
                <a:gd name="connsiteY7742" fmla="*/ 2118667 h 2765205"/>
                <a:gd name="connsiteX7743" fmla="*/ 8418329 w 8566434"/>
                <a:gd name="connsiteY7743" fmla="*/ 2125835 h 2765205"/>
                <a:gd name="connsiteX7744" fmla="*/ 8418329 w 8566434"/>
                <a:gd name="connsiteY7744" fmla="*/ 2125835 h 2765205"/>
                <a:gd name="connsiteX7745" fmla="*/ 8403510 w 8566434"/>
                <a:gd name="connsiteY7745" fmla="*/ 2153888 h 2765205"/>
                <a:gd name="connsiteX7746" fmla="*/ 8403510 w 8566434"/>
                <a:gd name="connsiteY7746" fmla="*/ 2153888 h 2765205"/>
                <a:gd name="connsiteX7747" fmla="*/ 8356779 w 8566434"/>
                <a:gd name="connsiteY7747" fmla="*/ 2168637 h 2765205"/>
                <a:gd name="connsiteX7748" fmla="*/ 8356779 w 8566434"/>
                <a:gd name="connsiteY7748" fmla="*/ 2168637 h 2765205"/>
                <a:gd name="connsiteX7749" fmla="*/ 8419087 w 8566434"/>
                <a:gd name="connsiteY7749" fmla="*/ 2191796 h 2765205"/>
                <a:gd name="connsiteX7750" fmla="*/ 8410127 w 8566434"/>
                <a:gd name="connsiteY7750" fmla="*/ 2175116 h 2765205"/>
                <a:gd name="connsiteX7751" fmla="*/ 8429701 w 8566434"/>
                <a:gd name="connsiteY7751" fmla="*/ 2213163 h 2765205"/>
                <a:gd name="connsiteX7752" fmla="*/ 8419087 w 8566434"/>
                <a:gd name="connsiteY7752" fmla="*/ 2191796 h 2765205"/>
                <a:gd name="connsiteX7753" fmla="*/ 8444451 w 8566434"/>
                <a:gd name="connsiteY7753" fmla="*/ 2243007 h 2765205"/>
                <a:gd name="connsiteX7754" fmla="*/ 8435698 w 8566434"/>
                <a:gd name="connsiteY7754" fmla="*/ 2223915 h 2765205"/>
                <a:gd name="connsiteX7755" fmla="*/ 8453067 w 8566434"/>
                <a:gd name="connsiteY7755" fmla="*/ 2223502 h 2765205"/>
                <a:gd name="connsiteX7756" fmla="*/ 8444451 w 8566434"/>
                <a:gd name="connsiteY7756" fmla="*/ 2243007 h 2765205"/>
                <a:gd name="connsiteX7757" fmla="*/ 8389794 w 8566434"/>
                <a:gd name="connsiteY7757" fmla="*/ 2249831 h 2765205"/>
                <a:gd name="connsiteX7758" fmla="*/ 8393723 w 8566434"/>
                <a:gd name="connsiteY7758" fmla="*/ 2233564 h 2765205"/>
                <a:gd name="connsiteX7759" fmla="*/ 8389794 w 8566434"/>
                <a:gd name="connsiteY7759" fmla="*/ 2249831 h 2765205"/>
                <a:gd name="connsiteX7760" fmla="*/ 8431424 w 8566434"/>
                <a:gd name="connsiteY7760" fmla="*/ 2264512 h 2765205"/>
                <a:gd name="connsiteX7761" fmla="*/ 8428805 w 8566434"/>
                <a:gd name="connsiteY7761" fmla="*/ 2246384 h 2765205"/>
                <a:gd name="connsiteX7762" fmla="*/ 8431424 w 8566434"/>
                <a:gd name="connsiteY7762" fmla="*/ 2264512 h 2765205"/>
                <a:gd name="connsiteX7763" fmla="*/ 8432666 w 8566434"/>
                <a:gd name="connsiteY7763" fmla="*/ 2277814 h 2765205"/>
                <a:gd name="connsiteX7764" fmla="*/ 8432666 w 8566434"/>
                <a:gd name="connsiteY7764" fmla="*/ 2277814 h 2765205"/>
                <a:gd name="connsiteX7765" fmla="*/ 8383315 w 8566434"/>
                <a:gd name="connsiteY7765" fmla="*/ 2276711 h 2765205"/>
                <a:gd name="connsiteX7766" fmla="*/ 8383315 w 8566434"/>
                <a:gd name="connsiteY7766" fmla="*/ 2276711 h 2765205"/>
                <a:gd name="connsiteX7767" fmla="*/ 8401718 w 8566434"/>
                <a:gd name="connsiteY7767" fmla="*/ 2300215 h 2765205"/>
                <a:gd name="connsiteX7768" fmla="*/ 8391379 w 8566434"/>
                <a:gd name="connsiteY7768" fmla="*/ 2302351 h 2765205"/>
                <a:gd name="connsiteX7769" fmla="*/ 8380214 w 8566434"/>
                <a:gd name="connsiteY7769" fmla="*/ 2287463 h 2765205"/>
                <a:gd name="connsiteX7770" fmla="*/ 8401098 w 8566434"/>
                <a:gd name="connsiteY7770" fmla="*/ 2292013 h 2765205"/>
                <a:gd name="connsiteX7771" fmla="*/ 8397169 w 8566434"/>
                <a:gd name="connsiteY7771" fmla="*/ 2274368 h 2765205"/>
                <a:gd name="connsiteX7772" fmla="*/ 8411368 w 8566434"/>
                <a:gd name="connsiteY7772" fmla="*/ 2275471 h 2765205"/>
                <a:gd name="connsiteX7773" fmla="*/ 8403924 w 8566434"/>
                <a:gd name="connsiteY7773" fmla="*/ 2259066 h 2765205"/>
                <a:gd name="connsiteX7774" fmla="*/ 8411368 w 8566434"/>
                <a:gd name="connsiteY7774" fmla="*/ 2288704 h 2765205"/>
                <a:gd name="connsiteX7775" fmla="*/ 8417639 w 8566434"/>
                <a:gd name="connsiteY7775" fmla="*/ 2289531 h 2765205"/>
                <a:gd name="connsiteX7776" fmla="*/ 8419570 w 8566434"/>
                <a:gd name="connsiteY7776" fmla="*/ 2315240 h 2765205"/>
                <a:gd name="connsiteX7777" fmla="*/ 8401718 w 8566434"/>
                <a:gd name="connsiteY7777" fmla="*/ 2300215 h 2765205"/>
                <a:gd name="connsiteX7778" fmla="*/ 8377112 w 8566434"/>
                <a:gd name="connsiteY7778" fmla="*/ 2311863 h 2765205"/>
                <a:gd name="connsiteX7779" fmla="*/ 8377112 w 8566434"/>
                <a:gd name="connsiteY7779" fmla="*/ 2311863 h 2765205"/>
                <a:gd name="connsiteX7780" fmla="*/ 8362845 w 8566434"/>
                <a:gd name="connsiteY7780" fmla="*/ 2319238 h 2765205"/>
                <a:gd name="connsiteX7781" fmla="*/ 8362845 w 8566434"/>
                <a:gd name="connsiteY7781" fmla="*/ 2319238 h 2765205"/>
                <a:gd name="connsiteX7782" fmla="*/ 8378905 w 8566434"/>
                <a:gd name="connsiteY7782" fmla="*/ 2337020 h 2765205"/>
                <a:gd name="connsiteX7783" fmla="*/ 8396342 w 8566434"/>
                <a:gd name="connsiteY7783" fmla="*/ 2328543 h 2765205"/>
                <a:gd name="connsiteX7784" fmla="*/ 8385383 w 8566434"/>
                <a:gd name="connsiteY7784" fmla="*/ 2360868 h 2765205"/>
                <a:gd name="connsiteX7785" fmla="*/ 8377595 w 8566434"/>
                <a:gd name="connsiteY7785" fmla="*/ 2383200 h 2765205"/>
                <a:gd name="connsiteX7786" fmla="*/ 8378905 w 8566434"/>
                <a:gd name="connsiteY7786" fmla="*/ 2337020 h 2765205"/>
                <a:gd name="connsiteX7787" fmla="*/ 8354298 w 8566434"/>
                <a:gd name="connsiteY7787" fmla="*/ 2381270 h 2765205"/>
                <a:gd name="connsiteX7788" fmla="*/ 8354298 w 8566434"/>
                <a:gd name="connsiteY7788" fmla="*/ 2381270 h 2765205"/>
                <a:gd name="connsiteX7789" fmla="*/ 8375734 w 8566434"/>
                <a:gd name="connsiteY7789" fmla="*/ 2421246 h 2765205"/>
                <a:gd name="connsiteX7790" fmla="*/ 8375734 w 8566434"/>
                <a:gd name="connsiteY7790" fmla="*/ 2421246 h 2765205"/>
                <a:gd name="connsiteX7791" fmla="*/ 8369392 w 8566434"/>
                <a:gd name="connsiteY7791" fmla="*/ 2442819 h 2765205"/>
                <a:gd name="connsiteX7792" fmla="*/ 8369392 w 8566434"/>
                <a:gd name="connsiteY7792" fmla="*/ 2442819 h 2765205"/>
                <a:gd name="connsiteX7793" fmla="*/ 8382419 w 8566434"/>
                <a:gd name="connsiteY7793" fmla="*/ 2483968 h 2765205"/>
                <a:gd name="connsiteX7794" fmla="*/ 8382419 w 8566434"/>
                <a:gd name="connsiteY7794" fmla="*/ 2483968 h 2765205"/>
                <a:gd name="connsiteX7795" fmla="*/ 8418260 w 8566434"/>
                <a:gd name="connsiteY7795" fmla="*/ 2496443 h 2765205"/>
                <a:gd name="connsiteX7796" fmla="*/ 8421638 w 8566434"/>
                <a:gd name="connsiteY7796" fmla="*/ 2466667 h 2765205"/>
                <a:gd name="connsiteX7797" fmla="*/ 8418260 w 8566434"/>
                <a:gd name="connsiteY7797" fmla="*/ 2496443 h 2765205"/>
                <a:gd name="connsiteX7798" fmla="*/ 6873246 w 8566434"/>
                <a:gd name="connsiteY7798" fmla="*/ 2580186 h 2765205"/>
                <a:gd name="connsiteX7799" fmla="*/ 6873246 w 8566434"/>
                <a:gd name="connsiteY7799" fmla="*/ 2580186 h 2765205"/>
                <a:gd name="connsiteX7800" fmla="*/ 6805148 w 8566434"/>
                <a:gd name="connsiteY7800" fmla="*/ 2581703 h 2765205"/>
                <a:gd name="connsiteX7801" fmla="*/ 6804735 w 8566434"/>
                <a:gd name="connsiteY7801" fmla="*/ 2563300 h 2765205"/>
                <a:gd name="connsiteX7802" fmla="*/ 6805148 w 8566434"/>
                <a:gd name="connsiteY7802" fmla="*/ 2581703 h 2765205"/>
                <a:gd name="connsiteX7803" fmla="*/ 6887789 w 8566434"/>
                <a:gd name="connsiteY7803" fmla="*/ 2594109 h 2765205"/>
                <a:gd name="connsiteX7804" fmla="*/ 6898886 w 8566434"/>
                <a:gd name="connsiteY7804" fmla="*/ 2577912 h 2765205"/>
                <a:gd name="connsiteX7805" fmla="*/ 6887789 w 8566434"/>
                <a:gd name="connsiteY7805" fmla="*/ 2594109 h 2765205"/>
                <a:gd name="connsiteX7806" fmla="*/ 7156388 w 8566434"/>
                <a:gd name="connsiteY7806" fmla="*/ 2608446 h 2765205"/>
                <a:gd name="connsiteX7807" fmla="*/ 7156388 w 8566434"/>
                <a:gd name="connsiteY7807" fmla="*/ 2608446 h 2765205"/>
                <a:gd name="connsiteX7808" fmla="*/ 6842092 w 8566434"/>
                <a:gd name="connsiteY7808" fmla="*/ 2596108 h 2765205"/>
                <a:gd name="connsiteX7809" fmla="*/ 6843953 w 8566434"/>
                <a:gd name="connsiteY7809" fmla="*/ 2582116 h 2765205"/>
                <a:gd name="connsiteX7810" fmla="*/ 6850225 w 8566434"/>
                <a:gd name="connsiteY7810" fmla="*/ 2560612 h 2765205"/>
                <a:gd name="connsiteX7811" fmla="*/ 6846021 w 8566434"/>
                <a:gd name="connsiteY7811" fmla="*/ 2591835 h 2765205"/>
                <a:gd name="connsiteX7812" fmla="*/ 6860151 w 8566434"/>
                <a:gd name="connsiteY7812" fmla="*/ 2611754 h 2765205"/>
                <a:gd name="connsiteX7813" fmla="*/ 6842092 w 8566434"/>
                <a:gd name="connsiteY7813" fmla="*/ 2596108 h 2765205"/>
                <a:gd name="connsiteX7814" fmla="*/ 6799634 w 8566434"/>
                <a:gd name="connsiteY7814" fmla="*/ 2596935 h 2765205"/>
                <a:gd name="connsiteX7815" fmla="*/ 6816107 w 8566434"/>
                <a:gd name="connsiteY7815" fmla="*/ 2607825 h 2765205"/>
                <a:gd name="connsiteX7816" fmla="*/ 6799634 w 8566434"/>
                <a:gd name="connsiteY7816" fmla="*/ 2596935 h 2765205"/>
                <a:gd name="connsiteX7817" fmla="*/ 7460001 w 8566434"/>
                <a:gd name="connsiteY7817" fmla="*/ 2621610 h 2765205"/>
                <a:gd name="connsiteX7818" fmla="*/ 7463654 w 8566434"/>
                <a:gd name="connsiteY7818" fmla="*/ 2606102 h 2765205"/>
                <a:gd name="connsiteX7819" fmla="*/ 7460001 w 8566434"/>
                <a:gd name="connsiteY7819" fmla="*/ 2621610 h 2765205"/>
                <a:gd name="connsiteX7820" fmla="*/ 7446561 w 8566434"/>
                <a:gd name="connsiteY7820" fmla="*/ 2621610 h 2765205"/>
                <a:gd name="connsiteX7821" fmla="*/ 7445389 w 8566434"/>
                <a:gd name="connsiteY7821" fmla="*/ 2603483 h 2765205"/>
                <a:gd name="connsiteX7822" fmla="*/ 7446561 w 8566434"/>
                <a:gd name="connsiteY7822" fmla="*/ 2621610 h 2765205"/>
                <a:gd name="connsiteX7823" fmla="*/ 7100353 w 8566434"/>
                <a:gd name="connsiteY7823" fmla="*/ 2621610 h 2765205"/>
                <a:gd name="connsiteX7824" fmla="*/ 7100353 w 8566434"/>
                <a:gd name="connsiteY7824" fmla="*/ 2621610 h 2765205"/>
                <a:gd name="connsiteX7825" fmla="*/ 7668774 w 8566434"/>
                <a:gd name="connsiteY7825" fmla="*/ 2627675 h 2765205"/>
                <a:gd name="connsiteX7826" fmla="*/ 7652646 w 8566434"/>
                <a:gd name="connsiteY7826" fmla="*/ 2611960 h 2765205"/>
                <a:gd name="connsiteX7827" fmla="*/ 7668774 w 8566434"/>
                <a:gd name="connsiteY7827" fmla="*/ 2627675 h 2765205"/>
                <a:gd name="connsiteX7828" fmla="*/ 7839776 w 8566434"/>
                <a:gd name="connsiteY7828" fmla="*/ 2637394 h 2765205"/>
                <a:gd name="connsiteX7829" fmla="*/ 7854733 w 8566434"/>
                <a:gd name="connsiteY7829" fmla="*/ 2632500 h 2765205"/>
                <a:gd name="connsiteX7830" fmla="*/ 7839776 w 8566434"/>
                <a:gd name="connsiteY7830" fmla="*/ 2637394 h 2765205"/>
                <a:gd name="connsiteX7831" fmla="*/ 7604054 w 8566434"/>
                <a:gd name="connsiteY7831" fmla="*/ 2636291 h 2765205"/>
                <a:gd name="connsiteX7832" fmla="*/ 7615495 w 8566434"/>
                <a:gd name="connsiteY7832" fmla="*/ 2625194 h 2765205"/>
                <a:gd name="connsiteX7833" fmla="*/ 7604054 w 8566434"/>
                <a:gd name="connsiteY7833" fmla="*/ 2636291 h 2765205"/>
                <a:gd name="connsiteX7834" fmla="*/ 7584066 w 8566434"/>
                <a:gd name="connsiteY7834" fmla="*/ 2635533 h 2765205"/>
                <a:gd name="connsiteX7835" fmla="*/ 7584066 w 8566434"/>
                <a:gd name="connsiteY7835" fmla="*/ 2635533 h 2765205"/>
                <a:gd name="connsiteX7836" fmla="*/ 7078504 w 8566434"/>
                <a:gd name="connsiteY7836" fmla="*/ 2637532 h 2765205"/>
                <a:gd name="connsiteX7837" fmla="*/ 7051692 w 8566434"/>
                <a:gd name="connsiteY7837" fmla="*/ 2617543 h 2765205"/>
                <a:gd name="connsiteX7838" fmla="*/ 7047694 w 8566434"/>
                <a:gd name="connsiteY7838" fmla="*/ 2629812 h 2765205"/>
                <a:gd name="connsiteX7839" fmla="*/ 7049349 w 8566434"/>
                <a:gd name="connsiteY7839" fmla="*/ 2615200 h 2765205"/>
                <a:gd name="connsiteX7840" fmla="*/ 7038458 w 8566434"/>
                <a:gd name="connsiteY7840" fmla="*/ 2613270 h 2765205"/>
                <a:gd name="connsiteX7841" fmla="*/ 7052381 w 8566434"/>
                <a:gd name="connsiteY7841" fmla="*/ 2614649 h 2765205"/>
                <a:gd name="connsiteX7842" fmla="*/ 7057068 w 8566434"/>
                <a:gd name="connsiteY7842" fmla="*/ 2601760 h 2765205"/>
                <a:gd name="connsiteX7843" fmla="*/ 7064029 w 8566434"/>
                <a:gd name="connsiteY7843" fmla="*/ 2623195 h 2765205"/>
                <a:gd name="connsiteX7844" fmla="*/ 7078504 w 8566434"/>
                <a:gd name="connsiteY7844" fmla="*/ 2637532 h 2765205"/>
                <a:gd name="connsiteX7845" fmla="*/ 7755205 w 8566434"/>
                <a:gd name="connsiteY7845" fmla="*/ 2642287 h 2765205"/>
                <a:gd name="connsiteX7846" fmla="*/ 7765131 w 8566434"/>
                <a:gd name="connsiteY7846" fmla="*/ 2631604 h 2765205"/>
                <a:gd name="connsiteX7847" fmla="*/ 7755205 w 8566434"/>
                <a:gd name="connsiteY7847" fmla="*/ 2642287 h 2765205"/>
                <a:gd name="connsiteX7848" fmla="*/ 7020676 w 8566434"/>
                <a:gd name="connsiteY7848" fmla="*/ 2644148 h 2765205"/>
                <a:gd name="connsiteX7849" fmla="*/ 7029774 w 8566434"/>
                <a:gd name="connsiteY7849" fmla="*/ 2626917 h 2765205"/>
                <a:gd name="connsiteX7850" fmla="*/ 7020676 w 8566434"/>
                <a:gd name="connsiteY7850" fmla="*/ 2644148 h 2765205"/>
                <a:gd name="connsiteX7851" fmla="*/ 7659813 w 8566434"/>
                <a:gd name="connsiteY7851" fmla="*/ 2649800 h 2765205"/>
                <a:gd name="connsiteX7852" fmla="*/ 7659813 w 8566434"/>
                <a:gd name="connsiteY7852" fmla="*/ 2649800 h 2765205"/>
                <a:gd name="connsiteX7853" fmla="*/ 7368676 w 8566434"/>
                <a:gd name="connsiteY7853" fmla="*/ 2643942 h 2765205"/>
                <a:gd name="connsiteX7854" fmla="*/ 7384184 w 8566434"/>
                <a:gd name="connsiteY7854" fmla="*/ 2642977 h 2765205"/>
                <a:gd name="connsiteX7855" fmla="*/ 7386045 w 8566434"/>
                <a:gd name="connsiteY7855" fmla="*/ 2633672 h 2765205"/>
                <a:gd name="connsiteX7856" fmla="*/ 7394178 w 8566434"/>
                <a:gd name="connsiteY7856" fmla="*/ 2635602 h 2765205"/>
                <a:gd name="connsiteX7857" fmla="*/ 7368676 w 8566434"/>
                <a:gd name="connsiteY7857" fmla="*/ 2643942 h 2765205"/>
                <a:gd name="connsiteX7858" fmla="*/ 7246059 w 8566434"/>
                <a:gd name="connsiteY7858" fmla="*/ 2647939 h 2765205"/>
                <a:gd name="connsiteX7859" fmla="*/ 7255433 w 8566434"/>
                <a:gd name="connsiteY7859" fmla="*/ 2619749 h 2765205"/>
                <a:gd name="connsiteX7860" fmla="*/ 7246059 w 8566434"/>
                <a:gd name="connsiteY7860" fmla="*/ 2647939 h 2765205"/>
                <a:gd name="connsiteX7861" fmla="*/ 7569730 w 8566434"/>
                <a:gd name="connsiteY7861" fmla="*/ 2655935 h 2765205"/>
                <a:gd name="connsiteX7862" fmla="*/ 7574899 w 8566434"/>
                <a:gd name="connsiteY7862" fmla="*/ 2640564 h 2765205"/>
                <a:gd name="connsiteX7863" fmla="*/ 7569730 w 8566434"/>
                <a:gd name="connsiteY7863" fmla="*/ 2655935 h 2765205"/>
                <a:gd name="connsiteX7864" fmla="*/ 7528719 w 8566434"/>
                <a:gd name="connsiteY7864" fmla="*/ 2652695 h 2765205"/>
                <a:gd name="connsiteX7865" fmla="*/ 7529891 w 8566434"/>
                <a:gd name="connsiteY7865" fmla="*/ 2650903 h 2765205"/>
                <a:gd name="connsiteX7866" fmla="*/ 7550844 w 8566434"/>
                <a:gd name="connsiteY7866" fmla="*/ 2632225 h 2765205"/>
                <a:gd name="connsiteX7867" fmla="*/ 7560838 w 8566434"/>
                <a:gd name="connsiteY7867" fmla="*/ 2655797 h 2765205"/>
                <a:gd name="connsiteX7868" fmla="*/ 7528719 w 8566434"/>
                <a:gd name="connsiteY7868" fmla="*/ 2652695 h 2765205"/>
                <a:gd name="connsiteX7869" fmla="*/ 7463378 w 8566434"/>
                <a:gd name="connsiteY7869" fmla="*/ 2656968 h 2765205"/>
                <a:gd name="connsiteX7870" fmla="*/ 7457727 w 8566434"/>
                <a:gd name="connsiteY7870" fmla="*/ 2631122 h 2765205"/>
                <a:gd name="connsiteX7871" fmla="*/ 7477784 w 8566434"/>
                <a:gd name="connsiteY7871" fmla="*/ 2643528 h 2765205"/>
                <a:gd name="connsiteX7872" fmla="*/ 7463378 w 8566434"/>
                <a:gd name="connsiteY7872" fmla="*/ 2656968 h 2765205"/>
                <a:gd name="connsiteX7873" fmla="*/ 7434706 w 8566434"/>
                <a:gd name="connsiteY7873" fmla="*/ 2644079 h 2765205"/>
                <a:gd name="connsiteX7874" fmla="*/ 7443873 w 8566434"/>
                <a:gd name="connsiteY7874" fmla="*/ 2660346 h 2765205"/>
                <a:gd name="connsiteX7875" fmla="*/ 7434706 w 8566434"/>
                <a:gd name="connsiteY7875" fmla="*/ 2644079 h 2765205"/>
                <a:gd name="connsiteX7876" fmla="*/ 7211184 w 8566434"/>
                <a:gd name="connsiteY7876" fmla="*/ 2655452 h 2765205"/>
                <a:gd name="connsiteX7877" fmla="*/ 7207531 w 8566434"/>
                <a:gd name="connsiteY7877" fmla="*/ 2632156 h 2765205"/>
                <a:gd name="connsiteX7878" fmla="*/ 7211184 w 8566434"/>
                <a:gd name="connsiteY7878" fmla="*/ 2655452 h 2765205"/>
                <a:gd name="connsiteX7879" fmla="*/ 6811145 w 8566434"/>
                <a:gd name="connsiteY7879" fmla="*/ 2656486 h 2765205"/>
                <a:gd name="connsiteX7880" fmla="*/ 6811145 w 8566434"/>
                <a:gd name="connsiteY7880" fmla="*/ 2656486 h 2765205"/>
                <a:gd name="connsiteX7881" fmla="*/ 7617288 w 8566434"/>
                <a:gd name="connsiteY7881" fmla="*/ 2663861 h 2765205"/>
                <a:gd name="connsiteX7882" fmla="*/ 7617288 w 8566434"/>
                <a:gd name="connsiteY7882" fmla="*/ 2663861 h 2765205"/>
                <a:gd name="connsiteX7883" fmla="*/ 7086843 w 8566434"/>
                <a:gd name="connsiteY7883" fmla="*/ 2661931 h 2765205"/>
                <a:gd name="connsiteX7884" fmla="*/ 7091668 w 8566434"/>
                <a:gd name="connsiteY7884" fmla="*/ 2646423 h 2765205"/>
                <a:gd name="connsiteX7885" fmla="*/ 7086843 w 8566434"/>
                <a:gd name="connsiteY7885" fmla="*/ 2661931 h 2765205"/>
                <a:gd name="connsiteX7886" fmla="*/ 7487916 w 8566434"/>
                <a:gd name="connsiteY7886" fmla="*/ 2668823 h 2765205"/>
                <a:gd name="connsiteX7887" fmla="*/ 7487916 w 8566434"/>
                <a:gd name="connsiteY7887" fmla="*/ 2668823 h 2765205"/>
                <a:gd name="connsiteX7888" fmla="*/ 7404517 w 8566434"/>
                <a:gd name="connsiteY7888" fmla="*/ 2670202 h 2765205"/>
                <a:gd name="connsiteX7889" fmla="*/ 7408721 w 8566434"/>
                <a:gd name="connsiteY7889" fmla="*/ 2654418 h 2765205"/>
                <a:gd name="connsiteX7890" fmla="*/ 7404517 w 8566434"/>
                <a:gd name="connsiteY7890" fmla="*/ 2670202 h 2765205"/>
                <a:gd name="connsiteX7891" fmla="*/ 8088869 w 8566434"/>
                <a:gd name="connsiteY7891" fmla="*/ 2678680 h 2765205"/>
                <a:gd name="connsiteX7892" fmla="*/ 8098588 w 8566434"/>
                <a:gd name="connsiteY7892" fmla="*/ 2660966 h 2765205"/>
                <a:gd name="connsiteX7893" fmla="*/ 8088869 w 8566434"/>
                <a:gd name="connsiteY7893" fmla="*/ 2678680 h 2765205"/>
                <a:gd name="connsiteX7894" fmla="*/ 7362611 w 8566434"/>
                <a:gd name="connsiteY7894" fmla="*/ 2676129 h 2765205"/>
                <a:gd name="connsiteX7895" fmla="*/ 7372812 w 8566434"/>
                <a:gd name="connsiteY7895" fmla="*/ 2665860 h 2765205"/>
                <a:gd name="connsiteX7896" fmla="*/ 7362611 w 8566434"/>
                <a:gd name="connsiteY7896" fmla="*/ 2676129 h 2765205"/>
                <a:gd name="connsiteX7897" fmla="*/ 7019711 w 8566434"/>
                <a:gd name="connsiteY7897" fmla="*/ 2677783 h 2765205"/>
                <a:gd name="connsiteX7898" fmla="*/ 7030876 w 8566434"/>
                <a:gd name="connsiteY7898" fmla="*/ 2666893 h 2765205"/>
                <a:gd name="connsiteX7899" fmla="*/ 7019711 w 8566434"/>
                <a:gd name="connsiteY7899" fmla="*/ 2677783 h 2765205"/>
                <a:gd name="connsiteX7900" fmla="*/ 7753206 w 8566434"/>
                <a:gd name="connsiteY7900" fmla="*/ 2690948 h 2765205"/>
                <a:gd name="connsiteX7901" fmla="*/ 7728049 w 8566434"/>
                <a:gd name="connsiteY7901" fmla="*/ 2661449 h 2765205"/>
                <a:gd name="connsiteX7902" fmla="*/ 7753138 w 8566434"/>
                <a:gd name="connsiteY7902" fmla="*/ 2671167 h 2765205"/>
                <a:gd name="connsiteX7903" fmla="*/ 7753482 w 8566434"/>
                <a:gd name="connsiteY7903" fmla="*/ 2661242 h 2765205"/>
                <a:gd name="connsiteX7904" fmla="*/ 7753206 w 8566434"/>
                <a:gd name="connsiteY7904" fmla="*/ 2690948 h 2765205"/>
                <a:gd name="connsiteX7905" fmla="*/ 7674081 w 8566434"/>
                <a:gd name="connsiteY7905" fmla="*/ 2690328 h 2765205"/>
                <a:gd name="connsiteX7906" fmla="*/ 7668981 w 8566434"/>
                <a:gd name="connsiteY7906" fmla="*/ 2659450 h 2765205"/>
                <a:gd name="connsiteX7907" fmla="*/ 7674081 w 8566434"/>
                <a:gd name="connsiteY7907" fmla="*/ 2690328 h 2765205"/>
                <a:gd name="connsiteX7908" fmla="*/ 7951709 w 8566434"/>
                <a:gd name="connsiteY7908" fmla="*/ 2698599 h 2765205"/>
                <a:gd name="connsiteX7909" fmla="*/ 7949297 w 8566434"/>
                <a:gd name="connsiteY7909" fmla="*/ 2665653 h 2765205"/>
                <a:gd name="connsiteX7910" fmla="*/ 7979279 w 8566434"/>
                <a:gd name="connsiteY7910" fmla="*/ 2677094 h 2765205"/>
                <a:gd name="connsiteX7911" fmla="*/ 7969285 w 8566434"/>
                <a:gd name="connsiteY7911" fmla="*/ 2673924 h 2765205"/>
                <a:gd name="connsiteX7912" fmla="*/ 7951709 w 8566434"/>
                <a:gd name="connsiteY7912" fmla="*/ 2698599 h 2765205"/>
                <a:gd name="connsiteX7913" fmla="*/ 7616667 w 8566434"/>
                <a:gd name="connsiteY7913" fmla="*/ 2696876 h 2765205"/>
                <a:gd name="connsiteX7914" fmla="*/ 7616667 w 8566434"/>
                <a:gd name="connsiteY7914" fmla="*/ 2696876 h 2765205"/>
                <a:gd name="connsiteX7915" fmla="*/ 7545675 w 8566434"/>
                <a:gd name="connsiteY7915" fmla="*/ 2697979 h 2765205"/>
                <a:gd name="connsiteX7916" fmla="*/ 7572555 w 8566434"/>
                <a:gd name="connsiteY7916" fmla="*/ 2668272 h 2765205"/>
                <a:gd name="connsiteX7917" fmla="*/ 7598540 w 8566434"/>
                <a:gd name="connsiteY7917" fmla="*/ 2663103 h 2765205"/>
                <a:gd name="connsiteX7918" fmla="*/ 7615357 w 8566434"/>
                <a:gd name="connsiteY7918" fmla="*/ 2676129 h 2765205"/>
                <a:gd name="connsiteX7919" fmla="*/ 7583514 w 8566434"/>
                <a:gd name="connsiteY7919" fmla="*/ 2679989 h 2765205"/>
                <a:gd name="connsiteX7920" fmla="*/ 7579310 w 8566434"/>
                <a:gd name="connsiteY7920" fmla="*/ 2688949 h 2765205"/>
                <a:gd name="connsiteX7921" fmla="*/ 7545675 w 8566434"/>
                <a:gd name="connsiteY7921" fmla="*/ 2697979 h 2765205"/>
                <a:gd name="connsiteX7922" fmla="*/ 7488743 w 8566434"/>
                <a:gd name="connsiteY7922" fmla="*/ 2699564 h 2765205"/>
                <a:gd name="connsiteX7923" fmla="*/ 7498530 w 8566434"/>
                <a:gd name="connsiteY7923" fmla="*/ 2688949 h 2765205"/>
                <a:gd name="connsiteX7924" fmla="*/ 7488743 w 8566434"/>
                <a:gd name="connsiteY7924" fmla="*/ 2699564 h 2765205"/>
                <a:gd name="connsiteX7925" fmla="*/ 7368676 w 8566434"/>
                <a:gd name="connsiteY7925" fmla="*/ 2695497 h 2765205"/>
                <a:gd name="connsiteX7926" fmla="*/ 7386527 w 8566434"/>
                <a:gd name="connsiteY7926" fmla="*/ 2687088 h 2765205"/>
                <a:gd name="connsiteX7927" fmla="*/ 7368676 w 8566434"/>
                <a:gd name="connsiteY7927" fmla="*/ 2695497 h 2765205"/>
                <a:gd name="connsiteX7928" fmla="*/ 7590338 w 8566434"/>
                <a:gd name="connsiteY7928" fmla="*/ 2705078 h 2765205"/>
                <a:gd name="connsiteX7929" fmla="*/ 7590338 w 8566434"/>
                <a:gd name="connsiteY7929" fmla="*/ 2705078 h 2765205"/>
                <a:gd name="connsiteX7930" fmla="*/ 8251256 w 8566434"/>
                <a:gd name="connsiteY7930" fmla="*/ 2710867 h 2765205"/>
                <a:gd name="connsiteX7931" fmla="*/ 8251256 w 8566434"/>
                <a:gd name="connsiteY7931" fmla="*/ 2710867 h 2765205"/>
                <a:gd name="connsiteX7932" fmla="*/ 7652990 w 8566434"/>
                <a:gd name="connsiteY7932" fmla="*/ 2711350 h 2765205"/>
                <a:gd name="connsiteX7933" fmla="*/ 7652990 w 8566434"/>
                <a:gd name="connsiteY7933" fmla="*/ 2711350 h 2765205"/>
                <a:gd name="connsiteX7934" fmla="*/ 8116164 w 8566434"/>
                <a:gd name="connsiteY7934" fmla="*/ 2718863 h 2765205"/>
                <a:gd name="connsiteX7935" fmla="*/ 8121953 w 8566434"/>
                <a:gd name="connsiteY7935" fmla="*/ 2693429 h 2765205"/>
                <a:gd name="connsiteX7936" fmla="*/ 8122712 w 8566434"/>
                <a:gd name="connsiteY7936" fmla="*/ 2718380 h 2765205"/>
                <a:gd name="connsiteX7937" fmla="*/ 8116164 w 8566434"/>
                <a:gd name="connsiteY7937" fmla="*/ 2718863 h 2765205"/>
                <a:gd name="connsiteX7938" fmla="*/ 8087215 w 8566434"/>
                <a:gd name="connsiteY7938" fmla="*/ 2717208 h 2765205"/>
                <a:gd name="connsiteX7939" fmla="*/ 8091144 w 8566434"/>
                <a:gd name="connsiteY7939" fmla="*/ 2693981 h 2765205"/>
                <a:gd name="connsiteX7940" fmla="*/ 8087215 w 8566434"/>
                <a:gd name="connsiteY7940" fmla="*/ 2717208 h 2765205"/>
                <a:gd name="connsiteX7941" fmla="*/ 8252565 w 8566434"/>
                <a:gd name="connsiteY7941" fmla="*/ 2731545 h 2765205"/>
                <a:gd name="connsiteX7942" fmla="*/ 8252565 w 8566434"/>
                <a:gd name="connsiteY7942" fmla="*/ 2731545 h 2765205"/>
                <a:gd name="connsiteX7943" fmla="*/ 8150901 w 8566434"/>
                <a:gd name="connsiteY7943" fmla="*/ 2741470 h 2765205"/>
                <a:gd name="connsiteX7944" fmla="*/ 8148076 w 8566434"/>
                <a:gd name="connsiteY7944" fmla="*/ 2726927 h 2765205"/>
                <a:gd name="connsiteX7945" fmla="*/ 8128088 w 8566434"/>
                <a:gd name="connsiteY7945" fmla="*/ 2732303 h 2765205"/>
                <a:gd name="connsiteX7946" fmla="*/ 8143320 w 8566434"/>
                <a:gd name="connsiteY7946" fmla="*/ 2677370 h 2765205"/>
                <a:gd name="connsiteX7947" fmla="*/ 8150901 w 8566434"/>
                <a:gd name="connsiteY7947" fmla="*/ 2741470 h 2765205"/>
                <a:gd name="connsiteX7948" fmla="*/ 8189913 w 8566434"/>
                <a:gd name="connsiteY7948" fmla="*/ 2747329 h 2765205"/>
                <a:gd name="connsiteX7949" fmla="*/ 8189913 w 8566434"/>
                <a:gd name="connsiteY7949" fmla="*/ 2747329 h 2765205"/>
                <a:gd name="connsiteX7950" fmla="*/ 8175232 w 8566434"/>
                <a:gd name="connsiteY7950" fmla="*/ 2760700 h 2765205"/>
                <a:gd name="connsiteX7951" fmla="*/ 8349060 w 8566434"/>
                <a:gd name="connsiteY7951" fmla="*/ 2715416 h 2765205"/>
                <a:gd name="connsiteX7952" fmla="*/ 8331071 w 8566434"/>
                <a:gd name="connsiteY7952" fmla="*/ 2698254 h 2765205"/>
                <a:gd name="connsiteX7953" fmla="*/ 8359950 w 8566434"/>
                <a:gd name="connsiteY7953" fmla="*/ 2710730 h 2765205"/>
                <a:gd name="connsiteX7954" fmla="*/ 8392275 w 8566434"/>
                <a:gd name="connsiteY7954" fmla="*/ 2679507 h 2765205"/>
                <a:gd name="connsiteX7955" fmla="*/ 8354229 w 8566434"/>
                <a:gd name="connsiteY7955" fmla="*/ 2611340 h 2765205"/>
                <a:gd name="connsiteX7956" fmla="*/ 8383040 w 8566434"/>
                <a:gd name="connsiteY7956" fmla="*/ 2588664 h 2765205"/>
                <a:gd name="connsiteX7957" fmla="*/ 8378491 w 8566434"/>
                <a:gd name="connsiteY7957" fmla="*/ 2628502 h 2765205"/>
                <a:gd name="connsiteX7958" fmla="*/ 8405096 w 8566434"/>
                <a:gd name="connsiteY7958" fmla="*/ 2646561 h 2765205"/>
                <a:gd name="connsiteX7959" fmla="*/ 8409093 w 8566434"/>
                <a:gd name="connsiteY7959" fmla="*/ 2604723 h 2765205"/>
                <a:gd name="connsiteX7960" fmla="*/ 8403579 w 8566434"/>
                <a:gd name="connsiteY7960" fmla="*/ 2583977 h 2765205"/>
                <a:gd name="connsiteX7961" fmla="*/ 8406611 w 8566434"/>
                <a:gd name="connsiteY7961" fmla="*/ 2583219 h 2765205"/>
                <a:gd name="connsiteX7962" fmla="*/ 8421017 w 8566434"/>
                <a:gd name="connsiteY7962" fmla="*/ 2638496 h 2765205"/>
                <a:gd name="connsiteX7963" fmla="*/ 8446864 w 8566434"/>
                <a:gd name="connsiteY7963" fmla="*/ 2560336 h 2765205"/>
                <a:gd name="connsiteX7964" fmla="*/ 8447346 w 8566434"/>
                <a:gd name="connsiteY7964" fmla="*/ 2529320 h 2765205"/>
                <a:gd name="connsiteX7965" fmla="*/ 8469126 w 8566434"/>
                <a:gd name="connsiteY7965" fmla="*/ 2225983 h 2765205"/>
                <a:gd name="connsiteX7966" fmla="*/ 8460235 w 8566434"/>
                <a:gd name="connsiteY7966" fmla="*/ 2228326 h 2765205"/>
                <a:gd name="connsiteX7967" fmla="*/ 8457478 w 8566434"/>
                <a:gd name="connsiteY7967" fmla="*/ 2205237 h 2765205"/>
                <a:gd name="connsiteX7968" fmla="*/ 8444796 w 8566434"/>
                <a:gd name="connsiteY7968" fmla="*/ 2209510 h 2765205"/>
                <a:gd name="connsiteX7969" fmla="*/ 8455893 w 8566434"/>
                <a:gd name="connsiteY7969" fmla="*/ 2188488 h 2765205"/>
                <a:gd name="connsiteX7970" fmla="*/ 8464026 w 8566434"/>
                <a:gd name="connsiteY7970" fmla="*/ 2223777 h 2765205"/>
                <a:gd name="connsiteX7971" fmla="*/ 8468506 w 8566434"/>
                <a:gd name="connsiteY7971" fmla="*/ 2223226 h 2765205"/>
                <a:gd name="connsiteX7972" fmla="*/ 8479396 w 8566434"/>
                <a:gd name="connsiteY7972" fmla="*/ 2044918 h 2765205"/>
                <a:gd name="connsiteX7973" fmla="*/ 8475881 w 8566434"/>
                <a:gd name="connsiteY7973" fmla="*/ 2001564 h 2765205"/>
                <a:gd name="connsiteX7974" fmla="*/ 8463268 w 8566434"/>
                <a:gd name="connsiteY7974" fmla="*/ 1991432 h 2765205"/>
                <a:gd name="connsiteX7975" fmla="*/ 8463199 w 8566434"/>
                <a:gd name="connsiteY7975" fmla="*/ 2017417 h 2765205"/>
                <a:gd name="connsiteX7976" fmla="*/ 8455341 w 8566434"/>
                <a:gd name="connsiteY7976" fmla="*/ 2022862 h 2765205"/>
                <a:gd name="connsiteX7977" fmla="*/ 8448931 w 8566434"/>
                <a:gd name="connsiteY7977" fmla="*/ 1977234 h 2765205"/>
                <a:gd name="connsiteX7978" fmla="*/ 8456720 w 8566434"/>
                <a:gd name="connsiteY7978" fmla="*/ 1985091 h 2765205"/>
                <a:gd name="connsiteX7979" fmla="*/ 8480430 w 8566434"/>
                <a:gd name="connsiteY7979" fmla="*/ 1961450 h 2765205"/>
                <a:gd name="connsiteX7980" fmla="*/ 8459546 w 8566434"/>
                <a:gd name="connsiteY7980" fmla="*/ 1960554 h 2765205"/>
                <a:gd name="connsiteX7981" fmla="*/ 8450793 w 8566434"/>
                <a:gd name="connsiteY7981" fmla="*/ 1968273 h 2765205"/>
                <a:gd name="connsiteX7982" fmla="*/ 8447208 w 8566434"/>
                <a:gd name="connsiteY7982" fmla="*/ 1946562 h 2765205"/>
                <a:gd name="connsiteX7983" fmla="*/ 8403303 w 8566434"/>
                <a:gd name="connsiteY7983" fmla="*/ 1959933 h 2765205"/>
                <a:gd name="connsiteX7984" fmla="*/ 8401098 w 8566434"/>
                <a:gd name="connsiteY7984" fmla="*/ 1953041 h 2765205"/>
                <a:gd name="connsiteX7985" fmla="*/ 8408266 w 8566434"/>
                <a:gd name="connsiteY7985" fmla="*/ 1947734 h 2765205"/>
                <a:gd name="connsiteX7986" fmla="*/ 8455824 w 8566434"/>
                <a:gd name="connsiteY7986" fmla="*/ 1918027 h 2765205"/>
                <a:gd name="connsiteX7987" fmla="*/ 8486702 w 8566434"/>
                <a:gd name="connsiteY7987" fmla="*/ 1924575 h 2765205"/>
                <a:gd name="connsiteX7988" fmla="*/ 8500418 w 8566434"/>
                <a:gd name="connsiteY7988" fmla="*/ 1692506 h 2765205"/>
                <a:gd name="connsiteX7989" fmla="*/ 8496214 w 8566434"/>
                <a:gd name="connsiteY7989" fmla="*/ 1686510 h 2765205"/>
                <a:gd name="connsiteX7990" fmla="*/ 8506690 w 8566434"/>
                <a:gd name="connsiteY7990" fmla="*/ 1597942 h 2765205"/>
                <a:gd name="connsiteX7991" fmla="*/ 8495249 w 8566434"/>
                <a:gd name="connsiteY7991" fmla="*/ 1613863 h 2765205"/>
                <a:gd name="connsiteX7992" fmla="*/ 8500694 w 8566434"/>
                <a:gd name="connsiteY7992" fmla="*/ 1595322 h 2765205"/>
                <a:gd name="connsiteX7993" fmla="*/ 8477673 w 8566434"/>
                <a:gd name="connsiteY7993" fmla="*/ 1612002 h 2765205"/>
                <a:gd name="connsiteX7994" fmla="*/ 8474916 w 8566434"/>
                <a:gd name="connsiteY7994" fmla="*/ 1529499 h 2765205"/>
                <a:gd name="connsiteX7995" fmla="*/ 8480499 w 8566434"/>
                <a:gd name="connsiteY7995" fmla="*/ 1538046 h 2765205"/>
                <a:gd name="connsiteX7996" fmla="*/ 8476225 w 8566434"/>
                <a:gd name="connsiteY7996" fmla="*/ 1573129 h 2765205"/>
                <a:gd name="connsiteX7997" fmla="*/ 8493112 w 8566434"/>
                <a:gd name="connsiteY7997" fmla="*/ 1595805 h 2765205"/>
                <a:gd name="connsiteX7998" fmla="*/ 8509654 w 8566434"/>
                <a:gd name="connsiteY7998" fmla="*/ 1588292 h 2765205"/>
                <a:gd name="connsiteX7999" fmla="*/ 8512066 w 8566434"/>
                <a:gd name="connsiteY7999" fmla="*/ 1525640 h 2765205"/>
                <a:gd name="connsiteX8000" fmla="*/ 8494835 w 8566434"/>
                <a:gd name="connsiteY8000" fmla="*/ 1515990 h 2765205"/>
                <a:gd name="connsiteX8001" fmla="*/ 8515720 w 8566434"/>
                <a:gd name="connsiteY8001" fmla="*/ 1466571 h 2765205"/>
                <a:gd name="connsiteX8002" fmla="*/ 8515030 w 8566434"/>
                <a:gd name="connsiteY8002" fmla="*/ 1420874 h 2765205"/>
                <a:gd name="connsiteX8003" fmla="*/ 8520268 w 8566434"/>
                <a:gd name="connsiteY8003" fmla="*/ 1389582 h 2765205"/>
                <a:gd name="connsiteX8004" fmla="*/ 8523232 w 8566434"/>
                <a:gd name="connsiteY8004" fmla="*/ 1266621 h 2765205"/>
                <a:gd name="connsiteX8005" fmla="*/ 8522819 w 8566434"/>
                <a:gd name="connsiteY8005" fmla="*/ 1220579 h 2765205"/>
                <a:gd name="connsiteX8006" fmla="*/ 8533158 w 8566434"/>
                <a:gd name="connsiteY8006" fmla="*/ 1212170 h 2765205"/>
                <a:gd name="connsiteX8007" fmla="*/ 8504898 w 8566434"/>
                <a:gd name="connsiteY8007" fmla="*/ 1215755 h 2765205"/>
                <a:gd name="connsiteX8008" fmla="*/ 8504347 w 8566434"/>
                <a:gd name="connsiteY8008" fmla="*/ 1191976 h 2765205"/>
                <a:gd name="connsiteX8009" fmla="*/ 8532744 w 8566434"/>
                <a:gd name="connsiteY8009" fmla="*/ 1202659 h 2765205"/>
                <a:gd name="connsiteX8010" fmla="*/ 8534536 w 8566434"/>
                <a:gd name="connsiteY8010" fmla="*/ 1156893 h 2765205"/>
                <a:gd name="connsiteX8011" fmla="*/ 8512549 w 8566434"/>
                <a:gd name="connsiteY8011" fmla="*/ 1147726 h 2765205"/>
                <a:gd name="connsiteX8012" fmla="*/ 8483118 w 8566434"/>
                <a:gd name="connsiteY8012" fmla="*/ 1134217 h 2765205"/>
                <a:gd name="connsiteX8013" fmla="*/ 8536121 w 8566434"/>
                <a:gd name="connsiteY8013" fmla="*/ 1144280 h 2765205"/>
                <a:gd name="connsiteX8014" fmla="*/ 8536810 w 8566434"/>
                <a:gd name="connsiteY8014" fmla="*/ 1097066 h 2765205"/>
                <a:gd name="connsiteX8015" fmla="*/ 8527988 w 8566434"/>
                <a:gd name="connsiteY8015" fmla="*/ 1067153 h 2765205"/>
                <a:gd name="connsiteX8016" fmla="*/ 8540050 w 8566434"/>
                <a:gd name="connsiteY8016" fmla="*/ 1084040 h 2765205"/>
                <a:gd name="connsiteX8017" fmla="*/ 8548941 w 8566434"/>
                <a:gd name="connsiteY8017" fmla="*/ 933577 h 2765205"/>
                <a:gd name="connsiteX8018" fmla="*/ 8534674 w 8566434"/>
                <a:gd name="connsiteY8018" fmla="*/ 904904 h 2765205"/>
                <a:gd name="connsiteX8019" fmla="*/ 8548804 w 8566434"/>
                <a:gd name="connsiteY8019" fmla="*/ 905869 h 2765205"/>
                <a:gd name="connsiteX8020" fmla="*/ 8560727 w 8566434"/>
                <a:gd name="connsiteY8020" fmla="*/ 734867 h 2765205"/>
                <a:gd name="connsiteX8021" fmla="*/ 8546253 w 8566434"/>
                <a:gd name="connsiteY8021" fmla="*/ 670767 h 2765205"/>
                <a:gd name="connsiteX8022" fmla="*/ 8536190 w 8566434"/>
                <a:gd name="connsiteY8022" fmla="*/ 686344 h 2765205"/>
                <a:gd name="connsiteX8023" fmla="*/ 8536121 w 8566434"/>
                <a:gd name="connsiteY8023" fmla="*/ 667666 h 2765205"/>
                <a:gd name="connsiteX8024" fmla="*/ 8547356 w 8566434"/>
                <a:gd name="connsiteY8024" fmla="*/ 660015 h 2765205"/>
                <a:gd name="connsiteX8025" fmla="*/ 8531572 w 8566434"/>
                <a:gd name="connsiteY8025" fmla="*/ 613422 h 2765205"/>
                <a:gd name="connsiteX8026" fmla="*/ 8489528 w 8566434"/>
                <a:gd name="connsiteY8026" fmla="*/ 624933 h 2765205"/>
                <a:gd name="connsiteX8027" fmla="*/ 8470711 w 8566434"/>
                <a:gd name="connsiteY8027" fmla="*/ 600878 h 2765205"/>
                <a:gd name="connsiteX8028" fmla="*/ 8475536 w 8566434"/>
                <a:gd name="connsiteY8028" fmla="*/ 594261 h 2765205"/>
                <a:gd name="connsiteX8029" fmla="*/ 8473813 w 8566434"/>
                <a:gd name="connsiteY8029" fmla="*/ 581165 h 2765205"/>
                <a:gd name="connsiteX8030" fmla="*/ 8496972 w 8566434"/>
                <a:gd name="connsiteY8030" fmla="*/ 602601 h 2765205"/>
                <a:gd name="connsiteX8031" fmla="*/ 8508483 w 8566434"/>
                <a:gd name="connsiteY8031" fmla="*/ 582406 h 2765205"/>
                <a:gd name="connsiteX8032" fmla="*/ 8428943 w 8566434"/>
                <a:gd name="connsiteY8032" fmla="*/ 520098 h 2765205"/>
                <a:gd name="connsiteX8033" fmla="*/ 8429288 w 8566434"/>
                <a:gd name="connsiteY8033" fmla="*/ 521684 h 2765205"/>
                <a:gd name="connsiteX8034" fmla="*/ 8440040 w 8566434"/>
                <a:gd name="connsiteY8034" fmla="*/ 606805 h 2765205"/>
                <a:gd name="connsiteX8035" fmla="*/ 8419983 w 8566434"/>
                <a:gd name="connsiteY8035" fmla="*/ 573653 h 2765205"/>
                <a:gd name="connsiteX8036" fmla="*/ 8402821 w 8566434"/>
                <a:gd name="connsiteY8036" fmla="*/ 571516 h 2765205"/>
                <a:gd name="connsiteX8037" fmla="*/ 8410540 w 8566434"/>
                <a:gd name="connsiteY8037" fmla="*/ 551804 h 2765205"/>
                <a:gd name="connsiteX8038" fmla="*/ 8423016 w 8566434"/>
                <a:gd name="connsiteY8038" fmla="*/ 570482 h 2765205"/>
                <a:gd name="connsiteX8039" fmla="*/ 8421706 w 8566434"/>
                <a:gd name="connsiteY8039" fmla="*/ 547668 h 2765205"/>
                <a:gd name="connsiteX8040" fmla="*/ 8386624 w 8566434"/>
                <a:gd name="connsiteY8040" fmla="*/ 546634 h 2765205"/>
                <a:gd name="connsiteX8041" fmla="*/ 8375940 w 8566434"/>
                <a:gd name="connsiteY8041" fmla="*/ 574204 h 2765205"/>
                <a:gd name="connsiteX8042" fmla="*/ 8371116 w 8566434"/>
                <a:gd name="connsiteY8042" fmla="*/ 549874 h 2765205"/>
                <a:gd name="connsiteX8043" fmla="*/ 8373183 w 8566434"/>
                <a:gd name="connsiteY8043" fmla="*/ 499903 h 2765205"/>
                <a:gd name="connsiteX8044" fmla="*/ 8341478 w 8566434"/>
                <a:gd name="connsiteY8044" fmla="*/ 494458 h 2765205"/>
                <a:gd name="connsiteX8045" fmla="*/ 8344304 w 8566434"/>
                <a:gd name="connsiteY8045" fmla="*/ 508243 h 2765205"/>
                <a:gd name="connsiteX8046" fmla="*/ 8326591 w 8566434"/>
                <a:gd name="connsiteY8046" fmla="*/ 494045 h 2765205"/>
                <a:gd name="connsiteX8047" fmla="*/ 8314805 w 8566434"/>
                <a:gd name="connsiteY8047" fmla="*/ 520994 h 2765205"/>
                <a:gd name="connsiteX8048" fmla="*/ 8304052 w 8566434"/>
                <a:gd name="connsiteY8048" fmla="*/ 492391 h 2765205"/>
                <a:gd name="connsiteX8049" fmla="*/ 8163584 w 8566434"/>
                <a:gd name="connsiteY8049" fmla="*/ 483086 h 2765205"/>
                <a:gd name="connsiteX8050" fmla="*/ 8165445 w 8566434"/>
                <a:gd name="connsiteY8050" fmla="*/ 491288 h 2765205"/>
                <a:gd name="connsiteX8051" fmla="*/ 8170890 w 8566434"/>
                <a:gd name="connsiteY8051" fmla="*/ 515894 h 2765205"/>
                <a:gd name="connsiteX8052" fmla="*/ 8140356 w 8566434"/>
                <a:gd name="connsiteY8052" fmla="*/ 530023 h 2765205"/>
                <a:gd name="connsiteX8053" fmla="*/ 8130913 w 8566434"/>
                <a:gd name="connsiteY8053" fmla="*/ 543395 h 2765205"/>
                <a:gd name="connsiteX8054" fmla="*/ 8144354 w 8566434"/>
                <a:gd name="connsiteY8054" fmla="*/ 558214 h 2765205"/>
                <a:gd name="connsiteX8055" fmla="*/ 8127674 w 8566434"/>
                <a:gd name="connsiteY8055" fmla="*/ 523200 h 2765205"/>
                <a:gd name="connsiteX8056" fmla="*/ 8146008 w 8566434"/>
                <a:gd name="connsiteY8056" fmla="*/ 500455 h 2765205"/>
                <a:gd name="connsiteX8057" fmla="*/ 8155106 w 8566434"/>
                <a:gd name="connsiteY8057" fmla="*/ 478674 h 2765205"/>
                <a:gd name="connsiteX8058" fmla="*/ 8127950 w 8566434"/>
                <a:gd name="connsiteY8058" fmla="*/ 502109 h 2765205"/>
                <a:gd name="connsiteX8059" fmla="*/ 8130087 w 8566434"/>
                <a:gd name="connsiteY8059" fmla="*/ 483155 h 2765205"/>
                <a:gd name="connsiteX8060" fmla="*/ 8103895 w 8566434"/>
                <a:gd name="connsiteY8060" fmla="*/ 484947 h 2765205"/>
                <a:gd name="connsiteX8061" fmla="*/ 8124641 w 8566434"/>
                <a:gd name="connsiteY8061" fmla="*/ 485153 h 2765205"/>
                <a:gd name="connsiteX8062" fmla="*/ 8125675 w 8566434"/>
                <a:gd name="connsiteY8062" fmla="*/ 496043 h 2765205"/>
                <a:gd name="connsiteX8063" fmla="*/ 8113200 w 8566434"/>
                <a:gd name="connsiteY8063" fmla="*/ 527887 h 2765205"/>
                <a:gd name="connsiteX8064" fmla="*/ 8089903 w 8566434"/>
                <a:gd name="connsiteY8064" fmla="*/ 521821 h 2765205"/>
                <a:gd name="connsiteX8065" fmla="*/ 8100380 w 8566434"/>
                <a:gd name="connsiteY8065" fmla="*/ 480053 h 2765205"/>
                <a:gd name="connsiteX8066" fmla="*/ 8082529 w 8566434"/>
                <a:gd name="connsiteY8066" fmla="*/ 478537 h 2765205"/>
                <a:gd name="connsiteX8067" fmla="*/ 8079496 w 8566434"/>
                <a:gd name="connsiteY8067" fmla="*/ 490254 h 2765205"/>
                <a:gd name="connsiteX8068" fmla="*/ 8093901 w 8566434"/>
                <a:gd name="connsiteY8068" fmla="*/ 489427 h 2765205"/>
                <a:gd name="connsiteX8069" fmla="*/ 8074602 w 8566434"/>
                <a:gd name="connsiteY8069" fmla="*/ 498249 h 2765205"/>
                <a:gd name="connsiteX8070" fmla="*/ 8067641 w 8566434"/>
                <a:gd name="connsiteY8070" fmla="*/ 489496 h 2765205"/>
                <a:gd name="connsiteX8071" fmla="*/ 8038210 w 8566434"/>
                <a:gd name="connsiteY8071" fmla="*/ 492735 h 2765205"/>
                <a:gd name="connsiteX8072" fmla="*/ 8042345 w 8566434"/>
                <a:gd name="connsiteY8072" fmla="*/ 476607 h 2765205"/>
                <a:gd name="connsiteX8073" fmla="*/ 7870516 w 8566434"/>
                <a:gd name="connsiteY8073" fmla="*/ 465992 h 2765205"/>
                <a:gd name="connsiteX8074" fmla="*/ 7840051 w 8566434"/>
                <a:gd name="connsiteY8074" fmla="*/ 462684 h 2765205"/>
                <a:gd name="connsiteX8075" fmla="*/ 7840396 w 8566434"/>
                <a:gd name="connsiteY8075" fmla="*/ 493838 h 2765205"/>
                <a:gd name="connsiteX8076" fmla="*/ 7833711 w 8566434"/>
                <a:gd name="connsiteY8076" fmla="*/ 463649 h 2765205"/>
                <a:gd name="connsiteX8077" fmla="*/ 7786221 w 8566434"/>
                <a:gd name="connsiteY8077" fmla="*/ 460409 h 2765205"/>
                <a:gd name="connsiteX8078" fmla="*/ 7785670 w 8566434"/>
                <a:gd name="connsiteY8078" fmla="*/ 487152 h 2765205"/>
                <a:gd name="connsiteX8079" fmla="*/ 7784636 w 8566434"/>
                <a:gd name="connsiteY8079" fmla="*/ 459996 h 2765205"/>
                <a:gd name="connsiteX8080" fmla="*/ 7765544 w 8566434"/>
                <a:gd name="connsiteY8080" fmla="*/ 460823 h 2765205"/>
                <a:gd name="connsiteX8081" fmla="*/ 7764786 w 8566434"/>
                <a:gd name="connsiteY8081" fmla="*/ 521546 h 2765205"/>
                <a:gd name="connsiteX8082" fmla="*/ 7762511 w 8566434"/>
                <a:gd name="connsiteY8082" fmla="*/ 473092 h 2765205"/>
                <a:gd name="connsiteX8083" fmla="*/ 7727912 w 8566434"/>
                <a:gd name="connsiteY8083" fmla="*/ 471231 h 2765205"/>
                <a:gd name="connsiteX8084" fmla="*/ 7740663 w 8566434"/>
                <a:gd name="connsiteY8084" fmla="*/ 458686 h 2765205"/>
                <a:gd name="connsiteX8085" fmla="*/ 7588476 w 8566434"/>
                <a:gd name="connsiteY8085" fmla="*/ 447796 h 2765205"/>
                <a:gd name="connsiteX8086" fmla="*/ 7596747 w 8566434"/>
                <a:gd name="connsiteY8086" fmla="*/ 466613 h 2765205"/>
                <a:gd name="connsiteX8087" fmla="*/ 7581722 w 8566434"/>
                <a:gd name="connsiteY8087" fmla="*/ 469439 h 2765205"/>
                <a:gd name="connsiteX8088" fmla="*/ 7586823 w 8566434"/>
                <a:gd name="connsiteY8088" fmla="*/ 444143 h 2765205"/>
                <a:gd name="connsiteX8089" fmla="*/ 7553808 w 8566434"/>
                <a:gd name="connsiteY8089" fmla="*/ 478123 h 2765205"/>
                <a:gd name="connsiteX8090" fmla="*/ 7554221 w 8566434"/>
                <a:gd name="connsiteY8090" fmla="*/ 446694 h 2765205"/>
                <a:gd name="connsiteX8091" fmla="*/ 7379084 w 8566434"/>
                <a:gd name="connsiteY8091" fmla="*/ 434770 h 2765205"/>
                <a:gd name="connsiteX8092" fmla="*/ 7381221 w 8566434"/>
                <a:gd name="connsiteY8092" fmla="*/ 444212 h 2765205"/>
                <a:gd name="connsiteX8093" fmla="*/ 7376671 w 8566434"/>
                <a:gd name="connsiteY8093" fmla="*/ 445108 h 2765205"/>
                <a:gd name="connsiteX8094" fmla="*/ 7378394 w 8566434"/>
                <a:gd name="connsiteY8094" fmla="*/ 434770 h 2765205"/>
                <a:gd name="connsiteX8095" fmla="*/ 7300648 w 8566434"/>
                <a:gd name="connsiteY8095" fmla="*/ 430083 h 2765205"/>
                <a:gd name="connsiteX8096" fmla="*/ 7310710 w 8566434"/>
                <a:gd name="connsiteY8096" fmla="*/ 447245 h 2765205"/>
                <a:gd name="connsiteX8097" fmla="*/ 7298511 w 8566434"/>
                <a:gd name="connsiteY8097" fmla="*/ 430910 h 2765205"/>
                <a:gd name="connsiteX8098" fmla="*/ 7276041 w 8566434"/>
                <a:gd name="connsiteY8098" fmla="*/ 453104 h 2765205"/>
                <a:gd name="connsiteX8099" fmla="*/ 7276593 w 8566434"/>
                <a:gd name="connsiteY8099" fmla="*/ 427808 h 2765205"/>
                <a:gd name="connsiteX8100" fmla="*/ 7250815 w 8566434"/>
                <a:gd name="connsiteY8100" fmla="*/ 427670 h 2765205"/>
                <a:gd name="connsiteX8101" fmla="*/ 7247644 w 8566434"/>
                <a:gd name="connsiteY8101" fmla="*/ 450071 h 2765205"/>
                <a:gd name="connsiteX8102" fmla="*/ 7244957 w 8566434"/>
                <a:gd name="connsiteY8102" fmla="*/ 429325 h 2765205"/>
                <a:gd name="connsiteX8103" fmla="*/ 7194504 w 8566434"/>
                <a:gd name="connsiteY8103" fmla="*/ 423190 h 2765205"/>
                <a:gd name="connsiteX8104" fmla="*/ 7208909 w 8566434"/>
                <a:gd name="connsiteY8104" fmla="*/ 444695 h 2765205"/>
                <a:gd name="connsiteX8105" fmla="*/ 7189886 w 8566434"/>
                <a:gd name="connsiteY8105" fmla="*/ 423466 h 2765205"/>
                <a:gd name="connsiteX8106" fmla="*/ 7061686 w 8566434"/>
                <a:gd name="connsiteY8106" fmla="*/ 414506 h 2765205"/>
                <a:gd name="connsiteX8107" fmla="*/ 7057688 w 8566434"/>
                <a:gd name="connsiteY8107" fmla="*/ 430772 h 2765205"/>
                <a:gd name="connsiteX8108" fmla="*/ 7028809 w 8566434"/>
                <a:gd name="connsiteY8108" fmla="*/ 415677 h 2765205"/>
                <a:gd name="connsiteX8109" fmla="*/ 7003169 w 8566434"/>
                <a:gd name="connsiteY8109" fmla="*/ 413127 h 2765205"/>
                <a:gd name="connsiteX8110" fmla="*/ 7007235 w 8566434"/>
                <a:gd name="connsiteY8110" fmla="*/ 433184 h 2765205"/>
                <a:gd name="connsiteX8111" fmla="*/ 7025845 w 8566434"/>
                <a:gd name="connsiteY8111" fmla="*/ 426843 h 2765205"/>
                <a:gd name="connsiteX8112" fmla="*/ 7025983 w 8566434"/>
                <a:gd name="connsiteY8112" fmla="*/ 443661 h 2765205"/>
                <a:gd name="connsiteX8113" fmla="*/ 7009648 w 8566434"/>
                <a:gd name="connsiteY8113" fmla="*/ 437595 h 2765205"/>
                <a:gd name="connsiteX8114" fmla="*/ 6999930 w 8566434"/>
                <a:gd name="connsiteY8114" fmla="*/ 410922 h 2765205"/>
                <a:gd name="connsiteX8115" fmla="*/ 6934934 w 8566434"/>
                <a:gd name="connsiteY8115" fmla="*/ 412507 h 2765205"/>
                <a:gd name="connsiteX8116" fmla="*/ 6864975 w 8566434"/>
                <a:gd name="connsiteY8116" fmla="*/ 402857 h 2765205"/>
                <a:gd name="connsiteX8117" fmla="*/ 6705483 w 8566434"/>
                <a:gd name="connsiteY8117" fmla="*/ 393070 h 2765205"/>
                <a:gd name="connsiteX8118" fmla="*/ 6704863 w 8566434"/>
                <a:gd name="connsiteY8118" fmla="*/ 404856 h 2765205"/>
                <a:gd name="connsiteX8119" fmla="*/ 6701899 w 8566434"/>
                <a:gd name="connsiteY8119" fmla="*/ 392519 h 2765205"/>
                <a:gd name="connsiteX8120" fmla="*/ 6596100 w 8566434"/>
                <a:gd name="connsiteY8120" fmla="*/ 385557 h 2765205"/>
                <a:gd name="connsiteX8121" fmla="*/ 6594308 w 8566434"/>
                <a:gd name="connsiteY8121" fmla="*/ 402582 h 2765205"/>
                <a:gd name="connsiteX8122" fmla="*/ 6624635 w 8566434"/>
                <a:gd name="connsiteY8122" fmla="*/ 418297 h 2765205"/>
                <a:gd name="connsiteX8123" fmla="*/ 6631527 w 8566434"/>
                <a:gd name="connsiteY8123" fmla="*/ 429325 h 2765205"/>
                <a:gd name="connsiteX8124" fmla="*/ 6607610 w 8566434"/>
                <a:gd name="connsiteY8124" fmla="*/ 428084 h 2765205"/>
                <a:gd name="connsiteX8125" fmla="*/ 6575354 w 8566434"/>
                <a:gd name="connsiteY8125" fmla="*/ 401479 h 2765205"/>
                <a:gd name="connsiteX8126" fmla="*/ 6586450 w 8566434"/>
                <a:gd name="connsiteY8126" fmla="*/ 399825 h 2765205"/>
                <a:gd name="connsiteX8127" fmla="*/ 6576250 w 8566434"/>
                <a:gd name="connsiteY8127" fmla="*/ 384730 h 2765205"/>
                <a:gd name="connsiteX8128" fmla="*/ 6418344 w 8566434"/>
                <a:gd name="connsiteY8128" fmla="*/ 374943 h 2765205"/>
                <a:gd name="connsiteX8129" fmla="*/ 6413174 w 8566434"/>
                <a:gd name="connsiteY8129" fmla="*/ 389693 h 2765205"/>
                <a:gd name="connsiteX8130" fmla="*/ 6397390 w 8566434"/>
                <a:gd name="connsiteY8130" fmla="*/ 371083 h 2765205"/>
                <a:gd name="connsiteX8131" fmla="*/ 6375886 w 8566434"/>
                <a:gd name="connsiteY8131" fmla="*/ 415126 h 2765205"/>
                <a:gd name="connsiteX8132" fmla="*/ 6379891 w 8566434"/>
                <a:gd name="connsiteY8132" fmla="*/ 408992 h 2765205"/>
                <a:gd name="connsiteX8133" fmla="*/ 6390360 w 8566434"/>
                <a:gd name="connsiteY8133" fmla="*/ 393553 h 2765205"/>
                <a:gd name="connsiteX8134" fmla="*/ 6407384 w 8566434"/>
                <a:gd name="connsiteY8134" fmla="*/ 435390 h 2765205"/>
                <a:gd name="connsiteX8135" fmla="*/ 6412347 w 8566434"/>
                <a:gd name="connsiteY8135" fmla="*/ 437251 h 2765205"/>
                <a:gd name="connsiteX8136" fmla="*/ 6415311 w 8566434"/>
                <a:gd name="connsiteY8136" fmla="*/ 437044 h 2765205"/>
                <a:gd name="connsiteX8137" fmla="*/ 6418412 w 8566434"/>
                <a:gd name="connsiteY8137" fmla="*/ 419192 h 2765205"/>
                <a:gd name="connsiteX8138" fmla="*/ 6431301 w 8566434"/>
                <a:gd name="connsiteY8138" fmla="*/ 423879 h 2765205"/>
                <a:gd name="connsiteX8139" fmla="*/ 6463765 w 8566434"/>
                <a:gd name="connsiteY8139" fmla="*/ 435321 h 2765205"/>
                <a:gd name="connsiteX8140" fmla="*/ 6453426 w 8566434"/>
                <a:gd name="connsiteY8140" fmla="*/ 434770 h 2765205"/>
                <a:gd name="connsiteX8141" fmla="*/ 6453840 w 8566434"/>
                <a:gd name="connsiteY8141" fmla="*/ 474746 h 2765205"/>
                <a:gd name="connsiteX8142" fmla="*/ 6435919 w 8566434"/>
                <a:gd name="connsiteY8142" fmla="*/ 476124 h 2765205"/>
                <a:gd name="connsiteX8143" fmla="*/ 6414346 w 8566434"/>
                <a:gd name="connsiteY8143" fmla="*/ 489082 h 2765205"/>
                <a:gd name="connsiteX8144" fmla="*/ 6439917 w 8566434"/>
                <a:gd name="connsiteY8144" fmla="*/ 497973 h 2765205"/>
                <a:gd name="connsiteX8145" fmla="*/ 6502845 w 8566434"/>
                <a:gd name="connsiteY8145" fmla="*/ 491012 h 2765205"/>
                <a:gd name="connsiteX8146" fmla="*/ 6508910 w 8566434"/>
                <a:gd name="connsiteY8146" fmla="*/ 504659 h 2765205"/>
                <a:gd name="connsiteX8147" fmla="*/ 6743185 w 8566434"/>
                <a:gd name="connsiteY8147" fmla="*/ 518651 h 2765205"/>
                <a:gd name="connsiteX8148" fmla="*/ 6761450 w 8566434"/>
                <a:gd name="connsiteY8148" fmla="*/ 488462 h 2765205"/>
                <a:gd name="connsiteX8149" fmla="*/ 6753869 w 8566434"/>
                <a:gd name="connsiteY8149" fmla="*/ 522442 h 2765205"/>
                <a:gd name="connsiteX8150" fmla="*/ 6782196 w 8566434"/>
                <a:gd name="connsiteY8150" fmla="*/ 487359 h 2765205"/>
                <a:gd name="connsiteX8151" fmla="*/ 6793983 w 8566434"/>
                <a:gd name="connsiteY8151" fmla="*/ 466406 h 2765205"/>
                <a:gd name="connsiteX8152" fmla="*/ 6801082 w 8566434"/>
                <a:gd name="connsiteY8152" fmla="*/ 488531 h 2765205"/>
                <a:gd name="connsiteX8153" fmla="*/ 6783506 w 8566434"/>
                <a:gd name="connsiteY8153" fmla="*/ 494803 h 2765205"/>
                <a:gd name="connsiteX8154" fmla="*/ 6790261 w 8566434"/>
                <a:gd name="connsiteY8154" fmla="*/ 504246 h 2765205"/>
                <a:gd name="connsiteX8155" fmla="*/ 6781438 w 8566434"/>
                <a:gd name="connsiteY8155" fmla="*/ 520994 h 2765205"/>
                <a:gd name="connsiteX8156" fmla="*/ 6897438 w 8566434"/>
                <a:gd name="connsiteY8156" fmla="*/ 527611 h 2765205"/>
                <a:gd name="connsiteX8157" fmla="*/ 6899024 w 8566434"/>
                <a:gd name="connsiteY8157" fmla="*/ 509208 h 2765205"/>
                <a:gd name="connsiteX8158" fmla="*/ 6920322 w 8566434"/>
                <a:gd name="connsiteY8158" fmla="*/ 529955 h 2765205"/>
                <a:gd name="connsiteX8159" fmla="*/ 7045971 w 8566434"/>
                <a:gd name="connsiteY8159" fmla="*/ 538019 h 2765205"/>
                <a:gd name="connsiteX8160" fmla="*/ 7048452 w 8566434"/>
                <a:gd name="connsiteY8160" fmla="*/ 520512 h 2765205"/>
                <a:gd name="connsiteX8161" fmla="*/ 7049831 w 8566434"/>
                <a:gd name="connsiteY8161" fmla="*/ 538225 h 2765205"/>
                <a:gd name="connsiteX8162" fmla="*/ 7179064 w 8566434"/>
                <a:gd name="connsiteY8162" fmla="*/ 546841 h 2765205"/>
                <a:gd name="connsiteX8163" fmla="*/ 7187405 w 8566434"/>
                <a:gd name="connsiteY8163" fmla="*/ 525543 h 2765205"/>
                <a:gd name="connsiteX8164" fmla="*/ 7183407 w 8566434"/>
                <a:gd name="connsiteY8164" fmla="*/ 547117 h 2765205"/>
                <a:gd name="connsiteX8165" fmla="*/ 7447595 w 8566434"/>
                <a:gd name="connsiteY8165" fmla="*/ 559868 h 2765205"/>
                <a:gd name="connsiteX8166" fmla="*/ 7573520 w 8566434"/>
                <a:gd name="connsiteY8166" fmla="*/ 570344 h 2765205"/>
                <a:gd name="connsiteX8167" fmla="*/ 7591165 w 8566434"/>
                <a:gd name="connsiteY8167" fmla="*/ 550563 h 2765205"/>
                <a:gd name="connsiteX8168" fmla="*/ 7605708 w 8566434"/>
                <a:gd name="connsiteY8168" fmla="*/ 532987 h 2765205"/>
                <a:gd name="connsiteX8169" fmla="*/ 7633140 w 8566434"/>
                <a:gd name="connsiteY8169" fmla="*/ 518858 h 2765205"/>
                <a:gd name="connsiteX8170" fmla="*/ 7635139 w 8566434"/>
                <a:gd name="connsiteY8170" fmla="*/ 540224 h 2765205"/>
                <a:gd name="connsiteX8171" fmla="*/ 7621974 w 8566434"/>
                <a:gd name="connsiteY8171" fmla="*/ 537743 h 2765205"/>
                <a:gd name="connsiteX8172" fmla="*/ 7629831 w 8566434"/>
                <a:gd name="connsiteY8172" fmla="*/ 575789 h 2765205"/>
                <a:gd name="connsiteX8173" fmla="*/ 7664708 w 8566434"/>
                <a:gd name="connsiteY8173" fmla="*/ 551045 h 2765205"/>
                <a:gd name="connsiteX8174" fmla="*/ 7648717 w 8566434"/>
                <a:gd name="connsiteY8174" fmla="*/ 575307 h 2765205"/>
                <a:gd name="connsiteX8175" fmla="*/ 7707027 w 8566434"/>
                <a:gd name="connsiteY8175" fmla="*/ 578960 h 2765205"/>
                <a:gd name="connsiteX8176" fmla="*/ 7710887 w 8566434"/>
                <a:gd name="connsiteY8176" fmla="*/ 561039 h 2765205"/>
                <a:gd name="connsiteX8177" fmla="*/ 7711094 w 8566434"/>
                <a:gd name="connsiteY8177" fmla="*/ 579373 h 2765205"/>
                <a:gd name="connsiteX8178" fmla="*/ 7791667 w 8566434"/>
                <a:gd name="connsiteY8178" fmla="*/ 583440 h 2765205"/>
                <a:gd name="connsiteX8179" fmla="*/ 7792493 w 8566434"/>
                <a:gd name="connsiteY8179" fmla="*/ 554216 h 2765205"/>
                <a:gd name="connsiteX8180" fmla="*/ 7800006 w 8566434"/>
                <a:gd name="connsiteY8180" fmla="*/ 584818 h 2765205"/>
                <a:gd name="connsiteX8181" fmla="*/ 7921796 w 8566434"/>
                <a:gd name="connsiteY8181" fmla="*/ 592193 h 2765205"/>
                <a:gd name="connsiteX8182" fmla="*/ 7946471 w 8566434"/>
                <a:gd name="connsiteY8182" fmla="*/ 577030 h 2765205"/>
                <a:gd name="connsiteX8183" fmla="*/ 7940544 w 8566434"/>
                <a:gd name="connsiteY8183" fmla="*/ 593985 h 2765205"/>
                <a:gd name="connsiteX8184" fmla="*/ 8030215 w 8566434"/>
                <a:gd name="connsiteY8184" fmla="*/ 598948 h 2765205"/>
                <a:gd name="connsiteX8185" fmla="*/ 8010984 w 8566434"/>
                <a:gd name="connsiteY8185" fmla="*/ 578340 h 2765205"/>
                <a:gd name="connsiteX8186" fmla="*/ 7995614 w 8566434"/>
                <a:gd name="connsiteY8186" fmla="*/ 592745 h 2765205"/>
                <a:gd name="connsiteX8187" fmla="*/ 7992719 w 8566434"/>
                <a:gd name="connsiteY8187" fmla="*/ 571723 h 2765205"/>
                <a:gd name="connsiteX8188" fmla="*/ 8008641 w 8566434"/>
                <a:gd name="connsiteY8188" fmla="*/ 571930 h 2765205"/>
                <a:gd name="connsiteX8189" fmla="*/ 8007745 w 8566434"/>
                <a:gd name="connsiteY8189" fmla="*/ 554078 h 2765205"/>
                <a:gd name="connsiteX8190" fmla="*/ 8011054 w 8566434"/>
                <a:gd name="connsiteY8190" fmla="*/ 572826 h 2765205"/>
                <a:gd name="connsiteX8191" fmla="*/ 8027389 w 8566434"/>
                <a:gd name="connsiteY8191" fmla="*/ 571447 h 2765205"/>
                <a:gd name="connsiteX8192" fmla="*/ 8023116 w 8566434"/>
                <a:gd name="connsiteY8192" fmla="*/ 582475 h 2765205"/>
                <a:gd name="connsiteX8193" fmla="*/ 8038554 w 8566434"/>
                <a:gd name="connsiteY8193" fmla="*/ 584405 h 2765205"/>
                <a:gd name="connsiteX8194" fmla="*/ 8040071 w 8566434"/>
                <a:gd name="connsiteY8194" fmla="*/ 572757 h 2765205"/>
                <a:gd name="connsiteX8195" fmla="*/ 8055717 w 8566434"/>
                <a:gd name="connsiteY8195" fmla="*/ 564210 h 2765205"/>
                <a:gd name="connsiteX8196" fmla="*/ 8052477 w 8566434"/>
                <a:gd name="connsiteY8196" fmla="*/ 586473 h 2765205"/>
                <a:gd name="connsiteX8197" fmla="*/ 8048273 w 8566434"/>
                <a:gd name="connsiteY8197" fmla="*/ 590057 h 2765205"/>
                <a:gd name="connsiteX8198" fmla="*/ 8093212 w 8566434"/>
                <a:gd name="connsiteY8198" fmla="*/ 603221 h 2765205"/>
                <a:gd name="connsiteX8199" fmla="*/ 8086871 w 8566434"/>
                <a:gd name="connsiteY8199" fmla="*/ 581303 h 2765205"/>
                <a:gd name="connsiteX8200" fmla="*/ 8095900 w 8566434"/>
                <a:gd name="connsiteY8200" fmla="*/ 603910 h 2765205"/>
                <a:gd name="connsiteX8201" fmla="*/ 8114303 w 8566434"/>
                <a:gd name="connsiteY8201" fmla="*/ 604462 h 2765205"/>
                <a:gd name="connsiteX8202" fmla="*/ 8123263 w 8566434"/>
                <a:gd name="connsiteY8202" fmla="*/ 562556 h 2765205"/>
                <a:gd name="connsiteX8203" fmla="*/ 8120644 w 8566434"/>
                <a:gd name="connsiteY8203" fmla="*/ 589781 h 2765205"/>
                <a:gd name="connsiteX8204" fmla="*/ 8144905 w 8566434"/>
                <a:gd name="connsiteY8204" fmla="*/ 595709 h 2765205"/>
                <a:gd name="connsiteX8205" fmla="*/ 8117680 w 8566434"/>
                <a:gd name="connsiteY8205" fmla="*/ 594261 h 2765205"/>
                <a:gd name="connsiteX8206" fmla="*/ 8147387 w 8566434"/>
                <a:gd name="connsiteY8206" fmla="*/ 606599 h 2765205"/>
                <a:gd name="connsiteX8207" fmla="*/ 8326729 w 8566434"/>
                <a:gd name="connsiteY8207" fmla="*/ 617902 h 2765205"/>
                <a:gd name="connsiteX8208" fmla="*/ 8406819 w 8566434"/>
                <a:gd name="connsiteY8208" fmla="*/ 655397 h 2765205"/>
                <a:gd name="connsiteX8209" fmla="*/ 8426462 w 8566434"/>
                <a:gd name="connsiteY8209" fmla="*/ 670354 h 2765205"/>
                <a:gd name="connsiteX8210" fmla="*/ 8435974 w 8566434"/>
                <a:gd name="connsiteY8210" fmla="*/ 735557 h 2765205"/>
                <a:gd name="connsiteX8211" fmla="*/ 8417571 w 8566434"/>
                <a:gd name="connsiteY8211" fmla="*/ 1027383 h 2765205"/>
                <a:gd name="connsiteX8212" fmla="*/ 8434940 w 8566434"/>
                <a:gd name="connsiteY8212" fmla="*/ 1027314 h 2765205"/>
                <a:gd name="connsiteX8213" fmla="*/ 8416950 w 8566434"/>
                <a:gd name="connsiteY8213" fmla="*/ 1038067 h 2765205"/>
                <a:gd name="connsiteX8214" fmla="*/ 8382833 w 8566434"/>
                <a:gd name="connsiteY8214" fmla="*/ 1597390 h 2765205"/>
                <a:gd name="connsiteX8215" fmla="*/ 8395998 w 8566434"/>
                <a:gd name="connsiteY8215" fmla="*/ 1583536 h 2765205"/>
                <a:gd name="connsiteX8216" fmla="*/ 8396755 w 8566434"/>
                <a:gd name="connsiteY8216" fmla="*/ 1617516 h 2765205"/>
                <a:gd name="connsiteX8217" fmla="*/ 8384832 w 8566434"/>
                <a:gd name="connsiteY8217" fmla="*/ 1604765 h 2765205"/>
                <a:gd name="connsiteX8218" fmla="*/ 8386142 w 8566434"/>
                <a:gd name="connsiteY8218" fmla="*/ 1702569 h 2765205"/>
                <a:gd name="connsiteX8219" fmla="*/ 8372219 w 8566434"/>
                <a:gd name="connsiteY8219" fmla="*/ 1750334 h 2765205"/>
                <a:gd name="connsiteX8220" fmla="*/ 8420534 w 8566434"/>
                <a:gd name="connsiteY8220" fmla="*/ 1757778 h 2765205"/>
                <a:gd name="connsiteX8221" fmla="*/ 8437214 w 8566434"/>
                <a:gd name="connsiteY8221" fmla="*/ 1766738 h 2765205"/>
                <a:gd name="connsiteX8222" fmla="*/ 8470781 w 8566434"/>
                <a:gd name="connsiteY8222" fmla="*/ 1775905 h 2765205"/>
                <a:gd name="connsiteX8223" fmla="*/ 8468368 w 8566434"/>
                <a:gd name="connsiteY8223" fmla="*/ 1794514 h 2765205"/>
                <a:gd name="connsiteX8224" fmla="*/ 8455755 w 8566434"/>
                <a:gd name="connsiteY8224" fmla="*/ 1792723 h 2765205"/>
                <a:gd name="connsiteX8225" fmla="*/ 8443211 w 8566434"/>
                <a:gd name="connsiteY8225" fmla="*/ 1771356 h 2765205"/>
                <a:gd name="connsiteX8226" fmla="*/ 8371598 w 8566434"/>
                <a:gd name="connsiteY8226" fmla="*/ 1756744 h 2765205"/>
                <a:gd name="connsiteX8227" fmla="*/ 8368497 w 8566434"/>
                <a:gd name="connsiteY8227" fmla="*/ 1815605 h 2765205"/>
                <a:gd name="connsiteX8228" fmla="*/ 8380972 w 8566434"/>
                <a:gd name="connsiteY8228" fmla="*/ 1814089 h 2765205"/>
                <a:gd name="connsiteX8229" fmla="*/ 8385038 w 8566434"/>
                <a:gd name="connsiteY8229" fmla="*/ 1851240 h 2765205"/>
                <a:gd name="connsiteX8230" fmla="*/ 8366635 w 8566434"/>
                <a:gd name="connsiteY8230" fmla="*/ 1847311 h 2765205"/>
                <a:gd name="connsiteX8231" fmla="*/ 8341409 w 8566434"/>
                <a:gd name="connsiteY8231" fmla="*/ 2254104 h 2765205"/>
                <a:gd name="connsiteX8232" fmla="*/ 8362776 w 8566434"/>
                <a:gd name="connsiteY8232" fmla="*/ 2239767 h 2765205"/>
                <a:gd name="connsiteX8233" fmla="*/ 8340996 w 8566434"/>
                <a:gd name="connsiteY8233" fmla="*/ 2255620 h 2765205"/>
                <a:gd name="connsiteX8234" fmla="*/ 8334724 w 8566434"/>
                <a:gd name="connsiteY8234" fmla="*/ 2357491 h 2765205"/>
                <a:gd name="connsiteX8235" fmla="*/ 8344718 w 8566434"/>
                <a:gd name="connsiteY8235" fmla="*/ 2372999 h 2765205"/>
                <a:gd name="connsiteX8236" fmla="*/ 8333759 w 8566434"/>
                <a:gd name="connsiteY8236" fmla="*/ 2379684 h 2765205"/>
                <a:gd name="connsiteX8237" fmla="*/ 8329485 w 8566434"/>
                <a:gd name="connsiteY8237" fmla="*/ 2439304 h 2765205"/>
                <a:gd name="connsiteX8238" fmla="*/ 8348026 w 8566434"/>
                <a:gd name="connsiteY8238" fmla="*/ 2454123 h 2765205"/>
                <a:gd name="connsiteX8239" fmla="*/ 8344511 w 8566434"/>
                <a:gd name="connsiteY8239" fmla="*/ 2456604 h 2765205"/>
                <a:gd name="connsiteX8240" fmla="*/ 8330933 w 8566434"/>
                <a:gd name="connsiteY8240" fmla="*/ 2443578 h 2765205"/>
                <a:gd name="connsiteX8241" fmla="*/ 8328796 w 8566434"/>
                <a:gd name="connsiteY8241" fmla="*/ 2470527 h 2765205"/>
                <a:gd name="connsiteX8242" fmla="*/ 8339824 w 8566434"/>
                <a:gd name="connsiteY8242" fmla="*/ 2471217 h 2765205"/>
                <a:gd name="connsiteX8243" fmla="*/ 8327969 w 8566434"/>
                <a:gd name="connsiteY8243" fmla="*/ 2474732 h 2765205"/>
                <a:gd name="connsiteX8244" fmla="*/ 8323420 w 8566434"/>
                <a:gd name="connsiteY8244" fmla="*/ 2529251 h 2765205"/>
                <a:gd name="connsiteX8245" fmla="*/ 8333759 w 8566434"/>
                <a:gd name="connsiteY8245" fmla="*/ 2544001 h 2765205"/>
                <a:gd name="connsiteX8246" fmla="*/ 8338928 w 8566434"/>
                <a:gd name="connsiteY8246" fmla="*/ 2551376 h 2765205"/>
                <a:gd name="connsiteX8247" fmla="*/ 8343477 w 8566434"/>
                <a:gd name="connsiteY8247" fmla="*/ 2495340 h 2765205"/>
                <a:gd name="connsiteX8248" fmla="*/ 8371047 w 8566434"/>
                <a:gd name="connsiteY8248" fmla="*/ 2485484 h 2765205"/>
                <a:gd name="connsiteX8249" fmla="*/ 8351472 w 8566434"/>
                <a:gd name="connsiteY8249" fmla="*/ 2500234 h 2765205"/>
                <a:gd name="connsiteX8250" fmla="*/ 8346923 w 8566434"/>
                <a:gd name="connsiteY8250" fmla="*/ 2544552 h 2765205"/>
                <a:gd name="connsiteX8251" fmla="*/ 8369324 w 8566434"/>
                <a:gd name="connsiteY8251" fmla="*/ 2513192 h 2765205"/>
                <a:gd name="connsiteX8252" fmla="*/ 8365878 w 8566434"/>
                <a:gd name="connsiteY8252" fmla="*/ 2568331 h 2765205"/>
                <a:gd name="connsiteX8253" fmla="*/ 8380765 w 8566434"/>
                <a:gd name="connsiteY8253" fmla="*/ 2543449 h 2765205"/>
                <a:gd name="connsiteX8254" fmla="*/ 8371943 w 8566434"/>
                <a:gd name="connsiteY8254" fmla="*/ 2577291 h 2765205"/>
                <a:gd name="connsiteX8255" fmla="*/ 8364499 w 8566434"/>
                <a:gd name="connsiteY8255" fmla="*/ 2586596 h 2765205"/>
                <a:gd name="connsiteX8256" fmla="*/ 8330726 w 8566434"/>
                <a:gd name="connsiteY8256" fmla="*/ 2578532 h 2765205"/>
                <a:gd name="connsiteX8257" fmla="*/ 8334448 w 8566434"/>
                <a:gd name="connsiteY8257" fmla="*/ 2646492 h 2765205"/>
                <a:gd name="connsiteX8258" fmla="*/ 8359743 w 8566434"/>
                <a:gd name="connsiteY8258" fmla="*/ 2638014 h 2765205"/>
                <a:gd name="connsiteX8259" fmla="*/ 8361121 w 8566434"/>
                <a:gd name="connsiteY8259" fmla="*/ 2662344 h 2765205"/>
                <a:gd name="connsiteX8260" fmla="*/ 8355470 w 8566434"/>
                <a:gd name="connsiteY8260" fmla="*/ 2650490 h 2765205"/>
                <a:gd name="connsiteX8261" fmla="*/ 8331484 w 8566434"/>
                <a:gd name="connsiteY8261" fmla="*/ 2652557 h 2765205"/>
                <a:gd name="connsiteX8262" fmla="*/ 8326039 w 8566434"/>
                <a:gd name="connsiteY8262" fmla="*/ 2685572 h 2765205"/>
                <a:gd name="connsiteX8263" fmla="*/ 8318458 w 8566434"/>
                <a:gd name="connsiteY8263" fmla="*/ 2681437 h 2765205"/>
                <a:gd name="connsiteX8264" fmla="*/ 8303914 w 8566434"/>
                <a:gd name="connsiteY8264" fmla="*/ 2650558 h 2765205"/>
                <a:gd name="connsiteX8265" fmla="*/ 8296264 w 8566434"/>
                <a:gd name="connsiteY8265" fmla="*/ 2641805 h 2765205"/>
                <a:gd name="connsiteX8266" fmla="*/ 8299710 w 8566434"/>
                <a:gd name="connsiteY8266" fmla="*/ 2637049 h 2765205"/>
                <a:gd name="connsiteX8267" fmla="*/ 8304535 w 8566434"/>
                <a:gd name="connsiteY8267" fmla="*/ 2630777 h 2765205"/>
                <a:gd name="connsiteX8268" fmla="*/ 8308739 w 8566434"/>
                <a:gd name="connsiteY8268" fmla="*/ 2625194 h 2765205"/>
                <a:gd name="connsiteX8269" fmla="*/ 8301088 w 8566434"/>
                <a:gd name="connsiteY8269" fmla="*/ 2595832 h 2765205"/>
                <a:gd name="connsiteX8270" fmla="*/ 8274070 w 8566434"/>
                <a:gd name="connsiteY8270" fmla="*/ 2626366 h 2765205"/>
                <a:gd name="connsiteX8271" fmla="*/ 8239056 w 8566434"/>
                <a:gd name="connsiteY8271" fmla="*/ 2635739 h 2765205"/>
                <a:gd name="connsiteX8272" fmla="*/ 8242020 w 8566434"/>
                <a:gd name="connsiteY8272" fmla="*/ 2671236 h 2765205"/>
                <a:gd name="connsiteX8273" fmla="*/ 8240021 w 8566434"/>
                <a:gd name="connsiteY8273" fmla="*/ 2670684 h 2765205"/>
                <a:gd name="connsiteX8274" fmla="*/ 8233680 w 8566434"/>
                <a:gd name="connsiteY8274" fmla="*/ 2654349 h 2765205"/>
                <a:gd name="connsiteX8275" fmla="*/ 8235127 w 8566434"/>
                <a:gd name="connsiteY8275" fmla="*/ 2636705 h 2765205"/>
                <a:gd name="connsiteX8276" fmla="*/ 8212038 w 8566434"/>
                <a:gd name="connsiteY8276" fmla="*/ 2638152 h 2765205"/>
                <a:gd name="connsiteX8277" fmla="*/ 8213899 w 8566434"/>
                <a:gd name="connsiteY8277" fmla="*/ 2650627 h 2765205"/>
                <a:gd name="connsiteX8278" fmla="*/ 8207627 w 8566434"/>
                <a:gd name="connsiteY8278" fmla="*/ 2638772 h 2765205"/>
                <a:gd name="connsiteX8279" fmla="*/ 8104515 w 8566434"/>
                <a:gd name="connsiteY8279" fmla="*/ 2632707 h 2765205"/>
                <a:gd name="connsiteX8280" fmla="*/ 8105136 w 8566434"/>
                <a:gd name="connsiteY8280" fmla="*/ 2644010 h 2765205"/>
                <a:gd name="connsiteX8281" fmla="*/ 8099967 w 8566434"/>
                <a:gd name="connsiteY8281" fmla="*/ 2643115 h 2765205"/>
                <a:gd name="connsiteX8282" fmla="*/ 8102034 w 8566434"/>
                <a:gd name="connsiteY8282" fmla="*/ 2632293 h 2765205"/>
                <a:gd name="connsiteX8283" fmla="*/ 7985758 w 8566434"/>
                <a:gd name="connsiteY8283" fmla="*/ 2624987 h 2765205"/>
                <a:gd name="connsiteX8284" fmla="*/ 7986241 w 8566434"/>
                <a:gd name="connsiteY8284" fmla="*/ 2638841 h 2765205"/>
                <a:gd name="connsiteX8285" fmla="*/ 7984104 w 8566434"/>
                <a:gd name="connsiteY8285" fmla="*/ 2624780 h 2765205"/>
                <a:gd name="connsiteX8286" fmla="*/ 7809243 w 8566434"/>
                <a:gd name="connsiteY8286" fmla="*/ 2614717 h 2765205"/>
                <a:gd name="connsiteX8287" fmla="*/ 7809518 w 8566434"/>
                <a:gd name="connsiteY8287" fmla="*/ 2649662 h 2765205"/>
                <a:gd name="connsiteX8288" fmla="*/ 7790288 w 8566434"/>
                <a:gd name="connsiteY8288" fmla="*/ 2662827 h 2765205"/>
                <a:gd name="connsiteX8289" fmla="*/ 7794424 w 8566434"/>
                <a:gd name="connsiteY8289" fmla="*/ 2686192 h 2765205"/>
                <a:gd name="connsiteX8290" fmla="*/ 7784567 w 8566434"/>
                <a:gd name="connsiteY8290" fmla="*/ 2670133 h 2765205"/>
                <a:gd name="connsiteX8291" fmla="*/ 7793941 w 8566434"/>
                <a:gd name="connsiteY8291" fmla="*/ 2612788 h 2765205"/>
                <a:gd name="connsiteX8292" fmla="*/ 7726257 w 8566434"/>
                <a:gd name="connsiteY8292" fmla="*/ 2610720 h 2765205"/>
                <a:gd name="connsiteX8293" fmla="*/ 7693794 w 8566434"/>
                <a:gd name="connsiteY8293" fmla="*/ 2608790 h 2765205"/>
                <a:gd name="connsiteX8294" fmla="*/ 7605570 w 8566434"/>
                <a:gd name="connsiteY8294" fmla="*/ 2603621 h 2765205"/>
                <a:gd name="connsiteX8295" fmla="*/ 7597644 w 8566434"/>
                <a:gd name="connsiteY8295" fmla="*/ 2612788 h 2765205"/>
                <a:gd name="connsiteX8296" fmla="*/ 7578758 w 8566434"/>
                <a:gd name="connsiteY8296" fmla="*/ 2614924 h 2765205"/>
                <a:gd name="connsiteX8297" fmla="*/ 7576622 w 8566434"/>
                <a:gd name="connsiteY8297" fmla="*/ 2600519 h 2765205"/>
                <a:gd name="connsiteX8298" fmla="*/ 7535956 w 8566434"/>
                <a:gd name="connsiteY8298" fmla="*/ 2596590 h 2765205"/>
                <a:gd name="connsiteX8299" fmla="*/ 7538851 w 8566434"/>
                <a:gd name="connsiteY8299" fmla="*/ 2615545 h 2765205"/>
                <a:gd name="connsiteX8300" fmla="*/ 7531821 w 8566434"/>
                <a:gd name="connsiteY8300" fmla="*/ 2614028 h 2765205"/>
                <a:gd name="connsiteX8301" fmla="*/ 7531476 w 8566434"/>
                <a:gd name="connsiteY8301" fmla="*/ 2595557 h 2765205"/>
                <a:gd name="connsiteX8302" fmla="*/ 7500322 w 8566434"/>
                <a:gd name="connsiteY8302" fmla="*/ 2598589 h 2765205"/>
                <a:gd name="connsiteX8303" fmla="*/ 7508662 w 8566434"/>
                <a:gd name="connsiteY8303" fmla="*/ 2642219 h 2765205"/>
                <a:gd name="connsiteX8304" fmla="*/ 7519345 w 8566434"/>
                <a:gd name="connsiteY8304" fmla="*/ 2621541 h 2765205"/>
                <a:gd name="connsiteX8305" fmla="*/ 7511419 w 8566434"/>
                <a:gd name="connsiteY8305" fmla="*/ 2664206 h 2765205"/>
                <a:gd name="connsiteX8306" fmla="*/ 7488191 w 8566434"/>
                <a:gd name="connsiteY8306" fmla="*/ 2650972 h 2765205"/>
                <a:gd name="connsiteX8307" fmla="*/ 7497979 w 8566434"/>
                <a:gd name="connsiteY8307" fmla="*/ 2594385 h 2765205"/>
                <a:gd name="connsiteX8308" fmla="*/ 7417751 w 8566434"/>
                <a:gd name="connsiteY8308" fmla="*/ 2589491 h 2765205"/>
                <a:gd name="connsiteX8309" fmla="*/ 7422506 w 8566434"/>
                <a:gd name="connsiteY8309" fmla="*/ 2638359 h 2765205"/>
                <a:gd name="connsiteX8310" fmla="*/ 7429261 w 8566434"/>
                <a:gd name="connsiteY8310" fmla="*/ 2653384 h 2765205"/>
                <a:gd name="connsiteX8311" fmla="*/ 7405758 w 8566434"/>
                <a:gd name="connsiteY8311" fmla="*/ 2633879 h 2765205"/>
                <a:gd name="connsiteX8312" fmla="*/ 7417130 w 8566434"/>
                <a:gd name="connsiteY8312" fmla="*/ 2619887 h 2765205"/>
                <a:gd name="connsiteX8313" fmla="*/ 7389560 w 8566434"/>
                <a:gd name="connsiteY8313" fmla="*/ 2617612 h 2765205"/>
                <a:gd name="connsiteX8314" fmla="*/ 7414167 w 8566434"/>
                <a:gd name="connsiteY8314" fmla="*/ 2615820 h 2765205"/>
                <a:gd name="connsiteX8315" fmla="*/ 7407687 w 8566434"/>
                <a:gd name="connsiteY8315" fmla="*/ 2591559 h 2765205"/>
                <a:gd name="connsiteX8316" fmla="*/ 7351720 w 8566434"/>
                <a:gd name="connsiteY8316" fmla="*/ 2584804 h 2765205"/>
                <a:gd name="connsiteX8317" fmla="*/ 7343036 w 8566434"/>
                <a:gd name="connsiteY8317" fmla="*/ 2614993 h 2765205"/>
                <a:gd name="connsiteX8318" fmla="*/ 7338143 w 8566434"/>
                <a:gd name="connsiteY8318" fmla="*/ 2584391 h 2765205"/>
                <a:gd name="connsiteX8319" fmla="*/ 7133712 w 8566434"/>
                <a:gd name="connsiteY8319" fmla="*/ 2572329 h 2765205"/>
                <a:gd name="connsiteX8320" fmla="*/ 7131093 w 8566434"/>
                <a:gd name="connsiteY8320" fmla="*/ 2593282 h 2765205"/>
                <a:gd name="connsiteX8321" fmla="*/ 7106073 w 8566434"/>
                <a:gd name="connsiteY8321" fmla="*/ 2598107 h 2765205"/>
                <a:gd name="connsiteX8322" fmla="*/ 7104557 w 8566434"/>
                <a:gd name="connsiteY8322" fmla="*/ 2590181 h 2765205"/>
                <a:gd name="connsiteX8323" fmla="*/ 7133712 w 8566434"/>
                <a:gd name="connsiteY8323" fmla="*/ 2571088 h 2765205"/>
                <a:gd name="connsiteX8324" fmla="*/ 7100146 w 8566434"/>
                <a:gd name="connsiteY8324" fmla="*/ 2570606 h 2765205"/>
                <a:gd name="connsiteX8325" fmla="*/ 7075057 w 8566434"/>
                <a:gd name="connsiteY8325" fmla="*/ 2615131 h 2765205"/>
                <a:gd name="connsiteX8326" fmla="*/ 7075057 w 8566434"/>
                <a:gd name="connsiteY8326" fmla="*/ 2566402 h 2765205"/>
                <a:gd name="connsiteX8327" fmla="*/ 7054173 w 8566434"/>
                <a:gd name="connsiteY8327" fmla="*/ 2573156 h 2765205"/>
                <a:gd name="connsiteX8328" fmla="*/ 7047694 w 8566434"/>
                <a:gd name="connsiteY8328" fmla="*/ 2566264 h 2765205"/>
                <a:gd name="connsiteX8329" fmla="*/ 6736844 w 8566434"/>
                <a:gd name="connsiteY8329" fmla="*/ 2547792 h 2765205"/>
                <a:gd name="connsiteX8330" fmla="*/ 6736706 w 8566434"/>
                <a:gd name="connsiteY8330" fmla="*/ 2570537 h 2765205"/>
                <a:gd name="connsiteX8331" fmla="*/ 6736844 w 8566434"/>
                <a:gd name="connsiteY8331" fmla="*/ 2577843 h 2765205"/>
                <a:gd name="connsiteX8332" fmla="*/ 6727195 w 8566434"/>
                <a:gd name="connsiteY8332" fmla="*/ 2648766 h 2765205"/>
                <a:gd name="connsiteX8333" fmla="*/ 6723817 w 8566434"/>
                <a:gd name="connsiteY8333" fmla="*/ 2669444 h 2765205"/>
                <a:gd name="connsiteX8334" fmla="*/ 6864699 w 8566434"/>
                <a:gd name="connsiteY8334" fmla="*/ 2679369 h 2765205"/>
                <a:gd name="connsiteX8335" fmla="*/ 6867801 w 8566434"/>
                <a:gd name="connsiteY8335" fmla="*/ 2645458 h 2765205"/>
                <a:gd name="connsiteX8336" fmla="*/ 6891029 w 8566434"/>
                <a:gd name="connsiteY8336" fmla="*/ 2647733 h 2765205"/>
                <a:gd name="connsiteX8337" fmla="*/ 6889719 w 8566434"/>
                <a:gd name="connsiteY8337" fmla="*/ 2670340 h 2765205"/>
                <a:gd name="connsiteX8338" fmla="*/ 6870213 w 8566434"/>
                <a:gd name="connsiteY8338" fmla="*/ 2672614 h 2765205"/>
                <a:gd name="connsiteX8339" fmla="*/ 6913015 w 8566434"/>
                <a:gd name="connsiteY8339" fmla="*/ 2681299 h 2765205"/>
                <a:gd name="connsiteX8340" fmla="*/ 7074368 w 8566434"/>
                <a:gd name="connsiteY8340" fmla="*/ 2689363 h 2765205"/>
                <a:gd name="connsiteX8341" fmla="*/ 7073541 w 8566434"/>
                <a:gd name="connsiteY8341" fmla="*/ 2671236 h 2765205"/>
                <a:gd name="connsiteX8342" fmla="*/ 7148324 w 8566434"/>
                <a:gd name="connsiteY8342" fmla="*/ 2690535 h 2765205"/>
                <a:gd name="connsiteX8343" fmla="*/ 7182097 w 8566434"/>
                <a:gd name="connsiteY8343" fmla="*/ 2698048 h 2765205"/>
                <a:gd name="connsiteX8344" fmla="*/ 7403483 w 8566434"/>
                <a:gd name="connsiteY8344" fmla="*/ 2711212 h 2765205"/>
                <a:gd name="connsiteX8345" fmla="*/ 7460208 w 8566434"/>
                <a:gd name="connsiteY8345" fmla="*/ 2705285 h 2765205"/>
                <a:gd name="connsiteX8346" fmla="*/ 7513280 w 8566434"/>
                <a:gd name="connsiteY8346" fmla="*/ 2717002 h 2765205"/>
                <a:gd name="connsiteX8347" fmla="*/ 7517622 w 8566434"/>
                <a:gd name="connsiteY8347" fmla="*/ 2708179 h 2765205"/>
                <a:gd name="connsiteX8348" fmla="*/ 7518243 w 8566434"/>
                <a:gd name="connsiteY8348" fmla="*/ 2719001 h 2765205"/>
                <a:gd name="connsiteX8349" fmla="*/ 7592061 w 8566434"/>
                <a:gd name="connsiteY8349" fmla="*/ 2724308 h 2765205"/>
                <a:gd name="connsiteX8350" fmla="*/ 7599298 w 8566434"/>
                <a:gd name="connsiteY8350" fmla="*/ 2708248 h 2765205"/>
                <a:gd name="connsiteX8351" fmla="*/ 7621354 w 8566434"/>
                <a:gd name="connsiteY8351" fmla="*/ 2707421 h 2765205"/>
                <a:gd name="connsiteX8352" fmla="*/ 7620734 w 8566434"/>
                <a:gd name="connsiteY8352" fmla="*/ 2725686 h 2765205"/>
                <a:gd name="connsiteX8353" fmla="*/ 7710473 w 8566434"/>
                <a:gd name="connsiteY8353" fmla="*/ 2730580 h 2765205"/>
                <a:gd name="connsiteX8354" fmla="*/ 7704201 w 8566434"/>
                <a:gd name="connsiteY8354" fmla="*/ 2708317 h 2765205"/>
                <a:gd name="connsiteX8355" fmla="*/ 7704063 w 8566434"/>
                <a:gd name="connsiteY8355" fmla="*/ 2703217 h 2765205"/>
                <a:gd name="connsiteX8356" fmla="*/ 7701720 w 8566434"/>
                <a:gd name="connsiteY8356" fmla="*/ 2654832 h 2765205"/>
                <a:gd name="connsiteX8357" fmla="*/ 7679182 w 8566434"/>
                <a:gd name="connsiteY8357" fmla="*/ 2646009 h 2765205"/>
                <a:gd name="connsiteX8358" fmla="*/ 7703512 w 8566434"/>
                <a:gd name="connsiteY8358" fmla="*/ 2653453 h 2765205"/>
                <a:gd name="connsiteX8359" fmla="*/ 7707509 w 8566434"/>
                <a:gd name="connsiteY8359" fmla="*/ 2630915 h 2765205"/>
                <a:gd name="connsiteX8360" fmla="*/ 7711645 w 8566434"/>
                <a:gd name="connsiteY8360" fmla="*/ 2688122 h 2765205"/>
                <a:gd name="connsiteX8361" fmla="*/ 7705304 w 8566434"/>
                <a:gd name="connsiteY8361" fmla="*/ 2708800 h 2765205"/>
                <a:gd name="connsiteX8362" fmla="*/ 7754792 w 8566434"/>
                <a:gd name="connsiteY8362" fmla="*/ 2733750 h 2765205"/>
                <a:gd name="connsiteX8363" fmla="*/ 7950745 w 8566434"/>
                <a:gd name="connsiteY8363" fmla="*/ 2746157 h 2765205"/>
                <a:gd name="connsiteX8364" fmla="*/ 7950193 w 8566434"/>
                <a:gd name="connsiteY8364" fmla="*/ 2733957 h 2765205"/>
                <a:gd name="connsiteX8365" fmla="*/ 7951709 w 8566434"/>
                <a:gd name="connsiteY8365" fmla="*/ 2746157 h 2765205"/>
                <a:gd name="connsiteX8366" fmla="*/ 8058474 w 8566434"/>
                <a:gd name="connsiteY8366" fmla="*/ 2752291 h 2765205"/>
                <a:gd name="connsiteX8367" fmla="*/ 8051926 w 8566434"/>
                <a:gd name="connsiteY8367" fmla="*/ 2726375 h 2765205"/>
                <a:gd name="connsiteX8368" fmla="*/ 8062885 w 8566434"/>
                <a:gd name="connsiteY8368" fmla="*/ 2754979 h 2765205"/>
                <a:gd name="connsiteX8369" fmla="*/ 8090110 w 8566434"/>
                <a:gd name="connsiteY8369" fmla="*/ 2724377 h 2765205"/>
                <a:gd name="connsiteX8370" fmla="*/ 8083287 w 8566434"/>
                <a:gd name="connsiteY8370" fmla="*/ 2756289 h 2765205"/>
                <a:gd name="connsiteX8371" fmla="*/ 8112373 w 8566434"/>
                <a:gd name="connsiteY8371" fmla="*/ 2725479 h 2765205"/>
                <a:gd name="connsiteX8372" fmla="*/ 8105274 w 8566434"/>
                <a:gd name="connsiteY8372" fmla="*/ 2756633 h 2765205"/>
                <a:gd name="connsiteX8373" fmla="*/ 8140287 w 8566434"/>
                <a:gd name="connsiteY8373" fmla="*/ 2756771 h 2765205"/>
                <a:gd name="connsiteX8374" fmla="*/ 8175025 w 8566434"/>
                <a:gd name="connsiteY8374" fmla="*/ 2760355 h 2765205"/>
                <a:gd name="connsiteX8375" fmla="*/ 8165652 w 8566434"/>
                <a:gd name="connsiteY8375" fmla="*/ 2727754 h 2765205"/>
                <a:gd name="connsiteX8376" fmla="*/ 8178954 w 8566434"/>
                <a:gd name="connsiteY8376" fmla="*/ 2708455 h 2765205"/>
                <a:gd name="connsiteX8377" fmla="*/ 8178885 w 8566434"/>
                <a:gd name="connsiteY8377" fmla="*/ 2722378 h 2765205"/>
                <a:gd name="connsiteX8378" fmla="*/ 8196599 w 8566434"/>
                <a:gd name="connsiteY8378" fmla="*/ 2709213 h 2765205"/>
                <a:gd name="connsiteX8379" fmla="*/ 8180884 w 8566434"/>
                <a:gd name="connsiteY8379" fmla="*/ 2727065 h 2765205"/>
                <a:gd name="connsiteX8380" fmla="*/ 8175232 w 8566434"/>
                <a:gd name="connsiteY8380" fmla="*/ 2760700 h 276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Lst>
              <a:rect l="l" t="t" r="r" b="b"/>
              <a:pathLst>
                <a:path w="8566434" h="2765205">
                  <a:moveTo>
                    <a:pt x="1315578" y="242332"/>
                  </a:moveTo>
                  <a:cubicBezTo>
                    <a:pt x="1309857" y="257771"/>
                    <a:pt x="1310408" y="274313"/>
                    <a:pt x="1310339" y="290510"/>
                  </a:cubicBezTo>
                  <a:cubicBezTo>
                    <a:pt x="1315853" y="289132"/>
                    <a:pt x="1326950" y="286375"/>
                    <a:pt x="1332464" y="284927"/>
                  </a:cubicBezTo>
                  <a:cubicBezTo>
                    <a:pt x="1333636" y="274451"/>
                    <a:pt x="1334050" y="263905"/>
                    <a:pt x="1334256" y="253291"/>
                  </a:cubicBezTo>
                  <a:cubicBezTo>
                    <a:pt x="1335842" y="252464"/>
                    <a:pt x="1338943" y="250741"/>
                    <a:pt x="1340528" y="249914"/>
                  </a:cubicBezTo>
                  <a:cubicBezTo>
                    <a:pt x="1343285" y="248122"/>
                    <a:pt x="1348937" y="244538"/>
                    <a:pt x="1351694" y="242814"/>
                  </a:cubicBezTo>
                  <a:cubicBezTo>
                    <a:pt x="1335428" y="240954"/>
                    <a:pt x="1319162" y="239506"/>
                    <a:pt x="1302827" y="238059"/>
                  </a:cubicBezTo>
                  <a:cubicBezTo>
                    <a:pt x="1294418" y="253705"/>
                    <a:pt x="1285044" y="268799"/>
                    <a:pt x="1276360" y="284307"/>
                  </a:cubicBezTo>
                  <a:cubicBezTo>
                    <a:pt x="1283459" y="284858"/>
                    <a:pt x="1297588" y="285961"/>
                    <a:pt x="1304688" y="286513"/>
                  </a:cubicBezTo>
                  <a:cubicBezTo>
                    <a:pt x="1306893" y="271901"/>
                    <a:pt x="1301655" y="252326"/>
                    <a:pt x="1315578" y="242332"/>
                  </a:cubicBezTo>
                  <a:close/>
                  <a:moveTo>
                    <a:pt x="2104696" y="319734"/>
                  </a:moveTo>
                  <a:cubicBezTo>
                    <a:pt x="2108211" y="315806"/>
                    <a:pt x="2108211" y="315806"/>
                    <a:pt x="2104696" y="319734"/>
                  </a:cubicBezTo>
                  <a:moveTo>
                    <a:pt x="2372123" y="327040"/>
                  </a:moveTo>
                  <a:cubicBezTo>
                    <a:pt x="2362681" y="305811"/>
                    <a:pt x="2394868" y="327316"/>
                    <a:pt x="2372123" y="327040"/>
                  </a:cubicBezTo>
                  <a:moveTo>
                    <a:pt x="2205257" y="319596"/>
                  </a:moveTo>
                  <a:cubicBezTo>
                    <a:pt x="2212976" y="320148"/>
                    <a:pt x="2226141" y="325731"/>
                    <a:pt x="2224142" y="335311"/>
                  </a:cubicBezTo>
                  <a:cubicBezTo>
                    <a:pt x="2215871" y="344616"/>
                    <a:pt x="2191817" y="326902"/>
                    <a:pt x="2205257" y="319596"/>
                  </a:cubicBezTo>
                  <a:moveTo>
                    <a:pt x="2662710" y="354266"/>
                  </a:moveTo>
                  <a:cubicBezTo>
                    <a:pt x="2666225" y="350268"/>
                    <a:pt x="2666225" y="350268"/>
                    <a:pt x="2662710" y="354266"/>
                  </a:cubicBezTo>
                  <a:moveTo>
                    <a:pt x="2585376" y="354886"/>
                  </a:moveTo>
                  <a:cubicBezTo>
                    <a:pt x="2575175" y="334071"/>
                    <a:pt x="2608190" y="354335"/>
                    <a:pt x="2585376" y="354886"/>
                  </a:cubicBezTo>
                  <a:moveTo>
                    <a:pt x="2494327" y="356954"/>
                  </a:moveTo>
                  <a:cubicBezTo>
                    <a:pt x="2491914" y="348821"/>
                    <a:pt x="2489502" y="340687"/>
                    <a:pt x="2487227" y="332485"/>
                  </a:cubicBezTo>
                  <a:cubicBezTo>
                    <a:pt x="2498600" y="339791"/>
                    <a:pt x="2510800" y="346546"/>
                    <a:pt x="2519967" y="356747"/>
                  </a:cubicBezTo>
                  <a:cubicBezTo>
                    <a:pt x="2513557" y="356816"/>
                    <a:pt x="2500737" y="356885"/>
                    <a:pt x="2494327" y="356954"/>
                  </a:cubicBezTo>
                  <a:moveTo>
                    <a:pt x="2820271" y="360538"/>
                  </a:moveTo>
                  <a:cubicBezTo>
                    <a:pt x="2808968" y="340205"/>
                    <a:pt x="2842947" y="358677"/>
                    <a:pt x="2820271" y="360538"/>
                  </a:cubicBezTo>
                  <a:moveTo>
                    <a:pt x="2800008" y="361434"/>
                  </a:moveTo>
                  <a:cubicBezTo>
                    <a:pt x="2803729" y="357781"/>
                    <a:pt x="2803729" y="357781"/>
                    <a:pt x="2800008" y="361434"/>
                  </a:cubicBezTo>
                  <a:moveTo>
                    <a:pt x="2690004" y="372806"/>
                  </a:moveTo>
                  <a:cubicBezTo>
                    <a:pt x="2746660" y="375150"/>
                    <a:pt x="2803178" y="379423"/>
                    <a:pt x="2859765" y="383145"/>
                  </a:cubicBezTo>
                  <a:cubicBezTo>
                    <a:pt x="2864176" y="378251"/>
                    <a:pt x="2868519" y="373289"/>
                    <a:pt x="2872999" y="368257"/>
                  </a:cubicBezTo>
                  <a:cubicBezTo>
                    <a:pt x="2865003" y="361503"/>
                    <a:pt x="2857422" y="354266"/>
                    <a:pt x="2850391" y="346477"/>
                  </a:cubicBezTo>
                  <a:cubicBezTo>
                    <a:pt x="2840190" y="343858"/>
                    <a:pt x="2829852" y="341997"/>
                    <a:pt x="2819789" y="339240"/>
                  </a:cubicBezTo>
                  <a:lnTo>
                    <a:pt x="2811587" y="333795"/>
                  </a:lnTo>
                  <a:cubicBezTo>
                    <a:pt x="2800628" y="338964"/>
                    <a:pt x="2789462" y="331176"/>
                    <a:pt x="2778434" y="330487"/>
                  </a:cubicBezTo>
                  <a:cubicBezTo>
                    <a:pt x="2745902" y="326902"/>
                    <a:pt x="2713025" y="327040"/>
                    <a:pt x="2680423" y="323870"/>
                  </a:cubicBezTo>
                  <a:lnTo>
                    <a:pt x="2679734" y="337586"/>
                  </a:lnTo>
                  <a:cubicBezTo>
                    <a:pt x="2679113" y="334071"/>
                    <a:pt x="2677804" y="327040"/>
                    <a:pt x="2677184" y="323456"/>
                  </a:cubicBezTo>
                  <a:cubicBezTo>
                    <a:pt x="2610051" y="319321"/>
                    <a:pt x="2542850" y="315668"/>
                    <a:pt x="2475717" y="310498"/>
                  </a:cubicBezTo>
                  <a:cubicBezTo>
                    <a:pt x="2477992" y="317391"/>
                    <a:pt x="2482610" y="331245"/>
                    <a:pt x="2484884" y="338137"/>
                  </a:cubicBezTo>
                  <a:cubicBezTo>
                    <a:pt x="2470410" y="336552"/>
                    <a:pt x="2466688" y="329522"/>
                    <a:pt x="2473718" y="317046"/>
                  </a:cubicBezTo>
                  <a:cubicBezTo>
                    <a:pt x="2455453" y="316219"/>
                    <a:pt x="2428435" y="298230"/>
                    <a:pt x="2415959" y="318149"/>
                  </a:cubicBezTo>
                  <a:cubicBezTo>
                    <a:pt x="2402588" y="319114"/>
                    <a:pt x="2390182" y="315944"/>
                    <a:pt x="2381428" y="305122"/>
                  </a:cubicBezTo>
                  <a:cubicBezTo>
                    <a:pt x="2291964" y="298850"/>
                    <a:pt x="2202155" y="295335"/>
                    <a:pt x="2112829" y="287271"/>
                  </a:cubicBezTo>
                  <a:cubicBezTo>
                    <a:pt x="2113863" y="292854"/>
                    <a:pt x="2115931" y="304157"/>
                    <a:pt x="2116964" y="309809"/>
                  </a:cubicBezTo>
                  <a:cubicBezTo>
                    <a:pt x="2112002" y="302503"/>
                    <a:pt x="2107522" y="294922"/>
                    <a:pt x="2103042" y="287271"/>
                  </a:cubicBezTo>
                  <a:cubicBezTo>
                    <a:pt x="2093185" y="286995"/>
                    <a:pt x="2083398" y="286719"/>
                    <a:pt x="2073611" y="286513"/>
                  </a:cubicBezTo>
                  <a:cubicBezTo>
                    <a:pt x="2072025" y="295886"/>
                    <a:pt x="2073473" y="307948"/>
                    <a:pt x="2063617" y="312911"/>
                  </a:cubicBezTo>
                  <a:cubicBezTo>
                    <a:pt x="2061687" y="302641"/>
                    <a:pt x="2065615" y="293060"/>
                    <a:pt x="2070854" y="284445"/>
                  </a:cubicBezTo>
                  <a:cubicBezTo>
                    <a:pt x="2015163" y="283411"/>
                    <a:pt x="1959609" y="278724"/>
                    <a:pt x="1904056" y="274727"/>
                  </a:cubicBezTo>
                  <a:cubicBezTo>
                    <a:pt x="1904745" y="278862"/>
                    <a:pt x="1906124" y="287064"/>
                    <a:pt x="1906813" y="291200"/>
                  </a:cubicBezTo>
                  <a:cubicBezTo>
                    <a:pt x="1896061" y="290924"/>
                    <a:pt x="1890271" y="285410"/>
                    <a:pt x="1889582" y="274520"/>
                  </a:cubicBezTo>
                  <a:cubicBezTo>
                    <a:pt x="1862081" y="272383"/>
                    <a:pt x="1834580" y="271074"/>
                    <a:pt x="1807148" y="269144"/>
                  </a:cubicBezTo>
                  <a:cubicBezTo>
                    <a:pt x="1807700" y="272659"/>
                    <a:pt x="1808871" y="279827"/>
                    <a:pt x="1809423" y="283411"/>
                  </a:cubicBezTo>
                  <a:cubicBezTo>
                    <a:pt x="1797568" y="276863"/>
                    <a:pt x="1785850" y="278104"/>
                    <a:pt x="1783507" y="294508"/>
                  </a:cubicBezTo>
                  <a:cubicBezTo>
                    <a:pt x="1789228" y="299264"/>
                    <a:pt x="1795293" y="303744"/>
                    <a:pt x="1801427" y="308017"/>
                  </a:cubicBezTo>
                  <a:cubicBezTo>
                    <a:pt x="1810594" y="305674"/>
                    <a:pt x="1819899" y="303606"/>
                    <a:pt x="1829204" y="301538"/>
                  </a:cubicBezTo>
                  <a:cubicBezTo>
                    <a:pt x="1829204" y="305811"/>
                    <a:pt x="1829204" y="314220"/>
                    <a:pt x="1829135" y="318494"/>
                  </a:cubicBezTo>
                  <a:cubicBezTo>
                    <a:pt x="1908605" y="323181"/>
                    <a:pt x="1988075" y="329935"/>
                    <a:pt x="2067545" y="332416"/>
                  </a:cubicBezTo>
                  <a:cubicBezTo>
                    <a:pt x="2069131" y="330142"/>
                    <a:pt x="2072232" y="325662"/>
                    <a:pt x="2073818" y="323387"/>
                  </a:cubicBezTo>
                  <a:lnTo>
                    <a:pt x="2071267" y="336897"/>
                  </a:lnTo>
                  <a:cubicBezTo>
                    <a:pt x="2081813" y="333450"/>
                    <a:pt x="2088843" y="326006"/>
                    <a:pt x="2092358" y="314703"/>
                  </a:cubicBezTo>
                  <a:cubicBezTo>
                    <a:pt x="2092634" y="321733"/>
                    <a:pt x="2092910" y="328695"/>
                    <a:pt x="2093254" y="335656"/>
                  </a:cubicBezTo>
                  <a:cubicBezTo>
                    <a:pt x="2133093" y="337310"/>
                    <a:pt x="2172862" y="340274"/>
                    <a:pt x="2212632" y="342617"/>
                  </a:cubicBezTo>
                  <a:cubicBezTo>
                    <a:pt x="2227037" y="344892"/>
                    <a:pt x="2240271" y="338413"/>
                    <a:pt x="2253711" y="334277"/>
                  </a:cubicBezTo>
                  <a:lnTo>
                    <a:pt x="2250196" y="347787"/>
                  </a:lnTo>
                  <a:cubicBezTo>
                    <a:pt x="2274319" y="333588"/>
                    <a:pt x="2298374" y="350681"/>
                    <a:pt x="2323807" y="349854"/>
                  </a:cubicBezTo>
                  <a:cubicBezTo>
                    <a:pt x="2443805" y="356885"/>
                    <a:pt x="2563734" y="363984"/>
                    <a:pt x="2683732" y="372255"/>
                  </a:cubicBezTo>
                  <a:cubicBezTo>
                    <a:pt x="2683387" y="361227"/>
                    <a:pt x="2683456" y="350199"/>
                    <a:pt x="2684007" y="339102"/>
                  </a:cubicBezTo>
                  <a:cubicBezTo>
                    <a:pt x="2696552" y="341583"/>
                    <a:pt x="2713231" y="333864"/>
                    <a:pt x="2722743" y="344823"/>
                  </a:cubicBezTo>
                  <a:cubicBezTo>
                    <a:pt x="2712404" y="343858"/>
                    <a:pt x="2702135" y="342204"/>
                    <a:pt x="2691934" y="340343"/>
                  </a:cubicBezTo>
                  <a:cubicBezTo>
                    <a:pt x="2691313" y="351233"/>
                    <a:pt x="2690624" y="362054"/>
                    <a:pt x="2690004" y="372806"/>
                  </a:cubicBezTo>
                  <a:moveTo>
                    <a:pt x="1931695" y="127504"/>
                  </a:moveTo>
                  <a:cubicBezTo>
                    <a:pt x="1928111" y="117647"/>
                    <a:pt x="1931144" y="114408"/>
                    <a:pt x="1940793" y="117785"/>
                  </a:cubicBezTo>
                  <a:cubicBezTo>
                    <a:pt x="1944308" y="127710"/>
                    <a:pt x="1941276" y="130950"/>
                    <a:pt x="1931695" y="127504"/>
                  </a:cubicBezTo>
                  <a:moveTo>
                    <a:pt x="2339660" y="148870"/>
                  </a:moveTo>
                  <a:cubicBezTo>
                    <a:pt x="2340487" y="126194"/>
                    <a:pt x="2360889" y="159347"/>
                    <a:pt x="2339660" y="148870"/>
                  </a:cubicBezTo>
                  <a:moveTo>
                    <a:pt x="2525205" y="161621"/>
                  </a:moveTo>
                  <a:cubicBezTo>
                    <a:pt x="2528927" y="158175"/>
                    <a:pt x="2528927" y="158175"/>
                    <a:pt x="2525205" y="161621"/>
                  </a:cubicBezTo>
                  <a:moveTo>
                    <a:pt x="2153632" y="160036"/>
                  </a:moveTo>
                  <a:cubicBezTo>
                    <a:pt x="2153632" y="158244"/>
                    <a:pt x="2153563" y="154591"/>
                    <a:pt x="2153563" y="152799"/>
                  </a:cubicBezTo>
                  <a:cubicBezTo>
                    <a:pt x="2161972" y="150662"/>
                    <a:pt x="2170450" y="148526"/>
                    <a:pt x="2178859" y="146044"/>
                  </a:cubicBezTo>
                  <a:cubicBezTo>
                    <a:pt x="2183890" y="151076"/>
                    <a:pt x="2189128" y="155832"/>
                    <a:pt x="2193402" y="161552"/>
                  </a:cubicBezTo>
                  <a:cubicBezTo>
                    <a:pt x="2180513" y="160863"/>
                    <a:pt x="2161972" y="145424"/>
                    <a:pt x="2153632" y="160036"/>
                  </a:cubicBezTo>
                  <a:moveTo>
                    <a:pt x="2681181" y="150731"/>
                  </a:moveTo>
                  <a:cubicBezTo>
                    <a:pt x="2699171" y="154039"/>
                    <a:pt x="2716884" y="158795"/>
                    <a:pt x="2735356" y="159416"/>
                  </a:cubicBezTo>
                  <a:cubicBezTo>
                    <a:pt x="2735149" y="161346"/>
                    <a:pt x="2734874" y="165067"/>
                    <a:pt x="2734667" y="166928"/>
                  </a:cubicBezTo>
                  <a:cubicBezTo>
                    <a:pt x="2716884" y="162035"/>
                    <a:pt x="2694760" y="164999"/>
                    <a:pt x="2681181" y="150731"/>
                  </a:cubicBezTo>
                  <a:moveTo>
                    <a:pt x="2364404" y="181885"/>
                  </a:moveTo>
                  <a:cubicBezTo>
                    <a:pt x="2354203" y="160863"/>
                    <a:pt x="2387700" y="181954"/>
                    <a:pt x="2364404" y="181885"/>
                  </a:cubicBezTo>
                  <a:moveTo>
                    <a:pt x="2276938" y="181403"/>
                  </a:moveTo>
                  <a:cubicBezTo>
                    <a:pt x="2280798" y="178094"/>
                    <a:pt x="2280798" y="178094"/>
                    <a:pt x="2276938" y="181403"/>
                  </a:cubicBezTo>
                  <a:moveTo>
                    <a:pt x="2973008" y="189949"/>
                  </a:moveTo>
                  <a:cubicBezTo>
                    <a:pt x="2968804" y="178715"/>
                    <a:pt x="2972388" y="174924"/>
                    <a:pt x="2983760" y="178577"/>
                  </a:cubicBezTo>
                  <a:cubicBezTo>
                    <a:pt x="2987827" y="189949"/>
                    <a:pt x="2984243" y="193671"/>
                    <a:pt x="2973008" y="189949"/>
                  </a:cubicBezTo>
                  <a:moveTo>
                    <a:pt x="2828060" y="189467"/>
                  </a:moveTo>
                  <a:cubicBezTo>
                    <a:pt x="2824613" y="179679"/>
                    <a:pt x="2827715" y="176509"/>
                    <a:pt x="2837433" y="179955"/>
                  </a:cubicBezTo>
                  <a:cubicBezTo>
                    <a:pt x="2840811" y="189811"/>
                    <a:pt x="2837709" y="192982"/>
                    <a:pt x="2828060" y="189467"/>
                  </a:cubicBezTo>
                  <a:moveTo>
                    <a:pt x="2465172" y="181747"/>
                  </a:moveTo>
                  <a:cubicBezTo>
                    <a:pt x="2461519" y="175062"/>
                    <a:pt x="2458141" y="168169"/>
                    <a:pt x="2455040" y="161139"/>
                  </a:cubicBezTo>
                  <a:cubicBezTo>
                    <a:pt x="2447527" y="159485"/>
                    <a:pt x="2440359" y="156865"/>
                    <a:pt x="2433811" y="153006"/>
                  </a:cubicBezTo>
                  <a:cubicBezTo>
                    <a:pt x="2437946" y="152523"/>
                    <a:pt x="2446286" y="151558"/>
                    <a:pt x="2450422" y="151076"/>
                  </a:cubicBezTo>
                  <a:cubicBezTo>
                    <a:pt x="2463655" y="161483"/>
                    <a:pt x="2477785" y="170857"/>
                    <a:pt x="2490605" y="181885"/>
                  </a:cubicBezTo>
                  <a:cubicBezTo>
                    <a:pt x="2482678" y="181954"/>
                    <a:pt x="2471513" y="190432"/>
                    <a:pt x="2465172" y="181747"/>
                  </a:cubicBezTo>
                  <a:moveTo>
                    <a:pt x="2251299" y="186848"/>
                  </a:moveTo>
                  <a:cubicBezTo>
                    <a:pt x="2240133" y="166377"/>
                    <a:pt x="2214975" y="169754"/>
                    <a:pt x="2197882" y="157762"/>
                  </a:cubicBezTo>
                  <a:cubicBezTo>
                    <a:pt x="2204774" y="156383"/>
                    <a:pt x="2211874" y="154936"/>
                    <a:pt x="2218904" y="153902"/>
                  </a:cubicBezTo>
                  <a:cubicBezTo>
                    <a:pt x="2229381" y="168376"/>
                    <a:pt x="2250471" y="164516"/>
                    <a:pt x="2265290" y="172029"/>
                  </a:cubicBezTo>
                  <a:cubicBezTo>
                    <a:pt x="2265773" y="179542"/>
                    <a:pt x="2261499" y="198909"/>
                    <a:pt x="2251299" y="186848"/>
                  </a:cubicBezTo>
                  <a:moveTo>
                    <a:pt x="2095804" y="190294"/>
                  </a:moveTo>
                  <a:cubicBezTo>
                    <a:pt x="2090015" y="177474"/>
                    <a:pt x="2089050" y="163620"/>
                    <a:pt x="2090360" y="149697"/>
                  </a:cubicBezTo>
                  <a:cubicBezTo>
                    <a:pt x="2095184" y="157555"/>
                    <a:pt x="2099940" y="165412"/>
                    <a:pt x="2105040" y="172994"/>
                  </a:cubicBezTo>
                  <a:cubicBezTo>
                    <a:pt x="2099940" y="177681"/>
                    <a:pt x="2098148" y="184229"/>
                    <a:pt x="2095804" y="190294"/>
                  </a:cubicBezTo>
                  <a:moveTo>
                    <a:pt x="1912465" y="189605"/>
                  </a:moveTo>
                  <a:cubicBezTo>
                    <a:pt x="1909639" y="180162"/>
                    <a:pt x="1913085" y="176647"/>
                    <a:pt x="1922735" y="179128"/>
                  </a:cubicBezTo>
                  <a:cubicBezTo>
                    <a:pt x="1925561" y="188778"/>
                    <a:pt x="1922114" y="192224"/>
                    <a:pt x="1912465" y="189605"/>
                  </a:cubicBezTo>
                  <a:moveTo>
                    <a:pt x="3054615" y="196290"/>
                  </a:moveTo>
                  <a:cubicBezTo>
                    <a:pt x="3050686" y="185056"/>
                    <a:pt x="3054339" y="181334"/>
                    <a:pt x="3065712" y="185193"/>
                  </a:cubicBezTo>
                  <a:cubicBezTo>
                    <a:pt x="3069571" y="196497"/>
                    <a:pt x="3065919" y="200219"/>
                    <a:pt x="3054615" y="196290"/>
                  </a:cubicBezTo>
                  <a:moveTo>
                    <a:pt x="2951779" y="194843"/>
                  </a:moveTo>
                  <a:cubicBezTo>
                    <a:pt x="2944680" y="189467"/>
                    <a:pt x="2951435" y="172649"/>
                    <a:pt x="2960257" y="180093"/>
                  </a:cubicBezTo>
                  <a:cubicBezTo>
                    <a:pt x="2967218" y="185538"/>
                    <a:pt x="2960257" y="200908"/>
                    <a:pt x="2951779" y="194843"/>
                  </a:cubicBezTo>
                  <a:moveTo>
                    <a:pt x="2903946" y="195808"/>
                  </a:moveTo>
                  <a:cubicBezTo>
                    <a:pt x="2907392" y="192224"/>
                    <a:pt x="2907392" y="192224"/>
                    <a:pt x="2903946" y="195808"/>
                  </a:cubicBezTo>
                  <a:moveTo>
                    <a:pt x="2293825" y="196635"/>
                  </a:moveTo>
                  <a:cubicBezTo>
                    <a:pt x="2294859" y="173545"/>
                    <a:pt x="2288173" y="148939"/>
                    <a:pt x="2297478" y="127021"/>
                  </a:cubicBezTo>
                  <a:cubicBezTo>
                    <a:pt x="2299546" y="137360"/>
                    <a:pt x="2302372" y="147423"/>
                    <a:pt x="2306852" y="157003"/>
                  </a:cubicBezTo>
                  <a:cubicBezTo>
                    <a:pt x="2306231" y="159416"/>
                    <a:pt x="2304991" y="164378"/>
                    <a:pt x="2304371" y="166791"/>
                  </a:cubicBezTo>
                  <a:cubicBezTo>
                    <a:pt x="2320016" y="177474"/>
                    <a:pt x="2306852" y="192499"/>
                    <a:pt x="2293825" y="196635"/>
                  </a:cubicBezTo>
                  <a:moveTo>
                    <a:pt x="2276663" y="196290"/>
                  </a:moveTo>
                  <a:cubicBezTo>
                    <a:pt x="2280385" y="192844"/>
                    <a:pt x="2280385" y="192844"/>
                    <a:pt x="2276663" y="196290"/>
                  </a:cubicBezTo>
                  <a:moveTo>
                    <a:pt x="1955060" y="199116"/>
                  </a:moveTo>
                  <a:cubicBezTo>
                    <a:pt x="1955060" y="193740"/>
                    <a:pt x="1955129" y="188226"/>
                    <a:pt x="1955198" y="182643"/>
                  </a:cubicBezTo>
                  <a:cubicBezTo>
                    <a:pt x="1957266" y="180989"/>
                    <a:pt x="1961332" y="177681"/>
                    <a:pt x="1963331" y="176095"/>
                  </a:cubicBezTo>
                  <a:cubicBezTo>
                    <a:pt x="1964021" y="168445"/>
                    <a:pt x="1962711" y="160863"/>
                    <a:pt x="1962229" y="153143"/>
                  </a:cubicBezTo>
                  <a:cubicBezTo>
                    <a:pt x="1969190" y="150593"/>
                    <a:pt x="1976220" y="148043"/>
                    <a:pt x="1983182" y="145424"/>
                  </a:cubicBezTo>
                  <a:cubicBezTo>
                    <a:pt x="1967467" y="159967"/>
                    <a:pt x="1968294" y="182023"/>
                    <a:pt x="1967053" y="201735"/>
                  </a:cubicBezTo>
                  <a:cubicBezTo>
                    <a:pt x="1964021" y="201115"/>
                    <a:pt x="1958093" y="199806"/>
                    <a:pt x="1955060" y="199116"/>
                  </a:cubicBezTo>
                  <a:moveTo>
                    <a:pt x="2386873" y="207180"/>
                  </a:moveTo>
                  <a:cubicBezTo>
                    <a:pt x="2390802" y="203458"/>
                    <a:pt x="2390802" y="203458"/>
                    <a:pt x="2386873" y="207180"/>
                  </a:cubicBezTo>
                  <a:moveTo>
                    <a:pt x="2621837" y="216416"/>
                  </a:moveTo>
                  <a:cubicBezTo>
                    <a:pt x="2625490" y="212763"/>
                    <a:pt x="2625490" y="212763"/>
                    <a:pt x="2621837" y="216416"/>
                  </a:cubicBezTo>
                  <a:moveTo>
                    <a:pt x="2512385" y="193120"/>
                  </a:moveTo>
                  <a:cubicBezTo>
                    <a:pt x="2509766" y="192982"/>
                    <a:pt x="2504528" y="192637"/>
                    <a:pt x="2501908" y="192499"/>
                  </a:cubicBezTo>
                  <a:lnTo>
                    <a:pt x="2503563" y="186641"/>
                  </a:lnTo>
                  <a:lnTo>
                    <a:pt x="2516520" y="191190"/>
                  </a:lnTo>
                  <a:cubicBezTo>
                    <a:pt x="2514797" y="185469"/>
                    <a:pt x="2511420" y="174165"/>
                    <a:pt x="2509697" y="168445"/>
                  </a:cubicBezTo>
                  <a:cubicBezTo>
                    <a:pt x="2511902" y="170030"/>
                    <a:pt x="2516383" y="173201"/>
                    <a:pt x="2518588" y="174786"/>
                  </a:cubicBezTo>
                  <a:cubicBezTo>
                    <a:pt x="2518795" y="190156"/>
                    <a:pt x="2524585" y="204286"/>
                    <a:pt x="2530030" y="218346"/>
                  </a:cubicBezTo>
                  <a:cubicBezTo>
                    <a:pt x="2522103" y="211385"/>
                    <a:pt x="2511420" y="205526"/>
                    <a:pt x="2512385" y="193120"/>
                  </a:cubicBezTo>
                  <a:moveTo>
                    <a:pt x="2167211" y="193671"/>
                  </a:moveTo>
                  <a:cubicBezTo>
                    <a:pt x="2171553" y="201666"/>
                    <a:pt x="2172035" y="209662"/>
                    <a:pt x="2168589" y="217726"/>
                  </a:cubicBezTo>
                  <a:cubicBezTo>
                    <a:pt x="2157837" y="219725"/>
                    <a:pt x="2157906" y="193464"/>
                    <a:pt x="2167211" y="193671"/>
                  </a:cubicBezTo>
                  <a:moveTo>
                    <a:pt x="3656809" y="224205"/>
                  </a:moveTo>
                  <a:cubicBezTo>
                    <a:pt x="3657912" y="214900"/>
                    <a:pt x="3662806" y="213108"/>
                    <a:pt x="3671352" y="218829"/>
                  </a:cubicBezTo>
                  <a:cubicBezTo>
                    <a:pt x="3670112" y="228202"/>
                    <a:pt x="3665287" y="229994"/>
                    <a:pt x="3656809" y="224205"/>
                  </a:cubicBezTo>
                  <a:moveTo>
                    <a:pt x="2806624" y="223722"/>
                  </a:moveTo>
                  <a:cubicBezTo>
                    <a:pt x="2795527" y="203252"/>
                    <a:pt x="2829301" y="222206"/>
                    <a:pt x="2806624" y="223722"/>
                  </a:cubicBezTo>
                  <a:moveTo>
                    <a:pt x="2599713" y="223998"/>
                  </a:moveTo>
                  <a:cubicBezTo>
                    <a:pt x="2589994" y="202700"/>
                    <a:pt x="2622389" y="224067"/>
                    <a:pt x="2599713" y="223998"/>
                  </a:cubicBezTo>
                  <a:moveTo>
                    <a:pt x="2559667" y="224756"/>
                  </a:moveTo>
                  <a:cubicBezTo>
                    <a:pt x="2561253" y="221999"/>
                    <a:pt x="2564354" y="216554"/>
                    <a:pt x="2565939" y="213797"/>
                  </a:cubicBezTo>
                  <a:cubicBezTo>
                    <a:pt x="2563113" y="203941"/>
                    <a:pt x="2560839" y="193947"/>
                    <a:pt x="2559116" y="183746"/>
                  </a:cubicBezTo>
                  <a:cubicBezTo>
                    <a:pt x="2555739" y="185883"/>
                    <a:pt x="2548915" y="190087"/>
                    <a:pt x="2545469" y="192224"/>
                  </a:cubicBezTo>
                  <a:cubicBezTo>
                    <a:pt x="2540920" y="188157"/>
                    <a:pt x="2536578" y="183815"/>
                    <a:pt x="2532442" y="179335"/>
                  </a:cubicBezTo>
                  <a:lnTo>
                    <a:pt x="2535544" y="177267"/>
                  </a:lnTo>
                  <a:cubicBezTo>
                    <a:pt x="2537887" y="176027"/>
                    <a:pt x="2542505" y="173545"/>
                    <a:pt x="2544779" y="172305"/>
                  </a:cubicBezTo>
                  <a:cubicBezTo>
                    <a:pt x="2549466" y="172442"/>
                    <a:pt x="2558909" y="172856"/>
                    <a:pt x="2563596" y="173063"/>
                  </a:cubicBezTo>
                  <a:cubicBezTo>
                    <a:pt x="2566904" y="180920"/>
                    <a:pt x="2570557" y="188778"/>
                    <a:pt x="2575244" y="195877"/>
                  </a:cubicBezTo>
                  <a:cubicBezTo>
                    <a:pt x="2574348" y="203803"/>
                    <a:pt x="2573452" y="211592"/>
                    <a:pt x="2572556" y="219449"/>
                  </a:cubicBezTo>
                  <a:cubicBezTo>
                    <a:pt x="2569386" y="220759"/>
                    <a:pt x="2562907" y="223447"/>
                    <a:pt x="2559667" y="224756"/>
                  </a:cubicBezTo>
                  <a:moveTo>
                    <a:pt x="2468135" y="223791"/>
                  </a:moveTo>
                  <a:cubicBezTo>
                    <a:pt x="2458141" y="202838"/>
                    <a:pt x="2490949" y="223447"/>
                    <a:pt x="2468135" y="223791"/>
                  </a:cubicBezTo>
                  <a:moveTo>
                    <a:pt x="2982037" y="230270"/>
                  </a:moveTo>
                  <a:cubicBezTo>
                    <a:pt x="2975558" y="217450"/>
                    <a:pt x="3001888" y="215245"/>
                    <a:pt x="3004438" y="226410"/>
                  </a:cubicBezTo>
                  <a:cubicBezTo>
                    <a:pt x="3004024" y="237507"/>
                    <a:pt x="2987483" y="237025"/>
                    <a:pt x="2982037" y="230270"/>
                  </a:cubicBezTo>
                  <a:moveTo>
                    <a:pt x="2965771" y="229512"/>
                  </a:moveTo>
                  <a:cubicBezTo>
                    <a:pt x="2958396" y="228754"/>
                    <a:pt x="2949091" y="220000"/>
                    <a:pt x="2953709" y="212281"/>
                  </a:cubicBezTo>
                  <a:cubicBezTo>
                    <a:pt x="2963152" y="204079"/>
                    <a:pt x="2978315" y="225652"/>
                    <a:pt x="2965771" y="229512"/>
                  </a:cubicBezTo>
                  <a:moveTo>
                    <a:pt x="2484608" y="229926"/>
                  </a:moveTo>
                  <a:cubicBezTo>
                    <a:pt x="2486469" y="216072"/>
                    <a:pt x="2483230" y="199530"/>
                    <a:pt x="2494947" y="189053"/>
                  </a:cubicBezTo>
                  <a:cubicBezTo>
                    <a:pt x="2493982" y="197807"/>
                    <a:pt x="2491983" y="206353"/>
                    <a:pt x="2488951" y="214486"/>
                  </a:cubicBezTo>
                  <a:cubicBezTo>
                    <a:pt x="2490467" y="219932"/>
                    <a:pt x="2491983" y="225239"/>
                    <a:pt x="2493637" y="230477"/>
                  </a:cubicBezTo>
                  <a:cubicBezTo>
                    <a:pt x="2491432" y="230339"/>
                    <a:pt x="2486883" y="230063"/>
                    <a:pt x="2484608" y="229926"/>
                  </a:cubicBezTo>
                  <a:moveTo>
                    <a:pt x="2331389" y="229994"/>
                  </a:moveTo>
                  <a:cubicBezTo>
                    <a:pt x="2335249" y="226479"/>
                    <a:pt x="2335249" y="226479"/>
                    <a:pt x="2331389" y="229994"/>
                  </a:cubicBezTo>
                  <a:moveTo>
                    <a:pt x="2317397" y="230201"/>
                  </a:moveTo>
                  <a:cubicBezTo>
                    <a:pt x="2306576" y="209731"/>
                    <a:pt x="2340073" y="227375"/>
                    <a:pt x="2317397" y="230201"/>
                  </a:cubicBezTo>
                  <a:moveTo>
                    <a:pt x="3187088" y="244744"/>
                  </a:moveTo>
                  <a:cubicBezTo>
                    <a:pt x="3189156" y="225376"/>
                    <a:pt x="3189087" y="205871"/>
                    <a:pt x="3188949" y="186365"/>
                  </a:cubicBezTo>
                  <a:cubicBezTo>
                    <a:pt x="3200115" y="190845"/>
                    <a:pt x="3212797" y="194429"/>
                    <a:pt x="3220654" y="204286"/>
                  </a:cubicBezTo>
                  <a:cubicBezTo>
                    <a:pt x="3222929" y="213452"/>
                    <a:pt x="3218449" y="222688"/>
                    <a:pt x="3217346" y="231580"/>
                  </a:cubicBezTo>
                  <a:cubicBezTo>
                    <a:pt x="3207214" y="235922"/>
                    <a:pt x="3197013" y="240471"/>
                    <a:pt x="3187088" y="244744"/>
                  </a:cubicBezTo>
                  <a:moveTo>
                    <a:pt x="2826957" y="236336"/>
                  </a:moveTo>
                  <a:cubicBezTo>
                    <a:pt x="2816273" y="215589"/>
                    <a:pt x="2849633" y="235026"/>
                    <a:pt x="2826957" y="236336"/>
                  </a:cubicBezTo>
                  <a:moveTo>
                    <a:pt x="2620459" y="236404"/>
                  </a:moveTo>
                  <a:cubicBezTo>
                    <a:pt x="2609017" y="216209"/>
                    <a:pt x="2643204" y="234406"/>
                    <a:pt x="2620459" y="236404"/>
                  </a:cubicBezTo>
                  <a:moveTo>
                    <a:pt x="3641370" y="242539"/>
                  </a:moveTo>
                  <a:cubicBezTo>
                    <a:pt x="3635650" y="237576"/>
                    <a:pt x="3634753" y="220414"/>
                    <a:pt x="3644747" y="220690"/>
                  </a:cubicBezTo>
                  <a:cubicBezTo>
                    <a:pt x="3650330" y="225790"/>
                    <a:pt x="3650951" y="242745"/>
                    <a:pt x="3641370" y="242539"/>
                  </a:cubicBezTo>
                  <a:moveTo>
                    <a:pt x="3282411" y="244951"/>
                  </a:moveTo>
                  <a:cubicBezTo>
                    <a:pt x="3279171" y="233854"/>
                    <a:pt x="3283169" y="229788"/>
                    <a:pt x="3294335" y="232889"/>
                  </a:cubicBezTo>
                  <a:cubicBezTo>
                    <a:pt x="3297436" y="244193"/>
                    <a:pt x="3293439" y="248191"/>
                    <a:pt x="3282411" y="244951"/>
                  </a:cubicBezTo>
                  <a:moveTo>
                    <a:pt x="3488565" y="250741"/>
                  </a:moveTo>
                  <a:cubicBezTo>
                    <a:pt x="3478570" y="229719"/>
                    <a:pt x="3511241" y="250258"/>
                    <a:pt x="3488565" y="250741"/>
                  </a:cubicBezTo>
                  <a:moveTo>
                    <a:pt x="3256495" y="251706"/>
                  </a:moveTo>
                  <a:cubicBezTo>
                    <a:pt x="3259941" y="247777"/>
                    <a:pt x="3259941" y="247777"/>
                    <a:pt x="3256495" y="251706"/>
                  </a:cubicBezTo>
                  <a:moveTo>
                    <a:pt x="3153177" y="250327"/>
                  </a:moveTo>
                  <a:cubicBezTo>
                    <a:pt x="3144010" y="245020"/>
                    <a:pt x="3151385" y="226755"/>
                    <a:pt x="3161448" y="235095"/>
                  </a:cubicBezTo>
                  <a:cubicBezTo>
                    <a:pt x="3170960" y="240540"/>
                    <a:pt x="3163240" y="258598"/>
                    <a:pt x="3153177" y="250327"/>
                  </a:cubicBezTo>
                  <a:moveTo>
                    <a:pt x="2952331" y="250327"/>
                  </a:moveTo>
                  <a:cubicBezTo>
                    <a:pt x="2956190" y="246536"/>
                    <a:pt x="2956190" y="246536"/>
                    <a:pt x="2952331" y="250327"/>
                  </a:cubicBezTo>
                  <a:moveTo>
                    <a:pt x="3674178" y="263009"/>
                  </a:moveTo>
                  <a:cubicBezTo>
                    <a:pt x="3680657" y="245709"/>
                    <a:pt x="3682380" y="227306"/>
                    <a:pt x="3683414" y="208972"/>
                  </a:cubicBezTo>
                  <a:cubicBezTo>
                    <a:pt x="3685482" y="210489"/>
                    <a:pt x="3689617" y="213590"/>
                    <a:pt x="3691685" y="215107"/>
                  </a:cubicBezTo>
                  <a:cubicBezTo>
                    <a:pt x="3690307" y="231511"/>
                    <a:pt x="3696372" y="261010"/>
                    <a:pt x="3674178" y="263009"/>
                  </a:cubicBezTo>
                  <a:moveTo>
                    <a:pt x="4197592" y="266731"/>
                  </a:moveTo>
                  <a:cubicBezTo>
                    <a:pt x="4197661" y="263561"/>
                    <a:pt x="4197730" y="257220"/>
                    <a:pt x="4197799" y="253980"/>
                  </a:cubicBezTo>
                  <a:cubicBezTo>
                    <a:pt x="4206759" y="255703"/>
                    <a:pt x="4215857" y="257358"/>
                    <a:pt x="4224955" y="258874"/>
                  </a:cubicBezTo>
                  <a:cubicBezTo>
                    <a:pt x="4215788" y="261493"/>
                    <a:pt x="4206552" y="264250"/>
                    <a:pt x="4197592" y="266731"/>
                  </a:cubicBezTo>
                  <a:moveTo>
                    <a:pt x="3765435" y="266456"/>
                  </a:moveTo>
                  <a:cubicBezTo>
                    <a:pt x="3766193" y="243710"/>
                    <a:pt x="3786181" y="277139"/>
                    <a:pt x="3765435" y="266456"/>
                  </a:cubicBezTo>
                  <a:moveTo>
                    <a:pt x="2986724" y="261493"/>
                  </a:moveTo>
                  <a:cubicBezTo>
                    <a:pt x="2986793" y="258805"/>
                    <a:pt x="2987069" y="253498"/>
                    <a:pt x="2987207" y="250810"/>
                  </a:cubicBezTo>
                  <a:cubicBezTo>
                    <a:pt x="2994375" y="245985"/>
                    <a:pt x="3014501" y="246605"/>
                    <a:pt x="3010296" y="259563"/>
                  </a:cubicBezTo>
                  <a:cubicBezTo>
                    <a:pt x="3004093" y="264526"/>
                    <a:pt x="2993341" y="265697"/>
                    <a:pt x="2986724" y="261493"/>
                  </a:cubicBezTo>
                  <a:moveTo>
                    <a:pt x="4021972" y="273624"/>
                  </a:moveTo>
                  <a:cubicBezTo>
                    <a:pt x="4019077" y="264043"/>
                    <a:pt x="4022386" y="260321"/>
                    <a:pt x="4031897" y="262320"/>
                  </a:cubicBezTo>
                  <a:cubicBezTo>
                    <a:pt x="4034792" y="272107"/>
                    <a:pt x="4031484" y="275898"/>
                    <a:pt x="4021972" y="273624"/>
                  </a:cubicBezTo>
                  <a:moveTo>
                    <a:pt x="3018223" y="264250"/>
                  </a:moveTo>
                  <a:cubicBezTo>
                    <a:pt x="3023254" y="242263"/>
                    <a:pt x="3053030" y="256806"/>
                    <a:pt x="3056476" y="273210"/>
                  </a:cubicBezTo>
                  <a:cubicBezTo>
                    <a:pt x="3043518" y="270867"/>
                    <a:pt x="3030836" y="267765"/>
                    <a:pt x="3018223" y="264250"/>
                  </a:cubicBezTo>
                  <a:moveTo>
                    <a:pt x="3361399" y="278862"/>
                  </a:moveTo>
                  <a:cubicBezTo>
                    <a:pt x="3358642" y="269902"/>
                    <a:pt x="3355953" y="260942"/>
                    <a:pt x="3353265" y="251912"/>
                  </a:cubicBezTo>
                  <a:cubicBezTo>
                    <a:pt x="3364500" y="250810"/>
                    <a:pt x="3375804" y="250052"/>
                    <a:pt x="3387176" y="249569"/>
                  </a:cubicBezTo>
                  <a:cubicBezTo>
                    <a:pt x="3390347" y="243435"/>
                    <a:pt x="3393586" y="237300"/>
                    <a:pt x="3396895" y="231166"/>
                  </a:cubicBezTo>
                  <a:cubicBezTo>
                    <a:pt x="3396550" y="236818"/>
                    <a:pt x="3395792" y="248191"/>
                    <a:pt x="3395447" y="253842"/>
                  </a:cubicBezTo>
                  <a:cubicBezTo>
                    <a:pt x="3400617" y="258322"/>
                    <a:pt x="3405786" y="262803"/>
                    <a:pt x="3410886" y="267283"/>
                  </a:cubicBezTo>
                  <a:cubicBezTo>
                    <a:pt x="3414471" y="265973"/>
                    <a:pt x="3421708" y="263423"/>
                    <a:pt x="3425292" y="262113"/>
                  </a:cubicBezTo>
                  <a:cubicBezTo>
                    <a:pt x="3406682" y="279620"/>
                    <a:pt x="3377596" y="258805"/>
                    <a:pt x="3361399" y="278862"/>
                  </a:cubicBezTo>
                  <a:moveTo>
                    <a:pt x="4427387" y="285134"/>
                  </a:moveTo>
                  <a:cubicBezTo>
                    <a:pt x="4430902" y="281481"/>
                    <a:pt x="4430902" y="281481"/>
                    <a:pt x="4427387" y="285134"/>
                  </a:cubicBezTo>
                  <a:moveTo>
                    <a:pt x="4308078" y="281826"/>
                  </a:moveTo>
                  <a:cubicBezTo>
                    <a:pt x="4304081" y="278380"/>
                    <a:pt x="4300152" y="274864"/>
                    <a:pt x="4296292" y="271349"/>
                  </a:cubicBezTo>
                  <a:cubicBezTo>
                    <a:pt x="4305735" y="269006"/>
                    <a:pt x="4315247" y="266593"/>
                    <a:pt x="4324758" y="263905"/>
                  </a:cubicBezTo>
                  <a:cubicBezTo>
                    <a:pt x="4328687" y="270867"/>
                    <a:pt x="4333236" y="277621"/>
                    <a:pt x="4335235" y="285479"/>
                  </a:cubicBezTo>
                  <a:cubicBezTo>
                    <a:pt x="4325999" y="284789"/>
                    <a:pt x="4317045" y="283273"/>
                    <a:pt x="4308078" y="281826"/>
                  </a:cubicBezTo>
                  <a:moveTo>
                    <a:pt x="3144493" y="287478"/>
                  </a:moveTo>
                  <a:cubicBezTo>
                    <a:pt x="3135119" y="282722"/>
                    <a:pt x="3134705" y="277966"/>
                    <a:pt x="3143183" y="273210"/>
                  </a:cubicBezTo>
                  <a:cubicBezTo>
                    <a:pt x="3152488" y="278035"/>
                    <a:pt x="3152970" y="282791"/>
                    <a:pt x="3144493" y="287478"/>
                  </a:cubicBezTo>
                  <a:moveTo>
                    <a:pt x="4605695" y="294232"/>
                  </a:moveTo>
                  <a:cubicBezTo>
                    <a:pt x="4596735" y="288580"/>
                    <a:pt x="4596735" y="283825"/>
                    <a:pt x="4605626" y="280034"/>
                  </a:cubicBezTo>
                  <a:cubicBezTo>
                    <a:pt x="4614586" y="285755"/>
                    <a:pt x="4614655" y="290510"/>
                    <a:pt x="4605695" y="294232"/>
                  </a:cubicBezTo>
                  <a:moveTo>
                    <a:pt x="3654949" y="291131"/>
                  </a:moveTo>
                  <a:cubicBezTo>
                    <a:pt x="3648883" y="282722"/>
                    <a:pt x="3650330" y="277552"/>
                    <a:pt x="3659429" y="275554"/>
                  </a:cubicBezTo>
                  <a:cubicBezTo>
                    <a:pt x="3665356" y="284031"/>
                    <a:pt x="3663840" y="289201"/>
                    <a:pt x="3654949" y="291131"/>
                  </a:cubicBezTo>
                  <a:moveTo>
                    <a:pt x="3339411" y="292096"/>
                  </a:moveTo>
                  <a:cubicBezTo>
                    <a:pt x="3331485" y="286237"/>
                    <a:pt x="3338722" y="269144"/>
                    <a:pt x="3348510" y="276588"/>
                  </a:cubicBezTo>
                  <a:cubicBezTo>
                    <a:pt x="3358228" y="282308"/>
                    <a:pt x="3349061" y="299746"/>
                    <a:pt x="3339411" y="292096"/>
                  </a:cubicBezTo>
                  <a:moveTo>
                    <a:pt x="4344891" y="300504"/>
                  </a:moveTo>
                  <a:cubicBezTo>
                    <a:pt x="4344677" y="294990"/>
                    <a:pt x="4344401" y="283894"/>
                    <a:pt x="4344264" y="278311"/>
                  </a:cubicBezTo>
                  <a:cubicBezTo>
                    <a:pt x="4365217" y="272659"/>
                    <a:pt x="4386583" y="281343"/>
                    <a:pt x="4404711" y="291682"/>
                  </a:cubicBezTo>
                  <a:cubicBezTo>
                    <a:pt x="4387824" y="294094"/>
                    <a:pt x="4370800" y="293474"/>
                    <a:pt x="4354189" y="289959"/>
                  </a:cubicBezTo>
                  <a:cubicBezTo>
                    <a:pt x="4351846" y="292578"/>
                    <a:pt x="4347158" y="297885"/>
                    <a:pt x="4344891" y="300504"/>
                  </a:cubicBezTo>
                  <a:moveTo>
                    <a:pt x="3806996" y="298988"/>
                  </a:moveTo>
                  <a:cubicBezTo>
                    <a:pt x="3803343" y="287546"/>
                    <a:pt x="3807134" y="283962"/>
                    <a:pt x="3818231" y="288167"/>
                  </a:cubicBezTo>
                  <a:cubicBezTo>
                    <a:pt x="3821815" y="299746"/>
                    <a:pt x="3818093" y="303399"/>
                    <a:pt x="3806996" y="298988"/>
                  </a:cubicBezTo>
                  <a:moveTo>
                    <a:pt x="3413781" y="299402"/>
                  </a:moveTo>
                  <a:cubicBezTo>
                    <a:pt x="3417848" y="296024"/>
                    <a:pt x="3417848" y="296024"/>
                    <a:pt x="3413781" y="299402"/>
                  </a:cubicBezTo>
                  <a:moveTo>
                    <a:pt x="3772741" y="305122"/>
                  </a:moveTo>
                  <a:cubicBezTo>
                    <a:pt x="3770535" y="295266"/>
                    <a:pt x="3774050" y="291613"/>
                    <a:pt x="3783217" y="294025"/>
                  </a:cubicBezTo>
                  <a:cubicBezTo>
                    <a:pt x="3785354" y="303813"/>
                    <a:pt x="3781839" y="307535"/>
                    <a:pt x="3772741" y="305122"/>
                  </a:cubicBezTo>
                  <a:moveTo>
                    <a:pt x="3668802" y="307535"/>
                  </a:moveTo>
                  <a:cubicBezTo>
                    <a:pt x="3662048" y="298023"/>
                    <a:pt x="3676177" y="283411"/>
                    <a:pt x="3685965" y="289683"/>
                  </a:cubicBezTo>
                  <a:cubicBezTo>
                    <a:pt x="3694167" y="298988"/>
                    <a:pt x="3678314" y="315875"/>
                    <a:pt x="3668802" y="307535"/>
                  </a:cubicBezTo>
                  <a:moveTo>
                    <a:pt x="3451552" y="308362"/>
                  </a:moveTo>
                  <a:cubicBezTo>
                    <a:pt x="3452861" y="302503"/>
                    <a:pt x="3455549" y="290786"/>
                    <a:pt x="3456928" y="284927"/>
                  </a:cubicBezTo>
                  <a:cubicBezTo>
                    <a:pt x="3453482" y="283066"/>
                    <a:pt x="3446589" y="279413"/>
                    <a:pt x="3443143" y="277552"/>
                  </a:cubicBezTo>
                  <a:cubicBezTo>
                    <a:pt x="3442178" y="270453"/>
                    <a:pt x="3441351" y="263285"/>
                    <a:pt x="3440455" y="256117"/>
                  </a:cubicBezTo>
                  <a:cubicBezTo>
                    <a:pt x="3437698" y="240333"/>
                    <a:pt x="3443419" y="232338"/>
                    <a:pt x="3457548" y="231993"/>
                  </a:cubicBezTo>
                  <a:cubicBezTo>
                    <a:pt x="3449760" y="224687"/>
                    <a:pt x="3435561" y="220552"/>
                    <a:pt x="3440179" y="206009"/>
                  </a:cubicBezTo>
                  <a:cubicBezTo>
                    <a:pt x="3448175" y="210489"/>
                    <a:pt x="3455205" y="216347"/>
                    <a:pt x="3462097" y="222413"/>
                  </a:cubicBezTo>
                  <a:lnTo>
                    <a:pt x="3465681" y="211867"/>
                  </a:lnTo>
                  <a:cubicBezTo>
                    <a:pt x="3478708" y="221586"/>
                    <a:pt x="3466233" y="230270"/>
                    <a:pt x="3458651" y="238128"/>
                  </a:cubicBezTo>
                  <a:cubicBezTo>
                    <a:pt x="3463200" y="237921"/>
                    <a:pt x="3472367" y="237507"/>
                    <a:pt x="3476916" y="237369"/>
                  </a:cubicBezTo>
                  <a:cubicBezTo>
                    <a:pt x="3474504" y="245158"/>
                    <a:pt x="3469541" y="250396"/>
                    <a:pt x="3462097" y="253153"/>
                  </a:cubicBezTo>
                  <a:cubicBezTo>
                    <a:pt x="3458858" y="259425"/>
                    <a:pt x="3455756" y="265697"/>
                    <a:pt x="3452724" y="272038"/>
                  </a:cubicBezTo>
                  <a:cubicBezTo>
                    <a:pt x="3456997" y="273072"/>
                    <a:pt x="3465475" y="275209"/>
                    <a:pt x="3469679" y="276312"/>
                  </a:cubicBezTo>
                  <a:lnTo>
                    <a:pt x="3472919" y="269488"/>
                  </a:lnTo>
                  <a:cubicBezTo>
                    <a:pt x="3479053" y="269144"/>
                    <a:pt x="3485256" y="268730"/>
                    <a:pt x="3491528" y="268248"/>
                  </a:cubicBezTo>
                  <a:cubicBezTo>
                    <a:pt x="3491735" y="276174"/>
                    <a:pt x="3492011" y="284031"/>
                    <a:pt x="3492424" y="291820"/>
                  </a:cubicBezTo>
                  <a:cubicBezTo>
                    <a:pt x="3482913" y="296989"/>
                    <a:pt x="3473332" y="302227"/>
                    <a:pt x="3463476" y="306363"/>
                  </a:cubicBezTo>
                  <a:lnTo>
                    <a:pt x="3468990" y="307673"/>
                  </a:lnTo>
                  <a:cubicBezTo>
                    <a:pt x="3464648" y="307810"/>
                    <a:pt x="3455894" y="308155"/>
                    <a:pt x="3451552" y="308362"/>
                  </a:cubicBezTo>
                  <a:moveTo>
                    <a:pt x="3818713" y="313118"/>
                  </a:moveTo>
                  <a:cubicBezTo>
                    <a:pt x="3826915" y="305949"/>
                    <a:pt x="3838908" y="303468"/>
                    <a:pt x="3844216" y="293129"/>
                  </a:cubicBezTo>
                  <a:cubicBezTo>
                    <a:pt x="3848282" y="287409"/>
                    <a:pt x="3852487" y="281688"/>
                    <a:pt x="3856691" y="275898"/>
                  </a:cubicBezTo>
                  <a:cubicBezTo>
                    <a:pt x="3861584" y="275829"/>
                    <a:pt x="3871303" y="275760"/>
                    <a:pt x="3876197" y="275691"/>
                  </a:cubicBezTo>
                  <a:cubicBezTo>
                    <a:pt x="3871923" y="280585"/>
                    <a:pt x="3867581" y="285410"/>
                    <a:pt x="3863239" y="290097"/>
                  </a:cubicBezTo>
                  <a:cubicBezTo>
                    <a:pt x="3862136" y="293681"/>
                    <a:pt x="3859999" y="300918"/>
                    <a:pt x="3858965" y="304571"/>
                  </a:cubicBezTo>
                  <a:cubicBezTo>
                    <a:pt x="3844560" y="301125"/>
                    <a:pt x="3832154" y="310016"/>
                    <a:pt x="3818713" y="313118"/>
                  </a:cubicBezTo>
                  <a:moveTo>
                    <a:pt x="4211929" y="286995"/>
                  </a:moveTo>
                  <a:cubicBezTo>
                    <a:pt x="4205381" y="289545"/>
                    <a:pt x="4198833" y="292096"/>
                    <a:pt x="4192423" y="294439"/>
                  </a:cubicBezTo>
                  <a:cubicBezTo>
                    <a:pt x="4192698" y="289545"/>
                    <a:pt x="4193387" y="279620"/>
                    <a:pt x="4193732" y="274658"/>
                  </a:cubicBezTo>
                  <a:cubicBezTo>
                    <a:pt x="4202761" y="277001"/>
                    <a:pt x="4213652" y="276450"/>
                    <a:pt x="4220613" y="283962"/>
                  </a:cubicBezTo>
                  <a:cubicBezTo>
                    <a:pt x="4218683" y="296713"/>
                    <a:pt x="4221233" y="309258"/>
                    <a:pt x="4222336" y="321871"/>
                  </a:cubicBezTo>
                  <a:cubicBezTo>
                    <a:pt x="4211377" y="313807"/>
                    <a:pt x="4214754" y="298643"/>
                    <a:pt x="4211929" y="286995"/>
                  </a:cubicBezTo>
                  <a:moveTo>
                    <a:pt x="4164853" y="293336"/>
                  </a:moveTo>
                  <a:cubicBezTo>
                    <a:pt x="4174916" y="299402"/>
                    <a:pt x="4177948" y="311119"/>
                    <a:pt x="4182015" y="321320"/>
                  </a:cubicBezTo>
                  <a:cubicBezTo>
                    <a:pt x="4171401" y="315392"/>
                    <a:pt x="4164715" y="305880"/>
                    <a:pt x="4164853" y="293336"/>
                  </a:cubicBezTo>
                  <a:moveTo>
                    <a:pt x="3911899" y="317942"/>
                  </a:moveTo>
                  <a:cubicBezTo>
                    <a:pt x="3914036" y="305811"/>
                    <a:pt x="3916035" y="293681"/>
                    <a:pt x="3918034" y="281412"/>
                  </a:cubicBezTo>
                  <a:lnTo>
                    <a:pt x="3921893" y="281826"/>
                  </a:lnTo>
                  <a:cubicBezTo>
                    <a:pt x="3922858" y="294990"/>
                    <a:pt x="3913691" y="313187"/>
                    <a:pt x="3928441" y="320975"/>
                  </a:cubicBezTo>
                  <a:cubicBezTo>
                    <a:pt x="3924306" y="320217"/>
                    <a:pt x="3916035" y="318701"/>
                    <a:pt x="3911899" y="317942"/>
                  </a:cubicBezTo>
                  <a:moveTo>
                    <a:pt x="3881435" y="300573"/>
                  </a:moveTo>
                  <a:cubicBezTo>
                    <a:pt x="3893497" y="303951"/>
                    <a:pt x="3887983" y="324904"/>
                    <a:pt x="3875438" y="320079"/>
                  </a:cubicBezTo>
                  <a:cubicBezTo>
                    <a:pt x="3858345" y="320286"/>
                    <a:pt x="3869097" y="298023"/>
                    <a:pt x="3881435" y="300573"/>
                  </a:cubicBezTo>
                  <a:moveTo>
                    <a:pt x="5280673" y="326902"/>
                  </a:moveTo>
                  <a:cubicBezTo>
                    <a:pt x="5269508" y="306570"/>
                    <a:pt x="5303350" y="324973"/>
                    <a:pt x="5280673" y="326902"/>
                  </a:cubicBezTo>
                  <a:moveTo>
                    <a:pt x="5267991" y="327040"/>
                  </a:moveTo>
                  <a:cubicBezTo>
                    <a:pt x="5271782" y="323318"/>
                    <a:pt x="5271782" y="323318"/>
                    <a:pt x="5267991" y="327040"/>
                  </a:cubicBezTo>
                  <a:moveTo>
                    <a:pt x="5006560" y="326696"/>
                  </a:moveTo>
                  <a:cubicBezTo>
                    <a:pt x="5009938" y="322974"/>
                    <a:pt x="5009938" y="322974"/>
                    <a:pt x="5006560" y="326696"/>
                  </a:cubicBezTo>
                  <a:moveTo>
                    <a:pt x="4474049" y="326489"/>
                  </a:moveTo>
                  <a:cubicBezTo>
                    <a:pt x="4463090" y="305743"/>
                    <a:pt x="4496794" y="325524"/>
                    <a:pt x="4474049" y="326489"/>
                  </a:cubicBezTo>
                  <a:moveTo>
                    <a:pt x="3847662" y="326351"/>
                  </a:moveTo>
                  <a:cubicBezTo>
                    <a:pt x="3851453" y="322836"/>
                    <a:pt x="3851453" y="322836"/>
                    <a:pt x="3847662" y="326351"/>
                  </a:cubicBezTo>
                  <a:moveTo>
                    <a:pt x="4966998" y="309534"/>
                  </a:moveTo>
                  <a:cubicBezTo>
                    <a:pt x="4944184" y="306294"/>
                    <a:pt x="4911444" y="311394"/>
                    <a:pt x="4898418" y="288029"/>
                  </a:cubicBezTo>
                  <a:cubicBezTo>
                    <a:pt x="4929365" y="301263"/>
                    <a:pt x="4964103" y="300436"/>
                    <a:pt x="4994774" y="315668"/>
                  </a:cubicBezTo>
                  <a:cubicBezTo>
                    <a:pt x="4994154" y="320492"/>
                    <a:pt x="4993051" y="330142"/>
                    <a:pt x="4992500" y="334967"/>
                  </a:cubicBezTo>
                  <a:cubicBezTo>
                    <a:pt x="4978094" y="334071"/>
                    <a:pt x="4973132" y="320148"/>
                    <a:pt x="4966998" y="309534"/>
                  </a:cubicBezTo>
                  <a:moveTo>
                    <a:pt x="4935568" y="332830"/>
                  </a:moveTo>
                  <a:cubicBezTo>
                    <a:pt x="4925781" y="311739"/>
                    <a:pt x="4958313" y="333037"/>
                    <a:pt x="4935568" y="332830"/>
                  </a:cubicBezTo>
                  <a:moveTo>
                    <a:pt x="4634988" y="334277"/>
                  </a:moveTo>
                  <a:cubicBezTo>
                    <a:pt x="4627820" y="324352"/>
                    <a:pt x="4646085" y="318769"/>
                    <a:pt x="4651668" y="326075"/>
                  </a:cubicBezTo>
                  <a:cubicBezTo>
                    <a:pt x="4660697" y="336483"/>
                    <a:pt x="4640502" y="342617"/>
                    <a:pt x="4634988" y="334277"/>
                  </a:cubicBezTo>
                  <a:moveTo>
                    <a:pt x="4613552" y="333450"/>
                  </a:moveTo>
                  <a:cubicBezTo>
                    <a:pt x="4605281" y="332968"/>
                    <a:pt x="4599078" y="316357"/>
                    <a:pt x="4609968" y="315323"/>
                  </a:cubicBezTo>
                  <a:cubicBezTo>
                    <a:pt x="4617826" y="316081"/>
                    <a:pt x="4623891" y="332279"/>
                    <a:pt x="4613552" y="333450"/>
                  </a:cubicBezTo>
                  <a:moveTo>
                    <a:pt x="4516851" y="334277"/>
                  </a:moveTo>
                  <a:cubicBezTo>
                    <a:pt x="4519608" y="311808"/>
                    <a:pt x="4536908" y="346132"/>
                    <a:pt x="4516851" y="334277"/>
                  </a:cubicBezTo>
                  <a:moveTo>
                    <a:pt x="3985511" y="330487"/>
                  </a:moveTo>
                  <a:cubicBezTo>
                    <a:pt x="3988957" y="327247"/>
                    <a:pt x="3992404" y="324008"/>
                    <a:pt x="3995987" y="320768"/>
                  </a:cubicBezTo>
                  <a:cubicBezTo>
                    <a:pt x="3994471" y="310154"/>
                    <a:pt x="3998124" y="300711"/>
                    <a:pt x="4004603" y="292302"/>
                  </a:cubicBezTo>
                  <a:cubicBezTo>
                    <a:pt x="4001295" y="290097"/>
                    <a:pt x="3994609" y="285617"/>
                    <a:pt x="3991301" y="283411"/>
                  </a:cubicBezTo>
                  <a:lnTo>
                    <a:pt x="4002949" y="285755"/>
                  </a:lnTo>
                  <a:cubicBezTo>
                    <a:pt x="4003983" y="281205"/>
                    <a:pt x="4005912" y="272245"/>
                    <a:pt x="4006946" y="267765"/>
                  </a:cubicBezTo>
                  <a:lnTo>
                    <a:pt x="4008049" y="286582"/>
                  </a:lnTo>
                  <a:cubicBezTo>
                    <a:pt x="4011840" y="285203"/>
                    <a:pt x="4019353" y="282446"/>
                    <a:pt x="4023144" y="281068"/>
                  </a:cubicBezTo>
                  <a:cubicBezTo>
                    <a:pt x="4006257" y="292647"/>
                    <a:pt x="3999365" y="311257"/>
                    <a:pt x="4003362" y="331245"/>
                  </a:cubicBezTo>
                  <a:cubicBezTo>
                    <a:pt x="3998882" y="331038"/>
                    <a:pt x="3989991" y="330693"/>
                    <a:pt x="3985511" y="330487"/>
                  </a:cubicBezTo>
                  <a:moveTo>
                    <a:pt x="3965316" y="332416"/>
                  </a:moveTo>
                  <a:cubicBezTo>
                    <a:pt x="3959320" y="323801"/>
                    <a:pt x="3960836" y="318701"/>
                    <a:pt x="3969865" y="317184"/>
                  </a:cubicBezTo>
                  <a:cubicBezTo>
                    <a:pt x="3975793" y="325938"/>
                    <a:pt x="3974276" y="331038"/>
                    <a:pt x="3965316" y="332416"/>
                  </a:cubicBezTo>
                  <a:moveTo>
                    <a:pt x="4267895" y="339791"/>
                  </a:moveTo>
                  <a:cubicBezTo>
                    <a:pt x="4256867" y="319321"/>
                    <a:pt x="4290571" y="338206"/>
                    <a:pt x="4267895" y="339791"/>
                  </a:cubicBezTo>
                  <a:moveTo>
                    <a:pt x="5529836" y="348200"/>
                  </a:moveTo>
                  <a:cubicBezTo>
                    <a:pt x="5526183" y="338551"/>
                    <a:pt x="5529353" y="335380"/>
                    <a:pt x="5539210" y="338620"/>
                  </a:cubicBezTo>
                  <a:cubicBezTo>
                    <a:pt x="5542794" y="348269"/>
                    <a:pt x="5539692" y="351509"/>
                    <a:pt x="5529836" y="348200"/>
                  </a:cubicBezTo>
                  <a:moveTo>
                    <a:pt x="5239388" y="347166"/>
                  </a:moveTo>
                  <a:cubicBezTo>
                    <a:pt x="5229325" y="326006"/>
                    <a:pt x="5261926" y="346684"/>
                    <a:pt x="5239388" y="347166"/>
                  </a:cubicBezTo>
                  <a:moveTo>
                    <a:pt x="4838867" y="326627"/>
                  </a:moveTo>
                  <a:cubicBezTo>
                    <a:pt x="4843691" y="308637"/>
                    <a:pt x="4871399" y="334829"/>
                    <a:pt x="4858993" y="345650"/>
                  </a:cubicBezTo>
                  <a:cubicBezTo>
                    <a:pt x="4850239" y="343789"/>
                    <a:pt x="4844794" y="333037"/>
                    <a:pt x="4838867" y="326627"/>
                  </a:cubicBezTo>
                  <a:moveTo>
                    <a:pt x="4796754" y="349579"/>
                  </a:moveTo>
                  <a:cubicBezTo>
                    <a:pt x="4798546" y="341377"/>
                    <a:pt x="4802406" y="333795"/>
                    <a:pt x="4806472" y="326489"/>
                  </a:cubicBezTo>
                  <a:cubicBezTo>
                    <a:pt x="4792343" y="320975"/>
                    <a:pt x="4794342" y="305743"/>
                    <a:pt x="4792825" y="293681"/>
                  </a:cubicBezTo>
                  <a:cubicBezTo>
                    <a:pt x="4794135" y="300504"/>
                    <a:pt x="4795513" y="307259"/>
                    <a:pt x="4796892" y="314014"/>
                  </a:cubicBezTo>
                  <a:cubicBezTo>
                    <a:pt x="4805645" y="320975"/>
                    <a:pt x="4812124" y="330349"/>
                    <a:pt x="4817500" y="339998"/>
                  </a:cubicBezTo>
                  <a:cubicBezTo>
                    <a:pt x="4811986" y="345443"/>
                    <a:pt x="4804129" y="348338"/>
                    <a:pt x="4796754" y="349579"/>
                  </a:cubicBezTo>
                  <a:moveTo>
                    <a:pt x="4709978" y="347097"/>
                  </a:moveTo>
                  <a:cubicBezTo>
                    <a:pt x="4713837" y="343100"/>
                    <a:pt x="4713837" y="343100"/>
                    <a:pt x="4709978" y="347097"/>
                  </a:cubicBezTo>
                  <a:moveTo>
                    <a:pt x="5853920" y="354679"/>
                  </a:moveTo>
                  <a:cubicBezTo>
                    <a:pt x="5857435" y="351233"/>
                    <a:pt x="5857435" y="351233"/>
                    <a:pt x="5853920" y="354679"/>
                  </a:cubicBezTo>
                  <a:moveTo>
                    <a:pt x="4727278" y="286582"/>
                  </a:moveTo>
                  <a:cubicBezTo>
                    <a:pt x="4735824" y="285065"/>
                    <a:pt x="4744440" y="283342"/>
                    <a:pt x="4753193" y="282584"/>
                  </a:cubicBezTo>
                  <a:cubicBezTo>
                    <a:pt x="4763601" y="294370"/>
                    <a:pt x="4750023" y="305122"/>
                    <a:pt x="4745267" y="315737"/>
                  </a:cubicBezTo>
                  <a:cubicBezTo>
                    <a:pt x="4764428" y="322905"/>
                    <a:pt x="4738237" y="342686"/>
                    <a:pt x="4738375" y="355713"/>
                  </a:cubicBezTo>
                  <a:cubicBezTo>
                    <a:pt x="4742648" y="331589"/>
                    <a:pt x="4740932" y="307604"/>
                    <a:pt x="4727278" y="286582"/>
                  </a:cubicBezTo>
                  <a:moveTo>
                    <a:pt x="5997972" y="368533"/>
                  </a:moveTo>
                  <a:cubicBezTo>
                    <a:pt x="6001763" y="364535"/>
                    <a:pt x="6001763" y="364535"/>
                    <a:pt x="5997972" y="368533"/>
                  </a:cubicBezTo>
                  <a:moveTo>
                    <a:pt x="5419350" y="368326"/>
                  </a:moveTo>
                  <a:cubicBezTo>
                    <a:pt x="5423417" y="364742"/>
                    <a:pt x="5423417" y="364742"/>
                    <a:pt x="5419350" y="368326"/>
                  </a:cubicBezTo>
                  <a:moveTo>
                    <a:pt x="5357387" y="369016"/>
                  </a:moveTo>
                  <a:cubicBezTo>
                    <a:pt x="5347599" y="364742"/>
                    <a:pt x="5346841" y="360055"/>
                    <a:pt x="5355112" y="354955"/>
                  </a:cubicBezTo>
                  <a:cubicBezTo>
                    <a:pt x="5364762" y="359297"/>
                    <a:pt x="5365451" y="363984"/>
                    <a:pt x="5357387" y="369016"/>
                  </a:cubicBezTo>
                  <a:moveTo>
                    <a:pt x="5331057" y="370463"/>
                  </a:moveTo>
                  <a:cubicBezTo>
                    <a:pt x="5321960" y="366741"/>
                    <a:pt x="5320581" y="353990"/>
                    <a:pt x="5323958" y="345926"/>
                  </a:cubicBezTo>
                  <a:cubicBezTo>
                    <a:pt x="5335193" y="341997"/>
                    <a:pt x="5345463" y="368947"/>
                    <a:pt x="5331057" y="370463"/>
                  </a:cubicBezTo>
                  <a:moveTo>
                    <a:pt x="5298181" y="370463"/>
                  </a:moveTo>
                  <a:cubicBezTo>
                    <a:pt x="5297629" y="360193"/>
                    <a:pt x="5295492" y="350130"/>
                    <a:pt x="5291288" y="340687"/>
                  </a:cubicBezTo>
                  <a:cubicBezTo>
                    <a:pt x="5297422" y="336069"/>
                    <a:pt x="5303419" y="330900"/>
                    <a:pt x="5303626" y="322491"/>
                  </a:cubicBezTo>
                  <a:cubicBezTo>
                    <a:pt x="5310863" y="323318"/>
                    <a:pt x="5325344" y="324835"/>
                    <a:pt x="5332574" y="325662"/>
                  </a:cubicBezTo>
                  <a:cubicBezTo>
                    <a:pt x="5322924" y="328143"/>
                    <a:pt x="5307692" y="325248"/>
                    <a:pt x="5304797" y="337861"/>
                  </a:cubicBezTo>
                  <a:cubicBezTo>
                    <a:pt x="5303143" y="348889"/>
                    <a:pt x="5302729" y="360193"/>
                    <a:pt x="5298181" y="370463"/>
                  </a:cubicBezTo>
                  <a:moveTo>
                    <a:pt x="6156981" y="374805"/>
                  </a:moveTo>
                  <a:cubicBezTo>
                    <a:pt x="6160566" y="371290"/>
                    <a:pt x="6160566" y="371290"/>
                    <a:pt x="6156981" y="374805"/>
                  </a:cubicBezTo>
                  <a:moveTo>
                    <a:pt x="5832760" y="375908"/>
                  </a:moveTo>
                  <a:cubicBezTo>
                    <a:pt x="5829313" y="364742"/>
                    <a:pt x="5833174" y="360951"/>
                    <a:pt x="5844477" y="364535"/>
                  </a:cubicBezTo>
                  <a:cubicBezTo>
                    <a:pt x="5847785" y="375839"/>
                    <a:pt x="5843926" y="379630"/>
                    <a:pt x="5832760" y="375908"/>
                  </a:cubicBezTo>
                  <a:moveTo>
                    <a:pt x="5673475" y="376666"/>
                  </a:moveTo>
                  <a:cubicBezTo>
                    <a:pt x="5669891" y="365707"/>
                    <a:pt x="5673820" y="361916"/>
                    <a:pt x="5685330" y="365362"/>
                  </a:cubicBezTo>
                  <a:cubicBezTo>
                    <a:pt x="5688845" y="376321"/>
                    <a:pt x="5684916" y="380112"/>
                    <a:pt x="5673475" y="376666"/>
                  </a:cubicBezTo>
                  <a:moveTo>
                    <a:pt x="5076450" y="338206"/>
                  </a:moveTo>
                  <a:cubicBezTo>
                    <a:pt x="5071832" y="336690"/>
                    <a:pt x="5062665" y="333588"/>
                    <a:pt x="5058047" y="332072"/>
                  </a:cubicBezTo>
                  <a:cubicBezTo>
                    <a:pt x="5065008" y="328350"/>
                    <a:pt x="5072452" y="325662"/>
                    <a:pt x="5080310" y="323663"/>
                  </a:cubicBezTo>
                  <a:lnTo>
                    <a:pt x="5079069" y="309120"/>
                  </a:lnTo>
                  <a:cubicBezTo>
                    <a:pt x="5089477" y="311463"/>
                    <a:pt x="5098506" y="316702"/>
                    <a:pt x="5105605" y="324766"/>
                  </a:cubicBezTo>
                  <a:cubicBezTo>
                    <a:pt x="5117874" y="338964"/>
                    <a:pt x="5137448" y="330487"/>
                    <a:pt x="5153232" y="330487"/>
                  </a:cubicBezTo>
                  <a:cubicBezTo>
                    <a:pt x="5153025" y="343238"/>
                    <a:pt x="5152474" y="355989"/>
                    <a:pt x="5151853" y="368602"/>
                  </a:cubicBezTo>
                  <a:lnTo>
                    <a:pt x="5160331" y="367706"/>
                  </a:lnTo>
                  <a:cubicBezTo>
                    <a:pt x="5160124" y="369980"/>
                    <a:pt x="5159711" y="374529"/>
                    <a:pt x="5159504" y="376804"/>
                  </a:cubicBezTo>
                  <a:cubicBezTo>
                    <a:pt x="5150475" y="371290"/>
                    <a:pt x="5142135" y="364673"/>
                    <a:pt x="5134140" y="357850"/>
                  </a:cubicBezTo>
                  <a:cubicBezTo>
                    <a:pt x="5131934" y="362674"/>
                    <a:pt x="5127385" y="372393"/>
                    <a:pt x="5125111" y="377217"/>
                  </a:cubicBezTo>
                  <a:cubicBezTo>
                    <a:pt x="5105881" y="368740"/>
                    <a:pt x="5089752" y="354335"/>
                    <a:pt x="5076450" y="338206"/>
                  </a:cubicBezTo>
                  <a:moveTo>
                    <a:pt x="4635953" y="358470"/>
                  </a:moveTo>
                  <a:cubicBezTo>
                    <a:pt x="4644431" y="350681"/>
                    <a:pt x="4655941" y="354472"/>
                    <a:pt x="4664281" y="360400"/>
                  </a:cubicBezTo>
                  <a:cubicBezTo>
                    <a:pt x="4682132" y="352336"/>
                    <a:pt x="4699777" y="358815"/>
                    <a:pt x="4708255" y="376184"/>
                  </a:cubicBezTo>
                  <a:cubicBezTo>
                    <a:pt x="4683511" y="372668"/>
                    <a:pt x="4660834" y="361158"/>
                    <a:pt x="4635953" y="358470"/>
                  </a:cubicBezTo>
                  <a:moveTo>
                    <a:pt x="4984367" y="381353"/>
                  </a:moveTo>
                  <a:cubicBezTo>
                    <a:pt x="4973132" y="360951"/>
                    <a:pt x="5007043" y="379492"/>
                    <a:pt x="4984367" y="381353"/>
                  </a:cubicBezTo>
                  <a:moveTo>
                    <a:pt x="6196682" y="389141"/>
                  </a:moveTo>
                  <a:cubicBezTo>
                    <a:pt x="6200542" y="385351"/>
                    <a:pt x="6200542" y="385351"/>
                    <a:pt x="6196682" y="389141"/>
                  </a:cubicBezTo>
                  <a:moveTo>
                    <a:pt x="5479797" y="389762"/>
                  </a:moveTo>
                  <a:cubicBezTo>
                    <a:pt x="5469320" y="368878"/>
                    <a:pt x="5502404" y="387970"/>
                    <a:pt x="5479797" y="389762"/>
                  </a:cubicBezTo>
                  <a:moveTo>
                    <a:pt x="4898624" y="348752"/>
                  </a:moveTo>
                  <a:cubicBezTo>
                    <a:pt x="4897935" y="353576"/>
                    <a:pt x="4896626" y="363226"/>
                    <a:pt x="4895936" y="368050"/>
                  </a:cubicBezTo>
                  <a:cubicBezTo>
                    <a:pt x="4900003" y="375839"/>
                    <a:pt x="4903932" y="383627"/>
                    <a:pt x="4907791" y="391485"/>
                  </a:cubicBezTo>
                  <a:cubicBezTo>
                    <a:pt x="4886425" y="387901"/>
                    <a:pt x="4889320" y="362468"/>
                    <a:pt x="4898624" y="348752"/>
                  </a:cubicBezTo>
                  <a:moveTo>
                    <a:pt x="5711314" y="341652"/>
                  </a:moveTo>
                  <a:cubicBezTo>
                    <a:pt x="5714071" y="344134"/>
                    <a:pt x="5719585" y="349096"/>
                    <a:pt x="5722342" y="351578"/>
                  </a:cubicBezTo>
                  <a:cubicBezTo>
                    <a:pt x="5732199" y="354128"/>
                    <a:pt x="5742055" y="356885"/>
                    <a:pt x="5751980" y="359504"/>
                  </a:cubicBezTo>
                  <a:cubicBezTo>
                    <a:pt x="5759769" y="361434"/>
                    <a:pt x="5767488" y="363570"/>
                    <a:pt x="5775277" y="365983"/>
                  </a:cubicBezTo>
                  <a:cubicBezTo>
                    <a:pt x="5772037" y="376184"/>
                    <a:pt x="5761767" y="381973"/>
                    <a:pt x="5755702" y="390175"/>
                  </a:cubicBezTo>
                  <a:cubicBezTo>
                    <a:pt x="5748052" y="371703"/>
                    <a:pt x="5730889" y="365087"/>
                    <a:pt x="5712418" y="362605"/>
                  </a:cubicBezTo>
                  <a:cubicBezTo>
                    <a:pt x="5714003" y="374323"/>
                    <a:pt x="5716002" y="385902"/>
                    <a:pt x="5717518" y="397550"/>
                  </a:cubicBezTo>
                  <a:cubicBezTo>
                    <a:pt x="5697874" y="387487"/>
                    <a:pt x="5714485" y="359297"/>
                    <a:pt x="5711314" y="341652"/>
                  </a:cubicBezTo>
                  <a:moveTo>
                    <a:pt x="5639840" y="395345"/>
                  </a:moveTo>
                  <a:cubicBezTo>
                    <a:pt x="5628468" y="375012"/>
                    <a:pt x="5662516" y="393346"/>
                    <a:pt x="5639840" y="395345"/>
                  </a:cubicBezTo>
                  <a:moveTo>
                    <a:pt x="4935223" y="357023"/>
                  </a:moveTo>
                  <a:cubicBezTo>
                    <a:pt x="4932398" y="359917"/>
                    <a:pt x="4926677" y="365707"/>
                    <a:pt x="4923782" y="368602"/>
                  </a:cubicBezTo>
                  <a:cubicBezTo>
                    <a:pt x="4918613" y="362330"/>
                    <a:pt x="4912754" y="356678"/>
                    <a:pt x="4906689" y="351302"/>
                  </a:cubicBezTo>
                  <a:cubicBezTo>
                    <a:pt x="4911238" y="350199"/>
                    <a:pt x="4920474" y="348062"/>
                    <a:pt x="4925091" y="346960"/>
                  </a:cubicBezTo>
                  <a:cubicBezTo>
                    <a:pt x="4930123" y="351991"/>
                    <a:pt x="4936119" y="353232"/>
                    <a:pt x="4943150" y="350888"/>
                  </a:cubicBezTo>
                  <a:cubicBezTo>
                    <a:pt x="4944873" y="366396"/>
                    <a:pt x="4946734" y="381973"/>
                    <a:pt x="4947078" y="397550"/>
                  </a:cubicBezTo>
                  <a:cubicBezTo>
                    <a:pt x="4940599" y="384868"/>
                    <a:pt x="4937636" y="370945"/>
                    <a:pt x="4935223" y="357023"/>
                  </a:cubicBezTo>
                  <a:moveTo>
                    <a:pt x="5468148" y="357850"/>
                  </a:moveTo>
                  <a:cubicBezTo>
                    <a:pt x="5469872" y="351715"/>
                    <a:pt x="5471664" y="345512"/>
                    <a:pt x="5473594" y="339240"/>
                  </a:cubicBezTo>
                  <a:cubicBezTo>
                    <a:pt x="5478970" y="338689"/>
                    <a:pt x="5489791" y="337655"/>
                    <a:pt x="5495236" y="337103"/>
                  </a:cubicBezTo>
                  <a:cubicBezTo>
                    <a:pt x="5495443" y="346064"/>
                    <a:pt x="5495718" y="354955"/>
                    <a:pt x="5495994" y="363846"/>
                  </a:cubicBezTo>
                  <a:cubicBezTo>
                    <a:pt x="5483037" y="369016"/>
                    <a:pt x="5470010" y="374116"/>
                    <a:pt x="5457396" y="379905"/>
                  </a:cubicBezTo>
                  <a:cubicBezTo>
                    <a:pt x="5458086" y="382525"/>
                    <a:pt x="5459464" y="387625"/>
                    <a:pt x="5460153" y="390175"/>
                  </a:cubicBezTo>
                  <a:cubicBezTo>
                    <a:pt x="5462772" y="391485"/>
                    <a:pt x="5468080" y="393966"/>
                    <a:pt x="5470767" y="395207"/>
                  </a:cubicBezTo>
                  <a:cubicBezTo>
                    <a:pt x="5469044" y="397619"/>
                    <a:pt x="5465667" y="402513"/>
                    <a:pt x="5464013" y="404925"/>
                  </a:cubicBezTo>
                  <a:cubicBezTo>
                    <a:pt x="5449264" y="392932"/>
                    <a:pt x="5453881" y="368257"/>
                    <a:pt x="5468148" y="357850"/>
                  </a:cubicBezTo>
                  <a:moveTo>
                    <a:pt x="5505299" y="380871"/>
                  </a:moveTo>
                  <a:cubicBezTo>
                    <a:pt x="5509228" y="379837"/>
                    <a:pt x="5517223" y="377700"/>
                    <a:pt x="5521220" y="376666"/>
                  </a:cubicBezTo>
                  <a:cubicBezTo>
                    <a:pt x="5522116" y="378596"/>
                    <a:pt x="5523977" y="382525"/>
                    <a:pt x="5524943" y="384455"/>
                  </a:cubicBezTo>
                  <a:cubicBezTo>
                    <a:pt x="5515844" y="390038"/>
                    <a:pt x="5511709" y="399273"/>
                    <a:pt x="5508331" y="408785"/>
                  </a:cubicBezTo>
                  <a:cubicBezTo>
                    <a:pt x="5486896" y="411749"/>
                    <a:pt x="5498958" y="390451"/>
                    <a:pt x="5505299" y="380871"/>
                  </a:cubicBezTo>
                  <a:moveTo>
                    <a:pt x="5419350" y="408854"/>
                  </a:moveTo>
                  <a:cubicBezTo>
                    <a:pt x="5413147" y="399204"/>
                    <a:pt x="5430378" y="390727"/>
                    <a:pt x="5436994" y="398170"/>
                  </a:cubicBezTo>
                  <a:cubicBezTo>
                    <a:pt x="5442371" y="407820"/>
                    <a:pt x="5425829" y="415746"/>
                    <a:pt x="5419350" y="408854"/>
                  </a:cubicBezTo>
                  <a:moveTo>
                    <a:pt x="5333332" y="400927"/>
                  </a:moveTo>
                  <a:cubicBezTo>
                    <a:pt x="5332643" y="397068"/>
                    <a:pt x="5331264" y="389417"/>
                    <a:pt x="5330575" y="385557"/>
                  </a:cubicBezTo>
                  <a:cubicBezTo>
                    <a:pt x="5334573" y="389624"/>
                    <a:pt x="5338777" y="393622"/>
                    <a:pt x="5343050" y="397481"/>
                  </a:cubicBezTo>
                  <a:cubicBezTo>
                    <a:pt x="5351735" y="403064"/>
                    <a:pt x="5363866" y="404718"/>
                    <a:pt x="5368552" y="393001"/>
                  </a:cubicBezTo>
                  <a:cubicBezTo>
                    <a:pt x="5372688" y="398170"/>
                    <a:pt x="5379718" y="401617"/>
                    <a:pt x="5380959" y="408716"/>
                  </a:cubicBezTo>
                  <a:cubicBezTo>
                    <a:pt x="5364762" y="408440"/>
                    <a:pt x="5349322" y="402789"/>
                    <a:pt x="5333332" y="400927"/>
                  </a:cubicBezTo>
                  <a:moveTo>
                    <a:pt x="5638392" y="407062"/>
                  </a:moveTo>
                  <a:cubicBezTo>
                    <a:pt x="5642045" y="407958"/>
                    <a:pt x="5649282" y="409750"/>
                    <a:pt x="5652936" y="410715"/>
                  </a:cubicBezTo>
                  <a:cubicBezTo>
                    <a:pt x="5653970" y="398722"/>
                    <a:pt x="5655279" y="386798"/>
                    <a:pt x="5656864" y="374805"/>
                  </a:cubicBezTo>
                  <a:cubicBezTo>
                    <a:pt x="5658036" y="378665"/>
                    <a:pt x="5660448" y="386384"/>
                    <a:pt x="5661689" y="390313"/>
                  </a:cubicBezTo>
                  <a:lnTo>
                    <a:pt x="5673406" y="385351"/>
                  </a:lnTo>
                  <a:lnTo>
                    <a:pt x="5672372" y="392519"/>
                  </a:lnTo>
                  <a:cubicBezTo>
                    <a:pt x="5669822" y="392036"/>
                    <a:pt x="5664653" y="391140"/>
                    <a:pt x="5662033" y="390727"/>
                  </a:cubicBezTo>
                  <a:cubicBezTo>
                    <a:pt x="5661482" y="400927"/>
                    <a:pt x="5655485" y="408923"/>
                    <a:pt x="5650179" y="416987"/>
                  </a:cubicBezTo>
                  <a:cubicBezTo>
                    <a:pt x="5646112" y="413748"/>
                    <a:pt x="5642183" y="410439"/>
                    <a:pt x="5638392" y="407062"/>
                  </a:cubicBezTo>
                  <a:moveTo>
                    <a:pt x="5529491" y="417538"/>
                  </a:moveTo>
                  <a:cubicBezTo>
                    <a:pt x="5523771" y="408716"/>
                    <a:pt x="5525287" y="403133"/>
                    <a:pt x="5533903" y="400790"/>
                  </a:cubicBezTo>
                  <a:cubicBezTo>
                    <a:pt x="5539485" y="409819"/>
                    <a:pt x="5537969" y="415402"/>
                    <a:pt x="5529491" y="417538"/>
                  </a:cubicBezTo>
                  <a:moveTo>
                    <a:pt x="5515568" y="416642"/>
                  </a:moveTo>
                  <a:cubicBezTo>
                    <a:pt x="5519291" y="412989"/>
                    <a:pt x="5519291" y="412989"/>
                    <a:pt x="5515568" y="416642"/>
                  </a:cubicBezTo>
                  <a:moveTo>
                    <a:pt x="5474558" y="416987"/>
                  </a:moveTo>
                  <a:cubicBezTo>
                    <a:pt x="5470975" y="406166"/>
                    <a:pt x="5474903" y="402237"/>
                    <a:pt x="5486413" y="405270"/>
                  </a:cubicBezTo>
                  <a:cubicBezTo>
                    <a:pt x="5489860" y="416229"/>
                    <a:pt x="5485862" y="420158"/>
                    <a:pt x="5474558" y="416987"/>
                  </a:cubicBezTo>
                  <a:moveTo>
                    <a:pt x="6087919" y="397550"/>
                  </a:moveTo>
                  <a:cubicBezTo>
                    <a:pt x="6097155" y="395689"/>
                    <a:pt x="6106390" y="394104"/>
                    <a:pt x="6115902" y="392450"/>
                  </a:cubicBezTo>
                  <a:cubicBezTo>
                    <a:pt x="6117970" y="388452"/>
                    <a:pt x="6122174" y="380388"/>
                    <a:pt x="6124311" y="376390"/>
                  </a:cubicBezTo>
                  <a:cubicBezTo>
                    <a:pt x="6128998" y="387625"/>
                    <a:pt x="6134167" y="398860"/>
                    <a:pt x="6136235" y="410922"/>
                  </a:cubicBezTo>
                  <a:lnTo>
                    <a:pt x="6149262" y="410439"/>
                  </a:lnTo>
                  <a:cubicBezTo>
                    <a:pt x="6131893" y="417745"/>
                    <a:pt x="6113214" y="413265"/>
                    <a:pt x="6095845" y="408509"/>
                  </a:cubicBezTo>
                  <a:cubicBezTo>
                    <a:pt x="6095776" y="412714"/>
                    <a:pt x="6095577" y="421054"/>
                    <a:pt x="6095432" y="425258"/>
                  </a:cubicBezTo>
                  <a:cubicBezTo>
                    <a:pt x="6092744" y="416091"/>
                    <a:pt x="6090193" y="406855"/>
                    <a:pt x="6087919" y="397550"/>
                  </a:cubicBezTo>
                  <a:moveTo>
                    <a:pt x="5867291" y="423190"/>
                  </a:moveTo>
                  <a:cubicBezTo>
                    <a:pt x="5870875" y="419675"/>
                    <a:pt x="5870875" y="419675"/>
                    <a:pt x="5867291" y="423190"/>
                  </a:cubicBezTo>
                  <a:moveTo>
                    <a:pt x="5578290" y="423673"/>
                  </a:moveTo>
                  <a:cubicBezTo>
                    <a:pt x="5581736" y="420089"/>
                    <a:pt x="5581736" y="420089"/>
                    <a:pt x="5578290" y="423673"/>
                  </a:cubicBezTo>
                  <a:moveTo>
                    <a:pt x="5564230" y="421949"/>
                  </a:moveTo>
                  <a:cubicBezTo>
                    <a:pt x="5561955" y="410508"/>
                    <a:pt x="5565470" y="396723"/>
                    <a:pt x="5571397" y="386660"/>
                  </a:cubicBezTo>
                  <a:cubicBezTo>
                    <a:pt x="5584080" y="391623"/>
                    <a:pt x="5576360" y="420226"/>
                    <a:pt x="5564230" y="421949"/>
                  </a:cubicBezTo>
                  <a:moveTo>
                    <a:pt x="5937043" y="430358"/>
                  </a:moveTo>
                  <a:cubicBezTo>
                    <a:pt x="5940627" y="426636"/>
                    <a:pt x="5940627" y="426636"/>
                    <a:pt x="5937043" y="430358"/>
                  </a:cubicBezTo>
                  <a:moveTo>
                    <a:pt x="5633637" y="430358"/>
                  </a:moveTo>
                  <a:cubicBezTo>
                    <a:pt x="5637220" y="426430"/>
                    <a:pt x="5637220" y="426430"/>
                    <a:pt x="5633637" y="430358"/>
                  </a:cubicBezTo>
                  <a:moveTo>
                    <a:pt x="6053939" y="436975"/>
                  </a:moveTo>
                  <a:cubicBezTo>
                    <a:pt x="6057316" y="433322"/>
                    <a:pt x="6057316" y="433322"/>
                    <a:pt x="6053939" y="436975"/>
                  </a:cubicBezTo>
                  <a:moveTo>
                    <a:pt x="5652315" y="436079"/>
                  </a:moveTo>
                  <a:cubicBezTo>
                    <a:pt x="5641976" y="415195"/>
                    <a:pt x="5674992" y="435252"/>
                    <a:pt x="5652315" y="436079"/>
                  </a:cubicBezTo>
                  <a:moveTo>
                    <a:pt x="5613441" y="436837"/>
                  </a:moveTo>
                  <a:cubicBezTo>
                    <a:pt x="5606136" y="429807"/>
                    <a:pt x="5614407" y="411473"/>
                    <a:pt x="5624952" y="418779"/>
                  </a:cubicBezTo>
                  <a:cubicBezTo>
                    <a:pt x="5634257" y="425878"/>
                    <a:pt x="5623643" y="444143"/>
                    <a:pt x="5613441" y="436837"/>
                  </a:cubicBezTo>
                  <a:moveTo>
                    <a:pt x="6142714" y="445039"/>
                  </a:moveTo>
                  <a:cubicBezTo>
                    <a:pt x="6139268" y="435321"/>
                    <a:pt x="6142438" y="432150"/>
                    <a:pt x="6152225" y="435459"/>
                  </a:cubicBezTo>
                  <a:cubicBezTo>
                    <a:pt x="6155603" y="445177"/>
                    <a:pt x="6152439" y="448417"/>
                    <a:pt x="6142714" y="445039"/>
                  </a:cubicBezTo>
                  <a:moveTo>
                    <a:pt x="5797953" y="449726"/>
                  </a:moveTo>
                  <a:cubicBezTo>
                    <a:pt x="5792232" y="440904"/>
                    <a:pt x="5793749" y="435459"/>
                    <a:pt x="5802640" y="433529"/>
                  </a:cubicBezTo>
                  <a:cubicBezTo>
                    <a:pt x="5808153" y="442420"/>
                    <a:pt x="5806568" y="447796"/>
                    <a:pt x="5797953" y="449726"/>
                  </a:cubicBezTo>
                  <a:moveTo>
                    <a:pt x="6184896" y="472885"/>
                  </a:moveTo>
                  <a:cubicBezTo>
                    <a:pt x="6186136" y="450002"/>
                    <a:pt x="6205297" y="483844"/>
                    <a:pt x="6184896" y="472885"/>
                  </a:cubicBezTo>
                  <a:moveTo>
                    <a:pt x="6216325" y="477089"/>
                  </a:moveTo>
                  <a:cubicBezTo>
                    <a:pt x="6221564" y="469163"/>
                    <a:pt x="6226871" y="461168"/>
                    <a:pt x="6232178" y="453104"/>
                  </a:cubicBezTo>
                  <a:cubicBezTo>
                    <a:pt x="6238519" y="451518"/>
                    <a:pt x="6244998" y="449864"/>
                    <a:pt x="6251477" y="448210"/>
                  </a:cubicBezTo>
                  <a:cubicBezTo>
                    <a:pt x="6246032" y="458480"/>
                    <a:pt x="6240449" y="468680"/>
                    <a:pt x="6235417" y="479088"/>
                  </a:cubicBezTo>
                  <a:cubicBezTo>
                    <a:pt x="6230661" y="478606"/>
                    <a:pt x="6221150" y="477572"/>
                    <a:pt x="6216325" y="477089"/>
                  </a:cubicBezTo>
                  <a:moveTo>
                    <a:pt x="6332463" y="494045"/>
                  </a:moveTo>
                  <a:cubicBezTo>
                    <a:pt x="6338322" y="493700"/>
                    <a:pt x="6349970" y="493011"/>
                    <a:pt x="6355829" y="492666"/>
                  </a:cubicBezTo>
                  <a:cubicBezTo>
                    <a:pt x="6353830" y="484464"/>
                    <a:pt x="6349832" y="468198"/>
                    <a:pt x="6347833" y="460065"/>
                  </a:cubicBezTo>
                  <a:cubicBezTo>
                    <a:pt x="6344318" y="463235"/>
                    <a:pt x="6337288" y="469576"/>
                    <a:pt x="6333704" y="472747"/>
                  </a:cubicBezTo>
                  <a:cubicBezTo>
                    <a:pt x="6331154" y="464269"/>
                    <a:pt x="6330878" y="455585"/>
                    <a:pt x="6333980" y="447107"/>
                  </a:cubicBezTo>
                  <a:cubicBezTo>
                    <a:pt x="6341423" y="450898"/>
                    <a:pt x="6349764" y="453310"/>
                    <a:pt x="6356449" y="458549"/>
                  </a:cubicBezTo>
                  <a:cubicBezTo>
                    <a:pt x="6355760" y="472264"/>
                    <a:pt x="6358448" y="485498"/>
                    <a:pt x="6365685" y="497215"/>
                  </a:cubicBezTo>
                  <a:cubicBezTo>
                    <a:pt x="6366995" y="495561"/>
                    <a:pt x="6369614" y="492184"/>
                    <a:pt x="6370923" y="490529"/>
                  </a:cubicBezTo>
                  <a:cubicBezTo>
                    <a:pt x="6374852" y="473781"/>
                    <a:pt x="6378160" y="456825"/>
                    <a:pt x="6381055" y="439801"/>
                  </a:cubicBezTo>
                  <a:cubicBezTo>
                    <a:pt x="6378712" y="440904"/>
                    <a:pt x="6374025" y="442971"/>
                    <a:pt x="6371682" y="444074"/>
                  </a:cubicBezTo>
                  <a:cubicBezTo>
                    <a:pt x="6370027" y="433253"/>
                    <a:pt x="6368442" y="422363"/>
                    <a:pt x="6366995" y="411473"/>
                  </a:cubicBezTo>
                  <a:cubicBezTo>
                    <a:pt x="6356174" y="410439"/>
                    <a:pt x="6345697" y="410508"/>
                    <a:pt x="6335909" y="414850"/>
                  </a:cubicBezTo>
                  <a:cubicBezTo>
                    <a:pt x="6325985" y="408509"/>
                    <a:pt x="6318334" y="399273"/>
                    <a:pt x="6310752" y="390451"/>
                  </a:cubicBezTo>
                  <a:cubicBezTo>
                    <a:pt x="6326743" y="398722"/>
                    <a:pt x="6343705" y="404718"/>
                    <a:pt x="6362032" y="400514"/>
                  </a:cubicBezTo>
                  <a:cubicBezTo>
                    <a:pt x="6361205" y="390796"/>
                    <a:pt x="6360447" y="381077"/>
                    <a:pt x="6359826" y="371359"/>
                  </a:cubicBezTo>
                  <a:cubicBezTo>
                    <a:pt x="6332670" y="369360"/>
                    <a:pt x="6305583" y="367706"/>
                    <a:pt x="6278495" y="366396"/>
                  </a:cubicBezTo>
                  <a:cubicBezTo>
                    <a:pt x="6276910" y="378389"/>
                    <a:pt x="6275394" y="390382"/>
                    <a:pt x="6274015" y="402375"/>
                  </a:cubicBezTo>
                  <a:cubicBezTo>
                    <a:pt x="6298070" y="393139"/>
                    <a:pt x="6289110" y="420709"/>
                    <a:pt x="6299241" y="432150"/>
                  </a:cubicBezTo>
                  <a:cubicBezTo>
                    <a:pt x="6302481" y="426981"/>
                    <a:pt x="6308960" y="416711"/>
                    <a:pt x="6312268" y="411542"/>
                  </a:cubicBezTo>
                  <a:cubicBezTo>
                    <a:pt x="6310339" y="420916"/>
                    <a:pt x="6306065" y="429531"/>
                    <a:pt x="6302412" y="438147"/>
                  </a:cubicBezTo>
                  <a:cubicBezTo>
                    <a:pt x="6298966" y="437182"/>
                    <a:pt x="6292012" y="435321"/>
                    <a:pt x="6288558" y="434425"/>
                  </a:cubicBezTo>
                  <a:cubicBezTo>
                    <a:pt x="6285526" y="436079"/>
                    <a:pt x="6279598" y="439456"/>
                    <a:pt x="6276566" y="441180"/>
                  </a:cubicBezTo>
                  <a:cubicBezTo>
                    <a:pt x="6277048" y="438009"/>
                    <a:pt x="6277944" y="431599"/>
                    <a:pt x="6278357" y="428428"/>
                  </a:cubicBezTo>
                  <a:cubicBezTo>
                    <a:pt x="6260024" y="428773"/>
                    <a:pt x="6242723" y="411611"/>
                    <a:pt x="6226113" y="426774"/>
                  </a:cubicBezTo>
                  <a:cubicBezTo>
                    <a:pt x="6227767" y="413954"/>
                    <a:pt x="6229283" y="400996"/>
                    <a:pt x="6230524" y="387970"/>
                  </a:cubicBezTo>
                  <a:cubicBezTo>
                    <a:pt x="6240036" y="398446"/>
                    <a:pt x="6248307" y="398239"/>
                    <a:pt x="6253338" y="384524"/>
                  </a:cubicBezTo>
                  <a:cubicBezTo>
                    <a:pt x="6256922" y="388176"/>
                    <a:pt x="6263953" y="395413"/>
                    <a:pt x="6267536" y="399067"/>
                  </a:cubicBezTo>
                  <a:cubicBezTo>
                    <a:pt x="6267743" y="390589"/>
                    <a:pt x="6268088" y="373633"/>
                    <a:pt x="6268295" y="365156"/>
                  </a:cubicBezTo>
                  <a:cubicBezTo>
                    <a:pt x="6250994" y="364673"/>
                    <a:pt x="6233694" y="362881"/>
                    <a:pt x="6216463" y="362743"/>
                  </a:cubicBezTo>
                  <a:cubicBezTo>
                    <a:pt x="6196958" y="363295"/>
                    <a:pt x="6188342" y="383558"/>
                    <a:pt x="6177797" y="396585"/>
                  </a:cubicBezTo>
                  <a:cubicBezTo>
                    <a:pt x="6182966" y="398033"/>
                    <a:pt x="6193305" y="400927"/>
                    <a:pt x="6198474" y="402375"/>
                  </a:cubicBezTo>
                  <a:cubicBezTo>
                    <a:pt x="6192684" y="402030"/>
                    <a:pt x="6181174" y="401272"/>
                    <a:pt x="6175453" y="400927"/>
                  </a:cubicBezTo>
                  <a:cubicBezTo>
                    <a:pt x="6178831" y="411542"/>
                    <a:pt x="6185516" y="419399"/>
                    <a:pt x="6195373" y="424500"/>
                  </a:cubicBezTo>
                  <a:cubicBezTo>
                    <a:pt x="6201989" y="415471"/>
                    <a:pt x="6208399" y="406166"/>
                    <a:pt x="6214472" y="396585"/>
                  </a:cubicBezTo>
                  <a:cubicBezTo>
                    <a:pt x="6227629" y="419813"/>
                    <a:pt x="6226526" y="451794"/>
                    <a:pt x="6202678" y="467440"/>
                  </a:cubicBezTo>
                  <a:cubicBezTo>
                    <a:pt x="6205987" y="457515"/>
                    <a:pt x="6211018" y="448417"/>
                    <a:pt x="6217773" y="440146"/>
                  </a:cubicBezTo>
                  <a:cubicBezTo>
                    <a:pt x="6205159" y="445108"/>
                    <a:pt x="6192202" y="448554"/>
                    <a:pt x="6178899" y="450347"/>
                  </a:cubicBezTo>
                  <a:cubicBezTo>
                    <a:pt x="6183586" y="444970"/>
                    <a:pt x="6192891" y="434149"/>
                    <a:pt x="6197578" y="428773"/>
                  </a:cubicBezTo>
                  <a:cubicBezTo>
                    <a:pt x="6186136" y="419261"/>
                    <a:pt x="6168354" y="421329"/>
                    <a:pt x="6156016" y="427463"/>
                  </a:cubicBezTo>
                  <a:cubicBezTo>
                    <a:pt x="6162564" y="421812"/>
                    <a:pt x="6168974" y="416022"/>
                    <a:pt x="6175453" y="410026"/>
                  </a:cubicBezTo>
                  <a:cubicBezTo>
                    <a:pt x="6174075" y="403271"/>
                    <a:pt x="6171249" y="389900"/>
                    <a:pt x="6169801" y="383145"/>
                  </a:cubicBezTo>
                  <a:cubicBezTo>
                    <a:pt x="6178417" y="376321"/>
                    <a:pt x="6188687" y="370049"/>
                    <a:pt x="6190203" y="357850"/>
                  </a:cubicBezTo>
                  <a:cubicBezTo>
                    <a:pt x="6186619" y="360331"/>
                    <a:pt x="6179451" y="365225"/>
                    <a:pt x="6175936" y="367637"/>
                  </a:cubicBezTo>
                  <a:cubicBezTo>
                    <a:pt x="6164632" y="349165"/>
                    <a:pt x="6152295" y="364811"/>
                    <a:pt x="6141818" y="374391"/>
                  </a:cubicBezTo>
                  <a:cubicBezTo>
                    <a:pt x="6136235" y="367775"/>
                    <a:pt x="6134994" y="353645"/>
                    <a:pt x="6123484" y="356333"/>
                  </a:cubicBezTo>
                  <a:cubicBezTo>
                    <a:pt x="6121692" y="360607"/>
                    <a:pt x="6118039" y="369153"/>
                    <a:pt x="6116254" y="373427"/>
                  </a:cubicBezTo>
                  <a:cubicBezTo>
                    <a:pt x="6113008" y="374254"/>
                    <a:pt x="6106390" y="375839"/>
                    <a:pt x="6103151" y="376666"/>
                  </a:cubicBezTo>
                  <a:cubicBezTo>
                    <a:pt x="6104185" y="368119"/>
                    <a:pt x="6105495" y="354748"/>
                    <a:pt x="6093364" y="354679"/>
                  </a:cubicBezTo>
                  <a:cubicBezTo>
                    <a:pt x="6021889" y="349372"/>
                    <a:pt x="5950276" y="346339"/>
                    <a:pt x="5878801" y="341032"/>
                  </a:cubicBezTo>
                  <a:cubicBezTo>
                    <a:pt x="5878250" y="344754"/>
                    <a:pt x="5877216" y="352336"/>
                    <a:pt x="5876665" y="356058"/>
                  </a:cubicBezTo>
                  <a:cubicBezTo>
                    <a:pt x="5876114" y="352267"/>
                    <a:pt x="5875148" y="344616"/>
                    <a:pt x="5874597" y="340825"/>
                  </a:cubicBezTo>
                  <a:cubicBezTo>
                    <a:pt x="5835793" y="341514"/>
                    <a:pt x="5791750" y="327109"/>
                    <a:pt x="5756391" y="347580"/>
                  </a:cubicBezTo>
                  <a:cubicBezTo>
                    <a:pt x="5757287" y="344065"/>
                    <a:pt x="5759148" y="337172"/>
                    <a:pt x="5760044" y="333657"/>
                  </a:cubicBezTo>
                  <a:cubicBezTo>
                    <a:pt x="5726341" y="331934"/>
                    <a:pt x="5692774" y="329177"/>
                    <a:pt x="5659139" y="327316"/>
                  </a:cubicBezTo>
                  <a:cubicBezTo>
                    <a:pt x="5651557" y="326282"/>
                    <a:pt x="5644940" y="328143"/>
                    <a:pt x="5639220" y="332899"/>
                  </a:cubicBezTo>
                  <a:lnTo>
                    <a:pt x="5641219" y="325938"/>
                  </a:lnTo>
                  <a:cubicBezTo>
                    <a:pt x="5578497" y="322905"/>
                    <a:pt x="5515844" y="317667"/>
                    <a:pt x="5453054" y="315392"/>
                  </a:cubicBezTo>
                  <a:cubicBezTo>
                    <a:pt x="5456018" y="319183"/>
                    <a:pt x="5462015" y="326902"/>
                    <a:pt x="5464978" y="330693"/>
                  </a:cubicBezTo>
                  <a:lnTo>
                    <a:pt x="5451607" y="328626"/>
                  </a:lnTo>
                  <a:cubicBezTo>
                    <a:pt x="5453192" y="334277"/>
                    <a:pt x="5456293" y="345650"/>
                    <a:pt x="5457810" y="351302"/>
                  </a:cubicBezTo>
                  <a:cubicBezTo>
                    <a:pt x="5443818" y="344616"/>
                    <a:pt x="5449815" y="325524"/>
                    <a:pt x="5445473" y="313393"/>
                  </a:cubicBezTo>
                  <a:lnTo>
                    <a:pt x="5439269" y="313531"/>
                  </a:lnTo>
                  <a:cubicBezTo>
                    <a:pt x="5426311" y="313876"/>
                    <a:pt x="5413353" y="314289"/>
                    <a:pt x="5400534" y="314565"/>
                  </a:cubicBezTo>
                  <a:cubicBezTo>
                    <a:pt x="5405978" y="323318"/>
                    <a:pt x="5411562" y="332072"/>
                    <a:pt x="5417144" y="340756"/>
                  </a:cubicBezTo>
                  <a:cubicBezTo>
                    <a:pt x="5413560" y="342411"/>
                    <a:pt x="5406392" y="345719"/>
                    <a:pt x="5402808" y="347373"/>
                  </a:cubicBezTo>
                  <a:cubicBezTo>
                    <a:pt x="5395984" y="344340"/>
                    <a:pt x="5389299" y="341308"/>
                    <a:pt x="5382613" y="338206"/>
                  </a:cubicBezTo>
                  <a:cubicBezTo>
                    <a:pt x="5375996" y="341721"/>
                    <a:pt x="5369380" y="345168"/>
                    <a:pt x="5362901" y="348545"/>
                  </a:cubicBezTo>
                  <a:cubicBezTo>
                    <a:pt x="5363176" y="340618"/>
                    <a:pt x="5363659" y="332554"/>
                    <a:pt x="5364348" y="324559"/>
                  </a:cubicBezTo>
                  <a:cubicBezTo>
                    <a:pt x="5367794" y="323594"/>
                    <a:pt x="5374618" y="321802"/>
                    <a:pt x="5378064" y="320906"/>
                  </a:cubicBezTo>
                  <a:cubicBezTo>
                    <a:pt x="5381097" y="320906"/>
                    <a:pt x="5387300" y="320975"/>
                    <a:pt x="5390402" y="320975"/>
                  </a:cubicBezTo>
                  <a:cubicBezTo>
                    <a:pt x="5389988" y="318287"/>
                    <a:pt x="5389092" y="312842"/>
                    <a:pt x="5388679" y="310085"/>
                  </a:cubicBezTo>
                  <a:cubicBezTo>
                    <a:pt x="5322511" y="306570"/>
                    <a:pt x="5256343" y="302434"/>
                    <a:pt x="5190245" y="298161"/>
                  </a:cubicBezTo>
                  <a:cubicBezTo>
                    <a:pt x="5198033" y="310085"/>
                    <a:pt x="5210715" y="316977"/>
                    <a:pt x="5221536" y="325662"/>
                  </a:cubicBezTo>
                  <a:cubicBezTo>
                    <a:pt x="5212300" y="325800"/>
                    <a:pt x="5203065" y="325938"/>
                    <a:pt x="5193966" y="325938"/>
                  </a:cubicBezTo>
                  <a:cubicBezTo>
                    <a:pt x="5191347" y="318769"/>
                    <a:pt x="5188797" y="311601"/>
                    <a:pt x="5186316" y="304364"/>
                  </a:cubicBezTo>
                  <a:cubicBezTo>
                    <a:pt x="5169636" y="299264"/>
                    <a:pt x="5152612" y="294853"/>
                    <a:pt x="5135105" y="294370"/>
                  </a:cubicBezTo>
                  <a:cubicBezTo>
                    <a:pt x="4991742" y="286237"/>
                    <a:pt x="4848585" y="276932"/>
                    <a:pt x="4705291" y="267627"/>
                  </a:cubicBezTo>
                  <a:lnTo>
                    <a:pt x="4705980" y="281688"/>
                  </a:lnTo>
                  <a:cubicBezTo>
                    <a:pt x="4705429" y="278104"/>
                    <a:pt x="4704257" y="270867"/>
                    <a:pt x="4703706" y="267283"/>
                  </a:cubicBezTo>
                  <a:cubicBezTo>
                    <a:pt x="4684544" y="268592"/>
                    <a:pt x="4663392" y="260942"/>
                    <a:pt x="4645533" y="266662"/>
                  </a:cubicBezTo>
                  <a:cubicBezTo>
                    <a:pt x="4640226" y="282170"/>
                    <a:pt x="4643397" y="298712"/>
                    <a:pt x="4643672" y="314634"/>
                  </a:cubicBezTo>
                  <a:cubicBezTo>
                    <a:pt x="4638641" y="303951"/>
                    <a:pt x="4633058" y="293474"/>
                    <a:pt x="4626372" y="283618"/>
                  </a:cubicBezTo>
                  <a:lnTo>
                    <a:pt x="4627544" y="282653"/>
                  </a:lnTo>
                  <a:cubicBezTo>
                    <a:pt x="4639537" y="303123"/>
                    <a:pt x="4644913" y="276725"/>
                    <a:pt x="4639812" y="266524"/>
                  </a:cubicBezTo>
                  <a:cubicBezTo>
                    <a:pt x="4626923" y="260459"/>
                    <a:pt x="4612174" y="262389"/>
                    <a:pt x="4598596" y="260528"/>
                  </a:cubicBezTo>
                  <a:lnTo>
                    <a:pt x="4599630" y="270040"/>
                  </a:lnTo>
                  <a:cubicBezTo>
                    <a:pt x="4594598" y="268386"/>
                    <a:pt x="4589635" y="266662"/>
                    <a:pt x="4584742" y="264939"/>
                  </a:cubicBezTo>
                  <a:cubicBezTo>
                    <a:pt x="4576953" y="273693"/>
                    <a:pt x="4573094" y="284100"/>
                    <a:pt x="4574610" y="295817"/>
                  </a:cubicBezTo>
                  <a:cubicBezTo>
                    <a:pt x="4570543" y="285686"/>
                    <a:pt x="4566752" y="275485"/>
                    <a:pt x="4561583" y="265835"/>
                  </a:cubicBezTo>
                  <a:cubicBezTo>
                    <a:pt x="4548281" y="260252"/>
                    <a:pt x="4533944" y="257909"/>
                    <a:pt x="4519953" y="255083"/>
                  </a:cubicBezTo>
                  <a:cubicBezTo>
                    <a:pt x="4519677" y="261631"/>
                    <a:pt x="4519056" y="274658"/>
                    <a:pt x="4518781" y="281205"/>
                  </a:cubicBezTo>
                  <a:cubicBezTo>
                    <a:pt x="4518161" y="272728"/>
                    <a:pt x="4517678" y="264250"/>
                    <a:pt x="4517471" y="255634"/>
                  </a:cubicBezTo>
                  <a:cubicBezTo>
                    <a:pt x="4466467" y="255221"/>
                    <a:pt x="4415876" y="248122"/>
                    <a:pt x="4364941" y="246674"/>
                  </a:cubicBezTo>
                  <a:cubicBezTo>
                    <a:pt x="4366871" y="251016"/>
                    <a:pt x="4370738" y="259770"/>
                    <a:pt x="4372661" y="264112"/>
                  </a:cubicBezTo>
                  <a:lnTo>
                    <a:pt x="4383964" y="260183"/>
                  </a:lnTo>
                  <a:cubicBezTo>
                    <a:pt x="4381345" y="276243"/>
                    <a:pt x="4364803" y="266042"/>
                    <a:pt x="4354740" y="265353"/>
                  </a:cubicBezTo>
                  <a:cubicBezTo>
                    <a:pt x="4346469" y="263630"/>
                    <a:pt x="4337233" y="262596"/>
                    <a:pt x="4333649" y="253498"/>
                  </a:cubicBezTo>
                  <a:cubicBezTo>
                    <a:pt x="4344126" y="254601"/>
                    <a:pt x="4353913" y="258185"/>
                    <a:pt x="4362873" y="264250"/>
                  </a:cubicBezTo>
                  <a:cubicBezTo>
                    <a:pt x="4363011" y="257426"/>
                    <a:pt x="4363218" y="250603"/>
                    <a:pt x="4363425" y="243710"/>
                  </a:cubicBezTo>
                  <a:cubicBezTo>
                    <a:pt x="4337164" y="247088"/>
                    <a:pt x="4310835" y="242470"/>
                    <a:pt x="4284575" y="241160"/>
                  </a:cubicBezTo>
                  <a:lnTo>
                    <a:pt x="4285195" y="252740"/>
                  </a:lnTo>
                  <a:cubicBezTo>
                    <a:pt x="4284713" y="249776"/>
                    <a:pt x="4283817" y="243848"/>
                    <a:pt x="4283334" y="240954"/>
                  </a:cubicBezTo>
                  <a:cubicBezTo>
                    <a:pt x="4279406" y="240954"/>
                    <a:pt x="4271548" y="241091"/>
                    <a:pt x="4267620" y="241091"/>
                  </a:cubicBezTo>
                  <a:cubicBezTo>
                    <a:pt x="4267551" y="246192"/>
                    <a:pt x="4267482" y="256393"/>
                    <a:pt x="4267482" y="261493"/>
                  </a:cubicBezTo>
                  <a:cubicBezTo>
                    <a:pt x="4254179" y="258874"/>
                    <a:pt x="4247493" y="247019"/>
                    <a:pt x="4237499" y="239368"/>
                  </a:cubicBezTo>
                  <a:cubicBezTo>
                    <a:pt x="4210688" y="235508"/>
                    <a:pt x="4183393" y="235371"/>
                    <a:pt x="4156306" y="234061"/>
                  </a:cubicBezTo>
                  <a:cubicBezTo>
                    <a:pt x="4163750" y="238886"/>
                    <a:pt x="4171125" y="243642"/>
                    <a:pt x="4178707" y="248122"/>
                  </a:cubicBezTo>
                  <a:cubicBezTo>
                    <a:pt x="4176846" y="261286"/>
                    <a:pt x="4175191" y="274313"/>
                    <a:pt x="4173951" y="287409"/>
                  </a:cubicBezTo>
                  <a:cubicBezTo>
                    <a:pt x="4161131" y="277484"/>
                    <a:pt x="4140798" y="273762"/>
                    <a:pt x="4142659" y="253360"/>
                  </a:cubicBezTo>
                  <a:cubicBezTo>
                    <a:pt x="4139282" y="253636"/>
                    <a:pt x="4132389" y="254118"/>
                    <a:pt x="4128943" y="254394"/>
                  </a:cubicBezTo>
                  <a:cubicBezTo>
                    <a:pt x="4129908" y="248811"/>
                    <a:pt x="4131700" y="237645"/>
                    <a:pt x="4132665" y="232062"/>
                  </a:cubicBezTo>
                  <a:cubicBezTo>
                    <a:pt x="4108542" y="235233"/>
                    <a:pt x="4083660" y="237231"/>
                    <a:pt x="4060570" y="228271"/>
                  </a:cubicBezTo>
                  <a:cubicBezTo>
                    <a:pt x="3975379" y="222275"/>
                    <a:pt x="3890119" y="215314"/>
                    <a:pt x="3804722" y="212970"/>
                  </a:cubicBezTo>
                  <a:cubicBezTo>
                    <a:pt x="3795555" y="228478"/>
                    <a:pt x="3809064" y="240126"/>
                    <a:pt x="3818989" y="250327"/>
                  </a:cubicBezTo>
                  <a:cubicBezTo>
                    <a:pt x="3817817" y="233027"/>
                    <a:pt x="3835117" y="236060"/>
                    <a:pt x="3845456" y="233165"/>
                  </a:cubicBezTo>
                  <a:cubicBezTo>
                    <a:pt x="3848075" y="252740"/>
                    <a:pt x="3832843" y="267972"/>
                    <a:pt x="3837805" y="287478"/>
                  </a:cubicBezTo>
                  <a:cubicBezTo>
                    <a:pt x="3827674" y="279689"/>
                    <a:pt x="3818162" y="268523"/>
                    <a:pt x="3803757" y="270453"/>
                  </a:cubicBezTo>
                  <a:cubicBezTo>
                    <a:pt x="3807479" y="265904"/>
                    <a:pt x="3814923" y="256668"/>
                    <a:pt x="3818644" y="252050"/>
                  </a:cubicBezTo>
                  <a:cubicBezTo>
                    <a:pt x="3814371" y="251430"/>
                    <a:pt x="3805893" y="250121"/>
                    <a:pt x="3801620" y="249431"/>
                  </a:cubicBezTo>
                  <a:cubicBezTo>
                    <a:pt x="3799415" y="236473"/>
                    <a:pt x="3796726" y="223516"/>
                    <a:pt x="3794038" y="210627"/>
                  </a:cubicBezTo>
                  <a:cubicBezTo>
                    <a:pt x="3779219" y="209800"/>
                    <a:pt x="3764470" y="208352"/>
                    <a:pt x="3749789" y="208766"/>
                  </a:cubicBezTo>
                  <a:cubicBezTo>
                    <a:pt x="3747859" y="214073"/>
                    <a:pt x="3743999" y="224756"/>
                    <a:pt x="3742069" y="230132"/>
                  </a:cubicBezTo>
                  <a:cubicBezTo>
                    <a:pt x="3752201" y="227375"/>
                    <a:pt x="3762057" y="228685"/>
                    <a:pt x="3771500" y="234199"/>
                  </a:cubicBezTo>
                  <a:cubicBezTo>
                    <a:pt x="3761851" y="232131"/>
                    <a:pt x="3754820" y="236818"/>
                    <a:pt x="3748893" y="243779"/>
                  </a:cubicBezTo>
                  <a:cubicBezTo>
                    <a:pt x="3748962" y="241298"/>
                    <a:pt x="3749031" y="236336"/>
                    <a:pt x="3749100" y="233854"/>
                  </a:cubicBezTo>
                  <a:cubicBezTo>
                    <a:pt x="3733592" y="231993"/>
                    <a:pt x="3718566" y="233854"/>
                    <a:pt x="3716981" y="252602"/>
                  </a:cubicBezTo>
                  <a:cubicBezTo>
                    <a:pt x="3718428" y="242125"/>
                    <a:pt x="3719738" y="231511"/>
                    <a:pt x="3721185" y="220965"/>
                  </a:cubicBezTo>
                  <a:cubicBezTo>
                    <a:pt x="3732213" y="222413"/>
                    <a:pt x="3741035" y="219035"/>
                    <a:pt x="3744068" y="207732"/>
                  </a:cubicBezTo>
                  <a:cubicBezTo>
                    <a:pt x="3641301" y="200839"/>
                    <a:pt x="3538397" y="195532"/>
                    <a:pt x="3435699" y="187950"/>
                  </a:cubicBezTo>
                  <a:cubicBezTo>
                    <a:pt x="3438939" y="205320"/>
                    <a:pt x="3427084" y="218622"/>
                    <a:pt x="3415297" y="229443"/>
                  </a:cubicBezTo>
                  <a:cubicBezTo>
                    <a:pt x="3406475" y="231787"/>
                    <a:pt x="3399652" y="216899"/>
                    <a:pt x="3407164" y="210971"/>
                  </a:cubicBezTo>
                  <a:cubicBezTo>
                    <a:pt x="3412540" y="200219"/>
                    <a:pt x="3425567" y="197462"/>
                    <a:pt x="3434665" y="190570"/>
                  </a:cubicBezTo>
                  <a:cubicBezTo>
                    <a:pt x="3395172" y="184642"/>
                    <a:pt x="3355195" y="183332"/>
                    <a:pt x="3315357" y="180920"/>
                  </a:cubicBezTo>
                  <a:cubicBezTo>
                    <a:pt x="3316184" y="192913"/>
                    <a:pt x="3322318" y="200219"/>
                    <a:pt x="3333829" y="202700"/>
                  </a:cubicBezTo>
                  <a:cubicBezTo>
                    <a:pt x="3334725" y="208628"/>
                    <a:pt x="3335414" y="214555"/>
                    <a:pt x="3336034" y="220345"/>
                  </a:cubicBezTo>
                  <a:cubicBezTo>
                    <a:pt x="3324662" y="221172"/>
                    <a:pt x="3313358" y="221999"/>
                    <a:pt x="3302123" y="222482"/>
                  </a:cubicBezTo>
                  <a:lnTo>
                    <a:pt x="3313909" y="221034"/>
                  </a:lnTo>
                  <a:cubicBezTo>
                    <a:pt x="3313841" y="206353"/>
                    <a:pt x="3313565" y="191603"/>
                    <a:pt x="3313082" y="176785"/>
                  </a:cubicBezTo>
                  <a:cubicBezTo>
                    <a:pt x="3297505" y="196911"/>
                    <a:pt x="3281928" y="216968"/>
                    <a:pt x="3265455" y="236336"/>
                  </a:cubicBezTo>
                  <a:lnTo>
                    <a:pt x="3257115" y="230063"/>
                  </a:lnTo>
                  <a:cubicBezTo>
                    <a:pt x="3252635" y="235715"/>
                    <a:pt x="3246639" y="238265"/>
                    <a:pt x="3239264" y="237645"/>
                  </a:cubicBezTo>
                  <a:cubicBezTo>
                    <a:pt x="3253807" y="219863"/>
                    <a:pt x="3246156" y="192568"/>
                    <a:pt x="3266903" y="177612"/>
                  </a:cubicBezTo>
                  <a:cubicBezTo>
                    <a:pt x="3261389" y="177474"/>
                    <a:pt x="3250499" y="177129"/>
                    <a:pt x="3244985" y="176991"/>
                  </a:cubicBezTo>
                  <a:cubicBezTo>
                    <a:pt x="3243469" y="186503"/>
                    <a:pt x="3241952" y="195946"/>
                    <a:pt x="3240367" y="205388"/>
                  </a:cubicBezTo>
                  <a:cubicBezTo>
                    <a:pt x="3234646" y="196084"/>
                    <a:pt x="3240781" y="185676"/>
                    <a:pt x="3242090" y="176027"/>
                  </a:cubicBezTo>
                  <a:cubicBezTo>
                    <a:pt x="3136428" y="170444"/>
                    <a:pt x="3030974" y="162104"/>
                    <a:pt x="2925381" y="156796"/>
                  </a:cubicBezTo>
                  <a:cubicBezTo>
                    <a:pt x="2928965" y="163965"/>
                    <a:pt x="2932618" y="171064"/>
                    <a:pt x="2936271" y="178094"/>
                  </a:cubicBezTo>
                  <a:cubicBezTo>
                    <a:pt x="2933859" y="178577"/>
                    <a:pt x="2928965" y="179542"/>
                    <a:pt x="2926553" y="180024"/>
                  </a:cubicBezTo>
                  <a:cubicBezTo>
                    <a:pt x="2925037" y="182919"/>
                    <a:pt x="2921935" y="188778"/>
                    <a:pt x="2920419" y="191741"/>
                  </a:cubicBezTo>
                  <a:cubicBezTo>
                    <a:pt x="2919454" y="179817"/>
                    <a:pt x="2918627" y="167824"/>
                    <a:pt x="2918696" y="155832"/>
                  </a:cubicBezTo>
                  <a:cubicBezTo>
                    <a:pt x="2902085" y="156452"/>
                    <a:pt x="2884164" y="149559"/>
                    <a:pt x="2868519" y="157279"/>
                  </a:cubicBezTo>
                  <a:cubicBezTo>
                    <a:pt x="2869277" y="161966"/>
                    <a:pt x="2870793" y="171340"/>
                    <a:pt x="2871551" y="176027"/>
                  </a:cubicBezTo>
                  <a:cubicBezTo>
                    <a:pt x="2870173" y="174993"/>
                    <a:pt x="2867416" y="172994"/>
                    <a:pt x="2866037" y="172029"/>
                  </a:cubicBezTo>
                  <a:cubicBezTo>
                    <a:pt x="2864590" y="168169"/>
                    <a:pt x="2861833" y="160381"/>
                    <a:pt x="2860454" y="156452"/>
                  </a:cubicBezTo>
                  <a:lnTo>
                    <a:pt x="2856388" y="151834"/>
                  </a:lnTo>
                  <a:cubicBezTo>
                    <a:pt x="2781398" y="148801"/>
                    <a:pt x="2706546" y="142116"/>
                    <a:pt x="2631556" y="138049"/>
                  </a:cubicBezTo>
                  <a:lnTo>
                    <a:pt x="2630384" y="150249"/>
                  </a:lnTo>
                  <a:cubicBezTo>
                    <a:pt x="2630246" y="146940"/>
                    <a:pt x="2629970" y="140186"/>
                    <a:pt x="2629832" y="136877"/>
                  </a:cubicBezTo>
                  <a:lnTo>
                    <a:pt x="2616254" y="137429"/>
                  </a:lnTo>
                  <a:cubicBezTo>
                    <a:pt x="2615496" y="150731"/>
                    <a:pt x="2614669" y="163965"/>
                    <a:pt x="2615221" y="177267"/>
                  </a:cubicBezTo>
                  <a:cubicBezTo>
                    <a:pt x="2610533" y="168238"/>
                    <a:pt x="2606743" y="156934"/>
                    <a:pt x="2593992" y="158933"/>
                  </a:cubicBezTo>
                  <a:cubicBezTo>
                    <a:pt x="2595784" y="153971"/>
                    <a:pt x="2597576" y="148870"/>
                    <a:pt x="2599437" y="143770"/>
                  </a:cubicBezTo>
                  <a:cubicBezTo>
                    <a:pt x="2585721" y="131501"/>
                    <a:pt x="2568007" y="135637"/>
                    <a:pt x="2551879" y="139152"/>
                  </a:cubicBezTo>
                  <a:cubicBezTo>
                    <a:pt x="2550087" y="142460"/>
                    <a:pt x="2546434" y="149008"/>
                    <a:pt x="2544573" y="152248"/>
                  </a:cubicBezTo>
                  <a:cubicBezTo>
                    <a:pt x="2545882" y="147285"/>
                    <a:pt x="2548433" y="137429"/>
                    <a:pt x="2549673" y="132466"/>
                  </a:cubicBezTo>
                  <a:cubicBezTo>
                    <a:pt x="2527411" y="134189"/>
                    <a:pt x="2501495" y="123713"/>
                    <a:pt x="2484470" y="142943"/>
                  </a:cubicBezTo>
                  <a:cubicBezTo>
                    <a:pt x="2485435" y="139152"/>
                    <a:pt x="2487296" y="131639"/>
                    <a:pt x="2488261" y="127848"/>
                  </a:cubicBezTo>
                  <a:cubicBezTo>
                    <a:pt x="2469100" y="130192"/>
                    <a:pt x="2449388" y="133845"/>
                    <a:pt x="2431398" y="124057"/>
                  </a:cubicBezTo>
                  <a:cubicBezTo>
                    <a:pt x="2429607" y="130329"/>
                    <a:pt x="2427746" y="136533"/>
                    <a:pt x="2425885" y="142667"/>
                  </a:cubicBezTo>
                  <a:cubicBezTo>
                    <a:pt x="2425540" y="138118"/>
                    <a:pt x="2424920" y="129158"/>
                    <a:pt x="2424575" y="124678"/>
                  </a:cubicBezTo>
                  <a:cubicBezTo>
                    <a:pt x="2397488" y="123437"/>
                    <a:pt x="2370400" y="123230"/>
                    <a:pt x="2343520" y="120198"/>
                  </a:cubicBezTo>
                  <a:cubicBezTo>
                    <a:pt x="2332905" y="119715"/>
                    <a:pt x="2320981" y="116338"/>
                    <a:pt x="2312572" y="124747"/>
                  </a:cubicBezTo>
                  <a:cubicBezTo>
                    <a:pt x="2308161" y="119577"/>
                    <a:pt x="2302578" y="117027"/>
                    <a:pt x="2295755" y="117303"/>
                  </a:cubicBezTo>
                  <a:cubicBezTo>
                    <a:pt x="2230690" y="113719"/>
                    <a:pt x="2165832" y="107860"/>
                    <a:pt x="2100698" y="105448"/>
                  </a:cubicBezTo>
                  <a:cubicBezTo>
                    <a:pt x="2100354" y="111168"/>
                    <a:pt x="2099595" y="122541"/>
                    <a:pt x="2099182" y="128262"/>
                  </a:cubicBezTo>
                  <a:cubicBezTo>
                    <a:pt x="2103179" y="134534"/>
                    <a:pt x="2106419" y="141220"/>
                    <a:pt x="2108969" y="148250"/>
                  </a:cubicBezTo>
                  <a:cubicBezTo>
                    <a:pt x="2102766" y="141771"/>
                    <a:pt x="2096701" y="135292"/>
                    <a:pt x="2090635" y="128675"/>
                  </a:cubicBezTo>
                  <a:cubicBezTo>
                    <a:pt x="2089050" y="133086"/>
                    <a:pt x="2086017" y="141909"/>
                    <a:pt x="2084501" y="146320"/>
                  </a:cubicBezTo>
                  <a:cubicBezTo>
                    <a:pt x="2080503" y="146596"/>
                    <a:pt x="2072577" y="147216"/>
                    <a:pt x="2068579" y="147492"/>
                  </a:cubicBezTo>
                  <a:cubicBezTo>
                    <a:pt x="2071681" y="146458"/>
                    <a:pt x="2077815" y="144528"/>
                    <a:pt x="2080917" y="143563"/>
                  </a:cubicBezTo>
                  <a:cubicBezTo>
                    <a:pt x="2083743" y="137704"/>
                    <a:pt x="2070716" y="112409"/>
                    <a:pt x="2085121" y="117096"/>
                  </a:cubicBezTo>
                  <a:cubicBezTo>
                    <a:pt x="2087947" y="120473"/>
                    <a:pt x="2093530" y="127159"/>
                    <a:pt x="2096287" y="130536"/>
                  </a:cubicBezTo>
                  <a:cubicBezTo>
                    <a:pt x="2097321" y="124126"/>
                    <a:pt x="2099251" y="111237"/>
                    <a:pt x="2100216" y="104758"/>
                  </a:cubicBezTo>
                  <a:cubicBezTo>
                    <a:pt x="2064237" y="103104"/>
                    <a:pt x="2028396" y="99520"/>
                    <a:pt x="1992349" y="98555"/>
                  </a:cubicBezTo>
                  <a:cubicBezTo>
                    <a:pt x="1990625" y="109376"/>
                    <a:pt x="1986835" y="119370"/>
                    <a:pt x="1981045" y="128537"/>
                  </a:cubicBezTo>
                  <a:cubicBezTo>
                    <a:pt x="1983940" y="118199"/>
                    <a:pt x="1987248" y="108136"/>
                    <a:pt x="1990694" y="97866"/>
                  </a:cubicBezTo>
                  <a:cubicBezTo>
                    <a:pt x="1947686" y="95523"/>
                    <a:pt x="1904814" y="92421"/>
                    <a:pt x="1861874" y="90009"/>
                  </a:cubicBezTo>
                  <a:cubicBezTo>
                    <a:pt x="1862288" y="93868"/>
                    <a:pt x="1863253" y="101657"/>
                    <a:pt x="1863666" y="105517"/>
                  </a:cubicBezTo>
                  <a:cubicBezTo>
                    <a:pt x="1862426" y="105792"/>
                    <a:pt x="1859875" y="106344"/>
                    <a:pt x="1858566" y="106550"/>
                  </a:cubicBezTo>
                  <a:lnTo>
                    <a:pt x="1860703" y="85666"/>
                  </a:lnTo>
                  <a:lnTo>
                    <a:pt x="1851122" y="98211"/>
                  </a:lnTo>
                  <a:cubicBezTo>
                    <a:pt x="1852156" y="114063"/>
                    <a:pt x="1856222" y="131432"/>
                    <a:pt x="1846228" y="145355"/>
                  </a:cubicBezTo>
                  <a:cubicBezTo>
                    <a:pt x="1846160" y="140737"/>
                    <a:pt x="1846022" y="131432"/>
                    <a:pt x="1845953" y="126814"/>
                  </a:cubicBezTo>
                  <a:cubicBezTo>
                    <a:pt x="1844023" y="127228"/>
                    <a:pt x="1840025" y="128124"/>
                    <a:pt x="1838095" y="128606"/>
                  </a:cubicBezTo>
                  <a:lnTo>
                    <a:pt x="1834511" y="133500"/>
                  </a:lnTo>
                  <a:cubicBezTo>
                    <a:pt x="1828584" y="151145"/>
                    <a:pt x="1816384" y="145355"/>
                    <a:pt x="1804667" y="136808"/>
                  </a:cubicBezTo>
                  <a:cubicBezTo>
                    <a:pt x="1805149" y="139772"/>
                    <a:pt x="1805976" y="145838"/>
                    <a:pt x="1806390" y="148801"/>
                  </a:cubicBezTo>
                  <a:cubicBezTo>
                    <a:pt x="1811421" y="164861"/>
                    <a:pt x="1810870" y="181334"/>
                    <a:pt x="1802186" y="196015"/>
                  </a:cubicBezTo>
                  <a:cubicBezTo>
                    <a:pt x="1795224" y="179679"/>
                    <a:pt x="1788263" y="161828"/>
                    <a:pt x="1796741" y="144597"/>
                  </a:cubicBezTo>
                  <a:cubicBezTo>
                    <a:pt x="1793846" y="143425"/>
                    <a:pt x="1788056" y="141082"/>
                    <a:pt x="1785161" y="139910"/>
                  </a:cubicBezTo>
                  <a:cubicBezTo>
                    <a:pt x="1784058" y="163275"/>
                    <a:pt x="1783714" y="186641"/>
                    <a:pt x="1784679" y="209937"/>
                  </a:cubicBezTo>
                  <a:cubicBezTo>
                    <a:pt x="1793708" y="196497"/>
                    <a:pt x="1801979" y="199530"/>
                    <a:pt x="1809078" y="213521"/>
                  </a:cubicBezTo>
                  <a:cubicBezTo>
                    <a:pt x="1809629" y="205251"/>
                    <a:pt x="1812111" y="197669"/>
                    <a:pt x="1816453" y="190570"/>
                  </a:cubicBezTo>
                  <a:cubicBezTo>
                    <a:pt x="1815833" y="194981"/>
                    <a:pt x="1814523" y="203872"/>
                    <a:pt x="1813834" y="208283"/>
                  </a:cubicBezTo>
                  <a:cubicBezTo>
                    <a:pt x="1819072" y="209110"/>
                    <a:pt x="1829549" y="210764"/>
                    <a:pt x="1834787" y="211661"/>
                  </a:cubicBezTo>
                  <a:cubicBezTo>
                    <a:pt x="1835959" y="203734"/>
                    <a:pt x="1839336" y="197049"/>
                    <a:pt x="1844919" y="191466"/>
                  </a:cubicBezTo>
                  <a:cubicBezTo>
                    <a:pt x="1845194" y="187537"/>
                    <a:pt x="1845677" y="179679"/>
                    <a:pt x="1845953" y="175682"/>
                  </a:cubicBezTo>
                  <a:cubicBezTo>
                    <a:pt x="1847469" y="181127"/>
                    <a:pt x="1848503" y="186710"/>
                    <a:pt x="1849675" y="192086"/>
                  </a:cubicBezTo>
                  <a:cubicBezTo>
                    <a:pt x="1845332" y="198496"/>
                    <a:pt x="1841059" y="204975"/>
                    <a:pt x="1836993" y="211454"/>
                  </a:cubicBezTo>
                  <a:cubicBezTo>
                    <a:pt x="1935830" y="218760"/>
                    <a:pt x="2034875" y="223791"/>
                    <a:pt x="2133782" y="230890"/>
                  </a:cubicBezTo>
                  <a:cubicBezTo>
                    <a:pt x="2136056" y="222206"/>
                    <a:pt x="2138469" y="213452"/>
                    <a:pt x="2141157" y="204699"/>
                  </a:cubicBezTo>
                  <a:cubicBezTo>
                    <a:pt x="2139916" y="211385"/>
                    <a:pt x="2137366" y="224618"/>
                    <a:pt x="2136125" y="231304"/>
                  </a:cubicBezTo>
                  <a:cubicBezTo>
                    <a:pt x="2160387" y="227858"/>
                    <a:pt x="2184166" y="234199"/>
                    <a:pt x="2208427" y="234888"/>
                  </a:cubicBezTo>
                  <a:cubicBezTo>
                    <a:pt x="2208221" y="230063"/>
                    <a:pt x="2207738" y="220345"/>
                    <a:pt x="2207531" y="215520"/>
                  </a:cubicBezTo>
                  <a:cubicBezTo>
                    <a:pt x="2201121" y="218966"/>
                    <a:pt x="2194642" y="222275"/>
                    <a:pt x="2188164" y="225514"/>
                  </a:cubicBezTo>
                  <a:cubicBezTo>
                    <a:pt x="2188508" y="220896"/>
                    <a:pt x="2189197" y="211729"/>
                    <a:pt x="2189542" y="207180"/>
                  </a:cubicBezTo>
                  <a:cubicBezTo>
                    <a:pt x="2196917" y="206698"/>
                    <a:pt x="2204430" y="206905"/>
                    <a:pt x="2211874" y="206698"/>
                  </a:cubicBezTo>
                  <a:lnTo>
                    <a:pt x="2210219" y="213246"/>
                  </a:lnTo>
                  <a:cubicBezTo>
                    <a:pt x="2219249" y="205457"/>
                    <a:pt x="2229794" y="207525"/>
                    <a:pt x="2238616" y="214555"/>
                  </a:cubicBezTo>
                  <a:cubicBezTo>
                    <a:pt x="2230139" y="216692"/>
                    <a:pt x="2221385" y="216416"/>
                    <a:pt x="2212839" y="216623"/>
                  </a:cubicBezTo>
                  <a:cubicBezTo>
                    <a:pt x="2206911" y="244055"/>
                    <a:pt x="2239719" y="235164"/>
                    <a:pt x="2256261" y="238197"/>
                  </a:cubicBezTo>
                  <a:cubicBezTo>
                    <a:pt x="2256881" y="235095"/>
                    <a:pt x="2258191" y="228823"/>
                    <a:pt x="2258811" y="225721"/>
                  </a:cubicBezTo>
                  <a:cubicBezTo>
                    <a:pt x="2258536" y="229099"/>
                    <a:pt x="2258053" y="235853"/>
                    <a:pt x="2257777" y="239230"/>
                  </a:cubicBezTo>
                  <a:cubicBezTo>
                    <a:pt x="2263912" y="238748"/>
                    <a:pt x="2276180" y="237714"/>
                    <a:pt x="2282315" y="237231"/>
                  </a:cubicBezTo>
                  <a:cubicBezTo>
                    <a:pt x="2285692" y="226617"/>
                    <a:pt x="2279351" y="217037"/>
                    <a:pt x="2272045" y="209937"/>
                  </a:cubicBezTo>
                  <a:cubicBezTo>
                    <a:pt x="2289069" y="215176"/>
                    <a:pt x="2307748" y="216347"/>
                    <a:pt x="2315398" y="196980"/>
                  </a:cubicBezTo>
                  <a:cubicBezTo>
                    <a:pt x="2313882" y="207594"/>
                    <a:pt x="2312366" y="218208"/>
                    <a:pt x="2311194" y="228754"/>
                  </a:cubicBezTo>
                  <a:cubicBezTo>
                    <a:pt x="2302303" y="225583"/>
                    <a:pt x="2295066" y="227100"/>
                    <a:pt x="2289483" y="233441"/>
                  </a:cubicBezTo>
                  <a:cubicBezTo>
                    <a:pt x="2289827" y="235233"/>
                    <a:pt x="2290517" y="238748"/>
                    <a:pt x="2290861" y="240540"/>
                  </a:cubicBezTo>
                  <a:cubicBezTo>
                    <a:pt x="2316984" y="242608"/>
                    <a:pt x="2343244" y="243021"/>
                    <a:pt x="2369297" y="245640"/>
                  </a:cubicBezTo>
                  <a:cubicBezTo>
                    <a:pt x="2367643" y="229374"/>
                    <a:pt x="2365093" y="213039"/>
                    <a:pt x="2360958" y="197117"/>
                  </a:cubicBezTo>
                  <a:cubicBezTo>
                    <a:pt x="2348896" y="194636"/>
                    <a:pt x="2337041" y="191535"/>
                    <a:pt x="2325255" y="188088"/>
                  </a:cubicBezTo>
                  <a:cubicBezTo>
                    <a:pt x="2322636" y="166928"/>
                    <a:pt x="2340487" y="155487"/>
                    <a:pt x="2359786" y="155349"/>
                  </a:cubicBezTo>
                  <a:cubicBezTo>
                    <a:pt x="2355099" y="164723"/>
                    <a:pt x="2349585" y="173683"/>
                    <a:pt x="2345450" y="183264"/>
                  </a:cubicBezTo>
                  <a:cubicBezTo>
                    <a:pt x="2347517" y="198772"/>
                    <a:pt x="2368264" y="186848"/>
                    <a:pt x="2378327" y="189053"/>
                  </a:cubicBezTo>
                  <a:cubicBezTo>
                    <a:pt x="2378740" y="186227"/>
                    <a:pt x="2379567" y="180713"/>
                    <a:pt x="2379981" y="177956"/>
                  </a:cubicBezTo>
                  <a:cubicBezTo>
                    <a:pt x="2384530" y="178025"/>
                    <a:pt x="2393697" y="178232"/>
                    <a:pt x="2398315" y="178301"/>
                  </a:cubicBezTo>
                  <a:cubicBezTo>
                    <a:pt x="2389837" y="187675"/>
                    <a:pt x="2381566" y="197117"/>
                    <a:pt x="2373019" y="206284"/>
                  </a:cubicBezTo>
                  <a:cubicBezTo>
                    <a:pt x="2373019" y="220345"/>
                    <a:pt x="2373295" y="234406"/>
                    <a:pt x="2373846" y="248397"/>
                  </a:cubicBezTo>
                  <a:cubicBezTo>
                    <a:pt x="2379016" y="243366"/>
                    <a:pt x="2389286" y="233303"/>
                    <a:pt x="2394455" y="228271"/>
                  </a:cubicBezTo>
                  <a:cubicBezTo>
                    <a:pt x="2399004" y="228340"/>
                    <a:pt x="2408102" y="228478"/>
                    <a:pt x="2412651" y="228547"/>
                  </a:cubicBezTo>
                  <a:cubicBezTo>
                    <a:pt x="2412996" y="233441"/>
                    <a:pt x="2413754" y="243228"/>
                    <a:pt x="2414098" y="248191"/>
                  </a:cubicBezTo>
                  <a:cubicBezTo>
                    <a:pt x="2432019" y="247915"/>
                    <a:pt x="2454626" y="256944"/>
                    <a:pt x="2466550" y="238817"/>
                  </a:cubicBezTo>
                  <a:cubicBezTo>
                    <a:pt x="2467584" y="241918"/>
                    <a:pt x="2469514" y="248191"/>
                    <a:pt x="2470548" y="251292"/>
                  </a:cubicBezTo>
                  <a:cubicBezTo>
                    <a:pt x="2511144" y="255565"/>
                    <a:pt x="2552155" y="255152"/>
                    <a:pt x="2592820" y="259494"/>
                  </a:cubicBezTo>
                  <a:cubicBezTo>
                    <a:pt x="2594888" y="256599"/>
                    <a:pt x="2599023" y="250810"/>
                    <a:pt x="2601091" y="247984"/>
                  </a:cubicBezTo>
                  <a:cubicBezTo>
                    <a:pt x="2607570" y="251912"/>
                    <a:pt x="2613290" y="256944"/>
                    <a:pt x="2619425" y="261424"/>
                  </a:cubicBezTo>
                  <a:cubicBezTo>
                    <a:pt x="2628661" y="258322"/>
                    <a:pt x="2638241" y="255703"/>
                    <a:pt x="2648097" y="254601"/>
                  </a:cubicBezTo>
                  <a:lnTo>
                    <a:pt x="2649890" y="246467"/>
                  </a:lnTo>
                  <a:cubicBezTo>
                    <a:pt x="2649752" y="250534"/>
                    <a:pt x="2649476" y="258598"/>
                    <a:pt x="2649338" y="262596"/>
                  </a:cubicBezTo>
                  <a:cubicBezTo>
                    <a:pt x="2821098" y="273900"/>
                    <a:pt x="2992996" y="284100"/>
                    <a:pt x="3164825" y="294990"/>
                  </a:cubicBezTo>
                  <a:cubicBezTo>
                    <a:pt x="3163309" y="284031"/>
                    <a:pt x="3167996" y="277621"/>
                    <a:pt x="3178886" y="275760"/>
                  </a:cubicBezTo>
                  <a:lnTo>
                    <a:pt x="3173027" y="265491"/>
                  </a:lnTo>
                  <a:cubicBezTo>
                    <a:pt x="3180264" y="272245"/>
                    <a:pt x="3189363" y="276312"/>
                    <a:pt x="3198116" y="280723"/>
                  </a:cubicBezTo>
                  <a:cubicBezTo>
                    <a:pt x="3202941" y="252740"/>
                    <a:pt x="3228581" y="283066"/>
                    <a:pt x="3220654" y="298092"/>
                  </a:cubicBezTo>
                  <a:lnTo>
                    <a:pt x="3231613" y="298781"/>
                  </a:lnTo>
                  <a:cubicBezTo>
                    <a:pt x="3223411" y="279827"/>
                    <a:pt x="3212314" y="255428"/>
                    <a:pt x="3231407" y="239093"/>
                  </a:cubicBezTo>
                  <a:cubicBezTo>
                    <a:pt x="3230855" y="254118"/>
                    <a:pt x="3229615" y="269075"/>
                    <a:pt x="3228650" y="283962"/>
                  </a:cubicBezTo>
                  <a:cubicBezTo>
                    <a:pt x="3242572" y="280792"/>
                    <a:pt x="3248086" y="286926"/>
                    <a:pt x="3245881" y="299953"/>
                  </a:cubicBezTo>
                  <a:cubicBezTo>
                    <a:pt x="3271383" y="299746"/>
                    <a:pt x="3296678" y="304020"/>
                    <a:pt x="3322249" y="305053"/>
                  </a:cubicBezTo>
                  <a:cubicBezTo>
                    <a:pt x="3319561" y="287684"/>
                    <a:pt x="3315908" y="270384"/>
                    <a:pt x="3311980" y="253222"/>
                  </a:cubicBezTo>
                  <a:cubicBezTo>
                    <a:pt x="3316942" y="247639"/>
                    <a:pt x="3321974" y="242056"/>
                    <a:pt x="3327074" y="236404"/>
                  </a:cubicBezTo>
                  <a:cubicBezTo>
                    <a:pt x="3331072" y="235853"/>
                    <a:pt x="3339067" y="234750"/>
                    <a:pt x="3343065" y="234199"/>
                  </a:cubicBezTo>
                  <a:cubicBezTo>
                    <a:pt x="3345477" y="224412"/>
                    <a:pt x="3348096" y="214418"/>
                    <a:pt x="3350646" y="204561"/>
                  </a:cubicBezTo>
                  <a:cubicBezTo>
                    <a:pt x="3353886" y="206491"/>
                    <a:pt x="3360227" y="210351"/>
                    <a:pt x="3363397" y="212212"/>
                  </a:cubicBezTo>
                  <a:cubicBezTo>
                    <a:pt x="3372289" y="206353"/>
                    <a:pt x="3381938" y="205871"/>
                    <a:pt x="3391243" y="211109"/>
                  </a:cubicBezTo>
                  <a:cubicBezTo>
                    <a:pt x="3390623" y="215314"/>
                    <a:pt x="3389382" y="223791"/>
                    <a:pt x="3388761" y="227996"/>
                  </a:cubicBezTo>
                  <a:cubicBezTo>
                    <a:pt x="3383799" y="231028"/>
                    <a:pt x="3378905" y="233992"/>
                    <a:pt x="3374012" y="236887"/>
                  </a:cubicBezTo>
                  <a:cubicBezTo>
                    <a:pt x="3373598" y="233027"/>
                    <a:pt x="3372702" y="225308"/>
                    <a:pt x="3372220" y="221448"/>
                  </a:cubicBezTo>
                  <a:cubicBezTo>
                    <a:pt x="3351887" y="245502"/>
                    <a:pt x="3318458" y="269902"/>
                    <a:pt x="3330589" y="305949"/>
                  </a:cubicBezTo>
                  <a:cubicBezTo>
                    <a:pt x="3345132" y="306845"/>
                    <a:pt x="3359744" y="307190"/>
                    <a:pt x="3374287" y="304984"/>
                  </a:cubicBezTo>
                  <a:cubicBezTo>
                    <a:pt x="3383730" y="305191"/>
                    <a:pt x="3393173" y="304157"/>
                    <a:pt x="3402684" y="304157"/>
                  </a:cubicBezTo>
                  <a:cubicBezTo>
                    <a:pt x="3425636" y="315323"/>
                    <a:pt x="3452586" y="313876"/>
                    <a:pt x="3477261" y="310981"/>
                  </a:cubicBezTo>
                  <a:cubicBezTo>
                    <a:pt x="3481396" y="312084"/>
                    <a:pt x="3489667" y="314289"/>
                    <a:pt x="3493803" y="315392"/>
                  </a:cubicBezTo>
                  <a:cubicBezTo>
                    <a:pt x="3497800" y="313738"/>
                    <a:pt x="3505727" y="310430"/>
                    <a:pt x="3509724" y="308775"/>
                  </a:cubicBezTo>
                  <a:cubicBezTo>
                    <a:pt x="3525646" y="316908"/>
                    <a:pt x="3543084" y="320010"/>
                    <a:pt x="3560935" y="320424"/>
                  </a:cubicBezTo>
                  <a:cubicBezTo>
                    <a:pt x="3560522" y="315323"/>
                    <a:pt x="3559695" y="305191"/>
                    <a:pt x="3559350" y="300091"/>
                  </a:cubicBezTo>
                  <a:cubicBezTo>
                    <a:pt x="3560591" y="310498"/>
                    <a:pt x="3564795" y="321802"/>
                    <a:pt x="3577477" y="320630"/>
                  </a:cubicBezTo>
                  <a:cubicBezTo>
                    <a:pt x="3600774" y="323112"/>
                    <a:pt x="3624277" y="323594"/>
                    <a:pt x="3647780" y="324697"/>
                  </a:cubicBezTo>
                  <a:cubicBezTo>
                    <a:pt x="3648952" y="317804"/>
                    <a:pt x="3651778" y="311601"/>
                    <a:pt x="3656120" y="306156"/>
                  </a:cubicBezTo>
                  <a:cubicBezTo>
                    <a:pt x="3655638" y="312566"/>
                    <a:pt x="3655155" y="318976"/>
                    <a:pt x="3654673" y="325386"/>
                  </a:cubicBezTo>
                  <a:cubicBezTo>
                    <a:pt x="3700508" y="328419"/>
                    <a:pt x="3746343" y="332072"/>
                    <a:pt x="3792315" y="333588"/>
                  </a:cubicBezTo>
                  <a:cubicBezTo>
                    <a:pt x="3793280" y="326971"/>
                    <a:pt x="3795279" y="313600"/>
                    <a:pt x="3796313" y="306983"/>
                  </a:cubicBezTo>
                  <a:cubicBezTo>
                    <a:pt x="3803895" y="314358"/>
                    <a:pt x="3798105" y="324835"/>
                    <a:pt x="3797691" y="333657"/>
                  </a:cubicBezTo>
                  <a:cubicBezTo>
                    <a:pt x="3873509" y="340825"/>
                    <a:pt x="3949739" y="342617"/>
                    <a:pt x="4025556" y="349234"/>
                  </a:cubicBezTo>
                  <a:cubicBezTo>
                    <a:pt x="4024591" y="344340"/>
                    <a:pt x="4022730" y="334415"/>
                    <a:pt x="4021765" y="329522"/>
                  </a:cubicBezTo>
                  <a:cubicBezTo>
                    <a:pt x="4024453" y="336138"/>
                    <a:pt x="4027072" y="342755"/>
                    <a:pt x="4029760" y="349303"/>
                  </a:cubicBezTo>
                  <a:cubicBezTo>
                    <a:pt x="4045682" y="350268"/>
                    <a:pt x="4061604" y="351095"/>
                    <a:pt x="4077663" y="351509"/>
                  </a:cubicBezTo>
                  <a:cubicBezTo>
                    <a:pt x="4074217" y="341859"/>
                    <a:pt x="4070702" y="332210"/>
                    <a:pt x="4067118" y="322560"/>
                  </a:cubicBezTo>
                  <a:cubicBezTo>
                    <a:pt x="4060846" y="332830"/>
                    <a:pt x="4053746" y="342480"/>
                    <a:pt x="4040926" y="343789"/>
                  </a:cubicBezTo>
                  <a:cubicBezTo>
                    <a:pt x="4039341" y="333726"/>
                    <a:pt x="4037825" y="323594"/>
                    <a:pt x="4036377" y="313462"/>
                  </a:cubicBezTo>
                  <a:cubicBezTo>
                    <a:pt x="4042718" y="309327"/>
                    <a:pt x="4049266" y="305122"/>
                    <a:pt x="4055814" y="300987"/>
                  </a:cubicBezTo>
                  <a:cubicBezTo>
                    <a:pt x="4056365" y="305880"/>
                    <a:pt x="4057468" y="315806"/>
                    <a:pt x="4057951" y="320768"/>
                  </a:cubicBezTo>
                  <a:cubicBezTo>
                    <a:pt x="4061466" y="316219"/>
                    <a:pt x="4068358" y="307190"/>
                    <a:pt x="4071873" y="302710"/>
                  </a:cubicBezTo>
                  <a:cubicBezTo>
                    <a:pt x="4077870" y="310912"/>
                    <a:pt x="4084004" y="318976"/>
                    <a:pt x="4090207" y="327040"/>
                  </a:cubicBezTo>
                  <a:cubicBezTo>
                    <a:pt x="4086899" y="334898"/>
                    <a:pt x="4083729" y="342824"/>
                    <a:pt x="4080558" y="350681"/>
                  </a:cubicBezTo>
                  <a:cubicBezTo>
                    <a:pt x="4220682" y="363088"/>
                    <a:pt x="4361495" y="368878"/>
                    <a:pt x="4501894" y="378665"/>
                  </a:cubicBezTo>
                  <a:cubicBezTo>
                    <a:pt x="4602869" y="386178"/>
                    <a:pt x="4704257" y="388935"/>
                    <a:pt x="4804956" y="399480"/>
                  </a:cubicBezTo>
                  <a:cubicBezTo>
                    <a:pt x="4806127" y="392588"/>
                    <a:pt x="4807437" y="385695"/>
                    <a:pt x="4808816" y="378734"/>
                  </a:cubicBezTo>
                  <a:cubicBezTo>
                    <a:pt x="4821567" y="398515"/>
                    <a:pt x="4843209" y="403271"/>
                    <a:pt x="4865610" y="401548"/>
                  </a:cubicBezTo>
                  <a:cubicBezTo>
                    <a:pt x="4864996" y="397275"/>
                    <a:pt x="4863886" y="388866"/>
                    <a:pt x="4863266" y="384661"/>
                  </a:cubicBezTo>
                  <a:cubicBezTo>
                    <a:pt x="4866161" y="388108"/>
                    <a:pt x="4871813" y="395000"/>
                    <a:pt x="4874707" y="398515"/>
                  </a:cubicBezTo>
                  <a:cubicBezTo>
                    <a:pt x="4901588" y="406373"/>
                    <a:pt x="4930399" y="404512"/>
                    <a:pt x="4958175" y="407269"/>
                  </a:cubicBezTo>
                  <a:cubicBezTo>
                    <a:pt x="4958520" y="403064"/>
                    <a:pt x="4959278" y="394518"/>
                    <a:pt x="4959623" y="390244"/>
                  </a:cubicBezTo>
                  <a:cubicBezTo>
                    <a:pt x="4959761" y="394586"/>
                    <a:pt x="4960105" y="403340"/>
                    <a:pt x="4960243" y="407751"/>
                  </a:cubicBezTo>
                  <a:cubicBezTo>
                    <a:pt x="5010903" y="408716"/>
                    <a:pt x="5061287" y="414919"/>
                    <a:pt x="5111946" y="416436"/>
                  </a:cubicBezTo>
                  <a:cubicBezTo>
                    <a:pt x="5120355" y="408165"/>
                    <a:pt x="5130487" y="402857"/>
                    <a:pt x="5142687" y="406510"/>
                  </a:cubicBezTo>
                  <a:cubicBezTo>
                    <a:pt x="5138413" y="406717"/>
                    <a:pt x="5129867" y="407200"/>
                    <a:pt x="5125593" y="407475"/>
                  </a:cubicBezTo>
                  <a:cubicBezTo>
                    <a:pt x="5126214" y="410577"/>
                    <a:pt x="5127385" y="416780"/>
                    <a:pt x="5128005" y="419882"/>
                  </a:cubicBezTo>
                  <a:cubicBezTo>
                    <a:pt x="5156816" y="417883"/>
                    <a:pt x="5185627" y="421881"/>
                    <a:pt x="5214437" y="423190"/>
                  </a:cubicBezTo>
                  <a:cubicBezTo>
                    <a:pt x="5214437" y="418434"/>
                    <a:pt x="5214299" y="408785"/>
                    <a:pt x="5214299" y="404029"/>
                  </a:cubicBezTo>
                  <a:cubicBezTo>
                    <a:pt x="5215678" y="408716"/>
                    <a:pt x="5218435" y="418159"/>
                    <a:pt x="5219813" y="422846"/>
                  </a:cubicBezTo>
                  <a:cubicBezTo>
                    <a:pt x="5251381" y="426843"/>
                    <a:pt x="5283362" y="426981"/>
                    <a:pt x="5315136" y="429738"/>
                  </a:cubicBezTo>
                  <a:cubicBezTo>
                    <a:pt x="5326853" y="435459"/>
                    <a:pt x="5336778" y="414368"/>
                    <a:pt x="5346910" y="426223"/>
                  </a:cubicBezTo>
                  <a:cubicBezTo>
                    <a:pt x="5356077" y="436424"/>
                    <a:pt x="5369380" y="428497"/>
                    <a:pt x="5380890" y="427877"/>
                  </a:cubicBezTo>
                  <a:cubicBezTo>
                    <a:pt x="5400258" y="433115"/>
                    <a:pt x="5421349" y="428566"/>
                    <a:pt x="5440510" y="438147"/>
                  </a:cubicBezTo>
                  <a:cubicBezTo>
                    <a:pt x="5441682" y="428359"/>
                    <a:pt x="5443887" y="418021"/>
                    <a:pt x="5449815" y="409750"/>
                  </a:cubicBezTo>
                  <a:cubicBezTo>
                    <a:pt x="5449126" y="416367"/>
                    <a:pt x="5447885" y="429669"/>
                    <a:pt x="5447196" y="436355"/>
                  </a:cubicBezTo>
                  <a:cubicBezTo>
                    <a:pt x="5521565" y="444005"/>
                    <a:pt x="5596348" y="446004"/>
                    <a:pt x="5670787" y="452345"/>
                  </a:cubicBezTo>
                  <a:cubicBezTo>
                    <a:pt x="5672717" y="445728"/>
                    <a:pt x="5674784" y="439043"/>
                    <a:pt x="5676921" y="432357"/>
                  </a:cubicBezTo>
                  <a:cubicBezTo>
                    <a:pt x="5676163" y="436906"/>
                    <a:pt x="5674578" y="446142"/>
                    <a:pt x="5673750" y="450691"/>
                  </a:cubicBezTo>
                  <a:cubicBezTo>
                    <a:pt x="5833518" y="463235"/>
                    <a:pt x="5993630" y="471437"/>
                    <a:pt x="6153604" y="481845"/>
                  </a:cubicBezTo>
                  <a:cubicBezTo>
                    <a:pt x="6147815" y="473092"/>
                    <a:pt x="6142231" y="464200"/>
                    <a:pt x="6137131" y="454964"/>
                  </a:cubicBezTo>
                  <a:cubicBezTo>
                    <a:pt x="6144161" y="461443"/>
                    <a:pt x="6150434" y="468818"/>
                    <a:pt x="6158911" y="473505"/>
                  </a:cubicBezTo>
                  <a:cubicBezTo>
                    <a:pt x="6158773" y="475917"/>
                    <a:pt x="6158429" y="480673"/>
                    <a:pt x="6158291" y="483086"/>
                  </a:cubicBezTo>
                  <a:cubicBezTo>
                    <a:pt x="6174695" y="483637"/>
                    <a:pt x="6191237" y="483844"/>
                    <a:pt x="6207710" y="482397"/>
                  </a:cubicBezTo>
                  <a:cubicBezTo>
                    <a:pt x="6224252" y="486670"/>
                    <a:pt x="6241414" y="486049"/>
                    <a:pt x="6258439" y="486187"/>
                  </a:cubicBezTo>
                  <a:lnTo>
                    <a:pt x="6266089" y="488255"/>
                  </a:lnTo>
                  <a:cubicBezTo>
                    <a:pt x="6275187" y="488117"/>
                    <a:pt x="6284354" y="487772"/>
                    <a:pt x="6293590" y="487221"/>
                  </a:cubicBezTo>
                  <a:cubicBezTo>
                    <a:pt x="6293659" y="478743"/>
                    <a:pt x="6293797" y="470128"/>
                    <a:pt x="6294072" y="461581"/>
                  </a:cubicBezTo>
                  <a:cubicBezTo>
                    <a:pt x="6299793" y="458618"/>
                    <a:pt x="6305514" y="455585"/>
                    <a:pt x="6311373" y="452483"/>
                  </a:cubicBezTo>
                  <a:cubicBezTo>
                    <a:pt x="6317162" y="466957"/>
                    <a:pt x="6324399" y="480811"/>
                    <a:pt x="6332463" y="494045"/>
                  </a:cubicBezTo>
                  <a:moveTo>
                    <a:pt x="468494" y="225170"/>
                  </a:moveTo>
                  <a:cubicBezTo>
                    <a:pt x="469390" y="221517"/>
                    <a:pt x="471113" y="214211"/>
                    <a:pt x="472009" y="210558"/>
                  </a:cubicBezTo>
                  <a:cubicBezTo>
                    <a:pt x="476420" y="209179"/>
                    <a:pt x="485243" y="206422"/>
                    <a:pt x="489654" y="205113"/>
                  </a:cubicBezTo>
                  <a:cubicBezTo>
                    <a:pt x="491722" y="208352"/>
                    <a:pt x="495857" y="214900"/>
                    <a:pt x="497994" y="218139"/>
                  </a:cubicBezTo>
                  <a:cubicBezTo>
                    <a:pt x="486415" y="213246"/>
                    <a:pt x="476214" y="215038"/>
                    <a:pt x="468494" y="225170"/>
                  </a:cubicBezTo>
                  <a:moveTo>
                    <a:pt x="435962" y="222206"/>
                  </a:moveTo>
                  <a:cubicBezTo>
                    <a:pt x="429758" y="213521"/>
                    <a:pt x="431068" y="208283"/>
                    <a:pt x="439890" y="206491"/>
                  </a:cubicBezTo>
                  <a:cubicBezTo>
                    <a:pt x="446025" y="215176"/>
                    <a:pt x="444715" y="220414"/>
                    <a:pt x="435962" y="222206"/>
                  </a:cubicBezTo>
                  <a:moveTo>
                    <a:pt x="408322" y="223929"/>
                  </a:moveTo>
                  <a:cubicBezTo>
                    <a:pt x="397639" y="203045"/>
                    <a:pt x="430999" y="223033"/>
                    <a:pt x="408322" y="223929"/>
                  </a:cubicBezTo>
                  <a:moveTo>
                    <a:pt x="326165" y="280172"/>
                  </a:moveTo>
                  <a:cubicBezTo>
                    <a:pt x="322237" y="273693"/>
                    <a:pt x="326922" y="257702"/>
                    <a:pt x="336022" y="260046"/>
                  </a:cubicBezTo>
                  <a:cubicBezTo>
                    <a:pt x="339950" y="266662"/>
                    <a:pt x="335537" y="282722"/>
                    <a:pt x="326165" y="280172"/>
                  </a:cubicBezTo>
                  <a:moveTo>
                    <a:pt x="305277" y="334898"/>
                  </a:moveTo>
                  <a:cubicBezTo>
                    <a:pt x="297561" y="324077"/>
                    <a:pt x="317134" y="318011"/>
                    <a:pt x="323337" y="325800"/>
                  </a:cubicBezTo>
                  <a:cubicBezTo>
                    <a:pt x="333676" y="337034"/>
                    <a:pt x="311414" y="344478"/>
                    <a:pt x="305277" y="334898"/>
                  </a:cubicBezTo>
                  <a:moveTo>
                    <a:pt x="306521" y="444074"/>
                  </a:moveTo>
                  <a:cubicBezTo>
                    <a:pt x="310175" y="440628"/>
                    <a:pt x="310175" y="440628"/>
                    <a:pt x="306521" y="444074"/>
                  </a:cubicBezTo>
                  <a:moveTo>
                    <a:pt x="284810" y="513068"/>
                  </a:moveTo>
                  <a:cubicBezTo>
                    <a:pt x="288808" y="509553"/>
                    <a:pt x="288808" y="509553"/>
                    <a:pt x="284810" y="513068"/>
                  </a:cubicBezTo>
                  <a:moveTo>
                    <a:pt x="293358" y="562349"/>
                  </a:moveTo>
                  <a:lnTo>
                    <a:pt x="303212" y="563383"/>
                  </a:lnTo>
                  <a:cubicBezTo>
                    <a:pt x="304039" y="554698"/>
                    <a:pt x="304591" y="545945"/>
                    <a:pt x="304935" y="537123"/>
                  </a:cubicBezTo>
                  <a:cubicBezTo>
                    <a:pt x="303349" y="533539"/>
                    <a:pt x="300181" y="526370"/>
                    <a:pt x="298595" y="522786"/>
                  </a:cubicBezTo>
                  <a:cubicBezTo>
                    <a:pt x="304106" y="517410"/>
                    <a:pt x="309623" y="516928"/>
                    <a:pt x="315207" y="521408"/>
                  </a:cubicBezTo>
                  <a:cubicBezTo>
                    <a:pt x="316378" y="522373"/>
                    <a:pt x="318720" y="524234"/>
                    <a:pt x="319891" y="525199"/>
                  </a:cubicBezTo>
                  <a:cubicBezTo>
                    <a:pt x="322719" y="505142"/>
                    <a:pt x="324305" y="485016"/>
                    <a:pt x="326507" y="464890"/>
                  </a:cubicBezTo>
                  <a:cubicBezTo>
                    <a:pt x="320376" y="458549"/>
                    <a:pt x="317891" y="452207"/>
                    <a:pt x="327336" y="447521"/>
                  </a:cubicBezTo>
                  <a:cubicBezTo>
                    <a:pt x="328507" y="431668"/>
                    <a:pt x="329679" y="415953"/>
                    <a:pt x="331334" y="400032"/>
                  </a:cubicBezTo>
                  <a:cubicBezTo>
                    <a:pt x="326097" y="401272"/>
                    <a:pt x="315616" y="403822"/>
                    <a:pt x="310382" y="405132"/>
                  </a:cubicBezTo>
                  <a:cubicBezTo>
                    <a:pt x="317482" y="400307"/>
                    <a:pt x="324579" y="395482"/>
                    <a:pt x="331816" y="390727"/>
                  </a:cubicBezTo>
                  <a:cubicBezTo>
                    <a:pt x="332161" y="381629"/>
                    <a:pt x="331124" y="372668"/>
                    <a:pt x="328854" y="363846"/>
                  </a:cubicBezTo>
                  <a:cubicBezTo>
                    <a:pt x="320721" y="360538"/>
                    <a:pt x="312380" y="357850"/>
                    <a:pt x="304179" y="354817"/>
                  </a:cubicBezTo>
                  <a:cubicBezTo>
                    <a:pt x="313829" y="354679"/>
                    <a:pt x="323475" y="354610"/>
                    <a:pt x="333125" y="354403"/>
                  </a:cubicBezTo>
                  <a:cubicBezTo>
                    <a:pt x="337193" y="327523"/>
                    <a:pt x="347946" y="301607"/>
                    <a:pt x="366763" y="281688"/>
                  </a:cubicBezTo>
                  <a:cubicBezTo>
                    <a:pt x="379444" y="266593"/>
                    <a:pt x="398325" y="258667"/>
                    <a:pt x="411150" y="243710"/>
                  </a:cubicBezTo>
                  <a:cubicBezTo>
                    <a:pt x="423763" y="244400"/>
                    <a:pt x="435617" y="239851"/>
                    <a:pt x="447472" y="236060"/>
                  </a:cubicBezTo>
                  <a:cubicBezTo>
                    <a:pt x="447886" y="231993"/>
                    <a:pt x="448782" y="223791"/>
                    <a:pt x="449264" y="219656"/>
                  </a:cubicBezTo>
                  <a:cubicBezTo>
                    <a:pt x="452021" y="217726"/>
                    <a:pt x="457535" y="213935"/>
                    <a:pt x="460292" y="212005"/>
                  </a:cubicBezTo>
                  <a:cubicBezTo>
                    <a:pt x="461602" y="216485"/>
                    <a:pt x="464221" y="225308"/>
                    <a:pt x="465530" y="229788"/>
                  </a:cubicBezTo>
                  <a:cubicBezTo>
                    <a:pt x="488413" y="230063"/>
                    <a:pt x="511365" y="230132"/>
                    <a:pt x="534317" y="229994"/>
                  </a:cubicBezTo>
                  <a:cubicBezTo>
                    <a:pt x="536316" y="222137"/>
                    <a:pt x="538315" y="214211"/>
                    <a:pt x="540245" y="206284"/>
                  </a:cubicBezTo>
                  <a:cubicBezTo>
                    <a:pt x="544311" y="206974"/>
                    <a:pt x="552513" y="208490"/>
                    <a:pt x="556580" y="209179"/>
                  </a:cubicBezTo>
                  <a:cubicBezTo>
                    <a:pt x="553892" y="206836"/>
                    <a:pt x="548516" y="202011"/>
                    <a:pt x="545897" y="199668"/>
                  </a:cubicBezTo>
                  <a:cubicBezTo>
                    <a:pt x="543622" y="197600"/>
                    <a:pt x="539142" y="193602"/>
                    <a:pt x="536867" y="191535"/>
                  </a:cubicBezTo>
                  <a:cubicBezTo>
                    <a:pt x="534317" y="192706"/>
                    <a:pt x="529148" y="194912"/>
                    <a:pt x="526529" y="196015"/>
                  </a:cubicBezTo>
                  <a:cubicBezTo>
                    <a:pt x="514880" y="192224"/>
                    <a:pt x="495513" y="178301"/>
                    <a:pt x="489654" y="196359"/>
                  </a:cubicBezTo>
                  <a:cubicBezTo>
                    <a:pt x="486897" y="193878"/>
                    <a:pt x="481245" y="188984"/>
                    <a:pt x="478488" y="186572"/>
                  </a:cubicBezTo>
                  <a:cubicBezTo>
                    <a:pt x="407978" y="184642"/>
                    <a:pt x="338846" y="222275"/>
                    <a:pt x="303490" y="283480"/>
                  </a:cubicBezTo>
                  <a:cubicBezTo>
                    <a:pt x="306729" y="283618"/>
                    <a:pt x="313346" y="283825"/>
                    <a:pt x="316652" y="283962"/>
                  </a:cubicBezTo>
                  <a:cubicBezTo>
                    <a:pt x="300660" y="297472"/>
                    <a:pt x="287015" y="315461"/>
                    <a:pt x="285152" y="336897"/>
                  </a:cubicBezTo>
                  <a:cubicBezTo>
                    <a:pt x="278332" y="388245"/>
                    <a:pt x="278470" y="440214"/>
                    <a:pt x="273437" y="491701"/>
                  </a:cubicBezTo>
                  <a:cubicBezTo>
                    <a:pt x="279641" y="488117"/>
                    <a:pt x="285844" y="484395"/>
                    <a:pt x="292117" y="480742"/>
                  </a:cubicBezTo>
                  <a:cubicBezTo>
                    <a:pt x="294115" y="493080"/>
                    <a:pt x="280537" y="497767"/>
                    <a:pt x="273300" y="504866"/>
                  </a:cubicBezTo>
                  <a:cubicBezTo>
                    <a:pt x="272333" y="519409"/>
                    <a:pt x="271507" y="533883"/>
                    <a:pt x="270543" y="548357"/>
                  </a:cubicBezTo>
                  <a:cubicBezTo>
                    <a:pt x="274197" y="548288"/>
                    <a:pt x="281574" y="548151"/>
                    <a:pt x="285225" y="548082"/>
                  </a:cubicBezTo>
                  <a:lnTo>
                    <a:pt x="288324" y="545325"/>
                  </a:lnTo>
                  <a:cubicBezTo>
                    <a:pt x="290461" y="543464"/>
                    <a:pt x="294667" y="539604"/>
                    <a:pt x="296735" y="537674"/>
                  </a:cubicBezTo>
                  <a:cubicBezTo>
                    <a:pt x="295905" y="543877"/>
                    <a:pt x="294252" y="556215"/>
                    <a:pt x="293358" y="562349"/>
                  </a:cubicBezTo>
                  <a:moveTo>
                    <a:pt x="1462594" y="1456784"/>
                  </a:moveTo>
                  <a:cubicBezTo>
                    <a:pt x="1470176" y="1451821"/>
                    <a:pt x="1472519" y="1443826"/>
                    <a:pt x="1469624" y="1433005"/>
                  </a:cubicBezTo>
                  <a:cubicBezTo>
                    <a:pt x="1457838" y="1428594"/>
                    <a:pt x="1459148" y="1450236"/>
                    <a:pt x="1462594" y="1456784"/>
                  </a:cubicBezTo>
                  <a:moveTo>
                    <a:pt x="4144589" y="753753"/>
                  </a:moveTo>
                  <a:cubicBezTo>
                    <a:pt x="4147897" y="749962"/>
                    <a:pt x="4147897" y="749962"/>
                    <a:pt x="4144589" y="753753"/>
                  </a:cubicBezTo>
                  <a:moveTo>
                    <a:pt x="4192147" y="782425"/>
                  </a:moveTo>
                  <a:cubicBezTo>
                    <a:pt x="4195800" y="778979"/>
                    <a:pt x="4195800" y="778979"/>
                    <a:pt x="4192147" y="782425"/>
                  </a:cubicBezTo>
                  <a:moveTo>
                    <a:pt x="4120672" y="762230"/>
                  </a:moveTo>
                  <a:cubicBezTo>
                    <a:pt x="4121844" y="772431"/>
                    <a:pt x="4121637" y="782150"/>
                    <a:pt x="4108748" y="781736"/>
                  </a:cubicBezTo>
                  <a:cubicBezTo>
                    <a:pt x="4107645" y="786009"/>
                    <a:pt x="4105371" y="794556"/>
                    <a:pt x="4104199" y="798829"/>
                  </a:cubicBezTo>
                  <a:cubicBezTo>
                    <a:pt x="4100133" y="783528"/>
                    <a:pt x="4109231" y="771260"/>
                    <a:pt x="4120672" y="762230"/>
                  </a:cubicBezTo>
                  <a:moveTo>
                    <a:pt x="4219441" y="816474"/>
                  </a:moveTo>
                  <a:cubicBezTo>
                    <a:pt x="4210619" y="794970"/>
                    <a:pt x="4242117" y="816750"/>
                    <a:pt x="4219441" y="816474"/>
                  </a:cubicBezTo>
                  <a:moveTo>
                    <a:pt x="4124118" y="830535"/>
                  </a:moveTo>
                  <a:cubicBezTo>
                    <a:pt x="4114676" y="824194"/>
                    <a:pt x="4123291" y="804757"/>
                    <a:pt x="4134112" y="812959"/>
                  </a:cubicBezTo>
                  <a:cubicBezTo>
                    <a:pt x="4143486" y="819369"/>
                    <a:pt x="4134871" y="838806"/>
                    <a:pt x="4124118" y="830535"/>
                  </a:cubicBezTo>
                  <a:moveTo>
                    <a:pt x="4239222" y="816198"/>
                  </a:moveTo>
                  <a:cubicBezTo>
                    <a:pt x="4251353" y="818542"/>
                    <a:pt x="4255764" y="839702"/>
                    <a:pt x="4252594" y="850661"/>
                  </a:cubicBezTo>
                  <a:cubicBezTo>
                    <a:pt x="4240119" y="848731"/>
                    <a:pt x="4237224" y="827088"/>
                    <a:pt x="4239222" y="816198"/>
                  </a:cubicBezTo>
                  <a:moveTo>
                    <a:pt x="4209723" y="852384"/>
                  </a:moveTo>
                  <a:cubicBezTo>
                    <a:pt x="4212135" y="841769"/>
                    <a:pt x="4214686" y="831155"/>
                    <a:pt x="4217305" y="820472"/>
                  </a:cubicBezTo>
                  <a:cubicBezTo>
                    <a:pt x="4226678" y="826675"/>
                    <a:pt x="4237775" y="832740"/>
                    <a:pt x="4234053" y="846112"/>
                  </a:cubicBezTo>
                  <a:cubicBezTo>
                    <a:pt x="4230194" y="844389"/>
                    <a:pt x="4222543" y="841011"/>
                    <a:pt x="4218752" y="839288"/>
                  </a:cubicBezTo>
                  <a:cubicBezTo>
                    <a:pt x="4219166" y="843079"/>
                    <a:pt x="4219993" y="850523"/>
                    <a:pt x="4220406" y="854245"/>
                  </a:cubicBezTo>
                  <a:lnTo>
                    <a:pt x="4209723" y="852384"/>
                  </a:lnTo>
                  <a:moveTo>
                    <a:pt x="4199660" y="857346"/>
                  </a:moveTo>
                  <a:cubicBezTo>
                    <a:pt x="4203175" y="853624"/>
                    <a:pt x="4203175" y="853624"/>
                    <a:pt x="4199660" y="857346"/>
                  </a:cubicBezTo>
                  <a:moveTo>
                    <a:pt x="4232882" y="870718"/>
                  </a:moveTo>
                  <a:cubicBezTo>
                    <a:pt x="4222681" y="849903"/>
                    <a:pt x="4255627" y="869822"/>
                    <a:pt x="4232882" y="870718"/>
                  </a:cubicBezTo>
                  <a:moveTo>
                    <a:pt x="4106956" y="859897"/>
                  </a:moveTo>
                  <a:cubicBezTo>
                    <a:pt x="4111092" y="853073"/>
                    <a:pt x="4108610" y="837427"/>
                    <a:pt x="4120534" y="839081"/>
                  </a:cubicBezTo>
                  <a:cubicBezTo>
                    <a:pt x="4122326" y="851281"/>
                    <a:pt x="4122257" y="863550"/>
                    <a:pt x="4122257" y="875749"/>
                  </a:cubicBezTo>
                  <a:cubicBezTo>
                    <a:pt x="4117088" y="870511"/>
                    <a:pt x="4111988" y="865204"/>
                    <a:pt x="4106956" y="859897"/>
                  </a:cubicBezTo>
                  <a:moveTo>
                    <a:pt x="4096548" y="880229"/>
                  </a:moveTo>
                  <a:cubicBezTo>
                    <a:pt x="4085796" y="878162"/>
                    <a:pt x="4088277" y="861068"/>
                    <a:pt x="4099719" y="867272"/>
                  </a:cubicBezTo>
                  <a:cubicBezTo>
                    <a:pt x="4110747" y="869064"/>
                    <a:pt x="4107921" y="886984"/>
                    <a:pt x="4096548" y="880229"/>
                  </a:cubicBezTo>
                  <a:moveTo>
                    <a:pt x="4069185" y="885192"/>
                  </a:moveTo>
                  <a:cubicBezTo>
                    <a:pt x="4059260" y="878851"/>
                    <a:pt x="4068634" y="860034"/>
                    <a:pt x="4079317" y="868030"/>
                  </a:cubicBezTo>
                  <a:cubicBezTo>
                    <a:pt x="4089036" y="874440"/>
                    <a:pt x="4079731" y="893601"/>
                    <a:pt x="4069185" y="885192"/>
                  </a:cubicBezTo>
                  <a:moveTo>
                    <a:pt x="4165266" y="899252"/>
                  </a:moveTo>
                  <a:cubicBezTo>
                    <a:pt x="4168713" y="895531"/>
                    <a:pt x="4168713" y="895531"/>
                    <a:pt x="4165266" y="899252"/>
                  </a:cubicBezTo>
                  <a:moveTo>
                    <a:pt x="4061328" y="905318"/>
                  </a:moveTo>
                  <a:cubicBezTo>
                    <a:pt x="4068289" y="902699"/>
                    <a:pt x="4075320" y="900011"/>
                    <a:pt x="4082350" y="897254"/>
                  </a:cubicBezTo>
                  <a:cubicBezTo>
                    <a:pt x="4095446" y="894290"/>
                    <a:pt x="4108404" y="890430"/>
                    <a:pt x="4121775" y="888363"/>
                  </a:cubicBezTo>
                  <a:cubicBezTo>
                    <a:pt x="4109713" y="891464"/>
                    <a:pt x="4097582" y="894566"/>
                    <a:pt x="4087175" y="901596"/>
                  </a:cubicBezTo>
                  <a:cubicBezTo>
                    <a:pt x="4078490" y="902906"/>
                    <a:pt x="4069875" y="904077"/>
                    <a:pt x="4061328" y="905318"/>
                  </a:cubicBezTo>
                  <a:moveTo>
                    <a:pt x="4213514" y="919310"/>
                  </a:moveTo>
                  <a:cubicBezTo>
                    <a:pt x="4211860" y="917035"/>
                    <a:pt x="4208551" y="912417"/>
                    <a:pt x="4206897" y="910143"/>
                  </a:cubicBezTo>
                  <a:lnTo>
                    <a:pt x="4213927" y="911039"/>
                  </a:lnTo>
                  <a:cubicBezTo>
                    <a:pt x="4214065" y="899046"/>
                    <a:pt x="4214892" y="886984"/>
                    <a:pt x="4216477" y="874991"/>
                  </a:cubicBezTo>
                  <a:cubicBezTo>
                    <a:pt x="4210067" y="874578"/>
                    <a:pt x="4197178" y="873819"/>
                    <a:pt x="4190768" y="873406"/>
                  </a:cubicBezTo>
                  <a:cubicBezTo>
                    <a:pt x="4201314" y="872372"/>
                    <a:pt x="4211929" y="871683"/>
                    <a:pt x="4222612" y="870856"/>
                  </a:cubicBezTo>
                  <a:cubicBezTo>
                    <a:pt x="4222129" y="887466"/>
                    <a:pt x="4219924" y="903939"/>
                    <a:pt x="4213514" y="919310"/>
                  </a:cubicBezTo>
                  <a:moveTo>
                    <a:pt x="4192630" y="919103"/>
                  </a:moveTo>
                  <a:cubicBezTo>
                    <a:pt x="4196283" y="915657"/>
                    <a:pt x="4196283" y="915657"/>
                    <a:pt x="4192630" y="919103"/>
                  </a:cubicBezTo>
                  <a:moveTo>
                    <a:pt x="4164301" y="927374"/>
                  </a:moveTo>
                  <a:cubicBezTo>
                    <a:pt x="4154514" y="906076"/>
                    <a:pt x="4186840" y="926960"/>
                    <a:pt x="4164301" y="927374"/>
                  </a:cubicBezTo>
                  <a:moveTo>
                    <a:pt x="4083729" y="926547"/>
                  </a:moveTo>
                  <a:cubicBezTo>
                    <a:pt x="4084487" y="916690"/>
                    <a:pt x="4108679" y="900286"/>
                    <a:pt x="4114607" y="914002"/>
                  </a:cubicBezTo>
                  <a:cubicBezTo>
                    <a:pt x="4109162" y="923652"/>
                    <a:pt x="4094136" y="928132"/>
                    <a:pt x="4083729" y="926547"/>
                  </a:cubicBezTo>
                  <a:moveTo>
                    <a:pt x="4054436" y="953083"/>
                  </a:moveTo>
                  <a:cubicBezTo>
                    <a:pt x="4048784" y="946535"/>
                    <a:pt x="4057468" y="932336"/>
                    <a:pt x="4065946" y="936816"/>
                  </a:cubicBezTo>
                  <a:cubicBezTo>
                    <a:pt x="4070771" y="943502"/>
                    <a:pt x="4062775" y="957356"/>
                    <a:pt x="4054436" y="953083"/>
                  </a:cubicBezTo>
                  <a:moveTo>
                    <a:pt x="4212342" y="960251"/>
                  </a:moveTo>
                  <a:cubicBezTo>
                    <a:pt x="4209103" y="950119"/>
                    <a:pt x="4212342" y="947431"/>
                    <a:pt x="4222060" y="951980"/>
                  </a:cubicBezTo>
                  <a:cubicBezTo>
                    <a:pt x="4225093" y="962043"/>
                    <a:pt x="4221854" y="964800"/>
                    <a:pt x="4212342" y="960251"/>
                  </a:cubicBezTo>
                  <a:moveTo>
                    <a:pt x="4013357" y="957149"/>
                  </a:moveTo>
                  <a:cubicBezTo>
                    <a:pt x="4021972" y="959355"/>
                    <a:pt x="4023351" y="964800"/>
                    <a:pt x="4017423" y="973553"/>
                  </a:cubicBezTo>
                  <a:cubicBezTo>
                    <a:pt x="4008807" y="971417"/>
                    <a:pt x="4007429" y="965972"/>
                    <a:pt x="4013357" y="957149"/>
                  </a:cubicBezTo>
                  <a:moveTo>
                    <a:pt x="4204622" y="981824"/>
                  </a:moveTo>
                  <a:cubicBezTo>
                    <a:pt x="4194008" y="961147"/>
                    <a:pt x="4227368" y="980997"/>
                    <a:pt x="4204622" y="981824"/>
                  </a:cubicBezTo>
                  <a:moveTo>
                    <a:pt x="4249906" y="1035999"/>
                  </a:moveTo>
                  <a:cubicBezTo>
                    <a:pt x="4246046" y="1026694"/>
                    <a:pt x="4248114" y="1013599"/>
                    <a:pt x="4255282" y="1006155"/>
                  </a:cubicBezTo>
                  <a:cubicBezTo>
                    <a:pt x="4268929" y="1007189"/>
                    <a:pt x="4263070" y="1039514"/>
                    <a:pt x="4249906" y="1035999"/>
                  </a:cubicBezTo>
                  <a:moveTo>
                    <a:pt x="4030036" y="1045786"/>
                  </a:moveTo>
                  <a:cubicBezTo>
                    <a:pt x="4026521" y="1034276"/>
                    <a:pt x="4023557" y="1022628"/>
                    <a:pt x="4020318" y="1010979"/>
                  </a:cubicBezTo>
                  <a:cubicBezTo>
                    <a:pt x="4016872" y="1012082"/>
                    <a:pt x="4009979" y="1014219"/>
                    <a:pt x="4006533" y="1015322"/>
                  </a:cubicBezTo>
                  <a:cubicBezTo>
                    <a:pt x="4013632" y="1005672"/>
                    <a:pt x="4017492" y="994162"/>
                    <a:pt x="4020387" y="982582"/>
                  </a:cubicBezTo>
                  <a:cubicBezTo>
                    <a:pt x="4013150" y="1005465"/>
                    <a:pt x="4034516" y="1023317"/>
                    <a:pt x="4030036" y="1045786"/>
                  </a:cubicBezTo>
                  <a:moveTo>
                    <a:pt x="3993368" y="1058675"/>
                  </a:moveTo>
                  <a:cubicBezTo>
                    <a:pt x="3993920" y="1035861"/>
                    <a:pt x="4014252" y="1068807"/>
                    <a:pt x="3993368" y="1058675"/>
                  </a:cubicBezTo>
                  <a:moveTo>
                    <a:pt x="4274236" y="1087003"/>
                  </a:moveTo>
                  <a:cubicBezTo>
                    <a:pt x="4263691" y="1065499"/>
                    <a:pt x="4296368" y="1085487"/>
                    <a:pt x="4274236" y="1087003"/>
                  </a:cubicBezTo>
                  <a:moveTo>
                    <a:pt x="4028934" y="1084384"/>
                  </a:moveTo>
                  <a:cubicBezTo>
                    <a:pt x="4026039" y="1075424"/>
                    <a:pt x="4029623" y="1070461"/>
                    <a:pt x="4039617" y="1069565"/>
                  </a:cubicBezTo>
                  <a:cubicBezTo>
                    <a:pt x="4040719" y="1072943"/>
                    <a:pt x="4042787" y="1079628"/>
                    <a:pt x="4043821" y="1082937"/>
                  </a:cubicBezTo>
                  <a:cubicBezTo>
                    <a:pt x="4040099" y="1083281"/>
                    <a:pt x="4032655" y="1084040"/>
                    <a:pt x="4028934" y="1084384"/>
                  </a:cubicBezTo>
                  <a:moveTo>
                    <a:pt x="4240532" y="1138835"/>
                  </a:moveTo>
                  <a:cubicBezTo>
                    <a:pt x="4234536" y="1130081"/>
                    <a:pt x="4236052" y="1124774"/>
                    <a:pt x="4244943" y="1123051"/>
                  </a:cubicBezTo>
                  <a:cubicBezTo>
                    <a:pt x="4250664" y="1131873"/>
                    <a:pt x="4249217" y="1137180"/>
                    <a:pt x="4240532" y="1138835"/>
                  </a:cubicBezTo>
                  <a:moveTo>
                    <a:pt x="4247425" y="1161097"/>
                  </a:moveTo>
                  <a:cubicBezTo>
                    <a:pt x="4251078" y="1157513"/>
                    <a:pt x="4251078" y="1157513"/>
                    <a:pt x="4247425" y="1161097"/>
                  </a:cubicBezTo>
                  <a:moveTo>
                    <a:pt x="4025970" y="1206656"/>
                  </a:moveTo>
                  <a:cubicBezTo>
                    <a:pt x="4028727" y="1215134"/>
                    <a:pt x="4031484" y="1223543"/>
                    <a:pt x="4034241" y="1231952"/>
                  </a:cubicBezTo>
                  <a:cubicBezTo>
                    <a:pt x="4012047" y="1240912"/>
                    <a:pt x="4003362" y="1210999"/>
                    <a:pt x="4025970" y="1206656"/>
                  </a:cubicBezTo>
                  <a:moveTo>
                    <a:pt x="3979032" y="1250355"/>
                  </a:moveTo>
                  <a:cubicBezTo>
                    <a:pt x="3983099" y="1246495"/>
                    <a:pt x="3983099" y="1246495"/>
                    <a:pt x="3979032" y="1250355"/>
                  </a:cubicBezTo>
                  <a:moveTo>
                    <a:pt x="3972208" y="1279096"/>
                  </a:moveTo>
                  <a:cubicBezTo>
                    <a:pt x="3963248" y="1273651"/>
                    <a:pt x="3962973" y="1268757"/>
                    <a:pt x="3971450" y="1264415"/>
                  </a:cubicBezTo>
                  <a:cubicBezTo>
                    <a:pt x="3980410" y="1269860"/>
                    <a:pt x="3980686" y="1274754"/>
                    <a:pt x="3972208" y="1279096"/>
                  </a:cubicBezTo>
                  <a:moveTo>
                    <a:pt x="4004534" y="1285851"/>
                  </a:moveTo>
                  <a:cubicBezTo>
                    <a:pt x="4007153" y="1274409"/>
                    <a:pt x="4012323" y="1263795"/>
                    <a:pt x="4017768" y="1253318"/>
                  </a:cubicBezTo>
                  <a:cubicBezTo>
                    <a:pt x="4015286" y="1252974"/>
                    <a:pt x="4010393" y="1252216"/>
                    <a:pt x="4007980" y="1251802"/>
                  </a:cubicBezTo>
                  <a:cubicBezTo>
                    <a:pt x="4011978" y="1250355"/>
                    <a:pt x="4019904" y="1247391"/>
                    <a:pt x="4023902" y="1245875"/>
                  </a:cubicBezTo>
                  <a:cubicBezTo>
                    <a:pt x="4023488" y="1254077"/>
                    <a:pt x="4025211" y="1261658"/>
                    <a:pt x="4029209" y="1268688"/>
                  </a:cubicBezTo>
                  <a:lnTo>
                    <a:pt x="4031208" y="1272962"/>
                  </a:lnTo>
                  <a:cubicBezTo>
                    <a:pt x="4028106" y="1273996"/>
                    <a:pt x="4021903" y="1276132"/>
                    <a:pt x="4018733" y="1277235"/>
                  </a:cubicBezTo>
                  <a:cubicBezTo>
                    <a:pt x="4015217" y="1279372"/>
                    <a:pt x="4008049" y="1283714"/>
                    <a:pt x="4004534" y="1285851"/>
                  </a:cubicBezTo>
                  <a:moveTo>
                    <a:pt x="3986476" y="1311284"/>
                  </a:moveTo>
                  <a:cubicBezTo>
                    <a:pt x="3981858" y="1301634"/>
                    <a:pt x="3979308" y="1281440"/>
                    <a:pt x="3989578" y="1275857"/>
                  </a:cubicBezTo>
                  <a:cubicBezTo>
                    <a:pt x="3994540" y="1285368"/>
                    <a:pt x="3996401" y="1306046"/>
                    <a:pt x="3986476" y="1311284"/>
                  </a:cubicBezTo>
                  <a:moveTo>
                    <a:pt x="4010531" y="1328446"/>
                  </a:moveTo>
                  <a:cubicBezTo>
                    <a:pt x="4008738" y="1320382"/>
                    <a:pt x="4006257" y="1311422"/>
                    <a:pt x="4008463" y="1303289"/>
                  </a:cubicBezTo>
                  <a:cubicBezTo>
                    <a:pt x="4025625" y="1298740"/>
                    <a:pt x="4027831" y="1343265"/>
                    <a:pt x="4010531" y="1328446"/>
                  </a:cubicBezTo>
                  <a:moveTo>
                    <a:pt x="3974690" y="1348710"/>
                  </a:moveTo>
                  <a:cubicBezTo>
                    <a:pt x="3974414" y="1335752"/>
                    <a:pt x="3973173" y="1322932"/>
                    <a:pt x="3957390" y="1321554"/>
                  </a:cubicBezTo>
                  <a:cubicBezTo>
                    <a:pt x="3962352" y="1316936"/>
                    <a:pt x="3967797" y="1312731"/>
                    <a:pt x="3973587" y="1308941"/>
                  </a:cubicBezTo>
                  <a:cubicBezTo>
                    <a:pt x="3974138" y="1322243"/>
                    <a:pt x="3974483" y="1335477"/>
                    <a:pt x="3974690" y="1348710"/>
                  </a:cubicBezTo>
                  <a:moveTo>
                    <a:pt x="3991921" y="1354086"/>
                  </a:moveTo>
                  <a:cubicBezTo>
                    <a:pt x="3980893" y="1350847"/>
                    <a:pt x="3987027" y="1335752"/>
                    <a:pt x="3993782" y="1331134"/>
                  </a:cubicBezTo>
                  <a:cubicBezTo>
                    <a:pt x="4004672" y="1332444"/>
                    <a:pt x="4006602" y="1357257"/>
                    <a:pt x="3991921" y="1354086"/>
                  </a:cubicBezTo>
                  <a:moveTo>
                    <a:pt x="3977378" y="1355878"/>
                  </a:moveTo>
                  <a:cubicBezTo>
                    <a:pt x="3982823" y="1361461"/>
                    <a:pt x="3988199" y="1367044"/>
                    <a:pt x="3993713" y="1372558"/>
                  </a:cubicBezTo>
                  <a:cubicBezTo>
                    <a:pt x="3994058" y="1376969"/>
                    <a:pt x="3994747" y="1385723"/>
                    <a:pt x="3995161" y="1390065"/>
                  </a:cubicBezTo>
                  <a:cubicBezTo>
                    <a:pt x="3988475" y="1379106"/>
                    <a:pt x="3982547" y="1367664"/>
                    <a:pt x="3977378" y="1355878"/>
                  </a:cubicBezTo>
                  <a:moveTo>
                    <a:pt x="4005568" y="1401644"/>
                  </a:moveTo>
                  <a:cubicBezTo>
                    <a:pt x="3999985" y="1392891"/>
                    <a:pt x="4001639" y="1387652"/>
                    <a:pt x="4010600" y="1385929"/>
                  </a:cubicBezTo>
                  <a:cubicBezTo>
                    <a:pt x="4016114" y="1394821"/>
                    <a:pt x="4014459" y="1400059"/>
                    <a:pt x="4005568" y="1401644"/>
                  </a:cubicBezTo>
                  <a:moveTo>
                    <a:pt x="3972139" y="1443481"/>
                  </a:moveTo>
                  <a:cubicBezTo>
                    <a:pt x="3979997" y="1434039"/>
                    <a:pt x="3986269" y="1423218"/>
                    <a:pt x="3989715" y="1411225"/>
                  </a:cubicBezTo>
                  <a:cubicBezTo>
                    <a:pt x="4003776" y="1415843"/>
                    <a:pt x="4000881" y="1434659"/>
                    <a:pt x="4005775" y="1445963"/>
                  </a:cubicBezTo>
                  <a:cubicBezTo>
                    <a:pt x="3999158" y="1443619"/>
                    <a:pt x="3992541" y="1441276"/>
                    <a:pt x="3985993" y="1438863"/>
                  </a:cubicBezTo>
                  <a:cubicBezTo>
                    <a:pt x="3987647" y="1443137"/>
                    <a:pt x="3990956" y="1451683"/>
                    <a:pt x="3992679" y="1455888"/>
                  </a:cubicBezTo>
                  <a:cubicBezTo>
                    <a:pt x="3983305" y="1456232"/>
                    <a:pt x="3978343" y="1448651"/>
                    <a:pt x="3972139" y="1443481"/>
                  </a:cubicBezTo>
                  <a:moveTo>
                    <a:pt x="3951807" y="1456232"/>
                  </a:moveTo>
                  <a:cubicBezTo>
                    <a:pt x="3945741" y="1448030"/>
                    <a:pt x="3947327" y="1442930"/>
                    <a:pt x="3956563" y="1440862"/>
                  </a:cubicBezTo>
                  <a:cubicBezTo>
                    <a:pt x="3962490" y="1449064"/>
                    <a:pt x="3960905" y="1454234"/>
                    <a:pt x="3951807" y="1456232"/>
                  </a:cubicBezTo>
                  <a:moveTo>
                    <a:pt x="3992610" y="1464228"/>
                  </a:moveTo>
                  <a:cubicBezTo>
                    <a:pt x="3996194" y="1460368"/>
                    <a:pt x="3996194" y="1460368"/>
                    <a:pt x="3992610" y="1464228"/>
                  </a:cubicBezTo>
                  <a:moveTo>
                    <a:pt x="3953323" y="1478633"/>
                  </a:moveTo>
                  <a:cubicBezTo>
                    <a:pt x="3945948" y="1464986"/>
                    <a:pt x="3974965" y="1456715"/>
                    <a:pt x="3976620" y="1472292"/>
                  </a:cubicBezTo>
                  <a:cubicBezTo>
                    <a:pt x="3975034" y="1482355"/>
                    <a:pt x="3960147" y="1484423"/>
                    <a:pt x="3953323" y="1478633"/>
                  </a:cubicBezTo>
                  <a:moveTo>
                    <a:pt x="3961318" y="1498828"/>
                  </a:moveTo>
                  <a:cubicBezTo>
                    <a:pt x="3970348" y="1492280"/>
                    <a:pt x="3982133" y="1490006"/>
                    <a:pt x="3989371" y="1480839"/>
                  </a:cubicBezTo>
                  <a:cubicBezTo>
                    <a:pt x="3992059" y="1483527"/>
                    <a:pt x="3994747" y="1486146"/>
                    <a:pt x="3997504" y="1488765"/>
                  </a:cubicBezTo>
                  <a:cubicBezTo>
                    <a:pt x="3985373" y="1492142"/>
                    <a:pt x="3973449" y="1496002"/>
                    <a:pt x="3961318" y="1498828"/>
                  </a:cubicBezTo>
                  <a:moveTo>
                    <a:pt x="3992955" y="1533083"/>
                  </a:moveTo>
                  <a:cubicBezTo>
                    <a:pt x="3987647" y="1524399"/>
                    <a:pt x="3979101" y="1499448"/>
                    <a:pt x="3997848" y="1502343"/>
                  </a:cubicBezTo>
                  <a:cubicBezTo>
                    <a:pt x="4010255" y="1508408"/>
                    <a:pt x="3993851" y="1522745"/>
                    <a:pt x="3994954" y="1532532"/>
                  </a:cubicBezTo>
                  <a:lnTo>
                    <a:pt x="3992955" y="1533083"/>
                  </a:lnTo>
                  <a:moveTo>
                    <a:pt x="3931474" y="1618964"/>
                  </a:moveTo>
                  <a:cubicBezTo>
                    <a:pt x="3943949" y="1593048"/>
                    <a:pt x="3947120" y="1564237"/>
                    <a:pt x="3943260" y="1535909"/>
                  </a:cubicBezTo>
                  <a:cubicBezTo>
                    <a:pt x="3951669" y="1541492"/>
                    <a:pt x="3960147" y="1547213"/>
                    <a:pt x="3967384" y="1554312"/>
                  </a:cubicBezTo>
                  <a:cubicBezTo>
                    <a:pt x="3979376" y="1552589"/>
                    <a:pt x="3991163" y="1549625"/>
                    <a:pt x="4001984" y="1544111"/>
                  </a:cubicBezTo>
                  <a:cubicBezTo>
                    <a:pt x="4006119" y="1547144"/>
                    <a:pt x="4010186" y="1550315"/>
                    <a:pt x="4014183" y="1553554"/>
                  </a:cubicBezTo>
                  <a:cubicBezTo>
                    <a:pt x="4018112" y="1561205"/>
                    <a:pt x="4021903" y="1568855"/>
                    <a:pt x="4025556" y="1576644"/>
                  </a:cubicBezTo>
                  <a:cubicBezTo>
                    <a:pt x="4026590" y="1577264"/>
                    <a:pt x="4028658" y="1578367"/>
                    <a:pt x="4029623" y="1578918"/>
                  </a:cubicBezTo>
                  <a:cubicBezTo>
                    <a:pt x="4030243" y="1570234"/>
                    <a:pt x="4030794" y="1561480"/>
                    <a:pt x="4031346" y="1552658"/>
                  </a:cubicBezTo>
                  <a:cubicBezTo>
                    <a:pt x="4028589" y="1551279"/>
                    <a:pt x="4023075" y="1548522"/>
                    <a:pt x="4020318" y="1547075"/>
                  </a:cubicBezTo>
                  <a:cubicBezTo>
                    <a:pt x="4019077" y="1538873"/>
                    <a:pt x="4019146" y="1530533"/>
                    <a:pt x="4020456" y="1522193"/>
                  </a:cubicBezTo>
                  <a:cubicBezTo>
                    <a:pt x="4024109" y="1522676"/>
                    <a:pt x="4031415" y="1523779"/>
                    <a:pt x="4035068" y="1524330"/>
                  </a:cubicBezTo>
                  <a:cubicBezTo>
                    <a:pt x="4037618" y="1498070"/>
                    <a:pt x="4041960" y="1468984"/>
                    <a:pt x="4018250" y="1450925"/>
                  </a:cubicBezTo>
                  <a:cubicBezTo>
                    <a:pt x="4025211" y="1453544"/>
                    <a:pt x="4032173" y="1456232"/>
                    <a:pt x="4039203" y="1458920"/>
                  </a:cubicBezTo>
                  <a:cubicBezTo>
                    <a:pt x="4044579" y="1366148"/>
                    <a:pt x="4050024" y="1273375"/>
                    <a:pt x="4056779" y="1180603"/>
                  </a:cubicBezTo>
                  <a:cubicBezTo>
                    <a:pt x="4054436" y="1177984"/>
                    <a:pt x="4049749" y="1172677"/>
                    <a:pt x="4047405" y="1169988"/>
                  </a:cubicBezTo>
                  <a:cubicBezTo>
                    <a:pt x="4049887" y="1167714"/>
                    <a:pt x="4054849" y="1163096"/>
                    <a:pt x="4057330" y="1160821"/>
                  </a:cubicBezTo>
                  <a:cubicBezTo>
                    <a:pt x="4058709" y="1123120"/>
                    <a:pt x="4064154" y="1085556"/>
                    <a:pt x="4062707" y="1047716"/>
                  </a:cubicBezTo>
                  <a:cubicBezTo>
                    <a:pt x="4059122" y="1048268"/>
                    <a:pt x="4051954" y="1049302"/>
                    <a:pt x="4048370" y="1049853"/>
                  </a:cubicBezTo>
                  <a:cubicBezTo>
                    <a:pt x="4058295" y="1042754"/>
                    <a:pt x="4063189" y="1032415"/>
                    <a:pt x="4065326" y="1020491"/>
                  </a:cubicBezTo>
                  <a:lnTo>
                    <a:pt x="4053815" y="1019388"/>
                  </a:lnTo>
                  <a:cubicBezTo>
                    <a:pt x="4056572" y="1018010"/>
                    <a:pt x="4062017" y="1015253"/>
                    <a:pt x="4064705" y="1013874"/>
                  </a:cubicBezTo>
                  <a:cubicBezTo>
                    <a:pt x="4066153" y="1000434"/>
                    <a:pt x="4068496" y="987131"/>
                    <a:pt x="4070564" y="973691"/>
                  </a:cubicBezTo>
                  <a:cubicBezTo>
                    <a:pt x="4086486" y="959424"/>
                    <a:pt x="4092413" y="935645"/>
                    <a:pt x="4112539" y="925720"/>
                  </a:cubicBezTo>
                  <a:cubicBezTo>
                    <a:pt x="4127082" y="917724"/>
                    <a:pt x="4146312" y="922618"/>
                    <a:pt x="4157064" y="934887"/>
                  </a:cubicBezTo>
                  <a:cubicBezTo>
                    <a:pt x="4178638" y="959286"/>
                    <a:pt x="4185116" y="993335"/>
                    <a:pt x="4183738" y="1025040"/>
                  </a:cubicBezTo>
                  <a:cubicBezTo>
                    <a:pt x="4181257" y="1084936"/>
                    <a:pt x="4176088" y="1144624"/>
                    <a:pt x="4173055" y="1204451"/>
                  </a:cubicBezTo>
                  <a:cubicBezTo>
                    <a:pt x="4198281" y="1206036"/>
                    <a:pt x="4223508" y="1207621"/>
                    <a:pt x="4248803" y="1209138"/>
                  </a:cubicBezTo>
                  <a:lnTo>
                    <a:pt x="4249286" y="1197627"/>
                  </a:lnTo>
                  <a:cubicBezTo>
                    <a:pt x="4249906" y="1200591"/>
                    <a:pt x="4251284" y="1206588"/>
                    <a:pt x="4251905" y="1209551"/>
                  </a:cubicBezTo>
                  <a:cubicBezTo>
                    <a:pt x="4261347" y="1209896"/>
                    <a:pt x="4270790" y="1210309"/>
                    <a:pt x="4280302" y="1210585"/>
                  </a:cubicBezTo>
                  <a:cubicBezTo>
                    <a:pt x="4281198" y="1158547"/>
                    <a:pt x="4290709" y="1105613"/>
                    <a:pt x="4281749" y="1053988"/>
                  </a:cubicBezTo>
                  <a:cubicBezTo>
                    <a:pt x="4288090" y="1047785"/>
                    <a:pt x="4291261" y="1040272"/>
                    <a:pt x="4291261" y="1031312"/>
                  </a:cubicBezTo>
                  <a:cubicBezTo>
                    <a:pt x="4294087" y="960113"/>
                    <a:pt x="4287746" y="885950"/>
                    <a:pt x="4254799" y="821506"/>
                  </a:cubicBezTo>
                  <a:cubicBezTo>
                    <a:pt x="4247562" y="808823"/>
                    <a:pt x="4243496" y="793040"/>
                    <a:pt x="4230814" y="784493"/>
                  </a:cubicBezTo>
                  <a:cubicBezTo>
                    <a:pt x="4213720" y="749617"/>
                    <a:pt x="4176156" y="729422"/>
                    <a:pt x="4138179" y="727906"/>
                  </a:cubicBezTo>
                  <a:cubicBezTo>
                    <a:pt x="4137214" y="739692"/>
                    <a:pt x="4134940" y="751271"/>
                    <a:pt x="4131976" y="762644"/>
                  </a:cubicBezTo>
                  <a:cubicBezTo>
                    <a:pt x="4132114" y="751065"/>
                    <a:pt x="4132665" y="739623"/>
                    <a:pt x="4133630" y="727906"/>
                  </a:cubicBezTo>
                  <a:cubicBezTo>
                    <a:pt x="4121361" y="731214"/>
                    <a:pt x="4109162" y="734523"/>
                    <a:pt x="4097100" y="737969"/>
                  </a:cubicBezTo>
                  <a:cubicBezTo>
                    <a:pt x="4099374" y="754097"/>
                    <a:pt x="4087175" y="753408"/>
                    <a:pt x="4075320" y="751685"/>
                  </a:cubicBezTo>
                  <a:cubicBezTo>
                    <a:pt x="4002260" y="813028"/>
                    <a:pt x="3973794" y="911521"/>
                    <a:pt x="3965454" y="1003260"/>
                  </a:cubicBezTo>
                  <a:cubicBezTo>
                    <a:pt x="3954081" y="1175778"/>
                    <a:pt x="3943605" y="1348365"/>
                    <a:pt x="3933059" y="1520884"/>
                  </a:cubicBezTo>
                  <a:cubicBezTo>
                    <a:pt x="3937470" y="1518058"/>
                    <a:pt x="3946362" y="1512406"/>
                    <a:pt x="3950842" y="1509580"/>
                  </a:cubicBezTo>
                  <a:cubicBezTo>
                    <a:pt x="3944983" y="1515577"/>
                    <a:pt x="3938780" y="1521159"/>
                    <a:pt x="3932508" y="1526536"/>
                  </a:cubicBezTo>
                  <a:cubicBezTo>
                    <a:pt x="3931405" y="1547764"/>
                    <a:pt x="3929268" y="1568924"/>
                    <a:pt x="3928441" y="1590084"/>
                  </a:cubicBezTo>
                  <a:cubicBezTo>
                    <a:pt x="3929200" y="1599802"/>
                    <a:pt x="3930164" y="1609383"/>
                    <a:pt x="3931474" y="1618964"/>
                  </a:cubicBezTo>
                  <a:moveTo>
                    <a:pt x="381515" y="23221"/>
                  </a:moveTo>
                  <a:cubicBezTo>
                    <a:pt x="375793" y="14467"/>
                    <a:pt x="377306" y="9160"/>
                    <a:pt x="386132" y="7230"/>
                  </a:cubicBezTo>
                  <a:cubicBezTo>
                    <a:pt x="391853" y="16190"/>
                    <a:pt x="390335" y="21497"/>
                    <a:pt x="381515" y="23221"/>
                  </a:cubicBezTo>
                  <a:moveTo>
                    <a:pt x="339882" y="29424"/>
                  </a:moveTo>
                  <a:cubicBezTo>
                    <a:pt x="334228" y="22945"/>
                    <a:pt x="342499" y="8884"/>
                    <a:pt x="350978" y="13158"/>
                  </a:cubicBezTo>
                  <a:cubicBezTo>
                    <a:pt x="356699" y="19705"/>
                    <a:pt x="348223" y="33490"/>
                    <a:pt x="339882" y="29424"/>
                  </a:cubicBezTo>
                  <a:moveTo>
                    <a:pt x="421418" y="36592"/>
                  </a:moveTo>
                  <a:cubicBezTo>
                    <a:pt x="410872" y="15846"/>
                    <a:pt x="444233" y="35765"/>
                    <a:pt x="421418" y="36592"/>
                  </a:cubicBezTo>
                  <a:moveTo>
                    <a:pt x="554512" y="47551"/>
                  </a:moveTo>
                  <a:cubicBezTo>
                    <a:pt x="554650" y="37557"/>
                    <a:pt x="550514" y="25013"/>
                    <a:pt x="560646" y="18465"/>
                  </a:cubicBezTo>
                  <a:cubicBezTo>
                    <a:pt x="559681" y="28252"/>
                    <a:pt x="564782" y="41072"/>
                    <a:pt x="554512" y="47551"/>
                  </a:cubicBezTo>
                  <a:moveTo>
                    <a:pt x="849854" y="51893"/>
                  </a:moveTo>
                  <a:cubicBezTo>
                    <a:pt x="839033" y="31285"/>
                    <a:pt x="872599" y="50515"/>
                    <a:pt x="849854" y="51893"/>
                  </a:cubicBezTo>
                  <a:moveTo>
                    <a:pt x="423763" y="53203"/>
                  </a:moveTo>
                  <a:cubicBezTo>
                    <a:pt x="423486" y="30458"/>
                    <a:pt x="445060" y="62852"/>
                    <a:pt x="423763" y="53203"/>
                  </a:cubicBezTo>
                  <a:moveTo>
                    <a:pt x="739506" y="71468"/>
                  </a:moveTo>
                  <a:cubicBezTo>
                    <a:pt x="731510" y="66574"/>
                    <a:pt x="738196" y="49136"/>
                    <a:pt x="746881" y="57959"/>
                  </a:cubicBezTo>
                  <a:cubicBezTo>
                    <a:pt x="754531" y="63059"/>
                    <a:pt x="748604" y="79670"/>
                    <a:pt x="739506" y="71468"/>
                  </a:cubicBezTo>
                  <a:moveTo>
                    <a:pt x="698427" y="72571"/>
                  </a:moveTo>
                  <a:cubicBezTo>
                    <a:pt x="689191" y="67608"/>
                    <a:pt x="688846" y="62852"/>
                    <a:pt x="697324" y="58165"/>
                  </a:cubicBezTo>
                  <a:cubicBezTo>
                    <a:pt x="706560" y="63197"/>
                    <a:pt x="706904" y="67953"/>
                    <a:pt x="698427" y="72571"/>
                  </a:cubicBezTo>
                  <a:moveTo>
                    <a:pt x="718828" y="85873"/>
                  </a:moveTo>
                  <a:cubicBezTo>
                    <a:pt x="722412" y="82289"/>
                    <a:pt x="722412" y="82289"/>
                    <a:pt x="718828" y="85873"/>
                  </a:cubicBezTo>
                  <a:moveTo>
                    <a:pt x="548447" y="86356"/>
                  </a:moveTo>
                  <a:cubicBezTo>
                    <a:pt x="544242" y="77809"/>
                    <a:pt x="559406" y="71881"/>
                    <a:pt x="565126" y="77189"/>
                  </a:cubicBezTo>
                  <a:cubicBezTo>
                    <a:pt x="570709" y="86424"/>
                    <a:pt x="554305" y="92766"/>
                    <a:pt x="548447" y="86356"/>
                  </a:cubicBezTo>
                  <a:moveTo>
                    <a:pt x="402192" y="73329"/>
                  </a:moveTo>
                  <a:cubicBezTo>
                    <a:pt x="396123" y="74225"/>
                    <a:pt x="390194" y="75534"/>
                    <a:pt x="384409" y="77189"/>
                  </a:cubicBezTo>
                  <a:lnTo>
                    <a:pt x="381515" y="76844"/>
                  </a:lnTo>
                  <a:cubicBezTo>
                    <a:pt x="380752" y="74845"/>
                    <a:pt x="379377" y="70848"/>
                    <a:pt x="378685" y="68849"/>
                  </a:cubicBezTo>
                  <a:cubicBezTo>
                    <a:pt x="377443" y="66712"/>
                    <a:pt x="375101" y="62439"/>
                    <a:pt x="373930" y="60302"/>
                  </a:cubicBezTo>
                  <a:cubicBezTo>
                    <a:pt x="382890" y="64369"/>
                    <a:pt x="391985" y="68159"/>
                    <a:pt x="401155" y="71675"/>
                  </a:cubicBezTo>
                  <a:cubicBezTo>
                    <a:pt x="397365" y="63817"/>
                    <a:pt x="389920" y="48033"/>
                    <a:pt x="386132" y="40107"/>
                  </a:cubicBezTo>
                  <a:cubicBezTo>
                    <a:pt x="382753" y="43278"/>
                    <a:pt x="375998" y="49481"/>
                    <a:pt x="372621" y="52582"/>
                  </a:cubicBezTo>
                  <a:cubicBezTo>
                    <a:pt x="375653" y="46793"/>
                    <a:pt x="378685" y="41003"/>
                    <a:pt x="381646" y="35145"/>
                  </a:cubicBezTo>
                  <a:cubicBezTo>
                    <a:pt x="389023" y="48378"/>
                    <a:pt x="400326" y="48998"/>
                    <a:pt x="412116" y="40314"/>
                  </a:cubicBezTo>
                  <a:cubicBezTo>
                    <a:pt x="409493" y="43002"/>
                    <a:pt x="404257" y="48309"/>
                    <a:pt x="401640" y="50997"/>
                  </a:cubicBezTo>
                  <a:cubicBezTo>
                    <a:pt x="409978" y="62783"/>
                    <a:pt x="411079" y="77326"/>
                    <a:pt x="412802" y="91042"/>
                  </a:cubicBezTo>
                  <a:cubicBezTo>
                    <a:pt x="410183" y="86631"/>
                    <a:pt x="404876" y="77740"/>
                    <a:pt x="402192" y="73329"/>
                  </a:cubicBezTo>
                  <a:moveTo>
                    <a:pt x="367245" y="85597"/>
                  </a:moveTo>
                  <a:cubicBezTo>
                    <a:pt x="356010" y="65127"/>
                    <a:pt x="390057" y="84150"/>
                    <a:pt x="367245" y="85597"/>
                  </a:cubicBezTo>
                  <a:moveTo>
                    <a:pt x="353530" y="92628"/>
                  </a:moveTo>
                  <a:cubicBezTo>
                    <a:pt x="357181" y="88906"/>
                    <a:pt x="357181" y="88906"/>
                    <a:pt x="353530" y="92628"/>
                  </a:cubicBezTo>
                  <a:moveTo>
                    <a:pt x="670305" y="98348"/>
                  </a:moveTo>
                  <a:cubicBezTo>
                    <a:pt x="672718" y="83323"/>
                    <a:pt x="675819" y="68297"/>
                    <a:pt x="680024" y="53547"/>
                  </a:cubicBezTo>
                  <a:cubicBezTo>
                    <a:pt x="680024" y="65609"/>
                    <a:pt x="679748" y="77740"/>
                    <a:pt x="680368" y="89733"/>
                  </a:cubicBezTo>
                  <a:cubicBezTo>
                    <a:pt x="688157" y="90215"/>
                    <a:pt x="695945" y="90491"/>
                    <a:pt x="703803" y="90560"/>
                  </a:cubicBezTo>
                  <a:cubicBezTo>
                    <a:pt x="692568" y="93110"/>
                    <a:pt x="681471" y="95798"/>
                    <a:pt x="670305" y="98348"/>
                  </a:cubicBezTo>
                  <a:moveTo>
                    <a:pt x="595109" y="99313"/>
                  </a:moveTo>
                  <a:cubicBezTo>
                    <a:pt x="598762" y="95660"/>
                    <a:pt x="598762" y="95660"/>
                    <a:pt x="595109" y="99313"/>
                  </a:cubicBezTo>
                  <a:moveTo>
                    <a:pt x="792991" y="112478"/>
                  </a:moveTo>
                  <a:lnTo>
                    <a:pt x="799332" y="95660"/>
                  </a:lnTo>
                  <a:cubicBezTo>
                    <a:pt x="794439" y="94351"/>
                    <a:pt x="784582" y="91870"/>
                    <a:pt x="779620" y="90560"/>
                  </a:cubicBezTo>
                  <a:cubicBezTo>
                    <a:pt x="785410" y="80152"/>
                    <a:pt x="803812" y="74432"/>
                    <a:pt x="795886" y="59544"/>
                  </a:cubicBezTo>
                  <a:cubicBezTo>
                    <a:pt x="789683" y="58855"/>
                    <a:pt x="777276" y="57476"/>
                    <a:pt x="771142" y="56787"/>
                  </a:cubicBezTo>
                  <a:cubicBezTo>
                    <a:pt x="770246" y="72226"/>
                    <a:pt x="769970" y="87734"/>
                    <a:pt x="769350" y="103104"/>
                  </a:cubicBezTo>
                  <a:cubicBezTo>
                    <a:pt x="759632" y="86700"/>
                    <a:pt x="762871" y="66299"/>
                    <a:pt x="755427" y="48792"/>
                  </a:cubicBezTo>
                  <a:cubicBezTo>
                    <a:pt x="756461" y="46104"/>
                    <a:pt x="758460" y="40796"/>
                    <a:pt x="759494" y="38108"/>
                  </a:cubicBezTo>
                  <a:cubicBezTo>
                    <a:pt x="768937" y="49412"/>
                    <a:pt x="783549" y="52445"/>
                    <a:pt x="797196" y="55339"/>
                  </a:cubicBezTo>
                  <a:cubicBezTo>
                    <a:pt x="798988" y="73811"/>
                    <a:pt x="815805" y="101243"/>
                    <a:pt x="792991" y="112478"/>
                  </a:cubicBezTo>
                  <a:moveTo>
                    <a:pt x="649008" y="107309"/>
                  </a:moveTo>
                  <a:cubicBezTo>
                    <a:pt x="638324" y="86356"/>
                    <a:pt x="671339" y="105586"/>
                    <a:pt x="649008" y="107309"/>
                  </a:cubicBezTo>
                  <a:moveTo>
                    <a:pt x="739437" y="112754"/>
                  </a:moveTo>
                  <a:cubicBezTo>
                    <a:pt x="743090" y="109238"/>
                    <a:pt x="743090" y="109238"/>
                    <a:pt x="739437" y="112754"/>
                  </a:cubicBezTo>
                  <a:moveTo>
                    <a:pt x="582771" y="73398"/>
                  </a:moveTo>
                  <a:cubicBezTo>
                    <a:pt x="577740" y="69262"/>
                    <a:pt x="572364" y="65609"/>
                    <a:pt x="567470" y="61198"/>
                  </a:cubicBezTo>
                  <a:cubicBezTo>
                    <a:pt x="583529" y="55408"/>
                    <a:pt x="598899" y="72571"/>
                    <a:pt x="615993" y="69883"/>
                  </a:cubicBezTo>
                  <a:cubicBezTo>
                    <a:pt x="613374" y="71744"/>
                    <a:pt x="608135" y="75465"/>
                    <a:pt x="605516" y="77395"/>
                  </a:cubicBezTo>
                  <a:lnTo>
                    <a:pt x="603035" y="69469"/>
                  </a:lnTo>
                  <a:cubicBezTo>
                    <a:pt x="597659" y="73053"/>
                    <a:pt x="592352" y="76706"/>
                    <a:pt x="587044" y="80221"/>
                  </a:cubicBezTo>
                  <a:cubicBezTo>
                    <a:pt x="585666" y="92076"/>
                    <a:pt x="584425" y="103931"/>
                    <a:pt x="582978" y="115649"/>
                  </a:cubicBezTo>
                  <a:cubicBezTo>
                    <a:pt x="581668" y="102001"/>
                    <a:pt x="570503" y="84632"/>
                    <a:pt x="582771" y="73398"/>
                  </a:cubicBezTo>
                  <a:moveTo>
                    <a:pt x="546517" y="114270"/>
                  </a:moveTo>
                  <a:cubicBezTo>
                    <a:pt x="547137" y="91525"/>
                    <a:pt x="567470" y="124402"/>
                    <a:pt x="546517" y="114270"/>
                  </a:cubicBezTo>
                  <a:moveTo>
                    <a:pt x="456225" y="113581"/>
                  </a:moveTo>
                  <a:cubicBezTo>
                    <a:pt x="450505" y="107033"/>
                    <a:pt x="458707" y="92697"/>
                    <a:pt x="467322" y="96763"/>
                  </a:cubicBezTo>
                  <a:cubicBezTo>
                    <a:pt x="472147" y="103311"/>
                    <a:pt x="464703" y="117441"/>
                    <a:pt x="456225" y="113581"/>
                  </a:cubicBezTo>
                  <a:moveTo>
                    <a:pt x="247658" y="105723"/>
                  </a:moveTo>
                  <a:cubicBezTo>
                    <a:pt x="269921" y="98417"/>
                    <a:pt x="264959" y="67953"/>
                    <a:pt x="281574" y="53272"/>
                  </a:cubicBezTo>
                  <a:cubicBezTo>
                    <a:pt x="279366" y="43415"/>
                    <a:pt x="281227" y="36385"/>
                    <a:pt x="287152" y="32043"/>
                  </a:cubicBezTo>
                  <a:cubicBezTo>
                    <a:pt x="291498" y="41555"/>
                    <a:pt x="292184" y="51342"/>
                    <a:pt x="289223" y="61405"/>
                  </a:cubicBezTo>
                  <a:cubicBezTo>
                    <a:pt x="292807" y="58717"/>
                    <a:pt x="299903" y="53410"/>
                    <a:pt x="303490" y="50790"/>
                  </a:cubicBezTo>
                  <a:cubicBezTo>
                    <a:pt x="303490" y="46448"/>
                    <a:pt x="303560" y="37833"/>
                    <a:pt x="303627" y="33490"/>
                  </a:cubicBezTo>
                  <a:cubicBezTo>
                    <a:pt x="312862" y="33352"/>
                    <a:pt x="339950" y="31560"/>
                    <a:pt x="321685" y="45208"/>
                  </a:cubicBezTo>
                  <a:cubicBezTo>
                    <a:pt x="321892" y="50377"/>
                    <a:pt x="322377" y="60853"/>
                    <a:pt x="322581" y="66092"/>
                  </a:cubicBezTo>
                  <a:lnTo>
                    <a:pt x="318031" y="68091"/>
                  </a:lnTo>
                  <a:cubicBezTo>
                    <a:pt x="310242" y="74018"/>
                    <a:pt x="301974" y="79050"/>
                    <a:pt x="293426" y="83599"/>
                  </a:cubicBezTo>
                  <a:cubicBezTo>
                    <a:pt x="294807" y="88975"/>
                    <a:pt x="296183" y="94282"/>
                    <a:pt x="297561" y="99520"/>
                  </a:cubicBezTo>
                  <a:cubicBezTo>
                    <a:pt x="285981" y="103656"/>
                    <a:pt x="274261" y="108411"/>
                    <a:pt x="265441" y="117372"/>
                  </a:cubicBezTo>
                  <a:cubicBezTo>
                    <a:pt x="259515" y="113512"/>
                    <a:pt x="253584" y="109652"/>
                    <a:pt x="247658" y="105723"/>
                  </a:cubicBezTo>
                  <a:moveTo>
                    <a:pt x="510676" y="120266"/>
                  </a:moveTo>
                  <a:cubicBezTo>
                    <a:pt x="499993" y="99727"/>
                    <a:pt x="533628" y="119302"/>
                    <a:pt x="510676" y="120266"/>
                  </a:cubicBezTo>
                  <a:moveTo>
                    <a:pt x="270820" y="126952"/>
                  </a:moveTo>
                  <a:cubicBezTo>
                    <a:pt x="274471" y="123092"/>
                    <a:pt x="274471" y="123092"/>
                    <a:pt x="270820" y="126952"/>
                  </a:cubicBezTo>
                  <a:moveTo>
                    <a:pt x="765146" y="134878"/>
                  </a:moveTo>
                  <a:cubicBezTo>
                    <a:pt x="754462" y="113994"/>
                    <a:pt x="787684" y="133362"/>
                    <a:pt x="765146" y="134878"/>
                  </a:cubicBezTo>
                  <a:moveTo>
                    <a:pt x="739161" y="135361"/>
                  </a:moveTo>
                  <a:cubicBezTo>
                    <a:pt x="740333" y="112823"/>
                    <a:pt x="760114" y="146251"/>
                    <a:pt x="739161" y="135361"/>
                  </a:cubicBezTo>
                  <a:moveTo>
                    <a:pt x="146686" y="133707"/>
                  </a:moveTo>
                  <a:cubicBezTo>
                    <a:pt x="150065" y="129985"/>
                    <a:pt x="150065" y="129985"/>
                    <a:pt x="146686" y="133707"/>
                  </a:cubicBezTo>
                  <a:moveTo>
                    <a:pt x="231735" y="134810"/>
                  </a:moveTo>
                  <a:cubicBezTo>
                    <a:pt x="232290" y="122127"/>
                    <a:pt x="253931" y="122886"/>
                    <a:pt x="254965" y="134947"/>
                  </a:cubicBezTo>
                  <a:cubicBezTo>
                    <a:pt x="252968" y="145079"/>
                    <a:pt x="234425" y="144045"/>
                    <a:pt x="231735" y="134810"/>
                  </a:cubicBezTo>
                  <a:moveTo>
                    <a:pt x="180941" y="167962"/>
                  </a:moveTo>
                  <a:cubicBezTo>
                    <a:pt x="170118" y="147147"/>
                    <a:pt x="203549" y="166791"/>
                    <a:pt x="180941" y="167962"/>
                  </a:cubicBezTo>
                  <a:moveTo>
                    <a:pt x="153579" y="209041"/>
                  </a:moveTo>
                  <a:cubicBezTo>
                    <a:pt x="157367" y="205733"/>
                    <a:pt x="157367" y="205733"/>
                    <a:pt x="153579" y="209041"/>
                  </a:cubicBezTo>
                  <a:moveTo>
                    <a:pt x="132349" y="229030"/>
                  </a:moveTo>
                  <a:cubicBezTo>
                    <a:pt x="122770" y="207870"/>
                    <a:pt x="155161" y="228892"/>
                    <a:pt x="132349" y="229030"/>
                  </a:cubicBezTo>
                  <a:moveTo>
                    <a:pt x="180042" y="262734"/>
                  </a:moveTo>
                  <a:cubicBezTo>
                    <a:pt x="181491" y="246812"/>
                    <a:pt x="197688" y="204286"/>
                    <a:pt x="167638" y="208352"/>
                  </a:cubicBezTo>
                  <a:cubicBezTo>
                    <a:pt x="168257" y="204630"/>
                    <a:pt x="169498" y="197186"/>
                    <a:pt x="170188" y="193533"/>
                  </a:cubicBezTo>
                  <a:cubicBezTo>
                    <a:pt x="177977" y="190914"/>
                    <a:pt x="185903" y="188433"/>
                    <a:pt x="193967" y="186641"/>
                  </a:cubicBezTo>
                  <a:cubicBezTo>
                    <a:pt x="193900" y="193396"/>
                    <a:pt x="193827" y="206974"/>
                    <a:pt x="193759" y="213728"/>
                  </a:cubicBezTo>
                  <a:cubicBezTo>
                    <a:pt x="197068" y="212832"/>
                    <a:pt x="203619" y="210971"/>
                    <a:pt x="206855" y="210075"/>
                  </a:cubicBezTo>
                  <a:cubicBezTo>
                    <a:pt x="211131" y="220483"/>
                    <a:pt x="214851" y="231166"/>
                    <a:pt x="217883" y="241918"/>
                  </a:cubicBezTo>
                  <a:cubicBezTo>
                    <a:pt x="213610" y="240195"/>
                    <a:pt x="205132" y="236680"/>
                    <a:pt x="200859" y="234888"/>
                  </a:cubicBezTo>
                  <a:cubicBezTo>
                    <a:pt x="201134" y="245296"/>
                    <a:pt x="201481" y="255634"/>
                    <a:pt x="201890" y="265973"/>
                  </a:cubicBezTo>
                  <a:lnTo>
                    <a:pt x="180042" y="262734"/>
                  </a:lnTo>
                  <a:moveTo>
                    <a:pt x="153990" y="292302"/>
                  </a:moveTo>
                  <a:cubicBezTo>
                    <a:pt x="157989" y="288649"/>
                    <a:pt x="157989" y="288649"/>
                    <a:pt x="153990" y="292302"/>
                  </a:cubicBezTo>
                  <a:moveTo>
                    <a:pt x="192381" y="326971"/>
                  </a:moveTo>
                  <a:cubicBezTo>
                    <a:pt x="203482" y="328832"/>
                    <a:pt x="203891" y="348683"/>
                    <a:pt x="192728" y="350406"/>
                  </a:cubicBezTo>
                  <a:cubicBezTo>
                    <a:pt x="182389" y="348269"/>
                    <a:pt x="180457" y="328005"/>
                    <a:pt x="192381" y="326971"/>
                  </a:cubicBezTo>
                  <a:moveTo>
                    <a:pt x="161227" y="382938"/>
                  </a:moveTo>
                  <a:cubicBezTo>
                    <a:pt x="152340" y="381215"/>
                    <a:pt x="148202" y="363226"/>
                    <a:pt x="159849" y="362812"/>
                  </a:cubicBezTo>
                  <a:cubicBezTo>
                    <a:pt x="170118" y="363364"/>
                    <a:pt x="172807" y="382869"/>
                    <a:pt x="161227" y="382938"/>
                  </a:cubicBezTo>
                  <a:moveTo>
                    <a:pt x="104709" y="451518"/>
                  </a:moveTo>
                  <a:cubicBezTo>
                    <a:pt x="93544" y="431116"/>
                    <a:pt x="127388" y="449726"/>
                    <a:pt x="104709" y="451518"/>
                  </a:cubicBezTo>
                  <a:moveTo>
                    <a:pt x="187697" y="527404"/>
                  </a:moveTo>
                  <a:cubicBezTo>
                    <a:pt x="191280" y="523682"/>
                    <a:pt x="191280" y="523682"/>
                    <a:pt x="187697" y="527404"/>
                  </a:cubicBezTo>
                  <a:moveTo>
                    <a:pt x="189557" y="607770"/>
                  </a:moveTo>
                  <a:cubicBezTo>
                    <a:pt x="186660" y="597363"/>
                    <a:pt x="186797" y="585232"/>
                    <a:pt x="189212" y="574687"/>
                  </a:cubicBezTo>
                  <a:cubicBezTo>
                    <a:pt x="195003" y="574893"/>
                    <a:pt x="199621" y="577237"/>
                    <a:pt x="203134" y="581855"/>
                  </a:cubicBezTo>
                  <a:cubicBezTo>
                    <a:pt x="200792" y="590608"/>
                    <a:pt x="196174" y="602532"/>
                    <a:pt x="189557" y="607770"/>
                  </a:cubicBezTo>
                  <a:moveTo>
                    <a:pt x="164259" y="593710"/>
                  </a:moveTo>
                  <a:cubicBezTo>
                    <a:pt x="169019" y="590746"/>
                    <a:pt x="173912" y="587851"/>
                    <a:pt x="178734" y="584818"/>
                  </a:cubicBezTo>
                  <a:cubicBezTo>
                    <a:pt x="173564" y="593227"/>
                    <a:pt x="168327" y="601636"/>
                    <a:pt x="163226" y="610045"/>
                  </a:cubicBezTo>
                  <a:cubicBezTo>
                    <a:pt x="163573" y="604669"/>
                    <a:pt x="163918" y="599224"/>
                    <a:pt x="164259" y="593710"/>
                  </a:cubicBezTo>
                  <a:moveTo>
                    <a:pt x="122218" y="606943"/>
                  </a:moveTo>
                  <a:cubicBezTo>
                    <a:pt x="118702" y="597707"/>
                    <a:pt x="115255" y="588402"/>
                    <a:pt x="111394" y="579236"/>
                  </a:cubicBezTo>
                  <a:cubicBezTo>
                    <a:pt x="122700" y="587782"/>
                    <a:pt x="137588" y="586335"/>
                    <a:pt x="150822" y="588885"/>
                  </a:cubicBezTo>
                  <a:cubicBezTo>
                    <a:pt x="150959" y="593985"/>
                    <a:pt x="151304" y="604186"/>
                    <a:pt x="151441" y="609287"/>
                  </a:cubicBezTo>
                  <a:cubicBezTo>
                    <a:pt x="141724" y="608046"/>
                    <a:pt x="132005" y="607495"/>
                    <a:pt x="122218" y="606943"/>
                  </a:cubicBezTo>
                  <a:moveTo>
                    <a:pt x="140343" y="671319"/>
                  </a:moveTo>
                  <a:cubicBezTo>
                    <a:pt x="144067" y="667873"/>
                    <a:pt x="144067" y="667873"/>
                    <a:pt x="140343" y="671319"/>
                  </a:cubicBezTo>
                  <a:moveTo>
                    <a:pt x="99885" y="723495"/>
                  </a:moveTo>
                  <a:cubicBezTo>
                    <a:pt x="105606" y="718946"/>
                    <a:pt x="111394" y="714604"/>
                    <a:pt x="117463" y="710468"/>
                  </a:cubicBezTo>
                  <a:cubicBezTo>
                    <a:pt x="115670" y="723495"/>
                    <a:pt x="113807" y="736384"/>
                    <a:pt x="111602" y="749273"/>
                  </a:cubicBezTo>
                  <a:cubicBezTo>
                    <a:pt x="105264" y="742104"/>
                    <a:pt x="98299" y="733902"/>
                    <a:pt x="99885" y="723495"/>
                  </a:cubicBezTo>
                  <a:moveTo>
                    <a:pt x="125594" y="774361"/>
                  </a:moveTo>
                  <a:cubicBezTo>
                    <a:pt x="129177" y="770777"/>
                    <a:pt x="129177" y="770777"/>
                    <a:pt x="125594" y="774361"/>
                  </a:cubicBezTo>
                  <a:moveTo>
                    <a:pt x="97957" y="780082"/>
                  </a:moveTo>
                  <a:cubicBezTo>
                    <a:pt x="104640" y="772845"/>
                    <a:pt x="110775" y="765125"/>
                    <a:pt x="116155" y="756785"/>
                  </a:cubicBezTo>
                  <a:cubicBezTo>
                    <a:pt x="114978" y="765056"/>
                    <a:pt x="114011" y="773327"/>
                    <a:pt x="113117" y="781598"/>
                  </a:cubicBezTo>
                  <a:cubicBezTo>
                    <a:pt x="109327" y="781254"/>
                    <a:pt x="101745" y="780496"/>
                    <a:pt x="97957" y="780082"/>
                  </a:cubicBezTo>
                  <a:moveTo>
                    <a:pt x="139172" y="795728"/>
                  </a:moveTo>
                  <a:cubicBezTo>
                    <a:pt x="142825" y="791661"/>
                    <a:pt x="142825" y="791661"/>
                    <a:pt x="139172" y="795728"/>
                  </a:cubicBezTo>
                  <a:moveTo>
                    <a:pt x="168257" y="830328"/>
                  </a:moveTo>
                  <a:cubicBezTo>
                    <a:pt x="169087" y="807445"/>
                    <a:pt x="188934" y="840805"/>
                    <a:pt x="168257" y="830328"/>
                  </a:cubicBezTo>
                  <a:moveTo>
                    <a:pt x="119528" y="843562"/>
                  </a:moveTo>
                  <a:cubicBezTo>
                    <a:pt x="123111" y="839977"/>
                    <a:pt x="123111" y="839977"/>
                    <a:pt x="119528" y="843562"/>
                  </a:cubicBezTo>
                  <a:moveTo>
                    <a:pt x="104987" y="954530"/>
                  </a:moveTo>
                  <a:cubicBezTo>
                    <a:pt x="95130" y="953358"/>
                    <a:pt x="93129" y="935231"/>
                    <a:pt x="104020" y="934197"/>
                  </a:cubicBezTo>
                  <a:cubicBezTo>
                    <a:pt x="114222" y="934955"/>
                    <a:pt x="116012" y="953979"/>
                    <a:pt x="104987" y="954530"/>
                  </a:cubicBezTo>
                  <a:moveTo>
                    <a:pt x="90717" y="1002984"/>
                  </a:moveTo>
                  <a:cubicBezTo>
                    <a:pt x="89272" y="989544"/>
                    <a:pt x="88375" y="975966"/>
                    <a:pt x="90308" y="962525"/>
                  </a:cubicBezTo>
                  <a:cubicBezTo>
                    <a:pt x="92163" y="976172"/>
                    <a:pt x="93818" y="989820"/>
                    <a:pt x="96094" y="1003398"/>
                  </a:cubicBezTo>
                  <a:lnTo>
                    <a:pt x="90717" y="1002984"/>
                  </a:lnTo>
                  <a:moveTo>
                    <a:pt x="64666" y="1043512"/>
                  </a:moveTo>
                  <a:cubicBezTo>
                    <a:pt x="63632" y="1034000"/>
                    <a:pt x="87478" y="1023455"/>
                    <a:pt x="89341" y="1036068"/>
                  </a:cubicBezTo>
                  <a:cubicBezTo>
                    <a:pt x="84239" y="1043098"/>
                    <a:pt x="72657" y="1046958"/>
                    <a:pt x="64666" y="1043512"/>
                  </a:cubicBezTo>
                  <a:moveTo>
                    <a:pt x="140001" y="1054747"/>
                  </a:moveTo>
                  <a:cubicBezTo>
                    <a:pt x="140895" y="1040203"/>
                    <a:pt x="141859" y="1025591"/>
                    <a:pt x="141376" y="1010910"/>
                  </a:cubicBezTo>
                  <a:cubicBezTo>
                    <a:pt x="142343" y="1015528"/>
                    <a:pt x="144204" y="1024833"/>
                    <a:pt x="145100" y="1029451"/>
                  </a:cubicBezTo>
                  <a:cubicBezTo>
                    <a:pt x="153164" y="1029175"/>
                    <a:pt x="161161" y="1028831"/>
                    <a:pt x="169224" y="1028417"/>
                  </a:cubicBezTo>
                  <a:cubicBezTo>
                    <a:pt x="169843" y="1032208"/>
                    <a:pt x="171152" y="1039859"/>
                    <a:pt x="171841" y="1043719"/>
                  </a:cubicBezTo>
                  <a:lnTo>
                    <a:pt x="167980" y="1043856"/>
                  </a:lnTo>
                  <a:cubicBezTo>
                    <a:pt x="167980" y="1040135"/>
                    <a:pt x="167980" y="1032760"/>
                    <a:pt x="167980" y="1029038"/>
                  </a:cubicBezTo>
                  <a:cubicBezTo>
                    <a:pt x="163021" y="1030071"/>
                    <a:pt x="153096" y="1032070"/>
                    <a:pt x="148132" y="1033035"/>
                  </a:cubicBezTo>
                  <a:cubicBezTo>
                    <a:pt x="146134" y="1040617"/>
                    <a:pt x="143447" y="1047785"/>
                    <a:pt x="140001" y="1054747"/>
                  </a:cubicBezTo>
                  <a:moveTo>
                    <a:pt x="84032" y="1064603"/>
                  </a:moveTo>
                  <a:cubicBezTo>
                    <a:pt x="80793" y="1053299"/>
                    <a:pt x="84724" y="1049439"/>
                    <a:pt x="95886" y="1053023"/>
                  </a:cubicBezTo>
                  <a:cubicBezTo>
                    <a:pt x="99055" y="1064396"/>
                    <a:pt x="95063" y="1068187"/>
                    <a:pt x="84032" y="1064603"/>
                  </a:cubicBezTo>
                  <a:moveTo>
                    <a:pt x="104435" y="1079215"/>
                  </a:moveTo>
                  <a:cubicBezTo>
                    <a:pt x="100778" y="1068049"/>
                    <a:pt x="104572" y="1064120"/>
                    <a:pt x="115740" y="1067429"/>
                  </a:cubicBezTo>
                  <a:cubicBezTo>
                    <a:pt x="119391" y="1078663"/>
                    <a:pt x="115603" y="1082592"/>
                    <a:pt x="104435" y="1079215"/>
                  </a:cubicBezTo>
                  <a:moveTo>
                    <a:pt x="85895" y="1078939"/>
                  </a:moveTo>
                  <a:cubicBezTo>
                    <a:pt x="89616" y="1075148"/>
                    <a:pt x="89616" y="1075148"/>
                    <a:pt x="85895" y="1078939"/>
                  </a:cubicBezTo>
                  <a:moveTo>
                    <a:pt x="71006" y="1078457"/>
                  </a:moveTo>
                  <a:cubicBezTo>
                    <a:pt x="74800" y="1074528"/>
                    <a:pt x="74800" y="1074528"/>
                    <a:pt x="71006" y="1078457"/>
                  </a:cubicBezTo>
                  <a:moveTo>
                    <a:pt x="118772" y="1147795"/>
                  </a:moveTo>
                  <a:cubicBezTo>
                    <a:pt x="114774" y="1136560"/>
                    <a:pt x="118357" y="1132494"/>
                    <a:pt x="129455" y="1135733"/>
                  </a:cubicBezTo>
                  <a:cubicBezTo>
                    <a:pt x="133518" y="1147037"/>
                    <a:pt x="129934" y="1151103"/>
                    <a:pt x="118772" y="1147795"/>
                  </a:cubicBezTo>
                  <a:moveTo>
                    <a:pt x="123252" y="1223819"/>
                  </a:moveTo>
                  <a:cubicBezTo>
                    <a:pt x="122974" y="1208311"/>
                    <a:pt x="134831" y="1198041"/>
                    <a:pt x="144619" y="1187771"/>
                  </a:cubicBezTo>
                  <a:cubicBezTo>
                    <a:pt x="144411" y="1203417"/>
                    <a:pt x="144481" y="1218994"/>
                    <a:pt x="145442" y="1234502"/>
                  </a:cubicBezTo>
                  <a:cubicBezTo>
                    <a:pt x="138071" y="1230918"/>
                    <a:pt x="130696" y="1227334"/>
                    <a:pt x="123252" y="1223819"/>
                  </a:cubicBezTo>
                  <a:moveTo>
                    <a:pt x="65493" y="1305770"/>
                  </a:moveTo>
                  <a:cubicBezTo>
                    <a:pt x="61287" y="1297086"/>
                    <a:pt x="76587" y="1291158"/>
                    <a:pt x="82239" y="1296948"/>
                  </a:cubicBezTo>
                  <a:cubicBezTo>
                    <a:pt x="87341" y="1306115"/>
                    <a:pt x="71144" y="1312387"/>
                    <a:pt x="65493" y="1305770"/>
                  </a:cubicBezTo>
                  <a:moveTo>
                    <a:pt x="103883" y="1339681"/>
                  </a:moveTo>
                  <a:cubicBezTo>
                    <a:pt x="93681" y="1318521"/>
                    <a:pt x="126625" y="1339612"/>
                    <a:pt x="103883" y="1339681"/>
                  </a:cubicBezTo>
                  <a:moveTo>
                    <a:pt x="67697" y="1356843"/>
                  </a:moveTo>
                  <a:cubicBezTo>
                    <a:pt x="72110" y="1364838"/>
                    <a:pt x="71970" y="1372696"/>
                    <a:pt x="67283" y="1380415"/>
                  </a:cubicBezTo>
                  <a:cubicBezTo>
                    <a:pt x="55361" y="1382414"/>
                    <a:pt x="54669" y="1352156"/>
                    <a:pt x="67697" y="1356843"/>
                  </a:cubicBezTo>
                  <a:moveTo>
                    <a:pt x="116082" y="1409639"/>
                  </a:moveTo>
                  <a:cubicBezTo>
                    <a:pt x="108226" y="1399990"/>
                    <a:pt x="98988" y="1391581"/>
                    <a:pt x="90308" y="1382759"/>
                  </a:cubicBezTo>
                  <a:cubicBezTo>
                    <a:pt x="90995" y="1373523"/>
                    <a:pt x="103331" y="1374143"/>
                    <a:pt x="109394" y="1369870"/>
                  </a:cubicBezTo>
                  <a:cubicBezTo>
                    <a:pt x="109327" y="1378417"/>
                    <a:pt x="109120" y="1386963"/>
                    <a:pt x="108842" y="1395441"/>
                  </a:cubicBezTo>
                  <a:cubicBezTo>
                    <a:pt x="121324" y="1393442"/>
                    <a:pt x="130419" y="1400404"/>
                    <a:pt x="138208" y="1409019"/>
                  </a:cubicBezTo>
                  <a:cubicBezTo>
                    <a:pt x="133386" y="1410604"/>
                    <a:pt x="123871" y="1413913"/>
                    <a:pt x="119049" y="1415498"/>
                  </a:cubicBezTo>
                  <a:cubicBezTo>
                    <a:pt x="119323" y="1419289"/>
                    <a:pt x="119733" y="1426871"/>
                    <a:pt x="120010" y="1430661"/>
                  </a:cubicBezTo>
                  <a:cubicBezTo>
                    <a:pt x="108985" y="1425837"/>
                    <a:pt x="104225" y="1419013"/>
                    <a:pt x="116082" y="1409639"/>
                  </a:cubicBezTo>
                  <a:moveTo>
                    <a:pt x="51293" y="1436796"/>
                  </a:moveTo>
                  <a:cubicBezTo>
                    <a:pt x="54739" y="1433074"/>
                    <a:pt x="54739" y="1433074"/>
                    <a:pt x="51293" y="1436796"/>
                  </a:cubicBezTo>
                  <a:moveTo>
                    <a:pt x="139931" y="1463745"/>
                  </a:moveTo>
                  <a:cubicBezTo>
                    <a:pt x="133865" y="1455336"/>
                    <a:pt x="135381" y="1450305"/>
                    <a:pt x="144481" y="1448651"/>
                  </a:cubicBezTo>
                  <a:cubicBezTo>
                    <a:pt x="150612" y="1457129"/>
                    <a:pt x="149099" y="1462160"/>
                    <a:pt x="139931" y="1463745"/>
                  </a:cubicBezTo>
                  <a:moveTo>
                    <a:pt x="111602" y="1463745"/>
                  </a:moveTo>
                  <a:cubicBezTo>
                    <a:pt x="104225" y="1461195"/>
                    <a:pt x="101608" y="1445205"/>
                    <a:pt x="111257" y="1444377"/>
                  </a:cubicBezTo>
                  <a:cubicBezTo>
                    <a:pt x="119596" y="1446307"/>
                    <a:pt x="121940" y="1463745"/>
                    <a:pt x="111602" y="1463745"/>
                  </a:cubicBezTo>
                  <a:moveTo>
                    <a:pt x="85139" y="1518747"/>
                  </a:moveTo>
                  <a:cubicBezTo>
                    <a:pt x="79140" y="1510476"/>
                    <a:pt x="80726" y="1505307"/>
                    <a:pt x="89756" y="1503308"/>
                  </a:cubicBezTo>
                  <a:cubicBezTo>
                    <a:pt x="95749" y="1511648"/>
                    <a:pt x="94233" y="1516817"/>
                    <a:pt x="85139" y="1518747"/>
                  </a:cubicBezTo>
                  <a:moveTo>
                    <a:pt x="110294" y="1508960"/>
                  </a:moveTo>
                  <a:cubicBezTo>
                    <a:pt x="107948" y="1505789"/>
                    <a:pt x="103264" y="1499517"/>
                    <a:pt x="100852" y="1496416"/>
                  </a:cubicBezTo>
                  <a:cubicBezTo>
                    <a:pt x="101885" y="1493727"/>
                    <a:pt x="103950" y="1488420"/>
                    <a:pt x="104987" y="1485732"/>
                  </a:cubicBezTo>
                  <a:cubicBezTo>
                    <a:pt x="105743" y="1496140"/>
                    <a:pt x="113117" y="1504411"/>
                    <a:pt x="123526" y="1505583"/>
                  </a:cubicBezTo>
                  <a:cubicBezTo>
                    <a:pt x="123664" y="1499310"/>
                    <a:pt x="121803" y="1493521"/>
                    <a:pt x="117942" y="1488282"/>
                  </a:cubicBezTo>
                  <a:lnTo>
                    <a:pt x="129040" y="1495450"/>
                  </a:lnTo>
                  <a:cubicBezTo>
                    <a:pt x="129248" y="1491660"/>
                    <a:pt x="129592" y="1484078"/>
                    <a:pt x="129797" y="1480287"/>
                  </a:cubicBezTo>
                  <a:cubicBezTo>
                    <a:pt x="131111" y="1487455"/>
                    <a:pt x="132279" y="1494555"/>
                    <a:pt x="133518" y="1501654"/>
                  </a:cubicBezTo>
                  <a:cubicBezTo>
                    <a:pt x="128625" y="1510131"/>
                    <a:pt x="127250" y="1518885"/>
                    <a:pt x="129455" y="1527914"/>
                  </a:cubicBezTo>
                  <a:cubicBezTo>
                    <a:pt x="124560" y="1520126"/>
                    <a:pt x="117878" y="1514060"/>
                    <a:pt x="110294" y="1508960"/>
                  </a:cubicBezTo>
                  <a:moveTo>
                    <a:pt x="84791" y="1564513"/>
                  </a:moveTo>
                  <a:cubicBezTo>
                    <a:pt x="82724" y="1555967"/>
                    <a:pt x="80930" y="1547420"/>
                    <a:pt x="79417" y="1538735"/>
                  </a:cubicBezTo>
                  <a:cubicBezTo>
                    <a:pt x="77210" y="1538391"/>
                    <a:pt x="72799" y="1537701"/>
                    <a:pt x="70662" y="1537357"/>
                  </a:cubicBezTo>
                  <a:cubicBezTo>
                    <a:pt x="81208" y="1533842"/>
                    <a:pt x="91821" y="1530671"/>
                    <a:pt x="102575" y="1527707"/>
                  </a:cubicBezTo>
                  <a:cubicBezTo>
                    <a:pt x="100647" y="1537426"/>
                    <a:pt x="98781" y="1547075"/>
                    <a:pt x="96853" y="1556724"/>
                  </a:cubicBezTo>
                  <a:cubicBezTo>
                    <a:pt x="107466" y="1552796"/>
                    <a:pt x="122837" y="1536392"/>
                    <a:pt x="131795" y="1551417"/>
                  </a:cubicBezTo>
                  <a:cubicBezTo>
                    <a:pt x="114563" y="1549832"/>
                    <a:pt x="101056" y="1561825"/>
                    <a:pt x="84791" y="1564513"/>
                  </a:cubicBezTo>
                  <a:moveTo>
                    <a:pt x="69695" y="1587051"/>
                  </a:moveTo>
                  <a:cubicBezTo>
                    <a:pt x="63977" y="1580228"/>
                    <a:pt x="73624" y="1566787"/>
                    <a:pt x="81757" y="1571337"/>
                  </a:cubicBezTo>
                  <a:cubicBezTo>
                    <a:pt x="86862" y="1578229"/>
                    <a:pt x="77826" y="1591256"/>
                    <a:pt x="69695" y="1587051"/>
                  </a:cubicBezTo>
                  <a:moveTo>
                    <a:pt x="106088" y="1596494"/>
                  </a:moveTo>
                  <a:cubicBezTo>
                    <a:pt x="102227" y="1585053"/>
                    <a:pt x="105880" y="1581193"/>
                    <a:pt x="116979" y="1585053"/>
                  </a:cubicBezTo>
                  <a:cubicBezTo>
                    <a:pt x="120772" y="1596494"/>
                    <a:pt x="117186" y="1600354"/>
                    <a:pt x="106088" y="1596494"/>
                  </a:cubicBezTo>
                  <a:moveTo>
                    <a:pt x="50262" y="1623237"/>
                  </a:moveTo>
                  <a:cubicBezTo>
                    <a:pt x="38819" y="1603042"/>
                    <a:pt x="73004" y="1621307"/>
                    <a:pt x="50262" y="1623237"/>
                  </a:cubicBezTo>
                  <a:moveTo>
                    <a:pt x="48538" y="1681616"/>
                  </a:moveTo>
                  <a:lnTo>
                    <a:pt x="60737" y="1682719"/>
                  </a:lnTo>
                  <a:cubicBezTo>
                    <a:pt x="59497" y="1678514"/>
                    <a:pt x="57017" y="1670037"/>
                    <a:pt x="55773" y="1665763"/>
                  </a:cubicBezTo>
                  <a:cubicBezTo>
                    <a:pt x="60186" y="1665625"/>
                    <a:pt x="68939" y="1665281"/>
                    <a:pt x="73349" y="1665143"/>
                  </a:cubicBezTo>
                  <a:cubicBezTo>
                    <a:pt x="71763" y="1662386"/>
                    <a:pt x="68594" y="1656872"/>
                    <a:pt x="67008" y="1654046"/>
                  </a:cubicBezTo>
                  <a:cubicBezTo>
                    <a:pt x="71418" y="1650255"/>
                    <a:pt x="75831" y="1646395"/>
                    <a:pt x="80311" y="1642536"/>
                  </a:cubicBezTo>
                  <a:cubicBezTo>
                    <a:pt x="79417" y="1637160"/>
                    <a:pt x="78588" y="1631784"/>
                    <a:pt x="77762" y="1626407"/>
                  </a:cubicBezTo>
                  <a:lnTo>
                    <a:pt x="83895" y="1623375"/>
                  </a:lnTo>
                  <a:cubicBezTo>
                    <a:pt x="81482" y="1620135"/>
                    <a:pt x="76655" y="1613656"/>
                    <a:pt x="74248" y="1610417"/>
                  </a:cubicBezTo>
                  <a:cubicBezTo>
                    <a:pt x="81208" y="1604489"/>
                    <a:pt x="88033" y="1604351"/>
                    <a:pt x="94648" y="1609865"/>
                  </a:cubicBezTo>
                  <a:lnTo>
                    <a:pt x="99332" y="1613932"/>
                  </a:lnTo>
                  <a:cubicBezTo>
                    <a:pt x="97265" y="1623581"/>
                    <a:pt x="94715" y="1633024"/>
                    <a:pt x="92163" y="1642467"/>
                  </a:cubicBezTo>
                  <a:cubicBezTo>
                    <a:pt x="94026" y="1643432"/>
                    <a:pt x="97817" y="1645224"/>
                    <a:pt x="99680" y="1646120"/>
                  </a:cubicBezTo>
                  <a:cubicBezTo>
                    <a:pt x="109052" y="1638124"/>
                    <a:pt x="111809" y="1626890"/>
                    <a:pt x="109052" y="1615104"/>
                  </a:cubicBezTo>
                  <a:cubicBezTo>
                    <a:pt x="118909" y="1614690"/>
                    <a:pt x="128763" y="1613519"/>
                    <a:pt x="136070" y="1606075"/>
                  </a:cubicBezTo>
                  <a:cubicBezTo>
                    <a:pt x="126558" y="1595116"/>
                    <a:pt x="124493" y="1580641"/>
                    <a:pt x="121182" y="1567063"/>
                  </a:cubicBezTo>
                  <a:cubicBezTo>
                    <a:pt x="126079" y="1568097"/>
                    <a:pt x="135933" y="1570165"/>
                    <a:pt x="140825" y="1571199"/>
                  </a:cubicBezTo>
                  <a:lnTo>
                    <a:pt x="130419" y="1571337"/>
                  </a:lnTo>
                  <a:cubicBezTo>
                    <a:pt x="130419" y="1579263"/>
                    <a:pt x="130486" y="1587120"/>
                    <a:pt x="130696" y="1594978"/>
                  </a:cubicBezTo>
                  <a:lnTo>
                    <a:pt x="146409" y="1594633"/>
                  </a:lnTo>
                  <a:cubicBezTo>
                    <a:pt x="147580" y="1526811"/>
                    <a:pt x="157367" y="1459265"/>
                    <a:pt x="157714" y="1391650"/>
                  </a:cubicBezTo>
                  <a:cubicBezTo>
                    <a:pt x="155713" y="1391857"/>
                    <a:pt x="151648" y="1392339"/>
                    <a:pt x="149650" y="1392546"/>
                  </a:cubicBezTo>
                  <a:cubicBezTo>
                    <a:pt x="146893" y="1382966"/>
                    <a:pt x="144271" y="1373178"/>
                    <a:pt x="141587" y="1363529"/>
                  </a:cubicBezTo>
                  <a:cubicBezTo>
                    <a:pt x="145653" y="1369939"/>
                    <a:pt x="149788" y="1376280"/>
                    <a:pt x="154063" y="1382552"/>
                  </a:cubicBezTo>
                  <a:lnTo>
                    <a:pt x="157437" y="1382483"/>
                  </a:lnTo>
                  <a:cubicBezTo>
                    <a:pt x="162469" y="1368698"/>
                    <a:pt x="161227" y="1353190"/>
                    <a:pt x="161365" y="1338647"/>
                  </a:cubicBezTo>
                  <a:cubicBezTo>
                    <a:pt x="148065" y="1331410"/>
                    <a:pt x="136485" y="1346780"/>
                    <a:pt x="122974" y="1346711"/>
                  </a:cubicBezTo>
                  <a:cubicBezTo>
                    <a:pt x="123319" y="1354569"/>
                    <a:pt x="124697" y="1362150"/>
                    <a:pt x="127040" y="1369594"/>
                  </a:cubicBezTo>
                  <a:cubicBezTo>
                    <a:pt x="125317" y="1371248"/>
                    <a:pt x="121940" y="1374488"/>
                    <a:pt x="120217" y="1376142"/>
                  </a:cubicBezTo>
                  <a:cubicBezTo>
                    <a:pt x="121388" y="1355534"/>
                    <a:pt x="121529" y="1334856"/>
                    <a:pt x="120772" y="1314248"/>
                  </a:cubicBezTo>
                  <a:lnTo>
                    <a:pt x="110912" y="1313972"/>
                  </a:lnTo>
                  <a:lnTo>
                    <a:pt x="110571" y="1308458"/>
                  </a:lnTo>
                  <a:cubicBezTo>
                    <a:pt x="135588" y="1323277"/>
                    <a:pt x="135725" y="1287643"/>
                    <a:pt x="140825" y="1272204"/>
                  </a:cubicBezTo>
                  <a:cubicBezTo>
                    <a:pt x="141310" y="1292123"/>
                    <a:pt x="143515" y="1312662"/>
                    <a:pt x="136003" y="1331548"/>
                  </a:cubicBezTo>
                  <a:cubicBezTo>
                    <a:pt x="151648" y="1335752"/>
                    <a:pt x="161987" y="1331203"/>
                    <a:pt x="167086" y="1318108"/>
                  </a:cubicBezTo>
                  <a:cubicBezTo>
                    <a:pt x="162811" y="1317212"/>
                    <a:pt x="154195" y="1315419"/>
                    <a:pt x="149855" y="1314523"/>
                  </a:cubicBezTo>
                  <a:lnTo>
                    <a:pt x="152267" y="1309285"/>
                  </a:lnTo>
                  <a:cubicBezTo>
                    <a:pt x="155302" y="1309630"/>
                    <a:pt x="161365" y="1310319"/>
                    <a:pt x="164329" y="1310664"/>
                  </a:cubicBezTo>
                  <a:cubicBezTo>
                    <a:pt x="164881" y="1305012"/>
                    <a:pt x="165847" y="1293846"/>
                    <a:pt x="166330" y="1288194"/>
                  </a:cubicBezTo>
                  <a:cubicBezTo>
                    <a:pt x="163573" y="1288608"/>
                    <a:pt x="157989" y="1289366"/>
                    <a:pt x="155161" y="1289711"/>
                  </a:cubicBezTo>
                  <a:cubicBezTo>
                    <a:pt x="155024" y="1285575"/>
                    <a:pt x="154680" y="1277166"/>
                    <a:pt x="154472" y="1272962"/>
                  </a:cubicBezTo>
                  <a:cubicBezTo>
                    <a:pt x="155161" y="1276064"/>
                    <a:pt x="156610" y="1282129"/>
                    <a:pt x="157367" y="1285162"/>
                  </a:cubicBezTo>
                  <a:lnTo>
                    <a:pt x="165778" y="1285575"/>
                  </a:lnTo>
                  <a:cubicBezTo>
                    <a:pt x="172118" y="1191493"/>
                    <a:pt x="176458" y="1097273"/>
                    <a:pt x="184250" y="1003329"/>
                  </a:cubicBezTo>
                  <a:cubicBezTo>
                    <a:pt x="177562" y="999331"/>
                    <a:pt x="169636" y="1000434"/>
                    <a:pt x="162401" y="998642"/>
                  </a:cubicBezTo>
                  <a:cubicBezTo>
                    <a:pt x="170258" y="993197"/>
                    <a:pt x="178666" y="988648"/>
                    <a:pt x="187697" y="985064"/>
                  </a:cubicBezTo>
                  <a:cubicBezTo>
                    <a:pt x="172533" y="976517"/>
                    <a:pt x="171774" y="973278"/>
                    <a:pt x="185351" y="975483"/>
                  </a:cubicBezTo>
                  <a:cubicBezTo>
                    <a:pt x="185973" y="957011"/>
                    <a:pt x="187282" y="938609"/>
                    <a:pt x="188868" y="920137"/>
                  </a:cubicBezTo>
                  <a:cubicBezTo>
                    <a:pt x="186318" y="916828"/>
                    <a:pt x="181355" y="910074"/>
                    <a:pt x="178874" y="906765"/>
                  </a:cubicBezTo>
                  <a:cubicBezTo>
                    <a:pt x="175012" y="910901"/>
                    <a:pt x="171222" y="915036"/>
                    <a:pt x="167433" y="919172"/>
                  </a:cubicBezTo>
                  <a:cubicBezTo>
                    <a:pt x="157714" y="910005"/>
                    <a:pt x="134899" y="898012"/>
                    <a:pt x="145994" y="881884"/>
                  </a:cubicBezTo>
                  <a:cubicBezTo>
                    <a:pt x="159919" y="890017"/>
                    <a:pt x="175083" y="895324"/>
                    <a:pt x="190795" y="898839"/>
                  </a:cubicBezTo>
                  <a:cubicBezTo>
                    <a:pt x="189282" y="869615"/>
                    <a:pt x="197273" y="840046"/>
                    <a:pt x="192933" y="811167"/>
                  </a:cubicBezTo>
                  <a:cubicBezTo>
                    <a:pt x="183283" y="805308"/>
                    <a:pt x="170810" y="813373"/>
                    <a:pt x="161850" y="807100"/>
                  </a:cubicBezTo>
                  <a:cubicBezTo>
                    <a:pt x="158126" y="802276"/>
                    <a:pt x="154887" y="797106"/>
                    <a:pt x="152198" y="791523"/>
                  </a:cubicBezTo>
                  <a:cubicBezTo>
                    <a:pt x="166052" y="795176"/>
                    <a:pt x="177977" y="808548"/>
                    <a:pt x="193070" y="804206"/>
                  </a:cubicBezTo>
                  <a:cubicBezTo>
                    <a:pt x="210234" y="787801"/>
                    <a:pt x="186382" y="782563"/>
                    <a:pt x="173426" y="783252"/>
                  </a:cubicBezTo>
                  <a:cubicBezTo>
                    <a:pt x="175287" y="774499"/>
                    <a:pt x="177011" y="765677"/>
                    <a:pt x="178734" y="756854"/>
                  </a:cubicBezTo>
                  <a:cubicBezTo>
                    <a:pt x="185351" y="758577"/>
                    <a:pt x="191966" y="760301"/>
                    <a:pt x="198587" y="761886"/>
                  </a:cubicBezTo>
                  <a:cubicBezTo>
                    <a:pt x="199481" y="745620"/>
                    <a:pt x="200514" y="729284"/>
                    <a:pt x="201759" y="712949"/>
                  </a:cubicBezTo>
                  <a:cubicBezTo>
                    <a:pt x="192177" y="704678"/>
                    <a:pt x="182664" y="696338"/>
                    <a:pt x="172945" y="688274"/>
                  </a:cubicBezTo>
                  <a:cubicBezTo>
                    <a:pt x="182804" y="689308"/>
                    <a:pt x="193070" y="694478"/>
                    <a:pt x="202927" y="692134"/>
                  </a:cubicBezTo>
                  <a:cubicBezTo>
                    <a:pt x="204580" y="669389"/>
                    <a:pt x="204650" y="646506"/>
                    <a:pt x="207337" y="623830"/>
                  </a:cubicBezTo>
                  <a:cubicBezTo>
                    <a:pt x="206099" y="621280"/>
                    <a:pt x="203619" y="616110"/>
                    <a:pt x="202375" y="613560"/>
                  </a:cubicBezTo>
                  <a:cubicBezTo>
                    <a:pt x="206581" y="604255"/>
                    <a:pt x="209819" y="594399"/>
                    <a:pt x="209819" y="583991"/>
                  </a:cubicBezTo>
                  <a:cubicBezTo>
                    <a:pt x="212713" y="526301"/>
                    <a:pt x="217676" y="468680"/>
                    <a:pt x="219813" y="410922"/>
                  </a:cubicBezTo>
                  <a:cubicBezTo>
                    <a:pt x="207474" y="420364"/>
                    <a:pt x="198517" y="432909"/>
                    <a:pt x="189624" y="445384"/>
                  </a:cubicBezTo>
                  <a:cubicBezTo>
                    <a:pt x="189697" y="441800"/>
                    <a:pt x="189834" y="434632"/>
                    <a:pt x="189901" y="431048"/>
                  </a:cubicBezTo>
                  <a:cubicBezTo>
                    <a:pt x="186251" y="430772"/>
                    <a:pt x="178943" y="430152"/>
                    <a:pt x="175287" y="429876"/>
                  </a:cubicBezTo>
                  <a:cubicBezTo>
                    <a:pt x="175497" y="420089"/>
                    <a:pt x="175564" y="410163"/>
                    <a:pt x="175772" y="400238"/>
                  </a:cubicBezTo>
                  <a:cubicBezTo>
                    <a:pt x="180526" y="411887"/>
                    <a:pt x="186040" y="423121"/>
                    <a:pt x="192177" y="434011"/>
                  </a:cubicBezTo>
                  <a:cubicBezTo>
                    <a:pt x="196242" y="426430"/>
                    <a:pt x="198450" y="418228"/>
                    <a:pt x="198722" y="409474"/>
                  </a:cubicBezTo>
                  <a:cubicBezTo>
                    <a:pt x="177288" y="410232"/>
                    <a:pt x="182527" y="379837"/>
                    <a:pt x="173774" y="365914"/>
                  </a:cubicBezTo>
                  <a:cubicBezTo>
                    <a:pt x="178251" y="365500"/>
                    <a:pt x="187211" y="364811"/>
                    <a:pt x="191762" y="364397"/>
                  </a:cubicBezTo>
                  <a:cubicBezTo>
                    <a:pt x="190658" y="373151"/>
                    <a:pt x="189624" y="381698"/>
                    <a:pt x="188316" y="390313"/>
                  </a:cubicBezTo>
                  <a:cubicBezTo>
                    <a:pt x="191966" y="396172"/>
                    <a:pt x="195690" y="401893"/>
                    <a:pt x="199481" y="407544"/>
                  </a:cubicBezTo>
                  <a:cubicBezTo>
                    <a:pt x="200240" y="395758"/>
                    <a:pt x="198864" y="384179"/>
                    <a:pt x="195276" y="372875"/>
                  </a:cubicBezTo>
                  <a:cubicBezTo>
                    <a:pt x="199069" y="370670"/>
                    <a:pt x="206651" y="366190"/>
                    <a:pt x="210511" y="363984"/>
                  </a:cubicBezTo>
                  <a:cubicBezTo>
                    <a:pt x="213747" y="365638"/>
                    <a:pt x="220298" y="368878"/>
                    <a:pt x="223535" y="370532"/>
                  </a:cubicBezTo>
                  <a:cubicBezTo>
                    <a:pt x="222226" y="356471"/>
                    <a:pt x="219194" y="342617"/>
                    <a:pt x="216367" y="328763"/>
                  </a:cubicBezTo>
                  <a:cubicBezTo>
                    <a:pt x="202857" y="324973"/>
                    <a:pt x="183420" y="318011"/>
                    <a:pt x="192728" y="300229"/>
                  </a:cubicBezTo>
                  <a:cubicBezTo>
                    <a:pt x="202375" y="311050"/>
                    <a:pt x="212302" y="321526"/>
                    <a:pt x="223193" y="331107"/>
                  </a:cubicBezTo>
                  <a:cubicBezTo>
                    <a:pt x="228222" y="310981"/>
                    <a:pt x="225950" y="290235"/>
                    <a:pt x="226087" y="269764"/>
                  </a:cubicBezTo>
                  <a:cubicBezTo>
                    <a:pt x="203619" y="277208"/>
                    <a:pt x="215748" y="255979"/>
                    <a:pt x="222021" y="246054"/>
                  </a:cubicBezTo>
                  <a:cubicBezTo>
                    <a:pt x="223330" y="236542"/>
                    <a:pt x="224775" y="226893"/>
                    <a:pt x="226706" y="217381"/>
                  </a:cubicBezTo>
                  <a:cubicBezTo>
                    <a:pt x="225742" y="215038"/>
                    <a:pt x="223812" y="210282"/>
                    <a:pt x="222915" y="207939"/>
                  </a:cubicBezTo>
                  <a:cubicBezTo>
                    <a:pt x="239594" y="210420"/>
                    <a:pt x="237734" y="189329"/>
                    <a:pt x="244352" y="179266"/>
                  </a:cubicBezTo>
                  <a:cubicBezTo>
                    <a:pt x="237252" y="177129"/>
                    <a:pt x="223052" y="172856"/>
                    <a:pt x="215953" y="170719"/>
                  </a:cubicBezTo>
                  <a:cubicBezTo>
                    <a:pt x="216096" y="176578"/>
                    <a:pt x="216367" y="188364"/>
                    <a:pt x="216504" y="194223"/>
                  </a:cubicBezTo>
                  <a:cubicBezTo>
                    <a:pt x="211613" y="198082"/>
                    <a:pt x="206718" y="201873"/>
                    <a:pt x="201826" y="205664"/>
                  </a:cubicBezTo>
                  <a:cubicBezTo>
                    <a:pt x="212439" y="195601"/>
                    <a:pt x="213747" y="182505"/>
                    <a:pt x="210442" y="168514"/>
                  </a:cubicBezTo>
                  <a:cubicBezTo>
                    <a:pt x="206443" y="172029"/>
                    <a:pt x="198517" y="179059"/>
                    <a:pt x="194589" y="182574"/>
                  </a:cubicBezTo>
                  <a:cubicBezTo>
                    <a:pt x="201344" y="159485"/>
                    <a:pt x="204098" y="135499"/>
                    <a:pt x="205272" y="111513"/>
                  </a:cubicBezTo>
                  <a:cubicBezTo>
                    <a:pt x="213888" y="105586"/>
                    <a:pt x="223052" y="100278"/>
                    <a:pt x="232775" y="96350"/>
                  </a:cubicBezTo>
                  <a:cubicBezTo>
                    <a:pt x="231668" y="107446"/>
                    <a:pt x="229603" y="118405"/>
                    <a:pt x="224711" y="128469"/>
                  </a:cubicBezTo>
                  <a:cubicBezTo>
                    <a:pt x="225535" y="122541"/>
                    <a:pt x="227258" y="110686"/>
                    <a:pt x="228084" y="104758"/>
                  </a:cubicBezTo>
                  <a:cubicBezTo>
                    <a:pt x="210648" y="108756"/>
                    <a:pt x="205272" y="128124"/>
                    <a:pt x="218850" y="138256"/>
                  </a:cubicBezTo>
                  <a:cubicBezTo>
                    <a:pt x="202305" y="142529"/>
                    <a:pt x="213680" y="155900"/>
                    <a:pt x="219194" y="164447"/>
                  </a:cubicBezTo>
                  <a:cubicBezTo>
                    <a:pt x="227258" y="173338"/>
                    <a:pt x="239252" y="177681"/>
                    <a:pt x="251104" y="174028"/>
                  </a:cubicBezTo>
                  <a:cubicBezTo>
                    <a:pt x="248487" y="166170"/>
                    <a:pt x="240219" y="157210"/>
                    <a:pt x="248692" y="149904"/>
                  </a:cubicBezTo>
                  <a:cubicBezTo>
                    <a:pt x="257859" y="161414"/>
                    <a:pt x="261857" y="160587"/>
                    <a:pt x="260549" y="147285"/>
                  </a:cubicBezTo>
                  <a:cubicBezTo>
                    <a:pt x="288052" y="136808"/>
                    <a:pt x="312932" y="117165"/>
                    <a:pt x="343878" y="119370"/>
                  </a:cubicBezTo>
                  <a:cubicBezTo>
                    <a:pt x="348291" y="114201"/>
                    <a:pt x="352216" y="108687"/>
                    <a:pt x="356284" y="103242"/>
                  </a:cubicBezTo>
                  <a:cubicBezTo>
                    <a:pt x="357523" y="107929"/>
                    <a:pt x="359938" y="117303"/>
                    <a:pt x="361109" y="121990"/>
                  </a:cubicBezTo>
                  <a:lnTo>
                    <a:pt x="369862" y="116545"/>
                  </a:lnTo>
                  <a:lnTo>
                    <a:pt x="371932" y="107171"/>
                  </a:lnTo>
                  <a:lnTo>
                    <a:pt x="377995" y="107102"/>
                  </a:lnTo>
                  <a:cubicBezTo>
                    <a:pt x="377648" y="110548"/>
                    <a:pt x="376962" y="117372"/>
                    <a:pt x="376687" y="120818"/>
                  </a:cubicBezTo>
                  <a:cubicBezTo>
                    <a:pt x="412873" y="123023"/>
                    <a:pt x="449057" y="124884"/>
                    <a:pt x="485174" y="127848"/>
                  </a:cubicBezTo>
                  <a:cubicBezTo>
                    <a:pt x="485174" y="123506"/>
                    <a:pt x="485036" y="114821"/>
                    <a:pt x="484967" y="110479"/>
                  </a:cubicBezTo>
                  <a:cubicBezTo>
                    <a:pt x="490274" y="108136"/>
                    <a:pt x="495582" y="105654"/>
                    <a:pt x="500889" y="103173"/>
                  </a:cubicBezTo>
                  <a:lnTo>
                    <a:pt x="502267" y="105999"/>
                  </a:lnTo>
                  <a:cubicBezTo>
                    <a:pt x="498132" y="107446"/>
                    <a:pt x="489930" y="110272"/>
                    <a:pt x="485794" y="111720"/>
                  </a:cubicBezTo>
                  <a:cubicBezTo>
                    <a:pt x="489309" y="117303"/>
                    <a:pt x="492825" y="122817"/>
                    <a:pt x="496340" y="128262"/>
                  </a:cubicBezTo>
                  <a:cubicBezTo>
                    <a:pt x="528459" y="128675"/>
                    <a:pt x="560646" y="134947"/>
                    <a:pt x="592696" y="132053"/>
                  </a:cubicBezTo>
                  <a:cubicBezTo>
                    <a:pt x="593868" y="128606"/>
                    <a:pt x="596211" y="121714"/>
                    <a:pt x="597452" y="118199"/>
                  </a:cubicBezTo>
                  <a:cubicBezTo>
                    <a:pt x="600554" y="118888"/>
                    <a:pt x="606826" y="120266"/>
                    <a:pt x="609927" y="120956"/>
                  </a:cubicBezTo>
                  <a:cubicBezTo>
                    <a:pt x="610686" y="105792"/>
                    <a:pt x="618681" y="100830"/>
                    <a:pt x="632948" y="107171"/>
                  </a:cubicBezTo>
                  <a:lnTo>
                    <a:pt x="630191" y="97866"/>
                  </a:lnTo>
                  <a:cubicBezTo>
                    <a:pt x="634327" y="102760"/>
                    <a:pt x="638531" y="107584"/>
                    <a:pt x="642942" y="112133"/>
                  </a:cubicBezTo>
                  <a:lnTo>
                    <a:pt x="629157" y="108618"/>
                  </a:lnTo>
                  <a:lnTo>
                    <a:pt x="629847" y="128882"/>
                  </a:lnTo>
                  <a:cubicBezTo>
                    <a:pt x="628744" y="123299"/>
                    <a:pt x="626538" y="112064"/>
                    <a:pt x="625435" y="106482"/>
                  </a:cubicBezTo>
                  <a:cubicBezTo>
                    <a:pt x="623161" y="111375"/>
                    <a:pt x="618543" y="121162"/>
                    <a:pt x="616269" y="126056"/>
                  </a:cubicBezTo>
                  <a:cubicBezTo>
                    <a:pt x="609859" y="124540"/>
                    <a:pt x="603380" y="123023"/>
                    <a:pt x="596970" y="121438"/>
                  </a:cubicBezTo>
                  <a:cubicBezTo>
                    <a:pt x="598004" y="124471"/>
                    <a:pt x="600140" y="130398"/>
                    <a:pt x="601174" y="133431"/>
                  </a:cubicBezTo>
                  <a:cubicBezTo>
                    <a:pt x="651007" y="139428"/>
                    <a:pt x="701459" y="140599"/>
                    <a:pt x="751568" y="143839"/>
                  </a:cubicBezTo>
                  <a:cubicBezTo>
                    <a:pt x="760735" y="143770"/>
                    <a:pt x="769902" y="143563"/>
                    <a:pt x="779068" y="143218"/>
                  </a:cubicBezTo>
                  <a:cubicBezTo>
                    <a:pt x="777552" y="128606"/>
                    <a:pt x="776174" y="114063"/>
                    <a:pt x="775209" y="99382"/>
                  </a:cubicBezTo>
                  <a:cubicBezTo>
                    <a:pt x="792026" y="109997"/>
                    <a:pt x="785616" y="131432"/>
                    <a:pt x="788511" y="147629"/>
                  </a:cubicBezTo>
                  <a:cubicBezTo>
                    <a:pt x="812014" y="141013"/>
                    <a:pt x="816632" y="116476"/>
                    <a:pt x="824214" y="96556"/>
                  </a:cubicBezTo>
                  <a:cubicBezTo>
                    <a:pt x="823111" y="85873"/>
                    <a:pt x="822215" y="75190"/>
                    <a:pt x="821250" y="64437"/>
                  </a:cubicBezTo>
                  <a:cubicBezTo>
                    <a:pt x="825937" y="63679"/>
                    <a:pt x="835380" y="62163"/>
                    <a:pt x="840067" y="61336"/>
                  </a:cubicBezTo>
                  <a:cubicBezTo>
                    <a:pt x="837379" y="83599"/>
                    <a:pt x="832278" y="105586"/>
                    <a:pt x="832347" y="127986"/>
                  </a:cubicBezTo>
                  <a:cubicBezTo>
                    <a:pt x="829383" y="129847"/>
                    <a:pt x="823456" y="133500"/>
                    <a:pt x="820492" y="135292"/>
                  </a:cubicBezTo>
                  <a:cubicBezTo>
                    <a:pt x="822077" y="138600"/>
                    <a:pt x="825317" y="145286"/>
                    <a:pt x="826971" y="148663"/>
                  </a:cubicBezTo>
                  <a:cubicBezTo>
                    <a:pt x="833381" y="149146"/>
                    <a:pt x="846201" y="150111"/>
                    <a:pt x="852611" y="150662"/>
                  </a:cubicBezTo>
                  <a:cubicBezTo>
                    <a:pt x="852060" y="139083"/>
                    <a:pt x="852266" y="127435"/>
                    <a:pt x="854472" y="116062"/>
                  </a:cubicBezTo>
                  <a:cubicBezTo>
                    <a:pt x="849096" y="116545"/>
                    <a:pt x="838206" y="117578"/>
                    <a:pt x="832761" y="118130"/>
                  </a:cubicBezTo>
                  <a:cubicBezTo>
                    <a:pt x="839791" y="108756"/>
                    <a:pt x="847028" y="99520"/>
                    <a:pt x="854472" y="90353"/>
                  </a:cubicBezTo>
                  <a:cubicBezTo>
                    <a:pt x="852818" y="84288"/>
                    <a:pt x="851164" y="78154"/>
                    <a:pt x="849509" y="72019"/>
                  </a:cubicBezTo>
                  <a:cubicBezTo>
                    <a:pt x="858056" y="71744"/>
                    <a:pt x="866603" y="71399"/>
                    <a:pt x="875149" y="71123"/>
                  </a:cubicBezTo>
                  <a:cubicBezTo>
                    <a:pt x="875218" y="63817"/>
                    <a:pt x="875287" y="56511"/>
                    <a:pt x="875287" y="49136"/>
                  </a:cubicBezTo>
                  <a:cubicBezTo>
                    <a:pt x="871841" y="48792"/>
                    <a:pt x="865018" y="48171"/>
                    <a:pt x="861640" y="47827"/>
                  </a:cubicBezTo>
                  <a:cubicBezTo>
                    <a:pt x="867154" y="47758"/>
                    <a:pt x="878320" y="47551"/>
                    <a:pt x="883834" y="47482"/>
                  </a:cubicBezTo>
                  <a:cubicBezTo>
                    <a:pt x="882455" y="45414"/>
                    <a:pt x="879561" y="41348"/>
                    <a:pt x="878182" y="39349"/>
                  </a:cubicBezTo>
                  <a:cubicBezTo>
                    <a:pt x="872117" y="35972"/>
                    <a:pt x="866120" y="32457"/>
                    <a:pt x="860193" y="28872"/>
                  </a:cubicBezTo>
                  <a:cubicBezTo>
                    <a:pt x="853094" y="28252"/>
                    <a:pt x="846063" y="27632"/>
                    <a:pt x="839033" y="26943"/>
                  </a:cubicBezTo>
                  <a:cubicBezTo>
                    <a:pt x="838619" y="29906"/>
                    <a:pt x="837861" y="35834"/>
                    <a:pt x="837448" y="38729"/>
                  </a:cubicBezTo>
                  <a:cubicBezTo>
                    <a:pt x="837517" y="35489"/>
                    <a:pt x="837654" y="28872"/>
                    <a:pt x="837723" y="25564"/>
                  </a:cubicBezTo>
                  <a:cubicBezTo>
                    <a:pt x="827523" y="26047"/>
                    <a:pt x="817391" y="26529"/>
                    <a:pt x="807259" y="26943"/>
                  </a:cubicBezTo>
                  <a:cubicBezTo>
                    <a:pt x="808086" y="30940"/>
                    <a:pt x="809602" y="39004"/>
                    <a:pt x="810429" y="43002"/>
                  </a:cubicBezTo>
                  <a:lnTo>
                    <a:pt x="801814" y="43140"/>
                  </a:lnTo>
                  <a:cubicBezTo>
                    <a:pt x="801882" y="38315"/>
                    <a:pt x="802020" y="28528"/>
                    <a:pt x="802089" y="23634"/>
                  </a:cubicBezTo>
                  <a:cubicBezTo>
                    <a:pt x="781825" y="22393"/>
                    <a:pt x="761424" y="19912"/>
                    <a:pt x="741160" y="22669"/>
                  </a:cubicBezTo>
                  <a:cubicBezTo>
                    <a:pt x="702493" y="13778"/>
                    <a:pt x="662172" y="16466"/>
                    <a:pt x="622885" y="12606"/>
                  </a:cubicBezTo>
                  <a:cubicBezTo>
                    <a:pt x="632673" y="28114"/>
                    <a:pt x="631087" y="43829"/>
                    <a:pt x="623023" y="59613"/>
                  </a:cubicBezTo>
                  <a:cubicBezTo>
                    <a:pt x="621507" y="59130"/>
                    <a:pt x="618474" y="58303"/>
                    <a:pt x="616958" y="57890"/>
                  </a:cubicBezTo>
                  <a:cubicBezTo>
                    <a:pt x="617096" y="42520"/>
                    <a:pt x="621369" y="26874"/>
                    <a:pt x="616889" y="11779"/>
                  </a:cubicBezTo>
                  <a:cubicBezTo>
                    <a:pt x="606688" y="13364"/>
                    <a:pt x="596487" y="14054"/>
                    <a:pt x="586148" y="13847"/>
                  </a:cubicBezTo>
                  <a:cubicBezTo>
                    <a:pt x="587320" y="19430"/>
                    <a:pt x="589733" y="30733"/>
                    <a:pt x="590904" y="36316"/>
                  </a:cubicBezTo>
                  <a:cubicBezTo>
                    <a:pt x="589181" y="35765"/>
                    <a:pt x="585666" y="34662"/>
                    <a:pt x="583943" y="34111"/>
                  </a:cubicBezTo>
                  <a:lnTo>
                    <a:pt x="578567" y="31629"/>
                  </a:lnTo>
                  <a:lnTo>
                    <a:pt x="574500" y="29148"/>
                  </a:lnTo>
                  <a:cubicBezTo>
                    <a:pt x="576706" y="26736"/>
                    <a:pt x="581186" y="21980"/>
                    <a:pt x="583391" y="19568"/>
                  </a:cubicBezTo>
                  <a:lnTo>
                    <a:pt x="579945" y="10676"/>
                  </a:lnTo>
                  <a:cubicBezTo>
                    <a:pt x="562438" y="8402"/>
                    <a:pt x="544725" y="8746"/>
                    <a:pt x="527287" y="6472"/>
                  </a:cubicBezTo>
                  <a:lnTo>
                    <a:pt x="530457" y="17155"/>
                  </a:lnTo>
                  <a:cubicBezTo>
                    <a:pt x="529148" y="14674"/>
                    <a:pt x="526598" y="9711"/>
                    <a:pt x="525288" y="7230"/>
                  </a:cubicBezTo>
                  <a:cubicBezTo>
                    <a:pt x="496822" y="3301"/>
                    <a:pt x="467805" y="2061"/>
                    <a:pt x="439063" y="2612"/>
                  </a:cubicBezTo>
                  <a:cubicBezTo>
                    <a:pt x="438581" y="6334"/>
                    <a:pt x="437547" y="13847"/>
                    <a:pt x="437065" y="17569"/>
                  </a:cubicBezTo>
                  <a:cubicBezTo>
                    <a:pt x="434583" y="11848"/>
                    <a:pt x="432102" y="6058"/>
                    <a:pt x="429690" y="200"/>
                  </a:cubicBezTo>
                  <a:cubicBezTo>
                    <a:pt x="382338" y="-2626"/>
                    <a:pt x="334780" y="-7382"/>
                    <a:pt x="287914" y="2819"/>
                  </a:cubicBezTo>
                  <a:cubicBezTo>
                    <a:pt x="285914" y="6541"/>
                    <a:pt x="281779" y="14123"/>
                    <a:pt x="279778" y="17913"/>
                  </a:cubicBezTo>
                  <a:cubicBezTo>
                    <a:pt x="276813" y="14812"/>
                    <a:pt x="270958" y="8471"/>
                    <a:pt x="268061" y="5300"/>
                  </a:cubicBezTo>
                  <a:lnTo>
                    <a:pt x="265923" y="12744"/>
                  </a:lnTo>
                  <a:cubicBezTo>
                    <a:pt x="262962" y="24254"/>
                    <a:pt x="260824" y="35903"/>
                    <a:pt x="258548" y="47413"/>
                  </a:cubicBezTo>
                  <a:cubicBezTo>
                    <a:pt x="248143" y="40796"/>
                    <a:pt x="239320" y="32181"/>
                    <a:pt x="232498" y="21842"/>
                  </a:cubicBezTo>
                  <a:cubicBezTo>
                    <a:pt x="233669" y="33559"/>
                    <a:pt x="230567" y="44794"/>
                    <a:pt x="226981" y="55684"/>
                  </a:cubicBezTo>
                  <a:cubicBezTo>
                    <a:pt x="216852" y="54650"/>
                    <a:pt x="212921" y="27839"/>
                    <a:pt x="203482" y="41003"/>
                  </a:cubicBezTo>
                  <a:cubicBezTo>
                    <a:pt x="135314" y="91318"/>
                    <a:pt x="92647" y="181058"/>
                    <a:pt x="111809" y="265491"/>
                  </a:cubicBezTo>
                  <a:cubicBezTo>
                    <a:pt x="102986" y="296989"/>
                    <a:pt x="95477" y="330142"/>
                    <a:pt x="102502" y="362812"/>
                  </a:cubicBezTo>
                  <a:cubicBezTo>
                    <a:pt x="99332" y="374323"/>
                    <a:pt x="96575" y="386109"/>
                    <a:pt x="95957" y="398033"/>
                  </a:cubicBezTo>
                  <a:cubicBezTo>
                    <a:pt x="90717" y="485153"/>
                    <a:pt x="85343" y="572274"/>
                    <a:pt x="79622" y="659326"/>
                  </a:cubicBezTo>
                  <a:cubicBezTo>
                    <a:pt x="77210" y="682140"/>
                    <a:pt x="84172" y="705436"/>
                    <a:pt x="77070" y="727768"/>
                  </a:cubicBezTo>
                  <a:cubicBezTo>
                    <a:pt x="93270" y="729422"/>
                    <a:pt x="87204" y="746653"/>
                    <a:pt x="88790" y="757612"/>
                  </a:cubicBezTo>
                  <a:cubicBezTo>
                    <a:pt x="84654" y="747894"/>
                    <a:pt x="84310" y="735970"/>
                    <a:pt x="75971" y="728526"/>
                  </a:cubicBezTo>
                  <a:cubicBezTo>
                    <a:pt x="73693" y="750582"/>
                    <a:pt x="72799" y="772776"/>
                    <a:pt x="70939" y="794901"/>
                  </a:cubicBezTo>
                  <a:lnTo>
                    <a:pt x="80656" y="794487"/>
                  </a:lnTo>
                  <a:cubicBezTo>
                    <a:pt x="80726" y="795866"/>
                    <a:pt x="80930" y="798692"/>
                    <a:pt x="81067" y="800070"/>
                  </a:cubicBezTo>
                  <a:cubicBezTo>
                    <a:pt x="78241" y="800139"/>
                    <a:pt x="72592" y="800277"/>
                    <a:pt x="69762" y="800346"/>
                  </a:cubicBezTo>
                  <a:cubicBezTo>
                    <a:pt x="70662" y="815992"/>
                    <a:pt x="69146" y="832120"/>
                    <a:pt x="73486" y="847352"/>
                  </a:cubicBezTo>
                  <a:lnTo>
                    <a:pt x="78241" y="857898"/>
                  </a:lnTo>
                  <a:cubicBezTo>
                    <a:pt x="81482" y="846525"/>
                    <a:pt x="84514" y="835084"/>
                    <a:pt x="87478" y="823573"/>
                  </a:cubicBezTo>
                  <a:cubicBezTo>
                    <a:pt x="86719" y="837220"/>
                    <a:pt x="85962" y="851005"/>
                    <a:pt x="86994" y="864584"/>
                  </a:cubicBezTo>
                  <a:cubicBezTo>
                    <a:pt x="96371" y="854383"/>
                    <a:pt x="101193" y="841356"/>
                    <a:pt x="106363" y="828743"/>
                  </a:cubicBezTo>
                  <a:lnTo>
                    <a:pt x="97405" y="831155"/>
                  </a:lnTo>
                  <a:cubicBezTo>
                    <a:pt x="98439" y="827985"/>
                    <a:pt x="100574" y="821712"/>
                    <a:pt x="101608" y="818542"/>
                  </a:cubicBezTo>
                  <a:cubicBezTo>
                    <a:pt x="111809" y="816681"/>
                    <a:pt x="118702" y="810960"/>
                    <a:pt x="122355" y="801380"/>
                  </a:cubicBezTo>
                  <a:cubicBezTo>
                    <a:pt x="115877" y="801242"/>
                    <a:pt x="102849" y="800966"/>
                    <a:pt x="96371" y="800759"/>
                  </a:cubicBezTo>
                  <a:cubicBezTo>
                    <a:pt x="109189" y="796624"/>
                    <a:pt x="121940" y="792213"/>
                    <a:pt x="134689" y="787801"/>
                  </a:cubicBezTo>
                  <a:cubicBezTo>
                    <a:pt x="131453" y="791937"/>
                    <a:pt x="125042" y="800277"/>
                    <a:pt x="121871" y="804481"/>
                  </a:cubicBezTo>
                  <a:cubicBezTo>
                    <a:pt x="124078" y="811856"/>
                    <a:pt x="126351" y="819093"/>
                    <a:pt x="128559" y="826399"/>
                  </a:cubicBezTo>
                  <a:cubicBezTo>
                    <a:pt x="124350" y="826606"/>
                    <a:pt x="115808" y="827088"/>
                    <a:pt x="111602" y="827364"/>
                  </a:cubicBezTo>
                  <a:cubicBezTo>
                    <a:pt x="111465" y="834326"/>
                    <a:pt x="111117" y="848317"/>
                    <a:pt x="110986" y="855348"/>
                  </a:cubicBezTo>
                  <a:cubicBezTo>
                    <a:pt x="113947" y="854796"/>
                    <a:pt x="120010" y="853762"/>
                    <a:pt x="122974" y="853280"/>
                  </a:cubicBezTo>
                  <a:cubicBezTo>
                    <a:pt x="119117" y="857691"/>
                    <a:pt x="111327" y="866582"/>
                    <a:pt x="107466" y="871062"/>
                  </a:cubicBezTo>
                  <a:cubicBezTo>
                    <a:pt x="111465" y="870993"/>
                    <a:pt x="119528" y="870925"/>
                    <a:pt x="123526" y="870856"/>
                  </a:cubicBezTo>
                  <a:cubicBezTo>
                    <a:pt x="120148" y="872717"/>
                    <a:pt x="113325" y="876507"/>
                    <a:pt x="109949" y="878368"/>
                  </a:cubicBezTo>
                  <a:cubicBezTo>
                    <a:pt x="107124" y="880781"/>
                    <a:pt x="101403" y="885537"/>
                    <a:pt x="98576" y="887880"/>
                  </a:cubicBezTo>
                  <a:cubicBezTo>
                    <a:pt x="98232" y="898977"/>
                    <a:pt x="93129" y="903457"/>
                    <a:pt x="83343" y="901320"/>
                  </a:cubicBezTo>
                  <a:cubicBezTo>
                    <a:pt x="82931" y="907179"/>
                    <a:pt x="82101" y="918896"/>
                    <a:pt x="81693" y="924755"/>
                  </a:cubicBezTo>
                  <a:cubicBezTo>
                    <a:pt x="73763" y="909867"/>
                    <a:pt x="70592" y="893394"/>
                    <a:pt x="72657" y="876645"/>
                  </a:cubicBezTo>
                  <a:lnTo>
                    <a:pt x="72452" y="875129"/>
                  </a:lnTo>
                  <a:cubicBezTo>
                    <a:pt x="67356" y="882711"/>
                    <a:pt x="64526" y="891257"/>
                    <a:pt x="64733" y="900424"/>
                  </a:cubicBezTo>
                  <a:cubicBezTo>
                    <a:pt x="62802" y="939849"/>
                    <a:pt x="58116" y="979136"/>
                    <a:pt x="59292" y="1018630"/>
                  </a:cubicBezTo>
                  <a:cubicBezTo>
                    <a:pt x="59149" y="1047234"/>
                    <a:pt x="47362" y="1076871"/>
                    <a:pt x="57291" y="1104717"/>
                  </a:cubicBezTo>
                  <a:cubicBezTo>
                    <a:pt x="53775" y="1115400"/>
                    <a:pt x="52879" y="1126084"/>
                    <a:pt x="54739" y="1136698"/>
                  </a:cubicBezTo>
                  <a:cubicBezTo>
                    <a:pt x="58185" y="1134010"/>
                    <a:pt x="65148" y="1128565"/>
                    <a:pt x="68594" y="1125877"/>
                  </a:cubicBezTo>
                  <a:cubicBezTo>
                    <a:pt x="72385" y="1118019"/>
                    <a:pt x="73624" y="1109542"/>
                    <a:pt x="72385" y="1100444"/>
                  </a:cubicBezTo>
                  <a:cubicBezTo>
                    <a:pt x="91339" y="1095205"/>
                    <a:pt x="111117" y="1097342"/>
                    <a:pt x="130486" y="1096515"/>
                  </a:cubicBezTo>
                  <a:cubicBezTo>
                    <a:pt x="106847" y="1098307"/>
                    <a:pt x="109604" y="1127531"/>
                    <a:pt x="99955" y="1143866"/>
                  </a:cubicBezTo>
                  <a:cubicBezTo>
                    <a:pt x="101193" y="1137318"/>
                    <a:pt x="103815" y="1124223"/>
                    <a:pt x="105054" y="1117675"/>
                  </a:cubicBezTo>
                  <a:cubicBezTo>
                    <a:pt x="98299" y="1119811"/>
                    <a:pt x="84791" y="1124085"/>
                    <a:pt x="78036" y="1126221"/>
                  </a:cubicBezTo>
                  <a:cubicBezTo>
                    <a:pt x="79277" y="1142694"/>
                    <a:pt x="79002" y="1159236"/>
                    <a:pt x="76865" y="1175571"/>
                  </a:cubicBezTo>
                  <a:lnTo>
                    <a:pt x="89616" y="1175365"/>
                  </a:lnTo>
                  <a:cubicBezTo>
                    <a:pt x="90787" y="1170333"/>
                    <a:pt x="93129" y="1160339"/>
                    <a:pt x="94301" y="1155307"/>
                  </a:cubicBezTo>
                  <a:cubicBezTo>
                    <a:pt x="94715" y="1160408"/>
                    <a:pt x="95542" y="1170609"/>
                    <a:pt x="95957" y="1175709"/>
                  </a:cubicBezTo>
                  <a:cubicBezTo>
                    <a:pt x="99818" y="1184945"/>
                    <a:pt x="98988" y="1194939"/>
                    <a:pt x="97201" y="1204451"/>
                  </a:cubicBezTo>
                  <a:cubicBezTo>
                    <a:pt x="95404" y="1190459"/>
                    <a:pt x="96301" y="1172883"/>
                    <a:pt x="75971" y="1176261"/>
                  </a:cubicBezTo>
                  <a:lnTo>
                    <a:pt x="76108" y="1185290"/>
                  </a:lnTo>
                  <a:cubicBezTo>
                    <a:pt x="76313" y="1196042"/>
                    <a:pt x="76450" y="1206656"/>
                    <a:pt x="76587" y="1217340"/>
                  </a:cubicBezTo>
                  <a:cubicBezTo>
                    <a:pt x="89824" y="1213756"/>
                    <a:pt x="102986" y="1210241"/>
                    <a:pt x="116155" y="1206588"/>
                  </a:cubicBezTo>
                  <a:cubicBezTo>
                    <a:pt x="116360" y="1210792"/>
                    <a:pt x="116841" y="1219132"/>
                    <a:pt x="117049" y="1223267"/>
                  </a:cubicBezTo>
                  <a:cubicBezTo>
                    <a:pt x="108226" y="1220993"/>
                    <a:pt x="99403" y="1218787"/>
                    <a:pt x="90513" y="1216513"/>
                  </a:cubicBezTo>
                  <a:cubicBezTo>
                    <a:pt x="99747" y="1232434"/>
                    <a:pt x="116155" y="1237397"/>
                    <a:pt x="133039" y="1232227"/>
                  </a:cubicBezTo>
                  <a:cubicBezTo>
                    <a:pt x="129040" y="1251802"/>
                    <a:pt x="126283" y="1271583"/>
                    <a:pt x="124350" y="1291365"/>
                  </a:cubicBezTo>
                  <a:cubicBezTo>
                    <a:pt x="118976" y="1285299"/>
                    <a:pt x="113603" y="1279165"/>
                    <a:pt x="108226" y="1273031"/>
                  </a:cubicBezTo>
                  <a:cubicBezTo>
                    <a:pt x="109257" y="1261314"/>
                    <a:pt x="110223" y="1249528"/>
                    <a:pt x="111117" y="1237741"/>
                  </a:cubicBezTo>
                  <a:cubicBezTo>
                    <a:pt x="101745" y="1234226"/>
                    <a:pt x="92440" y="1230711"/>
                    <a:pt x="83068" y="1227127"/>
                  </a:cubicBezTo>
                  <a:cubicBezTo>
                    <a:pt x="84032" y="1231263"/>
                    <a:pt x="85962" y="1239602"/>
                    <a:pt x="86926" y="1243738"/>
                  </a:cubicBezTo>
                  <a:cubicBezTo>
                    <a:pt x="78655" y="1247804"/>
                    <a:pt x="70317" y="1251940"/>
                    <a:pt x="62113" y="1256144"/>
                  </a:cubicBezTo>
                  <a:cubicBezTo>
                    <a:pt x="60737" y="1256902"/>
                    <a:pt x="57911" y="1258350"/>
                    <a:pt x="56462" y="1259108"/>
                  </a:cubicBezTo>
                  <a:cubicBezTo>
                    <a:pt x="34339" y="1260280"/>
                    <a:pt x="45092" y="1291709"/>
                    <a:pt x="44471" y="1307217"/>
                  </a:cubicBezTo>
                  <a:cubicBezTo>
                    <a:pt x="53223" y="1310319"/>
                    <a:pt x="57426" y="1318521"/>
                    <a:pt x="61909" y="1325896"/>
                  </a:cubicBezTo>
                  <a:cubicBezTo>
                    <a:pt x="59356" y="1327757"/>
                    <a:pt x="54254" y="1331341"/>
                    <a:pt x="51637" y="1333202"/>
                  </a:cubicBezTo>
                  <a:cubicBezTo>
                    <a:pt x="51637" y="1328791"/>
                    <a:pt x="51570" y="1319969"/>
                    <a:pt x="51500" y="1315626"/>
                  </a:cubicBezTo>
                  <a:lnTo>
                    <a:pt x="38615" y="1315213"/>
                  </a:lnTo>
                  <a:cubicBezTo>
                    <a:pt x="33577" y="1401024"/>
                    <a:pt x="27791" y="1486766"/>
                    <a:pt x="22692" y="1572577"/>
                  </a:cubicBezTo>
                  <a:cubicBezTo>
                    <a:pt x="20758" y="1581606"/>
                    <a:pt x="25928" y="1588912"/>
                    <a:pt x="32409" y="1594495"/>
                  </a:cubicBezTo>
                  <a:cubicBezTo>
                    <a:pt x="32409" y="1599802"/>
                    <a:pt x="32338" y="1605110"/>
                    <a:pt x="32338" y="1610348"/>
                  </a:cubicBezTo>
                  <a:cubicBezTo>
                    <a:pt x="29721" y="1604765"/>
                    <a:pt x="24482" y="1593599"/>
                    <a:pt x="21792" y="1588016"/>
                  </a:cubicBezTo>
                  <a:cubicBezTo>
                    <a:pt x="21448" y="1593530"/>
                    <a:pt x="20692" y="1604696"/>
                    <a:pt x="20347" y="1610210"/>
                  </a:cubicBezTo>
                  <a:cubicBezTo>
                    <a:pt x="20692" y="1617240"/>
                    <a:pt x="21378" y="1631370"/>
                    <a:pt x="21792" y="1638469"/>
                  </a:cubicBezTo>
                  <a:cubicBezTo>
                    <a:pt x="26685" y="1631232"/>
                    <a:pt x="31649" y="1623788"/>
                    <a:pt x="36407" y="1616344"/>
                  </a:cubicBezTo>
                  <a:cubicBezTo>
                    <a:pt x="33787" y="1638952"/>
                    <a:pt x="43641" y="1660043"/>
                    <a:pt x="48538" y="1681616"/>
                  </a:cubicBezTo>
                  <a:moveTo>
                    <a:pt x="449402" y="590332"/>
                  </a:moveTo>
                  <a:cubicBezTo>
                    <a:pt x="450091" y="567587"/>
                    <a:pt x="470424" y="601567"/>
                    <a:pt x="449402" y="590332"/>
                  </a:cubicBezTo>
                  <a:moveTo>
                    <a:pt x="494754" y="598741"/>
                  </a:moveTo>
                  <a:cubicBezTo>
                    <a:pt x="493583" y="588609"/>
                    <a:pt x="492342" y="578477"/>
                    <a:pt x="491101" y="568276"/>
                  </a:cubicBezTo>
                  <a:cubicBezTo>
                    <a:pt x="496684" y="572067"/>
                    <a:pt x="502336" y="575720"/>
                    <a:pt x="507919" y="579442"/>
                  </a:cubicBezTo>
                  <a:cubicBezTo>
                    <a:pt x="503439" y="585852"/>
                    <a:pt x="499097" y="592331"/>
                    <a:pt x="494754" y="598741"/>
                  </a:cubicBezTo>
                  <a:moveTo>
                    <a:pt x="471044" y="622934"/>
                  </a:moveTo>
                  <a:cubicBezTo>
                    <a:pt x="475042" y="619557"/>
                    <a:pt x="475042" y="619557"/>
                    <a:pt x="471044" y="622934"/>
                  </a:cubicBezTo>
                  <a:moveTo>
                    <a:pt x="512606" y="629826"/>
                  </a:moveTo>
                  <a:cubicBezTo>
                    <a:pt x="516121" y="626104"/>
                    <a:pt x="516121" y="626104"/>
                    <a:pt x="512606" y="629826"/>
                  </a:cubicBezTo>
                  <a:moveTo>
                    <a:pt x="489792" y="612044"/>
                  </a:moveTo>
                  <a:cubicBezTo>
                    <a:pt x="503232" y="613491"/>
                    <a:pt x="499579" y="635202"/>
                    <a:pt x="488344" y="637201"/>
                  </a:cubicBezTo>
                  <a:cubicBezTo>
                    <a:pt x="477385" y="634651"/>
                    <a:pt x="478144" y="613422"/>
                    <a:pt x="489792" y="612044"/>
                  </a:cubicBezTo>
                  <a:moveTo>
                    <a:pt x="470631" y="650297"/>
                  </a:moveTo>
                  <a:cubicBezTo>
                    <a:pt x="459327" y="630033"/>
                    <a:pt x="493445" y="648574"/>
                    <a:pt x="470631" y="650297"/>
                  </a:cubicBezTo>
                  <a:moveTo>
                    <a:pt x="478350" y="686482"/>
                  </a:moveTo>
                  <a:cubicBezTo>
                    <a:pt x="479177" y="663599"/>
                    <a:pt x="499097" y="696821"/>
                    <a:pt x="478350" y="686482"/>
                  </a:cubicBezTo>
                  <a:moveTo>
                    <a:pt x="518671" y="693099"/>
                  </a:moveTo>
                  <a:cubicBezTo>
                    <a:pt x="521015" y="670354"/>
                    <a:pt x="538659" y="704816"/>
                    <a:pt x="518671" y="693099"/>
                  </a:cubicBezTo>
                  <a:moveTo>
                    <a:pt x="490068" y="705988"/>
                  </a:moveTo>
                  <a:cubicBezTo>
                    <a:pt x="480487" y="684759"/>
                    <a:pt x="512744" y="705988"/>
                    <a:pt x="490068" y="705988"/>
                  </a:cubicBezTo>
                  <a:moveTo>
                    <a:pt x="457122" y="712260"/>
                  </a:moveTo>
                  <a:cubicBezTo>
                    <a:pt x="457053" y="707987"/>
                    <a:pt x="456846" y="699371"/>
                    <a:pt x="456777" y="695098"/>
                  </a:cubicBezTo>
                  <a:cubicBezTo>
                    <a:pt x="466840" y="692065"/>
                    <a:pt x="467322" y="715500"/>
                    <a:pt x="457122" y="712260"/>
                  </a:cubicBezTo>
                  <a:moveTo>
                    <a:pt x="520050" y="726734"/>
                  </a:moveTo>
                  <a:cubicBezTo>
                    <a:pt x="515432" y="719153"/>
                    <a:pt x="515570" y="711571"/>
                    <a:pt x="520601" y="703989"/>
                  </a:cubicBezTo>
                  <a:cubicBezTo>
                    <a:pt x="530802" y="703231"/>
                    <a:pt x="530388" y="727768"/>
                    <a:pt x="520050" y="726734"/>
                  </a:cubicBezTo>
                  <a:moveTo>
                    <a:pt x="471527" y="733144"/>
                  </a:moveTo>
                  <a:cubicBezTo>
                    <a:pt x="475180" y="729629"/>
                    <a:pt x="475180" y="729629"/>
                    <a:pt x="471527" y="733144"/>
                  </a:cubicBezTo>
                  <a:moveTo>
                    <a:pt x="452021" y="754855"/>
                  </a:moveTo>
                  <a:cubicBezTo>
                    <a:pt x="453606" y="745689"/>
                    <a:pt x="458500" y="744034"/>
                    <a:pt x="466840" y="750031"/>
                  </a:cubicBezTo>
                  <a:cubicBezTo>
                    <a:pt x="465324" y="759336"/>
                    <a:pt x="460361" y="760990"/>
                    <a:pt x="452021" y="754855"/>
                  </a:cubicBezTo>
                  <a:moveTo>
                    <a:pt x="482899" y="741484"/>
                  </a:moveTo>
                  <a:cubicBezTo>
                    <a:pt x="493789" y="736866"/>
                    <a:pt x="510676" y="733075"/>
                    <a:pt x="518464" y="744793"/>
                  </a:cubicBezTo>
                  <a:cubicBezTo>
                    <a:pt x="507988" y="746102"/>
                    <a:pt x="497167" y="746929"/>
                    <a:pt x="488138" y="740588"/>
                  </a:cubicBezTo>
                  <a:cubicBezTo>
                    <a:pt x="488207" y="755338"/>
                    <a:pt x="487655" y="769950"/>
                    <a:pt x="486483" y="784631"/>
                  </a:cubicBezTo>
                  <a:cubicBezTo>
                    <a:pt x="483175" y="771122"/>
                    <a:pt x="474008" y="754304"/>
                    <a:pt x="482899" y="741484"/>
                  </a:cubicBezTo>
                  <a:moveTo>
                    <a:pt x="450436" y="783183"/>
                  </a:moveTo>
                  <a:cubicBezTo>
                    <a:pt x="451194" y="760507"/>
                    <a:pt x="471320" y="793453"/>
                    <a:pt x="450436" y="783183"/>
                  </a:cubicBezTo>
                  <a:moveTo>
                    <a:pt x="512744" y="796762"/>
                  </a:moveTo>
                  <a:cubicBezTo>
                    <a:pt x="508608" y="788422"/>
                    <a:pt x="513778" y="777463"/>
                    <a:pt x="519981" y="771328"/>
                  </a:cubicBezTo>
                  <a:cubicBezTo>
                    <a:pt x="532939" y="772638"/>
                    <a:pt x="525633" y="802620"/>
                    <a:pt x="512744" y="796762"/>
                  </a:cubicBezTo>
                  <a:moveTo>
                    <a:pt x="457053" y="824469"/>
                  </a:moveTo>
                  <a:lnTo>
                    <a:pt x="456501" y="819645"/>
                  </a:lnTo>
                  <a:cubicBezTo>
                    <a:pt x="461602" y="819300"/>
                    <a:pt x="471803" y="818611"/>
                    <a:pt x="476903" y="818266"/>
                  </a:cubicBezTo>
                  <a:cubicBezTo>
                    <a:pt x="478350" y="815923"/>
                    <a:pt x="481245" y="811305"/>
                    <a:pt x="482693" y="809030"/>
                  </a:cubicBezTo>
                  <a:lnTo>
                    <a:pt x="493721" y="812476"/>
                  </a:lnTo>
                  <a:cubicBezTo>
                    <a:pt x="493031" y="807031"/>
                    <a:pt x="491653" y="796141"/>
                    <a:pt x="490964" y="790696"/>
                  </a:cubicBezTo>
                  <a:cubicBezTo>
                    <a:pt x="501854" y="797382"/>
                    <a:pt x="505782" y="808479"/>
                    <a:pt x="495237" y="816267"/>
                  </a:cubicBezTo>
                  <a:cubicBezTo>
                    <a:pt x="485794" y="826192"/>
                    <a:pt x="469321" y="821506"/>
                    <a:pt x="457053" y="824469"/>
                  </a:cubicBezTo>
                  <a:moveTo>
                    <a:pt x="642736" y="1140558"/>
                  </a:moveTo>
                  <a:cubicBezTo>
                    <a:pt x="644459" y="1117744"/>
                    <a:pt x="663068" y="1151792"/>
                    <a:pt x="642736" y="1140558"/>
                  </a:cubicBezTo>
                  <a:moveTo>
                    <a:pt x="697117" y="1196111"/>
                  </a:moveTo>
                  <a:cubicBezTo>
                    <a:pt x="685813" y="1175778"/>
                    <a:pt x="719793" y="1194250"/>
                    <a:pt x="697117" y="1196111"/>
                  </a:cubicBezTo>
                  <a:moveTo>
                    <a:pt x="670995" y="1214169"/>
                  </a:moveTo>
                  <a:cubicBezTo>
                    <a:pt x="678301" y="1214996"/>
                    <a:pt x="685607" y="1215686"/>
                    <a:pt x="692982" y="1216237"/>
                  </a:cubicBezTo>
                  <a:cubicBezTo>
                    <a:pt x="698565" y="1221131"/>
                    <a:pt x="704079" y="1225955"/>
                    <a:pt x="709661" y="1230780"/>
                  </a:cubicBezTo>
                  <a:cubicBezTo>
                    <a:pt x="706284" y="1232503"/>
                    <a:pt x="699667" y="1235880"/>
                    <a:pt x="696290" y="1237604"/>
                  </a:cubicBezTo>
                  <a:cubicBezTo>
                    <a:pt x="688570" y="1229057"/>
                    <a:pt x="680024" y="1221337"/>
                    <a:pt x="670995" y="1214169"/>
                  </a:cubicBezTo>
                  <a:moveTo>
                    <a:pt x="664171" y="1272479"/>
                  </a:moveTo>
                  <a:cubicBezTo>
                    <a:pt x="665619" y="1249734"/>
                    <a:pt x="684642" y="1283576"/>
                    <a:pt x="664171" y="1272479"/>
                  </a:cubicBezTo>
                  <a:moveTo>
                    <a:pt x="674786" y="1312249"/>
                  </a:moveTo>
                  <a:cubicBezTo>
                    <a:pt x="675544" y="1302531"/>
                    <a:pt x="678783" y="1293157"/>
                    <a:pt x="681885" y="1283921"/>
                  </a:cubicBezTo>
                  <a:cubicBezTo>
                    <a:pt x="696635" y="1286471"/>
                    <a:pt x="701528" y="1300118"/>
                    <a:pt x="704630" y="1312731"/>
                  </a:cubicBezTo>
                  <a:cubicBezTo>
                    <a:pt x="694636" y="1312869"/>
                    <a:pt x="684711" y="1312662"/>
                    <a:pt x="674786" y="1312249"/>
                  </a:cubicBezTo>
                  <a:moveTo>
                    <a:pt x="664654" y="1444998"/>
                  </a:moveTo>
                  <a:cubicBezTo>
                    <a:pt x="657899" y="1439139"/>
                    <a:pt x="651144" y="1433281"/>
                    <a:pt x="644321" y="1427491"/>
                  </a:cubicBezTo>
                  <a:cubicBezTo>
                    <a:pt x="645837" y="1421977"/>
                    <a:pt x="641702" y="1409984"/>
                    <a:pt x="651489" y="1412948"/>
                  </a:cubicBezTo>
                  <a:cubicBezTo>
                    <a:pt x="661690" y="1419220"/>
                    <a:pt x="672718" y="1423355"/>
                    <a:pt x="684849" y="1422322"/>
                  </a:cubicBezTo>
                  <a:cubicBezTo>
                    <a:pt x="685745" y="1429559"/>
                    <a:pt x="686709" y="1436727"/>
                    <a:pt x="687743" y="1443826"/>
                  </a:cubicBezTo>
                  <a:cubicBezTo>
                    <a:pt x="685262" y="1442654"/>
                    <a:pt x="680231" y="1440242"/>
                    <a:pt x="677680" y="1439070"/>
                  </a:cubicBezTo>
                  <a:cubicBezTo>
                    <a:pt x="674441" y="1440518"/>
                    <a:pt x="667893" y="1443481"/>
                    <a:pt x="664654" y="1444998"/>
                  </a:cubicBezTo>
                  <a:moveTo>
                    <a:pt x="669892" y="1542733"/>
                  </a:moveTo>
                  <a:cubicBezTo>
                    <a:pt x="668720" y="1534876"/>
                    <a:pt x="667617" y="1526949"/>
                    <a:pt x="666584" y="1519023"/>
                  </a:cubicBezTo>
                  <a:cubicBezTo>
                    <a:pt x="662103" y="1518678"/>
                    <a:pt x="653143" y="1517920"/>
                    <a:pt x="648663" y="1517575"/>
                  </a:cubicBezTo>
                  <a:cubicBezTo>
                    <a:pt x="653488" y="1517438"/>
                    <a:pt x="663206" y="1517231"/>
                    <a:pt x="668031" y="1517093"/>
                  </a:cubicBezTo>
                  <a:cubicBezTo>
                    <a:pt x="674648" y="1513922"/>
                    <a:pt x="681402" y="1510890"/>
                    <a:pt x="688157" y="1507995"/>
                  </a:cubicBezTo>
                  <a:cubicBezTo>
                    <a:pt x="688295" y="1522262"/>
                    <a:pt x="678232" y="1532394"/>
                    <a:pt x="669892" y="1542733"/>
                  </a:cubicBezTo>
                  <a:moveTo>
                    <a:pt x="643356" y="1540045"/>
                  </a:moveTo>
                  <a:cubicBezTo>
                    <a:pt x="646664" y="1536254"/>
                    <a:pt x="646664" y="1536254"/>
                    <a:pt x="643356" y="1540045"/>
                  </a:cubicBezTo>
                  <a:moveTo>
                    <a:pt x="667411" y="1557483"/>
                  </a:moveTo>
                  <a:cubicBezTo>
                    <a:pt x="677474" y="1556035"/>
                    <a:pt x="682643" y="1550177"/>
                    <a:pt x="682781" y="1539838"/>
                  </a:cubicBezTo>
                  <a:lnTo>
                    <a:pt x="691672" y="1539631"/>
                  </a:lnTo>
                  <a:cubicBezTo>
                    <a:pt x="688915" y="1552244"/>
                    <a:pt x="685193" y="1564582"/>
                    <a:pt x="680437" y="1576575"/>
                  </a:cubicBezTo>
                  <a:cubicBezTo>
                    <a:pt x="673407" y="1572164"/>
                    <a:pt x="668996" y="1565685"/>
                    <a:pt x="667411" y="1557483"/>
                  </a:cubicBezTo>
                  <a:moveTo>
                    <a:pt x="400054" y="1573956"/>
                  </a:moveTo>
                  <a:cubicBezTo>
                    <a:pt x="390539" y="1552865"/>
                    <a:pt x="422934" y="1574025"/>
                    <a:pt x="400054" y="1573956"/>
                  </a:cubicBezTo>
                  <a:moveTo>
                    <a:pt x="636050" y="1587809"/>
                  </a:moveTo>
                  <a:cubicBezTo>
                    <a:pt x="624884" y="1567546"/>
                    <a:pt x="658864" y="1585811"/>
                    <a:pt x="636050" y="1587809"/>
                  </a:cubicBezTo>
                  <a:moveTo>
                    <a:pt x="629295" y="1602353"/>
                  </a:moveTo>
                  <a:cubicBezTo>
                    <a:pt x="632742" y="1598493"/>
                    <a:pt x="632742" y="1598493"/>
                    <a:pt x="629295" y="1602353"/>
                  </a:cubicBezTo>
                  <a:moveTo>
                    <a:pt x="657348" y="1609728"/>
                  </a:moveTo>
                  <a:cubicBezTo>
                    <a:pt x="659002" y="1600699"/>
                    <a:pt x="664240" y="1598768"/>
                    <a:pt x="672993" y="1604076"/>
                  </a:cubicBezTo>
                  <a:cubicBezTo>
                    <a:pt x="671270" y="1613174"/>
                    <a:pt x="666101" y="1615104"/>
                    <a:pt x="657348" y="1609728"/>
                  </a:cubicBezTo>
                  <a:moveTo>
                    <a:pt x="471251" y="1651703"/>
                  </a:moveTo>
                  <a:cubicBezTo>
                    <a:pt x="464841" y="1644879"/>
                    <a:pt x="471596" y="1612622"/>
                    <a:pt x="481866" y="1631508"/>
                  </a:cubicBezTo>
                  <a:cubicBezTo>
                    <a:pt x="488207" y="1638952"/>
                    <a:pt x="483244" y="1659215"/>
                    <a:pt x="471251" y="1651703"/>
                  </a:cubicBezTo>
                  <a:moveTo>
                    <a:pt x="588009" y="1664798"/>
                  </a:moveTo>
                  <a:cubicBezTo>
                    <a:pt x="588768" y="1658664"/>
                    <a:pt x="590284" y="1646326"/>
                    <a:pt x="591042" y="1640123"/>
                  </a:cubicBezTo>
                  <a:cubicBezTo>
                    <a:pt x="588078" y="1639917"/>
                    <a:pt x="582220" y="1639572"/>
                    <a:pt x="579256" y="1639434"/>
                  </a:cubicBezTo>
                  <a:cubicBezTo>
                    <a:pt x="575810" y="1630405"/>
                    <a:pt x="566436" y="1624133"/>
                    <a:pt x="558027" y="1632955"/>
                  </a:cubicBezTo>
                  <a:cubicBezTo>
                    <a:pt x="552169" y="1631370"/>
                    <a:pt x="546310" y="1629716"/>
                    <a:pt x="540451" y="1628061"/>
                  </a:cubicBezTo>
                  <a:cubicBezTo>
                    <a:pt x="527011" y="1613381"/>
                    <a:pt x="537005" y="1594564"/>
                    <a:pt x="538797" y="1577678"/>
                  </a:cubicBezTo>
                  <a:cubicBezTo>
                    <a:pt x="520394" y="1576782"/>
                    <a:pt x="501991" y="1575403"/>
                    <a:pt x="483589" y="1574232"/>
                  </a:cubicBezTo>
                  <a:cubicBezTo>
                    <a:pt x="491860" y="1441620"/>
                    <a:pt x="499028" y="1308872"/>
                    <a:pt x="509091" y="1176467"/>
                  </a:cubicBezTo>
                  <a:cubicBezTo>
                    <a:pt x="539004" y="1178949"/>
                    <a:pt x="578567" y="1169437"/>
                    <a:pt x="599520" y="1196800"/>
                  </a:cubicBezTo>
                  <a:cubicBezTo>
                    <a:pt x="626607" y="1233537"/>
                    <a:pt x="622196" y="1281233"/>
                    <a:pt x="621162" y="1324173"/>
                  </a:cubicBezTo>
                  <a:cubicBezTo>
                    <a:pt x="625987" y="1321485"/>
                    <a:pt x="630812" y="1318659"/>
                    <a:pt x="635705" y="1315902"/>
                  </a:cubicBezTo>
                  <a:cubicBezTo>
                    <a:pt x="636877" y="1320727"/>
                    <a:pt x="639220" y="1330514"/>
                    <a:pt x="640392" y="1335408"/>
                  </a:cubicBezTo>
                  <a:cubicBezTo>
                    <a:pt x="636188" y="1333202"/>
                    <a:pt x="627917" y="1328860"/>
                    <a:pt x="623781" y="1326654"/>
                  </a:cubicBezTo>
                  <a:cubicBezTo>
                    <a:pt x="624677" y="1345953"/>
                    <a:pt x="614477" y="1363529"/>
                    <a:pt x="615924" y="1382966"/>
                  </a:cubicBezTo>
                  <a:cubicBezTo>
                    <a:pt x="609721" y="1443826"/>
                    <a:pt x="618957" y="1511510"/>
                    <a:pt x="581186" y="1564099"/>
                  </a:cubicBezTo>
                  <a:lnTo>
                    <a:pt x="592834" y="1564858"/>
                  </a:lnTo>
                  <a:cubicBezTo>
                    <a:pt x="589595" y="1565202"/>
                    <a:pt x="583185" y="1565961"/>
                    <a:pt x="579945" y="1566305"/>
                  </a:cubicBezTo>
                  <a:cubicBezTo>
                    <a:pt x="567814" y="1574232"/>
                    <a:pt x="553892" y="1578987"/>
                    <a:pt x="539418" y="1580021"/>
                  </a:cubicBezTo>
                  <a:cubicBezTo>
                    <a:pt x="535902" y="1600009"/>
                    <a:pt x="545828" y="1618412"/>
                    <a:pt x="562025" y="1629647"/>
                  </a:cubicBezTo>
                  <a:cubicBezTo>
                    <a:pt x="563817" y="1623926"/>
                    <a:pt x="567401" y="1612485"/>
                    <a:pt x="569193" y="1606764"/>
                  </a:cubicBezTo>
                  <a:cubicBezTo>
                    <a:pt x="573122" y="1606419"/>
                    <a:pt x="581048" y="1605661"/>
                    <a:pt x="584977" y="1605316"/>
                  </a:cubicBezTo>
                  <a:lnTo>
                    <a:pt x="584356" y="1607108"/>
                  </a:lnTo>
                  <a:cubicBezTo>
                    <a:pt x="556855" y="1603318"/>
                    <a:pt x="571261" y="1640399"/>
                    <a:pt x="591593" y="1637091"/>
                  </a:cubicBezTo>
                  <a:cubicBezTo>
                    <a:pt x="590698" y="1632817"/>
                    <a:pt x="588905" y="1624340"/>
                    <a:pt x="587941" y="1620135"/>
                  </a:cubicBezTo>
                  <a:cubicBezTo>
                    <a:pt x="591042" y="1621721"/>
                    <a:pt x="597176" y="1624960"/>
                    <a:pt x="600209" y="1626545"/>
                  </a:cubicBezTo>
                  <a:cubicBezTo>
                    <a:pt x="602828" y="1624822"/>
                    <a:pt x="608135" y="1621376"/>
                    <a:pt x="610755" y="1619653"/>
                  </a:cubicBezTo>
                  <a:lnTo>
                    <a:pt x="608963" y="1606075"/>
                  </a:lnTo>
                  <a:cubicBezTo>
                    <a:pt x="605447" y="1606144"/>
                    <a:pt x="598417" y="1606213"/>
                    <a:pt x="594902" y="1606281"/>
                  </a:cubicBezTo>
                  <a:cubicBezTo>
                    <a:pt x="604069" y="1601457"/>
                    <a:pt x="613029" y="1595529"/>
                    <a:pt x="623712" y="1594633"/>
                  </a:cubicBezTo>
                  <a:cubicBezTo>
                    <a:pt x="620749" y="1603180"/>
                    <a:pt x="616544" y="1611106"/>
                    <a:pt x="611099" y="1618343"/>
                  </a:cubicBezTo>
                  <a:cubicBezTo>
                    <a:pt x="620680" y="1636470"/>
                    <a:pt x="639634" y="1627786"/>
                    <a:pt x="645906" y="1612485"/>
                  </a:cubicBezTo>
                  <a:cubicBezTo>
                    <a:pt x="644941" y="1620135"/>
                    <a:pt x="644114" y="1627786"/>
                    <a:pt x="643356" y="1635367"/>
                  </a:cubicBezTo>
                  <a:cubicBezTo>
                    <a:pt x="631639" y="1634678"/>
                    <a:pt x="620404" y="1631232"/>
                    <a:pt x="609307" y="1627510"/>
                  </a:cubicBezTo>
                  <a:cubicBezTo>
                    <a:pt x="609927" y="1635161"/>
                    <a:pt x="610548" y="1642812"/>
                    <a:pt x="611306" y="1650393"/>
                  </a:cubicBezTo>
                  <a:cubicBezTo>
                    <a:pt x="609859" y="1647360"/>
                    <a:pt x="606964" y="1641364"/>
                    <a:pt x="605516" y="1638331"/>
                  </a:cubicBezTo>
                  <a:lnTo>
                    <a:pt x="601656" y="1638883"/>
                  </a:lnTo>
                  <a:cubicBezTo>
                    <a:pt x="599796" y="1642536"/>
                    <a:pt x="596074" y="1649842"/>
                    <a:pt x="594282" y="1653495"/>
                  </a:cubicBezTo>
                  <a:cubicBezTo>
                    <a:pt x="594695" y="1656320"/>
                    <a:pt x="595522" y="1662041"/>
                    <a:pt x="595936" y="1664867"/>
                  </a:cubicBezTo>
                  <a:cubicBezTo>
                    <a:pt x="593937" y="1664867"/>
                    <a:pt x="590008" y="1664798"/>
                    <a:pt x="588009" y="1664798"/>
                  </a:cubicBezTo>
                  <a:moveTo>
                    <a:pt x="476972" y="1671760"/>
                  </a:moveTo>
                  <a:cubicBezTo>
                    <a:pt x="473250" y="1660456"/>
                    <a:pt x="477041" y="1657079"/>
                    <a:pt x="488413" y="1661697"/>
                  </a:cubicBezTo>
                  <a:cubicBezTo>
                    <a:pt x="492273" y="1672931"/>
                    <a:pt x="488482" y="1676309"/>
                    <a:pt x="476972" y="1671760"/>
                  </a:cubicBezTo>
                  <a:moveTo>
                    <a:pt x="522186" y="1678445"/>
                  </a:moveTo>
                  <a:cubicBezTo>
                    <a:pt x="519705" y="1669830"/>
                    <a:pt x="519361" y="1658871"/>
                    <a:pt x="524530" y="1651014"/>
                  </a:cubicBezTo>
                  <a:cubicBezTo>
                    <a:pt x="543760" y="1646051"/>
                    <a:pt x="536385" y="1678101"/>
                    <a:pt x="522186" y="1678445"/>
                  </a:cubicBezTo>
                  <a:moveTo>
                    <a:pt x="539762" y="1685407"/>
                  </a:moveTo>
                  <a:cubicBezTo>
                    <a:pt x="535627" y="1674034"/>
                    <a:pt x="539142" y="1670037"/>
                    <a:pt x="550308" y="1673483"/>
                  </a:cubicBezTo>
                  <a:cubicBezTo>
                    <a:pt x="554374" y="1684856"/>
                    <a:pt x="550859" y="1688853"/>
                    <a:pt x="539762" y="1685407"/>
                  </a:cubicBezTo>
                  <a:moveTo>
                    <a:pt x="402464" y="1685200"/>
                  </a:moveTo>
                  <a:cubicBezTo>
                    <a:pt x="424172" y="1670174"/>
                    <a:pt x="418179" y="1639158"/>
                    <a:pt x="422592" y="1616344"/>
                  </a:cubicBezTo>
                  <a:cubicBezTo>
                    <a:pt x="433067" y="1624891"/>
                    <a:pt x="434928" y="1638469"/>
                    <a:pt x="438305" y="1650669"/>
                  </a:cubicBezTo>
                  <a:cubicBezTo>
                    <a:pt x="441820" y="1642191"/>
                    <a:pt x="444508" y="1633369"/>
                    <a:pt x="446714" y="1624409"/>
                  </a:cubicBezTo>
                  <a:cubicBezTo>
                    <a:pt x="445680" y="1642949"/>
                    <a:pt x="448644" y="1662731"/>
                    <a:pt x="439684" y="1679686"/>
                  </a:cubicBezTo>
                  <a:cubicBezTo>
                    <a:pt x="435617" y="1694160"/>
                    <a:pt x="419902" y="1671622"/>
                    <a:pt x="415285" y="1670657"/>
                  </a:cubicBezTo>
                  <a:lnTo>
                    <a:pt x="415904" y="1682719"/>
                  </a:lnTo>
                  <a:cubicBezTo>
                    <a:pt x="412531" y="1683339"/>
                    <a:pt x="405843" y="1684580"/>
                    <a:pt x="402464" y="1685200"/>
                  </a:cubicBezTo>
                  <a:moveTo>
                    <a:pt x="626125" y="1702707"/>
                  </a:moveTo>
                  <a:cubicBezTo>
                    <a:pt x="631914" y="1688922"/>
                    <a:pt x="626538" y="1675275"/>
                    <a:pt x="616337" y="1665557"/>
                  </a:cubicBezTo>
                  <a:cubicBezTo>
                    <a:pt x="634878" y="1671553"/>
                    <a:pt x="635085" y="1689473"/>
                    <a:pt x="633500" y="1706084"/>
                  </a:cubicBezTo>
                  <a:cubicBezTo>
                    <a:pt x="631639" y="1705257"/>
                    <a:pt x="627986" y="1703534"/>
                    <a:pt x="626125" y="1702707"/>
                  </a:cubicBezTo>
                  <a:moveTo>
                    <a:pt x="596763" y="1712149"/>
                  </a:moveTo>
                  <a:cubicBezTo>
                    <a:pt x="598279" y="1706291"/>
                    <a:pt x="599933" y="1700432"/>
                    <a:pt x="601656" y="1694574"/>
                  </a:cubicBezTo>
                  <a:cubicBezTo>
                    <a:pt x="598899" y="1687957"/>
                    <a:pt x="596074" y="1681271"/>
                    <a:pt x="593179" y="1674655"/>
                  </a:cubicBezTo>
                  <a:cubicBezTo>
                    <a:pt x="598555" y="1680031"/>
                    <a:pt x="604965" y="1682856"/>
                    <a:pt x="612478" y="1683201"/>
                  </a:cubicBezTo>
                  <a:cubicBezTo>
                    <a:pt x="595453" y="1684373"/>
                    <a:pt x="610892" y="1707256"/>
                    <a:pt x="596763" y="1712149"/>
                  </a:cubicBezTo>
                  <a:moveTo>
                    <a:pt x="506127" y="1729174"/>
                  </a:moveTo>
                  <a:lnTo>
                    <a:pt x="498407" y="1719180"/>
                  </a:lnTo>
                  <a:cubicBezTo>
                    <a:pt x="503646" y="1717388"/>
                    <a:pt x="514053" y="1713804"/>
                    <a:pt x="519223" y="1712012"/>
                  </a:cubicBezTo>
                  <a:cubicBezTo>
                    <a:pt x="516604" y="1697262"/>
                    <a:pt x="500682" y="1699605"/>
                    <a:pt x="490343" y="1695056"/>
                  </a:cubicBezTo>
                  <a:cubicBezTo>
                    <a:pt x="496340" y="1696090"/>
                    <a:pt x="508333" y="1698089"/>
                    <a:pt x="514260" y="1699054"/>
                  </a:cubicBezTo>
                  <a:cubicBezTo>
                    <a:pt x="516948" y="1696228"/>
                    <a:pt x="522255" y="1690576"/>
                    <a:pt x="524875" y="1687681"/>
                  </a:cubicBezTo>
                  <a:cubicBezTo>
                    <a:pt x="533766" y="1705464"/>
                    <a:pt x="518189" y="1718491"/>
                    <a:pt x="506127" y="1729174"/>
                  </a:cubicBezTo>
                  <a:moveTo>
                    <a:pt x="450781" y="1753367"/>
                  </a:moveTo>
                  <a:cubicBezTo>
                    <a:pt x="454433" y="1749782"/>
                    <a:pt x="454433" y="1749782"/>
                    <a:pt x="450781" y="1753367"/>
                  </a:cubicBezTo>
                  <a:moveTo>
                    <a:pt x="507574" y="1761500"/>
                  </a:moveTo>
                  <a:cubicBezTo>
                    <a:pt x="508815" y="1739375"/>
                    <a:pt x="529355" y="1771769"/>
                    <a:pt x="507574" y="1761500"/>
                  </a:cubicBezTo>
                  <a:moveTo>
                    <a:pt x="436168" y="1764739"/>
                  </a:moveTo>
                  <a:cubicBezTo>
                    <a:pt x="467874" y="1766118"/>
                    <a:pt x="499855" y="1770667"/>
                    <a:pt x="531422" y="1765015"/>
                  </a:cubicBezTo>
                  <a:cubicBezTo>
                    <a:pt x="544035" y="1762396"/>
                    <a:pt x="556511" y="1767289"/>
                    <a:pt x="569124" y="1766807"/>
                  </a:cubicBezTo>
                  <a:cubicBezTo>
                    <a:pt x="589319" y="1761500"/>
                    <a:pt x="606826" y="1749231"/>
                    <a:pt x="622058" y="1735308"/>
                  </a:cubicBezTo>
                  <a:cubicBezTo>
                    <a:pt x="619439" y="1731586"/>
                    <a:pt x="614132" y="1724211"/>
                    <a:pt x="611444" y="1720558"/>
                  </a:cubicBezTo>
                  <a:cubicBezTo>
                    <a:pt x="620266" y="1720489"/>
                    <a:pt x="633155" y="1729725"/>
                    <a:pt x="637911" y="1717732"/>
                  </a:cubicBezTo>
                  <a:cubicBezTo>
                    <a:pt x="663758" y="1681547"/>
                    <a:pt x="686778" y="1639848"/>
                    <a:pt x="688226" y="1594495"/>
                  </a:cubicBezTo>
                  <a:cubicBezTo>
                    <a:pt x="682367" y="1594357"/>
                    <a:pt x="670719" y="1594220"/>
                    <a:pt x="664929" y="1594151"/>
                  </a:cubicBezTo>
                  <a:cubicBezTo>
                    <a:pt x="661621" y="1591738"/>
                    <a:pt x="655073" y="1586914"/>
                    <a:pt x="651765" y="1584501"/>
                  </a:cubicBezTo>
                  <a:cubicBezTo>
                    <a:pt x="651144" y="1583192"/>
                    <a:pt x="649904" y="1580435"/>
                    <a:pt x="649283" y="1579125"/>
                  </a:cubicBezTo>
                  <a:cubicBezTo>
                    <a:pt x="663964" y="1586017"/>
                    <a:pt x="681195" y="1586017"/>
                    <a:pt x="694636" y="1595598"/>
                  </a:cubicBezTo>
                  <a:cubicBezTo>
                    <a:pt x="713245" y="1508684"/>
                    <a:pt x="712556" y="1419427"/>
                    <a:pt x="719311" y="1331134"/>
                  </a:cubicBezTo>
                  <a:cubicBezTo>
                    <a:pt x="697806" y="1347607"/>
                    <a:pt x="670305" y="1340163"/>
                    <a:pt x="647354" y="1331410"/>
                  </a:cubicBezTo>
                  <a:cubicBezTo>
                    <a:pt x="656658" y="1320658"/>
                    <a:pt x="669547" y="1325551"/>
                    <a:pt x="681195" y="1328791"/>
                  </a:cubicBezTo>
                  <a:cubicBezTo>
                    <a:pt x="693671" y="1328170"/>
                    <a:pt x="706146" y="1328653"/>
                    <a:pt x="718553" y="1329756"/>
                  </a:cubicBezTo>
                  <a:cubicBezTo>
                    <a:pt x="720207" y="1313972"/>
                    <a:pt x="721792" y="1298326"/>
                    <a:pt x="723791" y="1282542"/>
                  </a:cubicBezTo>
                  <a:cubicBezTo>
                    <a:pt x="718759" y="1283990"/>
                    <a:pt x="708696" y="1286816"/>
                    <a:pt x="703665" y="1288263"/>
                  </a:cubicBezTo>
                  <a:cubicBezTo>
                    <a:pt x="726548" y="1275719"/>
                    <a:pt x="720896" y="1246495"/>
                    <a:pt x="721103" y="1224646"/>
                  </a:cubicBezTo>
                  <a:cubicBezTo>
                    <a:pt x="715106" y="1151103"/>
                    <a:pt x="694705" y="1072529"/>
                    <a:pt x="640530" y="1019388"/>
                  </a:cubicBezTo>
                  <a:cubicBezTo>
                    <a:pt x="608687" y="987545"/>
                    <a:pt x="561198" y="992714"/>
                    <a:pt x="520119" y="989682"/>
                  </a:cubicBezTo>
                  <a:cubicBezTo>
                    <a:pt x="529424" y="833016"/>
                    <a:pt x="539624" y="676488"/>
                    <a:pt x="549205" y="519891"/>
                  </a:cubicBezTo>
                  <a:cubicBezTo>
                    <a:pt x="514605" y="517824"/>
                    <a:pt x="480004" y="515549"/>
                    <a:pt x="445404" y="513481"/>
                  </a:cubicBezTo>
                  <a:cubicBezTo>
                    <a:pt x="444370" y="545945"/>
                    <a:pt x="446507" y="578546"/>
                    <a:pt x="439959" y="610596"/>
                  </a:cubicBezTo>
                  <a:cubicBezTo>
                    <a:pt x="428242" y="787250"/>
                    <a:pt x="417764" y="963973"/>
                    <a:pt x="406532" y="1140627"/>
                  </a:cubicBezTo>
                  <a:cubicBezTo>
                    <a:pt x="422385" y="1136767"/>
                    <a:pt x="440097" y="1142694"/>
                    <a:pt x="442992" y="1160477"/>
                  </a:cubicBezTo>
                  <a:cubicBezTo>
                    <a:pt x="430517" y="1157031"/>
                    <a:pt x="418109" y="1153378"/>
                    <a:pt x="405496" y="1150207"/>
                  </a:cubicBezTo>
                  <a:cubicBezTo>
                    <a:pt x="398740" y="1300187"/>
                    <a:pt x="383443" y="1449822"/>
                    <a:pt x="380823" y="1599940"/>
                  </a:cubicBezTo>
                  <a:cubicBezTo>
                    <a:pt x="378200" y="1610624"/>
                    <a:pt x="376345" y="1621652"/>
                    <a:pt x="374964" y="1632473"/>
                  </a:cubicBezTo>
                  <a:cubicBezTo>
                    <a:pt x="378755" y="1631301"/>
                    <a:pt x="386474" y="1628958"/>
                    <a:pt x="390335" y="1627786"/>
                  </a:cubicBezTo>
                  <a:cubicBezTo>
                    <a:pt x="390262" y="1632059"/>
                    <a:pt x="390262" y="1640675"/>
                    <a:pt x="390194" y="1644948"/>
                  </a:cubicBezTo>
                  <a:cubicBezTo>
                    <a:pt x="389715" y="1641502"/>
                    <a:pt x="388749" y="1634609"/>
                    <a:pt x="388264" y="1631163"/>
                  </a:cubicBezTo>
                  <a:lnTo>
                    <a:pt x="377791" y="1635092"/>
                  </a:lnTo>
                  <a:lnTo>
                    <a:pt x="371932" y="1655563"/>
                  </a:lnTo>
                  <a:cubicBezTo>
                    <a:pt x="377721" y="1654735"/>
                    <a:pt x="389163" y="1653081"/>
                    <a:pt x="394885" y="1652254"/>
                  </a:cubicBezTo>
                  <a:cubicBezTo>
                    <a:pt x="395846" y="1661628"/>
                    <a:pt x="393229" y="1670726"/>
                    <a:pt x="390886" y="1679617"/>
                  </a:cubicBezTo>
                  <a:cubicBezTo>
                    <a:pt x="391024" y="1673345"/>
                    <a:pt x="391228" y="1660870"/>
                    <a:pt x="391369" y="1654597"/>
                  </a:cubicBezTo>
                  <a:cubicBezTo>
                    <a:pt x="385303" y="1658044"/>
                    <a:pt x="379377" y="1661628"/>
                    <a:pt x="373446" y="1665212"/>
                  </a:cubicBezTo>
                  <a:cubicBezTo>
                    <a:pt x="372000" y="1696848"/>
                    <a:pt x="369999" y="1728554"/>
                    <a:pt x="367657" y="1760121"/>
                  </a:cubicBezTo>
                  <a:cubicBezTo>
                    <a:pt x="387715" y="1761569"/>
                    <a:pt x="407703" y="1763016"/>
                    <a:pt x="427761" y="1763705"/>
                  </a:cubicBezTo>
                  <a:cubicBezTo>
                    <a:pt x="418316" y="1745302"/>
                    <a:pt x="397779" y="1738548"/>
                    <a:pt x="379029" y="1734137"/>
                  </a:cubicBezTo>
                  <a:cubicBezTo>
                    <a:pt x="379029" y="1716561"/>
                    <a:pt x="399569" y="1726279"/>
                    <a:pt x="402119" y="1737445"/>
                  </a:cubicBezTo>
                  <a:cubicBezTo>
                    <a:pt x="406736" y="1736825"/>
                    <a:pt x="415834" y="1735584"/>
                    <a:pt x="420384" y="1734964"/>
                  </a:cubicBezTo>
                  <a:cubicBezTo>
                    <a:pt x="426447" y="1737859"/>
                    <a:pt x="432447" y="1740753"/>
                    <a:pt x="438443" y="1743648"/>
                  </a:cubicBezTo>
                  <a:cubicBezTo>
                    <a:pt x="437892" y="1748955"/>
                    <a:pt x="436720" y="1759501"/>
                    <a:pt x="436168" y="1764739"/>
                  </a:cubicBezTo>
                  <a:moveTo>
                    <a:pt x="876321" y="581097"/>
                  </a:moveTo>
                  <a:cubicBezTo>
                    <a:pt x="866534" y="560006"/>
                    <a:pt x="898997" y="580476"/>
                    <a:pt x="876321" y="581097"/>
                  </a:cubicBezTo>
                  <a:moveTo>
                    <a:pt x="877010" y="596605"/>
                  </a:moveTo>
                  <a:cubicBezTo>
                    <a:pt x="880732" y="592676"/>
                    <a:pt x="880732" y="592676"/>
                    <a:pt x="877010" y="596605"/>
                  </a:cubicBezTo>
                  <a:moveTo>
                    <a:pt x="891485" y="575651"/>
                  </a:moveTo>
                  <a:cubicBezTo>
                    <a:pt x="901823" y="577719"/>
                    <a:pt x="906855" y="586955"/>
                    <a:pt x="912851" y="594606"/>
                  </a:cubicBezTo>
                  <a:cubicBezTo>
                    <a:pt x="912162" y="596673"/>
                    <a:pt x="910921" y="600809"/>
                    <a:pt x="910232" y="602877"/>
                  </a:cubicBezTo>
                  <a:cubicBezTo>
                    <a:pt x="911404" y="606599"/>
                    <a:pt x="913609" y="614043"/>
                    <a:pt x="914781" y="617764"/>
                  </a:cubicBezTo>
                  <a:cubicBezTo>
                    <a:pt x="897412" y="612388"/>
                    <a:pt x="898653" y="589505"/>
                    <a:pt x="891485" y="575651"/>
                  </a:cubicBezTo>
                  <a:moveTo>
                    <a:pt x="856195" y="623761"/>
                  </a:moveTo>
                  <a:cubicBezTo>
                    <a:pt x="844823" y="603566"/>
                    <a:pt x="878802" y="621555"/>
                    <a:pt x="856195" y="623761"/>
                  </a:cubicBezTo>
                  <a:moveTo>
                    <a:pt x="1145265" y="642370"/>
                  </a:moveTo>
                  <a:cubicBezTo>
                    <a:pt x="1138441" y="635478"/>
                    <a:pt x="1147471" y="618454"/>
                    <a:pt x="1156844" y="625484"/>
                  </a:cubicBezTo>
                  <a:cubicBezTo>
                    <a:pt x="1163392" y="632445"/>
                    <a:pt x="1154363" y="648711"/>
                    <a:pt x="1145265" y="642370"/>
                  </a:cubicBezTo>
                  <a:moveTo>
                    <a:pt x="1132859" y="650228"/>
                  </a:moveTo>
                  <a:cubicBezTo>
                    <a:pt x="1127827" y="642715"/>
                    <a:pt x="1127758" y="635133"/>
                    <a:pt x="1132790" y="627621"/>
                  </a:cubicBezTo>
                  <a:cubicBezTo>
                    <a:pt x="1142853" y="627069"/>
                    <a:pt x="1143059" y="651468"/>
                    <a:pt x="1132859" y="650228"/>
                  </a:cubicBezTo>
                  <a:moveTo>
                    <a:pt x="898515" y="658085"/>
                  </a:moveTo>
                  <a:cubicBezTo>
                    <a:pt x="902375" y="654846"/>
                    <a:pt x="902375" y="654846"/>
                    <a:pt x="898515" y="658085"/>
                  </a:cubicBezTo>
                  <a:moveTo>
                    <a:pt x="865569" y="679038"/>
                  </a:moveTo>
                  <a:cubicBezTo>
                    <a:pt x="874047" y="667735"/>
                    <a:pt x="871634" y="652916"/>
                    <a:pt x="874529" y="639820"/>
                  </a:cubicBezTo>
                  <a:cubicBezTo>
                    <a:pt x="865362" y="640096"/>
                    <a:pt x="856195" y="640372"/>
                    <a:pt x="847097" y="640372"/>
                  </a:cubicBezTo>
                  <a:cubicBezTo>
                    <a:pt x="857780" y="636374"/>
                    <a:pt x="869291" y="636443"/>
                    <a:pt x="880526" y="635271"/>
                  </a:cubicBezTo>
                  <a:cubicBezTo>
                    <a:pt x="879630" y="649814"/>
                    <a:pt x="879078" y="664564"/>
                    <a:pt x="872186" y="677660"/>
                  </a:cubicBezTo>
                  <a:cubicBezTo>
                    <a:pt x="870531" y="678004"/>
                    <a:pt x="867223" y="678694"/>
                    <a:pt x="865569" y="679038"/>
                  </a:cubicBezTo>
                  <a:moveTo>
                    <a:pt x="849992" y="685104"/>
                  </a:moveTo>
                  <a:cubicBezTo>
                    <a:pt x="853438" y="681451"/>
                    <a:pt x="853438" y="681451"/>
                    <a:pt x="849992" y="685104"/>
                  </a:cubicBezTo>
                  <a:moveTo>
                    <a:pt x="1056628" y="704472"/>
                  </a:moveTo>
                  <a:cubicBezTo>
                    <a:pt x="1059799" y="698544"/>
                    <a:pt x="1062969" y="692548"/>
                    <a:pt x="1066208" y="686482"/>
                  </a:cubicBezTo>
                  <a:cubicBezTo>
                    <a:pt x="1065726" y="691514"/>
                    <a:pt x="1064830" y="701646"/>
                    <a:pt x="1064416" y="706677"/>
                  </a:cubicBezTo>
                  <a:cubicBezTo>
                    <a:pt x="1069310" y="705368"/>
                    <a:pt x="1079235" y="702748"/>
                    <a:pt x="1084129" y="701439"/>
                  </a:cubicBezTo>
                  <a:cubicBezTo>
                    <a:pt x="1083371" y="704472"/>
                    <a:pt x="1081716" y="710468"/>
                    <a:pt x="1080958" y="713501"/>
                  </a:cubicBezTo>
                  <a:cubicBezTo>
                    <a:pt x="1072825" y="710537"/>
                    <a:pt x="1064692" y="707504"/>
                    <a:pt x="1056628" y="704472"/>
                  </a:cubicBezTo>
                  <a:moveTo>
                    <a:pt x="869498" y="719980"/>
                  </a:moveTo>
                  <a:cubicBezTo>
                    <a:pt x="858539" y="699371"/>
                    <a:pt x="892174" y="718601"/>
                    <a:pt x="869498" y="719980"/>
                  </a:cubicBezTo>
                  <a:moveTo>
                    <a:pt x="1063520" y="726596"/>
                  </a:moveTo>
                  <a:cubicBezTo>
                    <a:pt x="1067105" y="722805"/>
                    <a:pt x="1067105" y="722805"/>
                    <a:pt x="1063520" y="726596"/>
                  </a:cubicBezTo>
                  <a:moveTo>
                    <a:pt x="862192" y="746309"/>
                  </a:moveTo>
                  <a:cubicBezTo>
                    <a:pt x="852266" y="725287"/>
                    <a:pt x="884937" y="746033"/>
                    <a:pt x="862192" y="746309"/>
                  </a:cubicBezTo>
                  <a:moveTo>
                    <a:pt x="910714" y="781529"/>
                  </a:moveTo>
                  <a:cubicBezTo>
                    <a:pt x="900858" y="760438"/>
                    <a:pt x="933529" y="781254"/>
                    <a:pt x="910714" y="781529"/>
                  </a:cubicBezTo>
                  <a:moveTo>
                    <a:pt x="1048219" y="803930"/>
                  </a:moveTo>
                  <a:cubicBezTo>
                    <a:pt x="1053388" y="793384"/>
                    <a:pt x="1059247" y="782563"/>
                    <a:pt x="1057524" y="770295"/>
                  </a:cubicBezTo>
                  <a:cubicBezTo>
                    <a:pt x="1060694" y="772293"/>
                    <a:pt x="1067036" y="776291"/>
                    <a:pt x="1070275" y="778290"/>
                  </a:cubicBezTo>
                  <a:cubicBezTo>
                    <a:pt x="1073721" y="771191"/>
                    <a:pt x="1077167" y="764022"/>
                    <a:pt x="1080614" y="756785"/>
                  </a:cubicBezTo>
                  <a:cubicBezTo>
                    <a:pt x="1074755" y="772914"/>
                    <a:pt x="1081441" y="787939"/>
                    <a:pt x="1088609" y="802207"/>
                  </a:cubicBezTo>
                  <a:cubicBezTo>
                    <a:pt x="1085921" y="799725"/>
                    <a:pt x="1080545" y="794694"/>
                    <a:pt x="1077857" y="792144"/>
                  </a:cubicBezTo>
                  <a:cubicBezTo>
                    <a:pt x="1073997" y="791868"/>
                    <a:pt x="1066208" y="791248"/>
                    <a:pt x="1062349" y="790972"/>
                  </a:cubicBezTo>
                  <a:cubicBezTo>
                    <a:pt x="1057593" y="795314"/>
                    <a:pt x="1052906" y="799656"/>
                    <a:pt x="1048219" y="803930"/>
                  </a:cubicBezTo>
                  <a:moveTo>
                    <a:pt x="1065726" y="835980"/>
                  </a:moveTo>
                  <a:cubicBezTo>
                    <a:pt x="1065450" y="825297"/>
                    <a:pt x="1065244" y="814544"/>
                    <a:pt x="1065175" y="803792"/>
                  </a:cubicBezTo>
                  <a:cubicBezTo>
                    <a:pt x="1070689" y="812821"/>
                    <a:pt x="1075996" y="821988"/>
                    <a:pt x="1081441" y="831017"/>
                  </a:cubicBezTo>
                  <a:cubicBezTo>
                    <a:pt x="1076203" y="832740"/>
                    <a:pt x="1070964" y="834395"/>
                    <a:pt x="1065726" y="835980"/>
                  </a:cubicBezTo>
                  <a:moveTo>
                    <a:pt x="1096880" y="864997"/>
                  </a:moveTo>
                  <a:cubicBezTo>
                    <a:pt x="1086128" y="844457"/>
                    <a:pt x="1119625" y="863687"/>
                    <a:pt x="1096880" y="864997"/>
                  </a:cubicBezTo>
                  <a:moveTo>
                    <a:pt x="898032" y="899046"/>
                  </a:moveTo>
                  <a:cubicBezTo>
                    <a:pt x="891898" y="890568"/>
                    <a:pt x="893208" y="885261"/>
                    <a:pt x="901961" y="882986"/>
                  </a:cubicBezTo>
                  <a:cubicBezTo>
                    <a:pt x="908095" y="891464"/>
                    <a:pt x="906786" y="896840"/>
                    <a:pt x="898032" y="899046"/>
                  </a:cubicBezTo>
                  <a:moveTo>
                    <a:pt x="905132" y="926064"/>
                  </a:moveTo>
                  <a:cubicBezTo>
                    <a:pt x="908854" y="922411"/>
                    <a:pt x="908854" y="922411"/>
                    <a:pt x="905132" y="926064"/>
                  </a:cubicBezTo>
                  <a:moveTo>
                    <a:pt x="973160" y="1056607"/>
                  </a:moveTo>
                  <a:cubicBezTo>
                    <a:pt x="970196" y="1047096"/>
                    <a:pt x="973643" y="1043581"/>
                    <a:pt x="983361" y="1046062"/>
                  </a:cubicBezTo>
                  <a:cubicBezTo>
                    <a:pt x="986256" y="1055574"/>
                    <a:pt x="982879" y="1059089"/>
                    <a:pt x="973160" y="1056607"/>
                  </a:cubicBezTo>
                  <a:moveTo>
                    <a:pt x="876528" y="1139455"/>
                  </a:moveTo>
                  <a:cubicBezTo>
                    <a:pt x="865638" y="1118915"/>
                    <a:pt x="899273" y="1137939"/>
                    <a:pt x="876528" y="1139455"/>
                  </a:cubicBezTo>
                  <a:moveTo>
                    <a:pt x="1079511" y="1209689"/>
                  </a:moveTo>
                  <a:cubicBezTo>
                    <a:pt x="1076478" y="1201487"/>
                    <a:pt x="1074204" y="1192251"/>
                    <a:pt x="1066553" y="1186944"/>
                  </a:cubicBezTo>
                  <a:cubicBezTo>
                    <a:pt x="1065175" y="1176674"/>
                    <a:pt x="1072963" y="1166335"/>
                    <a:pt x="1075100" y="1155997"/>
                  </a:cubicBezTo>
                  <a:cubicBezTo>
                    <a:pt x="1070826" y="1151723"/>
                    <a:pt x="1066484" y="1147450"/>
                    <a:pt x="1062142" y="1143108"/>
                  </a:cubicBezTo>
                  <a:cubicBezTo>
                    <a:pt x="1071722" y="1147657"/>
                    <a:pt x="1081579" y="1153447"/>
                    <a:pt x="1092813" y="1151034"/>
                  </a:cubicBezTo>
                  <a:cubicBezTo>
                    <a:pt x="1085783" y="1162131"/>
                    <a:pt x="1077374" y="1172401"/>
                    <a:pt x="1068621" y="1182050"/>
                  </a:cubicBezTo>
                  <a:cubicBezTo>
                    <a:pt x="1105358" y="1168610"/>
                    <a:pt x="1090401" y="1197145"/>
                    <a:pt x="1079511" y="1209689"/>
                  </a:cubicBezTo>
                  <a:moveTo>
                    <a:pt x="872875" y="1292399"/>
                  </a:moveTo>
                  <a:cubicBezTo>
                    <a:pt x="873426" y="1279096"/>
                    <a:pt x="874667" y="1265794"/>
                    <a:pt x="878389" y="1252905"/>
                  </a:cubicBezTo>
                  <a:cubicBezTo>
                    <a:pt x="872806" y="1265311"/>
                    <a:pt x="888797" y="1287092"/>
                    <a:pt x="872875" y="1292399"/>
                  </a:cubicBezTo>
                  <a:moveTo>
                    <a:pt x="1037536" y="1258763"/>
                  </a:moveTo>
                  <a:cubicBezTo>
                    <a:pt x="1044911" y="1280612"/>
                    <a:pt x="1048357" y="1303633"/>
                    <a:pt x="1050838" y="1326516"/>
                  </a:cubicBezTo>
                  <a:cubicBezTo>
                    <a:pt x="1023889" y="1315075"/>
                    <a:pt x="1040844" y="1281026"/>
                    <a:pt x="1037536" y="1258763"/>
                  </a:cubicBezTo>
                  <a:moveTo>
                    <a:pt x="1035882" y="1344781"/>
                  </a:moveTo>
                  <a:cubicBezTo>
                    <a:pt x="1043739" y="1347194"/>
                    <a:pt x="1047943" y="1362081"/>
                    <a:pt x="1045531" y="1369939"/>
                  </a:cubicBezTo>
                  <a:cubicBezTo>
                    <a:pt x="1033125" y="1373868"/>
                    <a:pt x="1030023" y="1352363"/>
                    <a:pt x="1035882" y="1344781"/>
                  </a:cubicBezTo>
                  <a:moveTo>
                    <a:pt x="1077305" y="1381105"/>
                  </a:moveTo>
                  <a:cubicBezTo>
                    <a:pt x="1081027" y="1377589"/>
                    <a:pt x="1081027" y="1377589"/>
                    <a:pt x="1077305" y="1381105"/>
                  </a:cubicBezTo>
                  <a:moveTo>
                    <a:pt x="1028300" y="1457335"/>
                  </a:moveTo>
                  <a:cubicBezTo>
                    <a:pt x="1024992" y="1447341"/>
                    <a:pt x="1028093" y="1444308"/>
                    <a:pt x="1037674" y="1448375"/>
                  </a:cubicBezTo>
                  <a:cubicBezTo>
                    <a:pt x="1041051" y="1458300"/>
                    <a:pt x="1037880" y="1461333"/>
                    <a:pt x="1028300" y="1457335"/>
                  </a:cubicBezTo>
                  <a:moveTo>
                    <a:pt x="1029334" y="1478357"/>
                  </a:moveTo>
                  <a:cubicBezTo>
                    <a:pt x="1033125" y="1474773"/>
                    <a:pt x="1033125" y="1474773"/>
                    <a:pt x="1029334" y="1478357"/>
                  </a:cubicBezTo>
                  <a:moveTo>
                    <a:pt x="822284" y="1482010"/>
                  </a:moveTo>
                  <a:cubicBezTo>
                    <a:pt x="836965" y="1470982"/>
                    <a:pt x="838688" y="1491522"/>
                    <a:pt x="844133" y="1500551"/>
                  </a:cubicBezTo>
                  <a:cubicBezTo>
                    <a:pt x="830279" y="1509304"/>
                    <a:pt x="813393" y="1496691"/>
                    <a:pt x="822284" y="1482010"/>
                  </a:cubicBezTo>
                  <a:moveTo>
                    <a:pt x="787960" y="1520195"/>
                  </a:moveTo>
                  <a:cubicBezTo>
                    <a:pt x="791613" y="1515990"/>
                    <a:pt x="791613" y="1515990"/>
                    <a:pt x="787960" y="1520195"/>
                  </a:cubicBezTo>
                  <a:moveTo>
                    <a:pt x="815254" y="1521849"/>
                  </a:moveTo>
                  <a:cubicBezTo>
                    <a:pt x="819803" y="1512820"/>
                    <a:pt x="826626" y="1510338"/>
                    <a:pt x="835656" y="1514336"/>
                  </a:cubicBezTo>
                  <a:cubicBezTo>
                    <a:pt x="844133" y="1527156"/>
                    <a:pt x="815667" y="1537977"/>
                    <a:pt x="815254" y="1521849"/>
                  </a:cubicBezTo>
                  <a:moveTo>
                    <a:pt x="814082" y="1554243"/>
                  </a:moveTo>
                  <a:cubicBezTo>
                    <a:pt x="814565" y="1549970"/>
                    <a:pt x="815530" y="1541285"/>
                    <a:pt x="816012" y="1537012"/>
                  </a:cubicBezTo>
                  <a:cubicBezTo>
                    <a:pt x="825524" y="1538391"/>
                    <a:pt x="835449" y="1539562"/>
                    <a:pt x="843720" y="1544939"/>
                  </a:cubicBezTo>
                  <a:cubicBezTo>
                    <a:pt x="831796" y="1541837"/>
                    <a:pt x="821250" y="1543629"/>
                    <a:pt x="814082" y="1554243"/>
                  </a:cubicBezTo>
                  <a:moveTo>
                    <a:pt x="794921" y="1580917"/>
                  </a:moveTo>
                  <a:cubicBezTo>
                    <a:pt x="790441" y="1572922"/>
                    <a:pt x="788029" y="1553692"/>
                    <a:pt x="798298" y="1550453"/>
                  </a:cubicBezTo>
                  <a:cubicBezTo>
                    <a:pt x="802847" y="1558655"/>
                    <a:pt x="804295" y="1576989"/>
                    <a:pt x="794921" y="1580917"/>
                  </a:cubicBezTo>
                  <a:moveTo>
                    <a:pt x="823111" y="1600630"/>
                  </a:moveTo>
                  <a:cubicBezTo>
                    <a:pt x="817597" y="1593048"/>
                    <a:pt x="814496" y="1581882"/>
                    <a:pt x="816288" y="1572577"/>
                  </a:cubicBezTo>
                  <a:cubicBezTo>
                    <a:pt x="830624" y="1568304"/>
                    <a:pt x="839722" y="1602284"/>
                    <a:pt x="823111" y="1600630"/>
                  </a:cubicBezTo>
                  <a:moveTo>
                    <a:pt x="963649" y="1599320"/>
                  </a:moveTo>
                  <a:cubicBezTo>
                    <a:pt x="935114" y="1605179"/>
                    <a:pt x="906097" y="1599734"/>
                    <a:pt x="877355" y="1599251"/>
                  </a:cubicBezTo>
                  <a:cubicBezTo>
                    <a:pt x="881353" y="1502963"/>
                    <a:pt x="888659" y="1406882"/>
                    <a:pt x="894241" y="1310664"/>
                  </a:cubicBezTo>
                  <a:cubicBezTo>
                    <a:pt x="885695" y="1311629"/>
                    <a:pt x="879009" y="1309009"/>
                    <a:pt x="874047" y="1302806"/>
                  </a:cubicBezTo>
                  <a:cubicBezTo>
                    <a:pt x="879285" y="1302668"/>
                    <a:pt x="889692" y="1302393"/>
                    <a:pt x="894862" y="1302255"/>
                  </a:cubicBezTo>
                  <a:cubicBezTo>
                    <a:pt x="902512" y="1263037"/>
                    <a:pt x="888383" y="1217271"/>
                    <a:pt x="915815" y="1184118"/>
                  </a:cubicBezTo>
                  <a:cubicBezTo>
                    <a:pt x="914850" y="1188391"/>
                    <a:pt x="912989" y="1196869"/>
                    <a:pt x="912093" y="1201074"/>
                  </a:cubicBezTo>
                  <a:cubicBezTo>
                    <a:pt x="923948" y="1201418"/>
                    <a:pt x="935803" y="1201832"/>
                    <a:pt x="947727" y="1202245"/>
                  </a:cubicBezTo>
                  <a:cubicBezTo>
                    <a:pt x="947796" y="1197283"/>
                    <a:pt x="948072" y="1187289"/>
                    <a:pt x="948141" y="1182257"/>
                  </a:cubicBezTo>
                  <a:cubicBezTo>
                    <a:pt x="948830" y="1188667"/>
                    <a:pt x="949519" y="1195077"/>
                    <a:pt x="950070" y="1201418"/>
                  </a:cubicBezTo>
                  <a:cubicBezTo>
                    <a:pt x="968887" y="1202590"/>
                    <a:pt x="985153" y="1211619"/>
                    <a:pt x="999972" y="1222578"/>
                  </a:cubicBezTo>
                  <a:cubicBezTo>
                    <a:pt x="1004452" y="1246357"/>
                    <a:pt x="1016169" y="1268826"/>
                    <a:pt x="1015687" y="1293433"/>
                  </a:cubicBezTo>
                  <a:cubicBezTo>
                    <a:pt x="1015893" y="1330859"/>
                    <a:pt x="1013688" y="1368285"/>
                    <a:pt x="1009415" y="1405504"/>
                  </a:cubicBezTo>
                  <a:cubicBezTo>
                    <a:pt x="1022648" y="1408192"/>
                    <a:pt x="1027817" y="1416739"/>
                    <a:pt x="1024785" y="1431075"/>
                  </a:cubicBezTo>
                  <a:cubicBezTo>
                    <a:pt x="1020994" y="1428318"/>
                    <a:pt x="1013412" y="1422873"/>
                    <a:pt x="1009690" y="1420116"/>
                  </a:cubicBezTo>
                  <a:cubicBezTo>
                    <a:pt x="1009415" y="1424389"/>
                    <a:pt x="1008863" y="1432936"/>
                    <a:pt x="1008587" y="1437209"/>
                  </a:cubicBezTo>
                  <a:cubicBezTo>
                    <a:pt x="1011965" y="1438174"/>
                    <a:pt x="1018788" y="1440035"/>
                    <a:pt x="1022235" y="1441000"/>
                  </a:cubicBezTo>
                  <a:cubicBezTo>
                    <a:pt x="1017272" y="1445342"/>
                    <a:pt x="1012309" y="1449616"/>
                    <a:pt x="1007347" y="1453820"/>
                  </a:cubicBezTo>
                  <a:cubicBezTo>
                    <a:pt x="1004038" y="1483595"/>
                    <a:pt x="1004521" y="1513854"/>
                    <a:pt x="997560" y="1543146"/>
                  </a:cubicBezTo>
                  <a:cubicBezTo>
                    <a:pt x="993769" y="1560722"/>
                    <a:pt x="982948" y="1576230"/>
                    <a:pt x="982396" y="1594564"/>
                  </a:cubicBezTo>
                  <a:lnTo>
                    <a:pt x="969576" y="1591325"/>
                  </a:lnTo>
                  <a:cubicBezTo>
                    <a:pt x="969438" y="1594978"/>
                    <a:pt x="969232" y="1602215"/>
                    <a:pt x="969094" y="1605868"/>
                  </a:cubicBezTo>
                  <a:lnTo>
                    <a:pt x="969507" y="1608349"/>
                  </a:lnTo>
                  <a:lnTo>
                    <a:pt x="969921" y="1609728"/>
                  </a:lnTo>
                  <a:lnTo>
                    <a:pt x="968129" y="1624684"/>
                  </a:lnTo>
                  <a:cubicBezTo>
                    <a:pt x="964545" y="1616689"/>
                    <a:pt x="963235" y="1608142"/>
                    <a:pt x="963649" y="1599320"/>
                  </a:cubicBezTo>
                  <a:moveTo>
                    <a:pt x="800987" y="1623444"/>
                  </a:moveTo>
                  <a:cubicBezTo>
                    <a:pt x="790165" y="1621031"/>
                    <a:pt x="795197" y="1602559"/>
                    <a:pt x="805604" y="1605248"/>
                  </a:cubicBezTo>
                  <a:cubicBezTo>
                    <a:pt x="815736" y="1608556"/>
                    <a:pt x="812221" y="1626476"/>
                    <a:pt x="800987" y="1623444"/>
                  </a:cubicBezTo>
                  <a:moveTo>
                    <a:pt x="911817" y="1630681"/>
                  </a:moveTo>
                  <a:cubicBezTo>
                    <a:pt x="906097" y="1624684"/>
                    <a:pt x="910232" y="1608349"/>
                    <a:pt x="920019" y="1611313"/>
                  </a:cubicBezTo>
                  <a:cubicBezTo>
                    <a:pt x="926705" y="1617240"/>
                    <a:pt x="923121" y="1639227"/>
                    <a:pt x="911817" y="1630681"/>
                  </a:cubicBezTo>
                  <a:moveTo>
                    <a:pt x="876390" y="1630060"/>
                  </a:moveTo>
                  <a:cubicBezTo>
                    <a:pt x="865845" y="1609590"/>
                    <a:pt x="899342" y="1628820"/>
                    <a:pt x="876390" y="1630060"/>
                  </a:cubicBezTo>
                  <a:moveTo>
                    <a:pt x="787408" y="1635919"/>
                  </a:moveTo>
                  <a:cubicBezTo>
                    <a:pt x="776863" y="1615104"/>
                    <a:pt x="810153" y="1634954"/>
                    <a:pt x="787408" y="1635919"/>
                  </a:cubicBezTo>
                  <a:moveTo>
                    <a:pt x="951863" y="1643018"/>
                  </a:moveTo>
                  <a:cubicBezTo>
                    <a:pt x="941799" y="1621996"/>
                    <a:pt x="974677" y="1642743"/>
                    <a:pt x="951863" y="1643018"/>
                  </a:cubicBezTo>
                  <a:moveTo>
                    <a:pt x="960133" y="1665074"/>
                  </a:moveTo>
                  <a:cubicBezTo>
                    <a:pt x="951035" y="1659836"/>
                    <a:pt x="950966" y="1655080"/>
                    <a:pt x="959789" y="1650945"/>
                  </a:cubicBezTo>
                  <a:cubicBezTo>
                    <a:pt x="968887" y="1656183"/>
                    <a:pt x="969025" y="1660939"/>
                    <a:pt x="960133" y="1665074"/>
                  </a:cubicBezTo>
                  <a:moveTo>
                    <a:pt x="802985" y="1670105"/>
                  </a:moveTo>
                  <a:cubicBezTo>
                    <a:pt x="802710" y="1661972"/>
                    <a:pt x="802779" y="1653770"/>
                    <a:pt x="802641" y="1645637"/>
                  </a:cubicBezTo>
                  <a:cubicBezTo>
                    <a:pt x="804019" y="1650393"/>
                    <a:pt x="806776" y="1659974"/>
                    <a:pt x="808155" y="1664798"/>
                  </a:cubicBezTo>
                  <a:cubicBezTo>
                    <a:pt x="814427" y="1663282"/>
                    <a:pt x="818424" y="1658940"/>
                    <a:pt x="820079" y="1651634"/>
                  </a:cubicBezTo>
                  <a:cubicBezTo>
                    <a:pt x="820010" y="1656803"/>
                    <a:pt x="819941" y="1667073"/>
                    <a:pt x="819872" y="1672173"/>
                  </a:cubicBezTo>
                  <a:cubicBezTo>
                    <a:pt x="815667" y="1671622"/>
                    <a:pt x="807190" y="1670588"/>
                    <a:pt x="802985" y="1670105"/>
                  </a:cubicBezTo>
                  <a:moveTo>
                    <a:pt x="927670" y="1657010"/>
                  </a:moveTo>
                  <a:cubicBezTo>
                    <a:pt x="919537" y="1657699"/>
                    <a:pt x="911473" y="1658113"/>
                    <a:pt x="903340" y="1658388"/>
                  </a:cubicBezTo>
                  <a:cubicBezTo>
                    <a:pt x="907062" y="1657561"/>
                    <a:pt x="914368" y="1655769"/>
                    <a:pt x="918089" y="1654873"/>
                  </a:cubicBezTo>
                  <a:cubicBezTo>
                    <a:pt x="916091" y="1651082"/>
                    <a:pt x="912093" y="1643501"/>
                    <a:pt x="910094" y="1639710"/>
                  </a:cubicBezTo>
                  <a:cubicBezTo>
                    <a:pt x="917607" y="1656872"/>
                    <a:pt x="936217" y="1644603"/>
                    <a:pt x="947727" y="1655700"/>
                  </a:cubicBezTo>
                  <a:cubicBezTo>
                    <a:pt x="944419" y="1656665"/>
                    <a:pt x="937802" y="1658595"/>
                    <a:pt x="934493" y="1659560"/>
                  </a:cubicBezTo>
                  <a:cubicBezTo>
                    <a:pt x="941041" y="1672105"/>
                    <a:pt x="942351" y="1686234"/>
                    <a:pt x="943660" y="1700019"/>
                  </a:cubicBezTo>
                  <a:cubicBezTo>
                    <a:pt x="932288" y="1688577"/>
                    <a:pt x="927325" y="1673000"/>
                    <a:pt x="927670" y="1657010"/>
                  </a:cubicBezTo>
                  <a:moveTo>
                    <a:pt x="896585" y="1683477"/>
                  </a:moveTo>
                  <a:lnTo>
                    <a:pt x="907613" y="1682994"/>
                  </a:lnTo>
                  <a:cubicBezTo>
                    <a:pt x="907268" y="1678928"/>
                    <a:pt x="906717" y="1670726"/>
                    <a:pt x="906372" y="1666591"/>
                  </a:cubicBezTo>
                  <a:cubicBezTo>
                    <a:pt x="912851" y="1668796"/>
                    <a:pt x="919330" y="1671002"/>
                    <a:pt x="925809" y="1673138"/>
                  </a:cubicBezTo>
                  <a:cubicBezTo>
                    <a:pt x="919261" y="1681478"/>
                    <a:pt x="912713" y="1689680"/>
                    <a:pt x="906234" y="1697951"/>
                  </a:cubicBezTo>
                  <a:cubicBezTo>
                    <a:pt x="902995" y="1693127"/>
                    <a:pt x="899755" y="1688370"/>
                    <a:pt x="896585" y="1683477"/>
                  </a:cubicBezTo>
                  <a:moveTo>
                    <a:pt x="885212" y="1698296"/>
                  </a:moveTo>
                  <a:cubicBezTo>
                    <a:pt x="888934" y="1694850"/>
                    <a:pt x="888934" y="1694850"/>
                    <a:pt x="885212" y="1698296"/>
                  </a:cubicBezTo>
                  <a:moveTo>
                    <a:pt x="1029816" y="1712149"/>
                  </a:moveTo>
                  <a:cubicBezTo>
                    <a:pt x="1033400" y="1708497"/>
                    <a:pt x="1033400" y="1708497"/>
                    <a:pt x="1029816" y="1712149"/>
                  </a:cubicBezTo>
                  <a:moveTo>
                    <a:pt x="925120" y="1711460"/>
                  </a:moveTo>
                  <a:cubicBezTo>
                    <a:pt x="913747" y="1691265"/>
                    <a:pt x="947796" y="1709461"/>
                    <a:pt x="925120" y="1711460"/>
                  </a:cubicBezTo>
                  <a:moveTo>
                    <a:pt x="883214" y="1720007"/>
                  </a:moveTo>
                  <a:cubicBezTo>
                    <a:pt x="872599" y="1699330"/>
                    <a:pt x="905959" y="1718766"/>
                    <a:pt x="883214" y="1720007"/>
                  </a:cubicBezTo>
                  <a:moveTo>
                    <a:pt x="985705" y="1729312"/>
                  </a:moveTo>
                  <a:cubicBezTo>
                    <a:pt x="985429" y="1718215"/>
                    <a:pt x="990185" y="1708497"/>
                    <a:pt x="995216" y="1698916"/>
                  </a:cubicBezTo>
                  <a:cubicBezTo>
                    <a:pt x="996250" y="1689473"/>
                    <a:pt x="992252" y="1680375"/>
                    <a:pt x="990874" y="1671139"/>
                  </a:cubicBezTo>
                  <a:cubicBezTo>
                    <a:pt x="997560" y="1681478"/>
                    <a:pt x="999834" y="1693816"/>
                    <a:pt x="1002936" y="1705533"/>
                  </a:cubicBezTo>
                  <a:cubicBezTo>
                    <a:pt x="997284" y="1713528"/>
                    <a:pt x="991632" y="1721523"/>
                    <a:pt x="985705" y="1729312"/>
                  </a:cubicBezTo>
                  <a:moveTo>
                    <a:pt x="906097" y="1711254"/>
                  </a:moveTo>
                  <a:cubicBezTo>
                    <a:pt x="907475" y="1721317"/>
                    <a:pt x="908785" y="1731311"/>
                    <a:pt x="909887" y="1741374"/>
                  </a:cubicBezTo>
                  <a:cubicBezTo>
                    <a:pt x="906510" y="1748335"/>
                    <a:pt x="903202" y="1755227"/>
                    <a:pt x="899962" y="1762189"/>
                  </a:cubicBezTo>
                  <a:cubicBezTo>
                    <a:pt x="903202" y="1745509"/>
                    <a:pt x="897412" y="1726417"/>
                    <a:pt x="906097" y="1711254"/>
                  </a:cubicBezTo>
                  <a:moveTo>
                    <a:pt x="793543" y="1761500"/>
                  </a:moveTo>
                  <a:cubicBezTo>
                    <a:pt x="789614" y="1752195"/>
                    <a:pt x="792784" y="1749093"/>
                    <a:pt x="803054" y="1752264"/>
                  </a:cubicBezTo>
                  <a:cubicBezTo>
                    <a:pt x="806983" y="1761500"/>
                    <a:pt x="803812" y="1764601"/>
                    <a:pt x="793543" y="1761500"/>
                  </a:cubicBezTo>
                  <a:moveTo>
                    <a:pt x="987359" y="1767978"/>
                  </a:moveTo>
                  <a:cubicBezTo>
                    <a:pt x="979363" y="1760879"/>
                    <a:pt x="988048" y="1741236"/>
                    <a:pt x="998731" y="1749438"/>
                  </a:cubicBezTo>
                  <a:cubicBezTo>
                    <a:pt x="1006382" y="1756468"/>
                    <a:pt x="997697" y="1775284"/>
                    <a:pt x="987359" y="1767978"/>
                  </a:cubicBezTo>
                  <a:moveTo>
                    <a:pt x="878251" y="1766531"/>
                  </a:moveTo>
                  <a:cubicBezTo>
                    <a:pt x="870738" y="1764670"/>
                    <a:pt x="866258" y="1748473"/>
                    <a:pt x="876804" y="1748197"/>
                  </a:cubicBezTo>
                  <a:cubicBezTo>
                    <a:pt x="885281" y="1749231"/>
                    <a:pt x="889003" y="1766945"/>
                    <a:pt x="878251" y="1766531"/>
                  </a:cubicBezTo>
                  <a:moveTo>
                    <a:pt x="855092" y="1770460"/>
                  </a:moveTo>
                  <a:cubicBezTo>
                    <a:pt x="848545" y="1761362"/>
                    <a:pt x="851301" y="1749093"/>
                    <a:pt x="851577" y="1738617"/>
                  </a:cubicBezTo>
                  <a:cubicBezTo>
                    <a:pt x="855023" y="1733585"/>
                    <a:pt x="857574" y="1734550"/>
                    <a:pt x="859366" y="1741442"/>
                  </a:cubicBezTo>
                  <a:cubicBezTo>
                    <a:pt x="858607" y="1749920"/>
                    <a:pt x="866051" y="1767634"/>
                    <a:pt x="855092" y="1770460"/>
                  </a:cubicBezTo>
                  <a:moveTo>
                    <a:pt x="774382" y="1769012"/>
                  </a:moveTo>
                  <a:cubicBezTo>
                    <a:pt x="772865" y="1759570"/>
                    <a:pt x="776863" y="1756261"/>
                    <a:pt x="786443" y="1759018"/>
                  </a:cubicBezTo>
                  <a:cubicBezTo>
                    <a:pt x="788098" y="1768599"/>
                    <a:pt x="784100" y="1771907"/>
                    <a:pt x="774382" y="1769012"/>
                  </a:cubicBezTo>
                  <a:moveTo>
                    <a:pt x="808568" y="1788518"/>
                  </a:moveTo>
                  <a:cubicBezTo>
                    <a:pt x="849440" y="1789828"/>
                    <a:pt x="890244" y="1792998"/>
                    <a:pt x="931116" y="1795273"/>
                  </a:cubicBezTo>
                  <a:cubicBezTo>
                    <a:pt x="965510" y="1797271"/>
                    <a:pt x="1000110" y="1783762"/>
                    <a:pt x="1024233" y="1759225"/>
                  </a:cubicBezTo>
                  <a:cubicBezTo>
                    <a:pt x="1057593" y="1726348"/>
                    <a:pt x="1073308" y="1680858"/>
                    <a:pt x="1086197" y="1636953"/>
                  </a:cubicBezTo>
                  <a:cubicBezTo>
                    <a:pt x="1082957" y="1630405"/>
                    <a:pt x="1079718" y="1623857"/>
                    <a:pt x="1076409" y="1617309"/>
                  </a:cubicBezTo>
                  <a:lnTo>
                    <a:pt x="1073377" y="1611382"/>
                  </a:lnTo>
                  <a:lnTo>
                    <a:pt x="1074617" y="1605248"/>
                  </a:lnTo>
                  <a:cubicBezTo>
                    <a:pt x="1073032" y="1592979"/>
                    <a:pt x="1072412" y="1580435"/>
                    <a:pt x="1074479" y="1568097"/>
                  </a:cubicBezTo>
                  <a:cubicBezTo>
                    <a:pt x="1081923" y="1573749"/>
                    <a:pt x="1089298" y="1579470"/>
                    <a:pt x="1096742" y="1585190"/>
                  </a:cubicBezTo>
                  <a:cubicBezTo>
                    <a:pt x="1097776" y="1577264"/>
                    <a:pt x="1099913" y="1561411"/>
                    <a:pt x="1101015" y="1553485"/>
                  </a:cubicBezTo>
                  <a:cubicBezTo>
                    <a:pt x="1091297" y="1553416"/>
                    <a:pt x="1081785" y="1554657"/>
                    <a:pt x="1073446" y="1559895"/>
                  </a:cubicBezTo>
                  <a:cubicBezTo>
                    <a:pt x="1077719" y="1551624"/>
                    <a:pt x="1086817" y="1549694"/>
                    <a:pt x="1094812" y="1546386"/>
                  </a:cubicBezTo>
                  <a:cubicBezTo>
                    <a:pt x="1092882" y="1542733"/>
                    <a:pt x="1090401" y="1539425"/>
                    <a:pt x="1087368" y="1536461"/>
                  </a:cubicBezTo>
                  <a:cubicBezTo>
                    <a:pt x="1092607" y="1534048"/>
                    <a:pt x="1097845" y="1531567"/>
                    <a:pt x="1103083" y="1529017"/>
                  </a:cubicBezTo>
                  <a:cubicBezTo>
                    <a:pt x="1104117" y="1458093"/>
                    <a:pt x="1113904" y="1387790"/>
                    <a:pt x="1115421" y="1316936"/>
                  </a:cubicBezTo>
                  <a:cubicBezTo>
                    <a:pt x="1112457" y="1315695"/>
                    <a:pt x="1106667" y="1313214"/>
                    <a:pt x="1103703" y="1312042"/>
                  </a:cubicBezTo>
                  <a:cubicBezTo>
                    <a:pt x="1127965" y="1297775"/>
                    <a:pt x="1116386" y="1262279"/>
                    <a:pt x="1096329" y="1249252"/>
                  </a:cubicBezTo>
                  <a:cubicBezTo>
                    <a:pt x="1100878" y="1249459"/>
                    <a:pt x="1110045" y="1249872"/>
                    <a:pt x="1114662" y="1250079"/>
                  </a:cubicBezTo>
                  <a:lnTo>
                    <a:pt x="1115559" y="1234020"/>
                  </a:lnTo>
                  <a:lnTo>
                    <a:pt x="1104944" y="1234157"/>
                  </a:lnTo>
                  <a:cubicBezTo>
                    <a:pt x="1107563" y="1229539"/>
                    <a:pt x="1110182" y="1224921"/>
                    <a:pt x="1112870" y="1220235"/>
                  </a:cubicBezTo>
                  <a:cubicBezTo>
                    <a:pt x="1106392" y="1178535"/>
                    <a:pt x="1093089" y="1138559"/>
                    <a:pt x="1076340" y="1100030"/>
                  </a:cubicBezTo>
                  <a:cubicBezTo>
                    <a:pt x="1087230" y="1025385"/>
                    <a:pt x="1105289" y="951429"/>
                    <a:pt x="1120521" y="877403"/>
                  </a:cubicBezTo>
                  <a:cubicBezTo>
                    <a:pt x="1117695" y="875336"/>
                    <a:pt x="1111974" y="871200"/>
                    <a:pt x="1109149" y="869132"/>
                  </a:cubicBezTo>
                  <a:cubicBezTo>
                    <a:pt x="1112388" y="869615"/>
                    <a:pt x="1119005" y="870580"/>
                    <a:pt x="1122244" y="871062"/>
                  </a:cubicBezTo>
                  <a:cubicBezTo>
                    <a:pt x="1141612" y="766986"/>
                    <a:pt x="1163254" y="663255"/>
                    <a:pt x="1184759" y="559592"/>
                  </a:cubicBezTo>
                  <a:cubicBezTo>
                    <a:pt x="1147471" y="557524"/>
                    <a:pt x="1110251" y="554561"/>
                    <a:pt x="1072963" y="553251"/>
                  </a:cubicBezTo>
                  <a:cubicBezTo>
                    <a:pt x="1063107" y="605634"/>
                    <a:pt x="1051872" y="657810"/>
                    <a:pt x="1043257" y="710399"/>
                  </a:cubicBezTo>
                  <a:cubicBezTo>
                    <a:pt x="1046910" y="713018"/>
                    <a:pt x="1054285" y="718257"/>
                    <a:pt x="1057937" y="720876"/>
                  </a:cubicBezTo>
                  <a:cubicBezTo>
                    <a:pt x="1048702" y="731835"/>
                    <a:pt x="1034641" y="740450"/>
                    <a:pt x="1033331" y="756165"/>
                  </a:cubicBezTo>
                  <a:cubicBezTo>
                    <a:pt x="1014791" y="843079"/>
                    <a:pt x="1000661" y="931234"/>
                    <a:pt x="980328" y="1017596"/>
                  </a:cubicBezTo>
                  <a:cubicBezTo>
                    <a:pt x="957859" y="1017596"/>
                    <a:pt x="935458" y="1015253"/>
                    <a:pt x="913058" y="1014012"/>
                  </a:cubicBezTo>
                  <a:cubicBezTo>
                    <a:pt x="913471" y="1009256"/>
                    <a:pt x="914161" y="999745"/>
                    <a:pt x="914505" y="994989"/>
                  </a:cubicBezTo>
                  <a:cubicBezTo>
                    <a:pt x="911611" y="994437"/>
                    <a:pt x="905821" y="993266"/>
                    <a:pt x="902926" y="992645"/>
                  </a:cubicBezTo>
                  <a:lnTo>
                    <a:pt x="914299" y="993404"/>
                  </a:lnTo>
                  <a:cubicBezTo>
                    <a:pt x="914919" y="987614"/>
                    <a:pt x="916160" y="976103"/>
                    <a:pt x="916780" y="970314"/>
                  </a:cubicBezTo>
                  <a:lnTo>
                    <a:pt x="905338" y="972451"/>
                  </a:lnTo>
                  <a:cubicBezTo>
                    <a:pt x="905407" y="971003"/>
                    <a:pt x="905545" y="968108"/>
                    <a:pt x="905614" y="966661"/>
                  </a:cubicBezTo>
                  <a:cubicBezTo>
                    <a:pt x="908371" y="967212"/>
                    <a:pt x="913816" y="968384"/>
                    <a:pt x="916573" y="968935"/>
                  </a:cubicBezTo>
                  <a:cubicBezTo>
                    <a:pt x="922018" y="856519"/>
                    <a:pt x="930358" y="744241"/>
                    <a:pt x="936975" y="631825"/>
                  </a:cubicBezTo>
                  <a:cubicBezTo>
                    <a:pt x="936630" y="613353"/>
                    <a:pt x="947865" y="587989"/>
                    <a:pt x="926223" y="577444"/>
                  </a:cubicBezTo>
                  <a:cubicBezTo>
                    <a:pt x="930220" y="577512"/>
                    <a:pt x="938147" y="577512"/>
                    <a:pt x="942075" y="577512"/>
                  </a:cubicBezTo>
                  <a:cubicBezTo>
                    <a:pt x="941937" y="570827"/>
                    <a:pt x="941593" y="557524"/>
                    <a:pt x="941386" y="550839"/>
                  </a:cubicBezTo>
                  <a:lnTo>
                    <a:pt x="929048" y="541258"/>
                  </a:lnTo>
                  <a:cubicBezTo>
                    <a:pt x="926636" y="550149"/>
                    <a:pt x="927325" y="559385"/>
                    <a:pt x="925258" y="568276"/>
                  </a:cubicBezTo>
                  <a:cubicBezTo>
                    <a:pt x="919123" y="559799"/>
                    <a:pt x="918917" y="549047"/>
                    <a:pt x="917538" y="539053"/>
                  </a:cubicBezTo>
                  <a:cubicBezTo>
                    <a:pt x="906786" y="541258"/>
                    <a:pt x="896103" y="543670"/>
                    <a:pt x="885488" y="546152"/>
                  </a:cubicBezTo>
                  <a:cubicBezTo>
                    <a:pt x="883420" y="544635"/>
                    <a:pt x="879216" y="541603"/>
                    <a:pt x="877148" y="540086"/>
                  </a:cubicBezTo>
                  <a:cubicBezTo>
                    <a:pt x="864466" y="539673"/>
                    <a:pt x="851853" y="539121"/>
                    <a:pt x="839309" y="538501"/>
                  </a:cubicBezTo>
                  <a:cubicBezTo>
                    <a:pt x="836207" y="588058"/>
                    <a:pt x="832968" y="637546"/>
                    <a:pt x="829935" y="687034"/>
                  </a:cubicBezTo>
                  <a:cubicBezTo>
                    <a:pt x="828763" y="707918"/>
                    <a:pt x="825386" y="729215"/>
                    <a:pt x="830693" y="749824"/>
                  </a:cubicBezTo>
                  <a:cubicBezTo>
                    <a:pt x="833588" y="752581"/>
                    <a:pt x="839378" y="758164"/>
                    <a:pt x="842203" y="760921"/>
                  </a:cubicBezTo>
                  <a:cubicBezTo>
                    <a:pt x="838413" y="758164"/>
                    <a:pt x="830693" y="752719"/>
                    <a:pt x="826833" y="749962"/>
                  </a:cubicBezTo>
                  <a:cubicBezTo>
                    <a:pt x="826075" y="755614"/>
                    <a:pt x="824490" y="767055"/>
                    <a:pt x="823663" y="772776"/>
                  </a:cubicBezTo>
                  <a:lnTo>
                    <a:pt x="831865" y="772776"/>
                  </a:lnTo>
                  <a:cubicBezTo>
                    <a:pt x="830004" y="774706"/>
                    <a:pt x="826351" y="778566"/>
                    <a:pt x="824490" y="780496"/>
                  </a:cubicBezTo>
                  <a:cubicBezTo>
                    <a:pt x="823732" y="831706"/>
                    <a:pt x="815047" y="882504"/>
                    <a:pt x="817046" y="933715"/>
                  </a:cubicBezTo>
                  <a:cubicBezTo>
                    <a:pt x="819045" y="935438"/>
                    <a:pt x="822973" y="938953"/>
                    <a:pt x="824972" y="940676"/>
                  </a:cubicBezTo>
                  <a:cubicBezTo>
                    <a:pt x="821733" y="955426"/>
                    <a:pt x="818976" y="970383"/>
                    <a:pt x="818493" y="985477"/>
                  </a:cubicBezTo>
                  <a:cubicBezTo>
                    <a:pt x="816426" y="985753"/>
                    <a:pt x="812428" y="986373"/>
                    <a:pt x="810429" y="986649"/>
                  </a:cubicBezTo>
                  <a:cubicBezTo>
                    <a:pt x="810291" y="1037102"/>
                    <a:pt x="801951" y="1087348"/>
                    <a:pt x="803606" y="1137663"/>
                  </a:cubicBezTo>
                  <a:lnTo>
                    <a:pt x="806776" y="1141936"/>
                  </a:lnTo>
                  <a:cubicBezTo>
                    <a:pt x="807810" y="1143039"/>
                    <a:pt x="809947" y="1145245"/>
                    <a:pt x="810981" y="1146347"/>
                  </a:cubicBezTo>
                  <a:cubicBezTo>
                    <a:pt x="791613" y="1156617"/>
                    <a:pt x="800987" y="1185290"/>
                    <a:pt x="798643" y="1203486"/>
                  </a:cubicBezTo>
                  <a:cubicBezTo>
                    <a:pt x="800090" y="1204727"/>
                    <a:pt x="802985" y="1207208"/>
                    <a:pt x="804433" y="1208448"/>
                  </a:cubicBezTo>
                  <a:cubicBezTo>
                    <a:pt x="802572" y="1210447"/>
                    <a:pt x="798988" y="1214376"/>
                    <a:pt x="797127" y="1216375"/>
                  </a:cubicBezTo>
                  <a:cubicBezTo>
                    <a:pt x="788856" y="1337131"/>
                    <a:pt x="781688" y="1458093"/>
                    <a:pt x="774588" y="1578918"/>
                  </a:cubicBezTo>
                  <a:cubicBezTo>
                    <a:pt x="788787" y="1586914"/>
                    <a:pt x="782101" y="1604351"/>
                    <a:pt x="783617" y="1617516"/>
                  </a:cubicBezTo>
                  <a:cubicBezTo>
                    <a:pt x="784582" y="1606971"/>
                    <a:pt x="781343" y="1598631"/>
                    <a:pt x="773968" y="1592428"/>
                  </a:cubicBezTo>
                  <a:cubicBezTo>
                    <a:pt x="769143" y="1640950"/>
                    <a:pt x="768247" y="1689680"/>
                    <a:pt x="763974" y="1738203"/>
                  </a:cubicBezTo>
                  <a:cubicBezTo>
                    <a:pt x="791268" y="1751368"/>
                    <a:pt x="782928" y="1722971"/>
                    <a:pt x="783066" y="1710495"/>
                  </a:cubicBezTo>
                  <a:cubicBezTo>
                    <a:pt x="794370" y="1704361"/>
                    <a:pt x="806500" y="1693884"/>
                    <a:pt x="797127" y="1680099"/>
                  </a:cubicBezTo>
                  <a:cubicBezTo>
                    <a:pt x="798092" y="1681133"/>
                    <a:pt x="800022" y="1683132"/>
                    <a:pt x="801055" y="1684166"/>
                  </a:cubicBezTo>
                  <a:cubicBezTo>
                    <a:pt x="801400" y="1693884"/>
                    <a:pt x="808086" y="1702569"/>
                    <a:pt x="809326" y="1711323"/>
                  </a:cubicBezTo>
                  <a:cubicBezTo>
                    <a:pt x="799263" y="1715389"/>
                    <a:pt x="799401" y="1726348"/>
                    <a:pt x="807052" y="1732758"/>
                  </a:cubicBezTo>
                  <a:lnTo>
                    <a:pt x="789959" y="1723729"/>
                  </a:lnTo>
                  <a:cubicBezTo>
                    <a:pt x="790234" y="1729312"/>
                    <a:pt x="790924" y="1740409"/>
                    <a:pt x="791199" y="1745923"/>
                  </a:cubicBezTo>
                  <a:cubicBezTo>
                    <a:pt x="781963" y="1744958"/>
                    <a:pt x="772796" y="1744131"/>
                    <a:pt x="763560" y="1743510"/>
                  </a:cubicBezTo>
                  <a:cubicBezTo>
                    <a:pt x="762871" y="1757226"/>
                    <a:pt x="762251" y="1770942"/>
                    <a:pt x="761631" y="1784589"/>
                  </a:cubicBezTo>
                  <a:cubicBezTo>
                    <a:pt x="772245" y="1785279"/>
                    <a:pt x="782859" y="1785968"/>
                    <a:pt x="793474" y="1786588"/>
                  </a:cubicBezTo>
                  <a:cubicBezTo>
                    <a:pt x="797609" y="1783004"/>
                    <a:pt x="805880" y="1775905"/>
                    <a:pt x="810016" y="1772321"/>
                  </a:cubicBezTo>
                  <a:cubicBezTo>
                    <a:pt x="809602" y="1776387"/>
                    <a:pt x="808913" y="1784452"/>
                    <a:pt x="808568" y="1788518"/>
                  </a:cubicBezTo>
                  <a:moveTo>
                    <a:pt x="1324883" y="656569"/>
                  </a:moveTo>
                  <a:cubicBezTo>
                    <a:pt x="1322057" y="646920"/>
                    <a:pt x="1325434" y="643473"/>
                    <a:pt x="1335083" y="646230"/>
                  </a:cubicBezTo>
                  <a:cubicBezTo>
                    <a:pt x="1337840" y="655949"/>
                    <a:pt x="1334463" y="659395"/>
                    <a:pt x="1324883" y="656569"/>
                  </a:cubicBezTo>
                  <a:moveTo>
                    <a:pt x="1321919" y="705161"/>
                  </a:moveTo>
                  <a:cubicBezTo>
                    <a:pt x="1321505" y="694753"/>
                    <a:pt x="1321023" y="684346"/>
                    <a:pt x="1320609" y="673938"/>
                  </a:cubicBezTo>
                  <a:cubicBezTo>
                    <a:pt x="1335083" y="671939"/>
                    <a:pt x="1332809" y="688826"/>
                    <a:pt x="1335842" y="697855"/>
                  </a:cubicBezTo>
                  <a:cubicBezTo>
                    <a:pt x="1331224" y="700336"/>
                    <a:pt x="1326537" y="702748"/>
                    <a:pt x="1321919" y="705161"/>
                  </a:cubicBezTo>
                  <a:moveTo>
                    <a:pt x="1289938" y="714121"/>
                  </a:moveTo>
                  <a:cubicBezTo>
                    <a:pt x="1286905" y="702680"/>
                    <a:pt x="1290834" y="698406"/>
                    <a:pt x="1301655" y="701301"/>
                  </a:cubicBezTo>
                  <a:cubicBezTo>
                    <a:pt x="1304619" y="712743"/>
                    <a:pt x="1300759" y="717016"/>
                    <a:pt x="1289938" y="714121"/>
                  </a:cubicBezTo>
                  <a:moveTo>
                    <a:pt x="1261817" y="740106"/>
                  </a:moveTo>
                  <a:cubicBezTo>
                    <a:pt x="1250789" y="719842"/>
                    <a:pt x="1284631" y="738314"/>
                    <a:pt x="1261817" y="740106"/>
                  </a:cubicBezTo>
                  <a:moveTo>
                    <a:pt x="1284906" y="789180"/>
                  </a:moveTo>
                  <a:cubicBezTo>
                    <a:pt x="1284768" y="781254"/>
                    <a:pt x="1285044" y="773327"/>
                    <a:pt x="1285733" y="765401"/>
                  </a:cubicBezTo>
                  <a:cubicBezTo>
                    <a:pt x="1296072" y="756648"/>
                    <a:pt x="1307238" y="748859"/>
                    <a:pt x="1318128" y="740726"/>
                  </a:cubicBezTo>
                  <a:lnTo>
                    <a:pt x="1318473" y="748859"/>
                  </a:lnTo>
                  <a:cubicBezTo>
                    <a:pt x="1303585" y="758991"/>
                    <a:pt x="1293177" y="773396"/>
                    <a:pt x="1284906" y="789180"/>
                  </a:cubicBezTo>
                  <a:moveTo>
                    <a:pt x="1271121" y="771053"/>
                  </a:moveTo>
                  <a:cubicBezTo>
                    <a:pt x="1274361" y="787595"/>
                    <a:pt x="1278634" y="803930"/>
                    <a:pt x="1282701" y="820265"/>
                  </a:cubicBezTo>
                  <a:cubicBezTo>
                    <a:pt x="1259335" y="814269"/>
                    <a:pt x="1272913" y="788146"/>
                    <a:pt x="1271121" y="771053"/>
                  </a:cubicBezTo>
                  <a:moveTo>
                    <a:pt x="1249410" y="927029"/>
                  </a:moveTo>
                  <a:cubicBezTo>
                    <a:pt x="1252994" y="923376"/>
                    <a:pt x="1252994" y="923376"/>
                    <a:pt x="1249410" y="927029"/>
                  </a:cubicBezTo>
                  <a:moveTo>
                    <a:pt x="1284286" y="1133665"/>
                  </a:moveTo>
                  <a:cubicBezTo>
                    <a:pt x="1288008" y="1130288"/>
                    <a:pt x="1288008" y="1130288"/>
                    <a:pt x="1284286" y="1133665"/>
                  </a:cubicBezTo>
                  <a:moveTo>
                    <a:pt x="1229767" y="1159374"/>
                  </a:moveTo>
                  <a:cubicBezTo>
                    <a:pt x="1233488" y="1155239"/>
                    <a:pt x="1233488" y="1155239"/>
                    <a:pt x="1229767" y="1159374"/>
                  </a:cubicBezTo>
                  <a:moveTo>
                    <a:pt x="1284975" y="1188185"/>
                  </a:moveTo>
                  <a:cubicBezTo>
                    <a:pt x="1288697" y="1184600"/>
                    <a:pt x="1288697" y="1184600"/>
                    <a:pt x="1284975" y="1188185"/>
                  </a:cubicBezTo>
                  <a:moveTo>
                    <a:pt x="1305032" y="1201832"/>
                  </a:moveTo>
                  <a:cubicBezTo>
                    <a:pt x="1300208" y="1192871"/>
                    <a:pt x="1300552" y="1180327"/>
                    <a:pt x="1305653" y="1171505"/>
                  </a:cubicBezTo>
                  <a:cubicBezTo>
                    <a:pt x="1315578" y="1173711"/>
                    <a:pt x="1314268" y="1199075"/>
                    <a:pt x="1305032" y="1201832"/>
                  </a:cubicBezTo>
                  <a:moveTo>
                    <a:pt x="1232593" y="1200453"/>
                  </a:moveTo>
                  <a:cubicBezTo>
                    <a:pt x="1232386" y="1192389"/>
                    <a:pt x="1230387" y="1184532"/>
                    <a:pt x="1228250" y="1176743"/>
                  </a:cubicBezTo>
                  <a:cubicBezTo>
                    <a:pt x="1238107" y="1170333"/>
                    <a:pt x="1247894" y="1163785"/>
                    <a:pt x="1257888" y="1157444"/>
                  </a:cubicBezTo>
                  <a:cubicBezTo>
                    <a:pt x="1260162" y="1161235"/>
                    <a:pt x="1264711" y="1168886"/>
                    <a:pt x="1266986" y="1172677"/>
                  </a:cubicBezTo>
                  <a:cubicBezTo>
                    <a:pt x="1262092" y="1174400"/>
                    <a:pt x="1252305" y="1177915"/>
                    <a:pt x="1247411" y="1179638"/>
                  </a:cubicBezTo>
                  <a:cubicBezTo>
                    <a:pt x="1252925" y="1185772"/>
                    <a:pt x="1258577" y="1191769"/>
                    <a:pt x="1264298" y="1197696"/>
                  </a:cubicBezTo>
                  <a:cubicBezTo>
                    <a:pt x="1266572" y="1194526"/>
                    <a:pt x="1271190" y="1188116"/>
                    <a:pt x="1273534" y="1184945"/>
                  </a:cubicBezTo>
                  <a:cubicBezTo>
                    <a:pt x="1273189" y="1188391"/>
                    <a:pt x="1272569" y="1195353"/>
                    <a:pt x="1272293" y="1198868"/>
                  </a:cubicBezTo>
                  <a:cubicBezTo>
                    <a:pt x="1267331" y="1199833"/>
                    <a:pt x="1257336" y="1201694"/>
                    <a:pt x="1252374" y="1202659"/>
                  </a:cubicBezTo>
                  <a:cubicBezTo>
                    <a:pt x="1247549" y="1198730"/>
                    <a:pt x="1242655" y="1194733"/>
                    <a:pt x="1237900" y="1190666"/>
                  </a:cubicBezTo>
                  <a:cubicBezTo>
                    <a:pt x="1236590" y="1193147"/>
                    <a:pt x="1233902" y="1198041"/>
                    <a:pt x="1232593" y="1200453"/>
                  </a:cubicBezTo>
                  <a:moveTo>
                    <a:pt x="1276360" y="1269516"/>
                  </a:moveTo>
                  <a:cubicBezTo>
                    <a:pt x="1274223" y="1259659"/>
                    <a:pt x="1277807" y="1256282"/>
                    <a:pt x="1287181" y="1259384"/>
                  </a:cubicBezTo>
                  <a:cubicBezTo>
                    <a:pt x="1289249" y="1269240"/>
                    <a:pt x="1285596" y="1272617"/>
                    <a:pt x="1276360" y="1269516"/>
                  </a:cubicBezTo>
                  <a:moveTo>
                    <a:pt x="1284975" y="1340508"/>
                  </a:moveTo>
                  <a:cubicBezTo>
                    <a:pt x="1286423" y="1317694"/>
                    <a:pt x="1305446" y="1351467"/>
                    <a:pt x="1284975" y="1340508"/>
                  </a:cubicBezTo>
                  <a:moveTo>
                    <a:pt x="1283459" y="1359945"/>
                  </a:moveTo>
                  <a:cubicBezTo>
                    <a:pt x="1272224" y="1339819"/>
                    <a:pt x="1306273" y="1357877"/>
                    <a:pt x="1283459" y="1359945"/>
                  </a:cubicBezTo>
                  <a:moveTo>
                    <a:pt x="1256854" y="1381587"/>
                  </a:moveTo>
                  <a:cubicBezTo>
                    <a:pt x="1260507" y="1378003"/>
                    <a:pt x="1260507" y="1378003"/>
                    <a:pt x="1256854" y="1381587"/>
                  </a:cubicBezTo>
                  <a:moveTo>
                    <a:pt x="1272776" y="1387446"/>
                  </a:moveTo>
                  <a:cubicBezTo>
                    <a:pt x="1281046" y="1381036"/>
                    <a:pt x="1292006" y="1394959"/>
                    <a:pt x="1286560" y="1402471"/>
                  </a:cubicBezTo>
                  <a:cubicBezTo>
                    <a:pt x="1278221" y="1408881"/>
                    <a:pt x="1264505" y="1395165"/>
                    <a:pt x="1272776" y="1387446"/>
                  </a:cubicBezTo>
                  <a:moveTo>
                    <a:pt x="1255682" y="1409088"/>
                  </a:moveTo>
                  <a:cubicBezTo>
                    <a:pt x="1245206" y="1388066"/>
                    <a:pt x="1278152" y="1407778"/>
                    <a:pt x="1255682" y="1409088"/>
                  </a:cubicBezTo>
                  <a:moveTo>
                    <a:pt x="1214948" y="1498414"/>
                  </a:moveTo>
                  <a:cubicBezTo>
                    <a:pt x="1218601" y="1494761"/>
                    <a:pt x="1218601" y="1494761"/>
                    <a:pt x="1214948" y="1498414"/>
                  </a:cubicBezTo>
                  <a:moveTo>
                    <a:pt x="1235487" y="1505858"/>
                  </a:moveTo>
                  <a:cubicBezTo>
                    <a:pt x="1224528" y="1485319"/>
                    <a:pt x="1258095" y="1504135"/>
                    <a:pt x="1235487" y="1505858"/>
                  </a:cubicBezTo>
                  <a:moveTo>
                    <a:pt x="1257957" y="1514336"/>
                  </a:moveTo>
                  <a:cubicBezTo>
                    <a:pt x="1258095" y="1509098"/>
                    <a:pt x="1258233" y="1498690"/>
                    <a:pt x="1258370" y="1493452"/>
                  </a:cubicBezTo>
                  <a:cubicBezTo>
                    <a:pt x="1252098" y="1488489"/>
                    <a:pt x="1245826" y="1483458"/>
                    <a:pt x="1239554" y="1478426"/>
                  </a:cubicBezTo>
                  <a:cubicBezTo>
                    <a:pt x="1239830" y="1472912"/>
                    <a:pt x="1240450" y="1461953"/>
                    <a:pt x="1240726" y="1456508"/>
                  </a:cubicBezTo>
                  <a:cubicBezTo>
                    <a:pt x="1243276" y="1463539"/>
                    <a:pt x="1247342" y="1468570"/>
                    <a:pt x="1252994" y="1471672"/>
                  </a:cubicBezTo>
                  <a:cubicBezTo>
                    <a:pt x="1254028" y="1468777"/>
                    <a:pt x="1256165" y="1462918"/>
                    <a:pt x="1257199" y="1460023"/>
                  </a:cubicBezTo>
                  <a:cubicBezTo>
                    <a:pt x="1263264" y="1464366"/>
                    <a:pt x="1269260" y="1468708"/>
                    <a:pt x="1275257" y="1473119"/>
                  </a:cubicBezTo>
                  <a:cubicBezTo>
                    <a:pt x="1272431" y="1474980"/>
                    <a:pt x="1266710" y="1478840"/>
                    <a:pt x="1263884" y="1480701"/>
                  </a:cubicBezTo>
                  <a:cubicBezTo>
                    <a:pt x="1262437" y="1492004"/>
                    <a:pt x="1260576" y="1503239"/>
                    <a:pt x="1257957" y="1514336"/>
                  </a:cubicBezTo>
                  <a:moveTo>
                    <a:pt x="1207642" y="1527914"/>
                  </a:moveTo>
                  <a:cubicBezTo>
                    <a:pt x="1211295" y="1523916"/>
                    <a:pt x="1211295" y="1523916"/>
                    <a:pt x="1207642" y="1527914"/>
                  </a:cubicBezTo>
                  <a:moveTo>
                    <a:pt x="1229767" y="1533428"/>
                  </a:moveTo>
                  <a:cubicBezTo>
                    <a:pt x="1231559" y="1524330"/>
                    <a:pt x="1236659" y="1522745"/>
                    <a:pt x="1244930" y="1528810"/>
                  </a:cubicBezTo>
                  <a:cubicBezTo>
                    <a:pt x="1243069" y="1537977"/>
                    <a:pt x="1237969" y="1539562"/>
                    <a:pt x="1229767" y="1533428"/>
                  </a:cubicBezTo>
                  <a:moveTo>
                    <a:pt x="1242587" y="1580503"/>
                  </a:moveTo>
                  <a:cubicBezTo>
                    <a:pt x="1236866" y="1570165"/>
                    <a:pt x="1248583" y="1551210"/>
                    <a:pt x="1259956" y="1552589"/>
                  </a:cubicBezTo>
                  <a:cubicBezTo>
                    <a:pt x="1262919" y="1562928"/>
                    <a:pt x="1253132" y="1579883"/>
                    <a:pt x="1242587" y="1580503"/>
                  </a:cubicBezTo>
                  <a:moveTo>
                    <a:pt x="1222392" y="1582365"/>
                  </a:moveTo>
                  <a:cubicBezTo>
                    <a:pt x="1220393" y="1580297"/>
                    <a:pt x="1216326" y="1576230"/>
                    <a:pt x="1214328" y="1574232"/>
                  </a:cubicBezTo>
                  <a:cubicBezTo>
                    <a:pt x="1219497" y="1550521"/>
                    <a:pt x="1248790" y="1587051"/>
                    <a:pt x="1222392" y="1582365"/>
                  </a:cubicBezTo>
                  <a:moveTo>
                    <a:pt x="1254993" y="1594082"/>
                  </a:moveTo>
                  <a:cubicBezTo>
                    <a:pt x="1244448" y="1573266"/>
                    <a:pt x="1277600" y="1592634"/>
                    <a:pt x="1254993" y="1594082"/>
                  </a:cubicBezTo>
                  <a:moveTo>
                    <a:pt x="1223219" y="1630956"/>
                  </a:moveTo>
                  <a:cubicBezTo>
                    <a:pt x="1224873" y="1618619"/>
                    <a:pt x="1225424" y="1606144"/>
                    <a:pt x="1225493" y="1593599"/>
                  </a:cubicBezTo>
                  <a:cubicBezTo>
                    <a:pt x="1233006" y="1592634"/>
                    <a:pt x="1240588" y="1591669"/>
                    <a:pt x="1248238" y="1590635"/>
                  </a:cubicBezTo>
                  <a:cubicBezTo>
                    <a:pt x="1243758" y="1611106"/>
                    <a:pt x="1241759" y="1631990"/>
                    <a:pt x="1240795" y="1652874"/>
                  </a:cubicBezTo>
                  <a:cubicBezTo>
                    <a:pt x="1234867" y="1645637"/>
                    <a:pt x="1229008" y="1638331"/>
                    <a:pt x="1223219" y="1630956"/>
                  </a:cubicBezTo>
                  <a:moveTo>
                    <a:pt x="1251616" y="1630612"/>
                  </a:moveTo>
                  <a:cubicBezTo>
                    <a:pt x="1262230" y="1655769"/>
                    <a:pt x="1251271" y="1682236"/>
                    <a:pt x="1251271" y="1708083"/>
                  </a:cubicBezTo>
                  <a:cubicBezTo>
                    <a:pt x="1238038" y="1683959"/>
                    <a:pt x="1255613" y="1656596"/>
                    <a:pt x="1251616" y="1630612"/>
                  </a:cubicBezTo>
                  <a:moveTo>
                    <a:pt x="1201714" y="1707463"/>
                  </a:moveTo>
                  <a:cubicBezTo>
                    <a:pt x="1203920" y="1694987"/>
                    <a:pt x="1203506" y="1681478"/>
                    <a:pt x="1209847" y="1670037"/>
                  </a:cubicBezTo>
                  <a:cubicBezTo>
                    <a:pt x="1211226" y="1681065"/>
                    <a:pt x="1213845" y="1691748"/>
                    <a:pt x="1216878" y="1702362"/>
                  </a:cubicBezTo>
                  <a:cubicBezTo>
                    <a:pt x="1213087" y="1703603"/>
                    <a:pt x="1205505" y="1706153"/>
                    <a:pt x="1201714" y="1707463"/>
                  </a:cubicBezTo>
                  <a:moveTo>
                    <a:pt x="1270157" y="1718973"/>
                  </a:moveTo>
                  <a:cubicBezTo>
                    <a:pt x="1273809" y="1715320"/>
                    <a:pt x="1273809" y="1715320"/>
                    <a:pt x="1270157" y="1718973"/>
                  </a:cubicBezTo>
                  <a:moveTo>
                    <a:pt x="1235556" y="1768875"/>
                  </a:moveTo>
                  <a:cubicBezTo>
                    <a:pt x="1225907" y="1763912"/>
                    <a:pt x="1225424" y="1759294"/>
                    <a:pt x="1234109" y="1754952"/>
                  </a:cubicBezTo>
                  <a:cubicBezTo>
                    <a:pt x="1243621" y="1759914"/>
                    <a:pt x="1244103" y="1764532"/>
                    <a:pt x="1235556" y="1768875"/>
                  </a:cubicBezTo>
                  <a:moveTo>
                    <a:pt x="1232799" y="1814434"/>
                  </a:moveTo>
                  <a:cubicBezTo>
                    <a:pt x="1248790" y="1815468"/>
                    <a:pt x="1264849" y="1816364"/>
                    <a:pt x="1280840" y="1817122"/>
                  </a:cubicBezTo>
                  <a:cubicBezTo>
                    <a:pt x="1286767" y="1715940"/>
                    <a:pt x="1293453" y="1614759"/>
                    <a:pt x="1299725" y="1513578"/>
                  </a:cubicBezTo>
                  <a:cubicBezTo>
                    <a:pt x="1300483" y="1495313"/>
                    <a:pt x="1303654" y="1476841"/>
                    <a:pt x="1300828" y="1458576"/>
                  </a:cubicBezTo>
                  <a:cubicBezTo>
                    <a:pt x="1298002" y="1457404"/>
                    <a:pt x="1292419" y="1455061"/>
                    <a:pt x="1289662" y="1453820"/>
                  </a:cubicBezTo>
                  <a:cubicBezTo>
                    <a:pt x="1293039" y="1454509"/>
                    <a:pt x="1299725" y="1455888"/>
                    <a:pt x="1303102" y="1456508"/>
                  </a:cubicBezTo>
                  <a:cubicBezTo>
                    <a:pt x="1304136" y="1438105"/>
                    <a:pt x="1305446" y="1419633"/>
                    <a:pt x="1307100" y="1401231"/>
                  </a:cubicBezTo>
                  <a:cubicBezTo>
                    <a:pt x="1304688" y="1399025"/>
                    <a:pt x="1299794" y="1394683"/>
                    <a:pt x="1297313" y="1392546"/>
                  </a:cubicBezTo>
                  <a:lnTo>
                    <a:pt x="1306204" y="1393925"/>
                  </a:lnTo>
                  <a:cubicBezTo>
                    <a:pt x="1303930" y="1381656"/>
                    <a:pt x="1304481" y="1369525"/>
                    <a:pt x="1307927" y="1357463"/>
                  </a:cubicBezTo>
                  <a:lnTo>
                    <a:pt x="1298484" y="1358566"/>
                  </a:lnTo>
                  <a:cubicBezTo>
                    <a:pt x="1298484" y="1357326"/>
                    <a:pt x="1298484" y="1354706"/>
                    <a:pt x="1298484" y="1353466"/>
                  </a:cubicBezTo>
                  <a:cubicBezTo>
                    <a:pt x="1301379" y="1353328"/>
                    <a:pt x="1307169" y="1353121"/>
                    <a:pt x="1310064" y="1352983"/>
                  </a:cubicBezTo>
                  <a:cubicBezTo>
                    <a:pt x="1309788" y="1346780"/>
                    <a:pt x="1309237" y="1334305"/>
                    <a:pt x="1308961" y="1328033"/>
                  </a:cubicBezTo>
                  <a:cubicBezTo>
                    <a:pt x="1322057" y="1182257"/>
                    <a:pt x="1329845" y="1035861"/>
                    <a:pt x="1337703" y="889603"/>
                  </a:cubicBezTo>
                  <a:cubicBezTo>
                    <a:pt x="1332878" y="890706"/>
                    <a:pt x="1323297" y="892774"/>
                    <a:pt x="1318473" y="893808"/>
                  </a:cubicBezTo>
                  <a:lnTo>
                    <a:pt x="1326054" y="886433"/>
                  </a:lnTo>
                  <a:lnTo>
                    <a:pt x="1321712" y="879609"/>
                  </a:lnTo>
                  <a:cubicBezTo>
                    <a:pt x="1327709" y="882711"/>
                    <a:pt x="1333636" y="886088"/>
                    <a:pt x="1339632" y="889396"/>
                  </a:cubicBezTo>
                  <a:cubicBezTo>
                    <a:pt x="1340804" y="841907"/>
                    <a:pt x="1344940" y="794625"/>
                    <a:pt x="1347766" y="747205"/>
                  </a:cubicBezTo>
                  <a:cubicBezTo>
                    <a:pt x="1343630" y="744379"/>
                    <a:pt x="1335221" y="738727"/>
                    <a:pt x="1331017" y="735901"/>
                  </a:cubicBezTo>
                  <a:cubicBezTo>
                    <a:pt x="1335152" y="734316"/>
                    <a:pt x="1343354" y="731214"/>
                    <a:pt x="1347490" y="729629"/>
                  </a:cubicBezTo>
                  <a:cubicBezTo>
                    <a:pt x="1352521" y="676764"/>
                    <a:pt x="1354934" y="623623"/>
                    <a:pt x="1358656" y="570551"/>
                  </a:cubicBezTo>
                  <a:cubicBezTo>
                    <a:pt x="1324331" y="568345"/>
                    <a:pt x="1289938" y="566347"/>
                    <a:pt x="1255613" y="564003"/>
                  </a:cubicBezTo>
                  <a:cubicBezTo>
                    <a:pt x="1244172" y="750720"/>
                    <a:pt x="1231214" y="937437"/>
                    <a:pt x="1221151" y="1124223"/>
                  </a:cubicBezTo>
                  <a:cubicBezTo>
                    <a:pt x="1224322" y="1123602"/>
                    <a:pt x="1230663" y="1122224"/>
                    <a:pt x="1233764" y="1121603"/>
                  </a:cubicBezTo>
                  <a:cubicBezTo>
                    <a:pt x="1233557" y="1130288"/>
                    <a:pt x="1233420" y="1138904"/>
                    <a:pt x="1233282" y="1147519"/>
                  </a:cubicBezTo>
                  <a:cubicBezTo>
                    <a:pt x="1230387" y="1147588"/>
                    <a:pt x="1224459" y="1147795"/>
                    <a:pt x="1221496" y="1147864"/>
                  </a:cubicBezTo>
                  <a:cubicBezTo>
                    <a:pt x="1226114" y="1171505"/>
                    <a:pt x="1222461" y="1195008"/>
                    <a:pt x="1213914" y="1217271"/>
                  </a:cubicBezTo>
                  <a:cubicBezTo>
                    <a:pt x="1222392" y="1216306"/>
                    <a:pt x="1230869" y="1215134"/>
                    <a:pt x="1239416" y="1213756"/>
                  </a:cubicBezTo>
                  <a:cubicBezTo>
                    <a:pt x="1227975" y="1217478"/>
                    <a:pt x="1226045" y="1229057"/>
                    <a:pt x="1222874" y="1238982"/>
                  </a:cubicBezTo>
                  <a:cubicBezTo>
                    <a:pt x="1222874" y="1234020"/>
                    <a:pt x="1222805" y="1224163"/>
                    <a:pt x="1222805" y="1219201"/>
                  </a:cubicBezTo>
                  <a:lnTo>
                    <a:pt x="1214052" y="1218649"/>
                  </a:lnTo>
                  <a:cubicBezTo>
                    <a:pt x="1209778" y="1281164"/>
                    <a:pt x="1209778" y="1343954"/>
                    <a:pt x="1202817" y="1406262"/>
                  </a:cubicBezTo>
                  <a:cubicBezTo>
                    <a:pt x="1211846" y="1413361"/>
                    <a:pt x="1215017" y="1420874"/>
                    <a:pt x="1203575" y="1427422"/>
                  </a:cubicBezTo>
                  <a:cubicBezTo>
                    <a:pt x="1202541" y="1437209"/>
                    <a:pt x="1201439" y="1446997"/>
                    <a:pt x="1200267" y="1456784"/>
                  </a:cubicBezTo>
                  <a:cubicBezTo>
                    <a:pt x="1210950" y="1456301"/>
                    <a:pt x="1221633" y="1455819"/>
                    <a:pt x="1232386" y="1455405"/>
                  </a:cubicBezTo>
                  <a:cubicBezTo>
                    <a:pt x="1229284" y="1465399"/>
                    <a:pt x="1226183" y="1475187"/>
                    <a:pt x="1223426" y="1485181"/>
                  </a:cubicBezTo>
                  <a:cubicBezTo>
                    <a:pt x="1217980" y="1477875"/>
                    <a:pt x="1211915" y="1477875"/>
                    <a:pt x="1205229" y="1485043"/>
                  </a:cubicBezTo>
                  <a:cubicBezTo>
                    <a:pt x="1210468" y="1477806"/>
                    <a:pt x="1215568" y="1470362"/>
                    <a:pt x="1220531" y="1462780"/>
                  </a:cubicBezTo>
                  <a:cubicBezTo>
                    <a:pt x="1192134" y="1458369"/>
                    <a:pt x="1198682" y="1490764"/>
                    <a:pt x="1196407" y="1507374"/>
                  </a:cubicBezTo>
                  <a:cubicBezTo>
                    <a:pt x="1197372" y="1533083"/>
                    <a:pt x="1187240" y="1560515"/>
                    <a:pt x="1197372" y="1584984"/>
                  </a:cubicBezTo>
                  <a:cubicBezTo>
                    <a:pt x="1199371" y="1580710"/>
                    <a:pt x="1203506" y="1572095"/>
                    <a:pt x="1205574" y="1567821"/>
                  </a:cubicBezTo>
                  <a:cubicBezTo>
                    <a:pt x="1205229" y="1572577"/>
                    <a:pt x="1204609" y="1582089"/>
                    <a:pt x="1204333" y="1586845"/>
                  </a:cubicBezTo>
                  <a:lnTo>
                    <a:pt x="1196890" y="1585811"/>
                  </a:lnTo>
                  <a:cubicBezTo>
                    <a:pt x="1196890" y="1594357"/>
                    <a:pt x="1194753" y="1602422"/>
                    <a:pt x="1190686" y="1609865"/>
                  </a:cubicBezTo>
                  <a:cubicBezTo>
                    <a:pt x="1189859" y="1624753"/>
                    <a:pt x="1189032" y="1639641"/>
                    <a:pt x="1187309" y="1654391"/>
                  </a:cubicBezTo>
                  <a:cubicBezTo>
                    <a:pt x="1189997" y="1656665"/>
                    <a:pt x="1195442" y="1661283"/>
                    <a:pt x="1198199" y="1663558"/>
                  </a:cubicBezTo>
                  <a:cubicBezTo>
                    <a:pt x="1195235" y="1662868"/>
                    <a:pt x="1189308" y="1661490"/>
                    <a:pt x="1186344" y="1660801"/>
                  </a:cubicBezTo>
                  <a:cubicBezTo>
                    <a:pt x="1185035" y="1710909"/>
                    <a:pt x="1180210" y="1760810"/>
                    <a:pt x="1177522" y="1810781"/>
                  </a:cubicBezTo>
                  <a:cubicBezTo>
                    <a:pt x="1192754" y="1811884"/>
                    <a:pt x="1207986" y="1812917"/>
                    <a:pt x="1223288" y="1814020"/>
                  </a:cubicBezTo>
                  <a:cubicBezTo>
                    <a:pt x="1226389" y="1804164"/>
                    <a:pt x="1229560" y="1804302"/>
                    <a:pt x="1232799" y="1814434"/>
                  </a:cubicBezTo>
                  <a:moveTo>
                    <a:pt x="1676674" y="609907"/>
                  </a:moveTo>
                  <a:cubicBezTo>
                    <a:pt x="1680603" y="606254"/>
                    <a:pt x="1680603" y="606254"/>
                    <a:pt x="1676674" y="609907"/>
                  </a:cubicBezTo>
                  <a:moveTo>
                    <a:pt x="1623119" y="638028"/>
                  </a:moveTo>
                  <a:cubicBezTo>
                    <a:pt x="1620431" y="628655"/>
                    <a:pt x="1624015" y="625139"/>
                    <a:pt x="1633734" y="627414"/>
                  </a:cubicBezTo>
                  <a:cubicBezTo>
                    <a:pt x="1636422" y="636856"/>
                    <a:pt x="1632838" y="640441"/>
                    <a:pt x="1623119" y="638028"/>
                  </a:cubicBezTo>
                  <a:moveTo>
                    <a:pt x="1649380" y="645472"/>
                  </a:moveTo>
                  <a:cubicBezTo>
                    <a:pt x="1639937" y="640372"/>
                    <a:pt x="1639523" y="635616"/>
                    <a:pt x="1648070" y="631274"/>
                  </a:cubicBezTo>
                  <a:cubicBezTo>
                    <a:pt x="1657513" y="636374"/>
                    <a:pt x="1657926" y="641130"/>
                    <a:pt x="1649380" y="645472"/>
                  </a:cubicBezTo>
                  <a:moveTo>
                    <a:pt x="1537860" y="767675"/>
                  </a:moveTo>
                  <a:cubicBezTo>
                    <a:pt x="1535241" y="761886"/>
                    <a:pt x="1532553" y="756027"/>
                    <a:pt x="1529933" y="750169"/>
                  </a:cubicBezTo>
                  <a:cubicBezTo>
                    <a:pt x="1533724" y="751547"/>
                    <a:pt x="1541306" y="754373"/>
                    <a:pt x="1545097" y="755820"/>
                  </a:cubicBezTo>
                  <a:lnTo>
                    <a:pt x="1545855" y="744241"/>
                  </a:lnTo>
                  <a:lnTo>
                    <a:pt x="1548957" y="743621"/>
                  </a:lnTo>
                  <a:cubicBezTo>
                    <a:pt x="1548198" y="748790"/>
                    <a:pt x="1546544" y="759060"/>
                    <a:pt x="1545786" y="764229"/>
                  </a:cubicBezTo>
                  <a:lnTo>
                    <a:pt x="1556814" y="766435"/>
                  </a:lnTo>
                  <a:cubicBezTo>
                    <a:pt x="1550473" y="766848"/>
                    <a:pt x="1544132" y="767262"/>
                    <a:pt x="1537860" y="767675"/>
                  </a:cubicBezTo>
                  <a:moveTo>
                    <a:pt x="1615951" y="824263"/>
                  </a:moveTo>
                  <a:cubicBezTo>
                    <a:pt x="1617950" y="815233"/>
                    <a:pt x="1623119" y="813648"/>
                    <a:pt x="1631459" y="819576"/>
                  </a:cubicBezTo>
                  <a:cubicBezTo>
                    <a:pt x="1629460" y="828674"/>
                    <a:pt x="1624291" y="830259"/>
                    <a:pt x="1615951" y="824263"/>
                  </a:cubicBezTo>
                  <a:moveTo>
                    <a:pt x="1605544" y="839426"/>
                  </a:moveTo>
                  <a:cubicBezTo>
                    <a:pt x="1608645" y="827571"/>
                    <a:pt x="1624291" y="836049"/>
                    <a:pt x="1630219" y="841149"/>
                  </a:cubicBezTo>
                  <a:cubicBezTo>
                    <a:pt x="1629874" y="854038"/>
                    <a:pt x="1602166" y="856519"/>
                    <a:pt x="1605544" y="839426"/>
                  </a:cubicBezTo>
                  <a:moveTo>
                    <a:pt x="1676467" y="865204"/>
                  </a:moveTo>
                  <a:cubicBezTo>
                    <a:pt x="1666197" y="844389"/>
                    <a:pt x="1699212" y="864308"/>
                    <a:pt x="1676467" y="865204"/>
                  </a:cubicBezTo>
                  <a:moveTo>
                    <a:pt x="1650827" y="909178"/>
                  </a:moveTo>
                  <a:cubicBezTo>
                    <a:pt x="1650758" y="897392"/>
                    <a:pt x="1649862" y="885537"/>
                    <a:pt x="1648346" y="873682"/>
                  </a:cubicBezTo>
                  <a:cubicBezTo>
                    <a:pt x="1659374" y="875129"/>
                    <a:pt x="1670471" y="876232"/>
                    <a:pt x="1681705" y="876439"/>
                  </a:cubicBezTo>
                  <a:cubicBezTo>
                    <a:pt x="1666749" y="876645"/>
                    <a:pt x="1648415" y="889810"/>
                    <a:pt x="1656548" y="907110"/>
                  </a:cubicBezTo>
                  <a:cubicBezTo>
                    <a:pt x="1668747" y="907317"/>
                    <a:pt x="1680051" y="904215"/>
                    <a:pt x="1687909" y="894359"/>
                  </a:cubicBezTo>
                  <a:cubicBezTo>
                    <a:pt x="1687495" y="898839"/>
                    <a:pt x="1686599" y="907868"/>
                    <a:pt x="1686117" y="912348"/>
                  </a:cubicBezTo>
                  <a:cubicBezTo>
                    <a:pt x="1674330" y="911383"/>
                    <a:pt x="1662613" y="910074"/>
                    <a:pt x="1650827" y="909178"/>
                  </a:cubicBezTo>
                  <a:moveTo>
                    <a:pt x="1637387" y="925237"/>
                  </a:moveTo>
                  <a:cubicBezTo>
                    <a:pt x="1634699" y="916553"/>
                    <a:pt x="1614159" y="919723"/>
                    <a:pt x="1622223" y="908902"/>
                  </a:cubicBezTo>
                  <a:cubicBezTo>
                    <a:pt x="1633182" y="894979"/>
                    <a:pt x="1653515" y="921584"/>
                    <a:pt x="1637387" y="925237"/>
                  </a:cubicBezTo>
                  <a:moveTo>
                    <a:pt x="1628771" y="947362"/>
                  </a:moveTo>
                  <a:cubicBezTo>
                    <a:pt x="1632355" y="943778"/>
                    <a:pt x="1632355" y="943778"/>
                    <a:pt x="1628771" y="947362"/>
                  </a:cubicBezTo>
                  <a:moveTo>
                    <a:pt x="1559226" y="973071"/>
                  </a:moveTo>
                  <a:cubicBezTo>
                    <a:pt x="1551300" y="966454"/>
                    <a:pt x="1560812" y="950119"/>
                    <a:pt x="1570185" y="956943"/>
                  </a:cubicBezTo>
                  <a:cubicBezTo>
                    <a:pt x="1578112" y="963559"/>
                    <a:pt x="1568324" y="979619"/>
                    <a:pt x="1559226" y="973071"/>
                  </a:cubicBezTo>
                  <a:moveTo>
                    <a:pt x="1671229" y="986029"/>
                  </a:moveTo>
                  <a:cubicBezTo>
                    <a:pt x="1671091" y="971348"/>
                    <a:pt x="1668747" y="956874"/>
                    <a:pt x="1665026" y="942744"/>
                  </a:cubicBezTo>
                  <a:cubicBezTo>
                    <a:pt x="1673434" y="954117"/>
                    <a:pt x="1685289" y="974449"/>
                    <a:pt x="1671229" y="986029"/>
                  </a:cubicBezTo>
                  <a:moveTo>
                    <a:pt x="1642901" y="987683"/>
                  </a:moveTo>
                  <a:cubicBezTo>
                    <a:pt x="1639179" y="978516"/>
                    <a:pt x="1635595" y="966799"/>
                    <a:pt x="1638145" y="957080"/>
                  </a:cubicBezTo>
                  <a:cubicBezTo>
                    <a:pt x="1657995" y="948396"/>
                    <a:pt x="1652206" y="982996"/>
                    <a:pt x="1642901" y="987683"/>
                  </a:cubicBezTo>
                  <a:moveTo>
                    <a:pt x="1558813" y="1001744"/>
                  </a:moveTo>
                  <a:cubicBezTo>
                    <a:pt x="1549094" y="980515"/>
                    <a:pt x="1581489" y="1001675"/>
                    <a:pt x="1558813" y="1001744"/>
                  </a:cubicBezTo>
                  <a:moveTo>
                    <a:pt x="1491473" y="1029865"/>
                  </a:moveTo>
                  <a:cubicBezTo>
                    <a:pt x="1495264" y="1026556"/>
                    <a:pt x="1495264" y="1026556"/>
                    <a:pt x="1491473" y="1029865"/>
                  </a:cubicBezTo>
                  <a:moveTo>
                    <a:pt x="1642556" y="1064327"/>
                  </a:moveTo>
                  <a:cubicBezTo>
                    <a:pt x="1646209" y="1060881"/>
                    <a:pt x="1646209" y="1060881"/>
                    <a:pt x="1642556" y="1064327"/>
                  </a:cubicBezTo>
                  <a:moveTo>
                    <a:pt x="1482375" y="1118846"/>
                  </a:moveTo>
                  <a:cubicBezTo>
                    <a:pt x="1472381" y="1097893"/>
                    <a:pt x="1505189" y="1118433"/>
                    <a:pt x="1482375" y="1118846"/>
                  </a:cubicBezTo>
                  <a:moveTo>
                    <a:pt x="1476930" y="1197352"/>
                  </a:moveTo>
                  <a:cubicBezTo>
                    <a:pt x="1472588" y="1188460"/>
                    <a:pt x="1486718" y="1180948"/>
                    <a:pt x="1493541" y="1185979"/>
                  </a:cubicBezTo>
                  <a:cubicBezTo>
                    <a:pt x="1496712" y="1193974"/>
                    <a:pt x="1483340" y="1202934"/>
                    <a:pt x="1476930" y="1197352"/>
                  </a:cubicBezTo>
                  <a:moveTo>
                    <a:pt x="1476792" y="1230160"/>
                  </a:moveTo>
                  <a:cubicBezTo>
                    <a:pt x="1475276" y="1228506"/>
                    <a:pt x="1472243" y="1225059"/>
                    <a:pt x="1470727" y="1223405"/>
                  </a:cubicBezTo>
                  <a:cubicBezTo>
                    <a:pt x="1476586" y="1201832"/>
                    <a:pt x="1500847" y="1232365"/>
                    <a:pt x="1476792" y="1230160"/>
                  </a:cubicBezTo>
                  <a:moveTo>
                    <a:pt x="1669368" y="1360703"/>
                  </a:moveTo>
                  <a:cubicBezTo>
                    <a:pt x="1658202" y="1340370"/>
                    <a:pt x="1692251" y="1359256"/>
                    <a:pt x="1669368" y="1360703"/>
                  </a:cubicBezTo>
                  <a:moveTo>
                    <a:pt x="1463835" y="1395234"/>
                  </a:moveTo>
                  <a:cubicBezTo>
                    <a:pt x="1467419" y="1391581"/>
                    <a:pt x="1467419" y="1391581"/>
                    <a:pt x="1463835" y="1395234"/>
                  </a:cubicBezTo>
                  <a:moveTo>
                    <a:pt x="1476034" y="1416394"/>
                  </a:moveTo>
                  <a:cubicBezTo>
                    <a:pt x="1465420" y="1395510"/>
                    <a:pt x="1498573" y="1415222"/>
                    <a:pt x="1476034" y="1416394"/>
                  </a:cubicBezTo>
                  <a:moveTo>
                    <a:pt x="1491749" y="1400335"/>
                  </a:moveTo>
                  <a:cubicBezTo>
                    <a:pt x="1500985" y="1401093"/>
                    <a:pt x="1500640" y="1418048"/>
                    <a:pt x="1495333" y="1423493"/>
                  </a:cubicBezTo>
                  <a:cubicBezTo>
                    <a:pt x="1485132" y="1423562"/>
                    <a:pt x="1487131" y="1406124"/>
                    <a:pt x="1491749" y="1400335"/>
                  </a:cubicBezTo>
                  <a:moveTo>
                    <a:pt x="1628909" y="1450029"/>
                  </a:moveTo>
                  <a:cubicBezTo>
                    <a:pt x="1632631" y="1446445"/>
                    <a:pt x="1632631" y="1446445"/>
                    <a:pt x="1628909" y="1450029"/>
                  </a:cubicBezTo>
                  <a:moveTo>
                    <a:pt x="1696386" y="1456991"/>
                  </a:moveTo>
                  <a:cubicBezTo>
                    <a:pt x="1686530" y="1435969"/>
                    <a:pt x="1719131" y="1456646"/>
                    <a:pt x="1696386" y="1456991"/>
                  </a:cubicBezTo>
                  <a:moveTo>
                    <a:pt x="1459699" y="1465193"/>
                  </a:moveTo>
                  <a:cubicBezTo>
                    <a:pt x="1457356" y="1450787"/>
                    <a:pt x="1453082" y="1436658"/>
                    <a:pt x="1443088" y="1425561"/>
                  </a:cubicBezTo>
                  <a:cubicBezTo>
                    <a:pt x="1458183" y="1438312"/>
                    <a:pt x="1465351" y="1414395"/>
                    <a:pt x="1465902" y="1402816"/>
                  </a:cubicBezTo>
                  <a:cubicBezTo>
                    <a:pt x="1467970" y="1413913"/>
                    <a:pt x="1468728" y="1428938"/>
                    <a:pt x="1481066" y="1433901"/>
                  </a:cubicBezTo>
                  <a:lnTo>
                    <a:pt x="1486442" y="1435486"/>
                  </a:lnTo>
                  <a:lnTo>
                    <a:pt x="1489681" y="1438450"/>
                  </a:lnTo>
                  <a:lnTo>
                    <a:pt x="1486373" y="1441414"/>
                  </a:lnTo>
                  <a:lnTo>
                    <a:pt x="1481272" y="1443344"/>
                  </a:lnTo>
                  <a:cubicBezTo>
                    <a:pt x="1472037" y="1448995"/>
                    <a:pt x="1472795" y="1463952"/>
                    <a:pt x="1459699" y="1465193"/>
                  </a:cubicBezTo>
                  <a:moveTo>
                    <a:pt x="1689838" y="1490902"/>
                  </a:moveTo>
                  <a:cubicBezTo>
                    <a:pt x="1679431" y="1470086"/>
                    <a:pt x="1712584" y="1490075"/>
                    <a:pt x="1689838" y="1490902"/>
                  </a:cubicBezTo>
                  <a:moveTo>
                    <a:pt x="1699212" y="1531429"/>
                  </a:moveTo>
                  <a:cubicBezTo>
                    <a:pt x="1700866" y="1520608"/>
                    <a:pt x="1702659" y="1509718"/>
                    <a:pt x="1705209" y="1498966"/>
                  </a:cubicBezTo>
                  <a:cubicBezTo>
                    <a:pt x="1708586" y="1511165"/>
                    <a:pt x="1712308" y="1523227"/>
                    <a:pt x="1717064" y="1534945"/>
                  </a:cubicBezTo>
                  <a:cubicBezTo>
                    <a:pt x="1712584" y="1534048"/>
                    <a:pt x="1703692" y="1532325"/>
                    <a:pt x="1699212" y="1531429"/>
                  </a:cubicBezTo>
                  <a:moveTo>
                    <a:pt x="1691079" y="1595460"/>
                  </a:moveTo>
                  <a:cubicBezTo>
                    <a:pt x="1683566" y="1593944"/>
                    <a:pt x="1677294" y="1577471"/>
                    <a:pt x="1687909" y="1576506"/>
                  </a:cubicBezTo>
                  <a:cubicBezTo>
                    <a:pt x="1695559" y="1577884"/>
                    <a:pt x="1701625" y="1594702"/>
                    <a:pt x="1691079" y="1595460"/>
                  </a:cubicBezTo>
                  <a:moveTo>
                    <a:pt x="1657030" y="1602422"/>
                  </a:moveTo>
                  <a:cubicBezTo>
                    <a:pt x="1660339" y="1598631"/>
                    <a:pt x="1660339" y="1598631"/>
                    <a:pt x="1657030" y="1602422"/>
                  </a:cubicBezTo>
                  <a:moveTo>
                    <a:pt x="1400493" y="1615448"/>
                  </a:moveTo>
                  <a:cubicBezTo>
                    <a:pt x="1389741" y="1594771"/>
                    <a:pt x="1423100" y="1614001"/>
                    <a:pt x="1400493" y="1615448"/>
                  </a:cubicBezTo>
                  <a:moveTo>
                    <a:pt x="1414140" y="1629923"/>
                  </a:moveTo>
                  <a:cubicBezTo>
                    <a:pt x="1405800" y="1623444"/>
                    <a:pt x="1416139" y="1606488"/>
                    <a:pt x="1425168" y="1613243"/>
                  </a:cubicBezTo>
                  <a:cubicBezTo>
                    <a:pt x="1430820" y="1620066"/>
                    <a:pt x="1423789" y="1636608"/>
                    <a:pt x="1414140" y="1629923"/>
                  </a:cubicBezTo>
                  <a:moveTo>
                    <a:pt x="1676674" y="1650738"/>
                  </a:moveTo>
                  <a:cubicBezTo>
                    <a:pt x="1673434" y="1639434"/>
                    <a:pt x="1677363" y="1635643"/>
                    <a:pt x="1688460" y="1639296"/>
                  </a:cubicBezTo>
                  <a:cubicBezTo>
                    <a:pt x="1691631" y="1650669"/>
                    <a:pt x="1687702" y="1654460"/>
                    <a:pt x="1676674" y="1650738"/>
                  </a:cubicBezTo>
                  <a:moveTo>
                    <a:pt x="1414898" y="1650393"/>
                  </a:moveTo>
                  <a:cubicBezTo>
                    <a:pt x="1418482" y="1646809"/>
                    <a:pt x="1418482" y="1646809"/>
                    <a:pt x="1414898" y="1650393"/>
                  </a:cubicBezTo>
                  <a:moveTo>
                    <a:pt x="1643039" y="1670588"/>
                  </a:moveTo>
                  <a:cubicBezTo>
                    <a:pt x="1646416" y="1666935"/>
                    <a:pt x="1646416" y="1666935"/>
                    <a:pt x="1643039" y="1670588"/>
                  </a:cubicBezTo>
                  <a:moveTo>
                    <a:pt x="1399804" y="1709048"/>
                  </a:moveTo>
                  <a:cubicBezTo>
                    <a:pt x="1398356" y="1707807"/>
                    <a:pt x="1395393" y="1705188"/>
                    <a:pt x="1393876" y="1703947"/>
                  </a:cubicBezTo>
                  <a:lnTo>
                    <a:pt x="1405455" y="1702087"/>
                  </a:lnTo>
                  <a:cubicBezTo>
                    <a:pt x="1401458" y="1694712"/>
                    <a:pt x="1397529" y="1687268"/>
                    <a:pt x="1393669" y="1679755"/>
                  </a:cubicBezTo>
                  <a:cubicBezTo>
                    <a:pt x="1399114" y="1685476"/>
                    <a:pt x="1404491" y="1691127"/>
                    <a:pt x="1409867" y="1696848"/>
                  </a:cubicBezTo>
                  <a:cubicBezTo>
                    <a:pt x="1414002" y="1688646"/>
                    <a:pt x="1418206" y="1680306"/>
                    <a:pt x="1422411" y="1671967"/>
                  </a:cubicBezTo>
                  <a:cubicBezTo>
                    <a:pt x="1420068" y="1682719"/>
                    <a:pt x="1419309" y="1693678"/>
                    <a:pt x="1419654" y="1704637"/>
                  </a:cubicBezTo>
                  <a:cubicBezTo>
                    <a:pt x="1412968" y="1705809"/>
                    <a:pt x="1406351" y="1707256"/>
                    <a:pt x="1399804" y="1709048"/>
                  </a:cubicBezTo>
                  <a:moveTo>
                    <a:pt x="1407317" y="1773699"/>
                  </a:moveTo>
                  <a:cubicBezTo>
                    <a:pt x="1396840" y="1752953"/>
                    <a:pt x="1429993" y="1772458"/>
                    <a:pt x="1407317" y="1773699"/>
                  </a:cubicBezTo>
                  <a:moveTo>
                    <a:pt x="1372441" y="1774389"/>
                  </a:moveTo>
                  <a:cubicBezTo>
                    <a:pt x="1362240" y="1753436"/>
                    <a:pt x="1395186" y="1773975"/>
                    <a:pt x="1372441" y="1774389"/>
                  </a:cubicBezTo>
                  <a:moveTo>
                    <a:pt x="1386363" y="1786588"/>
                  </a:moveTo>
                  <a:cubicBezTo>
                    <a:pt x="1380229" y="1780247"/>
                    <a:pt x="1388086" y="1765773"/>
                    <a:pt x="1396909" y="1769702"/>
                  </a:cubicBezTo>
                  <a:cubicBezTo>
                    <a:pt x="1402285" y="1776043"/>
                    <a:pt x="1394772" y="1790172"/>
                    <a:pt x="1386363" y="1786588"/>
                  </a:cubicBezTo>
                  <a:moveTo>
                    <a:pt x="1408488" y="1794377"/>
                  </a:moveTo>
                  <a:cubicBezTo>
                    <a:pt x="1412210" y="1790930"/>
                    <a:pt x="1412210" y="1790930"/>
                    <a:pt x="1408488" y="1794377"/>
                  </a:cubicBezTo>
                  <a:moveTo>
                    <a:pt x="1711274" y="1810160"/>
                  </a:moveTo>
                  <a:cubicBezTo>
                    <a:pt x="1713893" y="1787346"/>
                    <a:pt x="1731124" y="1821740"/>
                    <a:pt x="1711274" y="1810160"/>
                  </a:cubicBezTo>
                  <a:moveTo>
                    <a:pt x="1414347" y="1815881"/>
                  </a:moveTo>
                  <a:cubicBezTo>
                    <a:pt x="1410556" y="1804646"/>
                    <a:pt x="1414278" y="1800787"/>
                    <a:pt x="1425513" y="1804302"/>
                  </a:cubicBezTo>
                  <a:cubicBezTo>
                    <a:pt x="1429303" y="1815605"/>
                    <a:pt x="1425582" y="1819396"/>
                    <a:pt x="1414347" y="1815881"/>
                  </a:cubicBezTo>
                  <a:moveTo>
                    <a:pt x="1631046" y="1839315"/>
                  </a:moveTo>
                  <a:cubicBezTo>
                    <a:pt x="1667024" y="1839315"/>
                    <a:pt x="1702727" y="1843864"/>
                    <a:pt x="1738637" y="1846001"/>
                  </a:cubicBezTo>
                  <a:cubicBezTo>
                    <a:pt x="1735880" y="1768185"/>
                    <a:pt x="1732434" y="1690438"/>
                    <a:pt x="1730504" y="1612622"/>
                  </a:cubicBezTo>
                  <a:cubicBezTo>
                    <a:pt x="1727265" y="1616620"/>
                    <a:pt x="1724025" y="1620618"/>
                    <a:pt x="1720855" y="1624547"/>
                  </a:cubicBezTo>
                  <a:cubicBezTo>
                    <a:pt x="1718511" y="1622134"/>
                    <a:pt x="1713824" y="1617378"/>
                    <a:pt x="1711412" y="1614966"/>
                  </a:cubicBezTo>
                  <a:cubicBezTo>
                    <a:pt x="1716512" y="1613794"/>
                    <a:pt x="1726644" y="1611451"/>
                    <a:pt x="1731676" y="1610348"/>
                  </a:cubicBezTo>
                  <a:lnTo>
                    <a:pt x="1719269" y="1598355"/>
                  </a:lnTo>
                  <a:cubicBezTo>
                    <a:pt x="1722026" y="1600147"/>
                    <a:pt x="1727471" y="1603662"/>
                    <a:pt x="1730228" y="1605454"/>
                  </a:cubicBezTo>
                  <a:cubicBezTo>
                    <a:pt x="1727127" y="1566029"/>
                    <a:pt x="1730022" y="1526053"/>
                    <a:pt x="1720717" y="1487455"/>
                  </a:cubicBezTo>
                  <a:cubicBezTo>
                    <a:pt x="1727954" y="1454578"/>
                    <a:pt x="1720717" y="1421012"/>
                    <a:pt x="1721682" y="1387721"/>
                  </a:cubicBezTo>
                  <a:lnTo>
                    <a:pt x="1710240" y="1386825"/>
                  </a:lnTo>
                  <a:cubicBezTo>
                    <a:pt x="1713204" y="1386756"/>
                    <a:pt x="1719062" y="1386619"/>
                    <a:pt x="1722026" y="1386619"/>
                  </a:cubicBezTo>
                  <a:cubicBezTo>
                    <a:pt x="1717064" y="1268757"/>
                    <a:pt x="1713411" y="1150759"/>
                    <a:pt x="1708724" y="1032897"/>
                  </a:cubicBezTo>
                  <a:cubicBezTo>
                    <a:pt x="1699488" y="1032897"/>
                    <a:pt x="1690252" y="1032897"/>
                    <a:pt x="1681016" y="1032828"/>
                  </a:cubicBezTo>
                  <a:cubicBezTo>
                    <a:pt x="1678052" y="1024626"/>
                    <a:pt x="1675089" y="1016493"/>
                    <a:pt x="1672194" y="1008222"/>
                  </a:cubicBezTo>
                  <a:cubicBezTo>
                    <a:pt x="1661924" y="1010842"/>
                    <a:pt x="1655928" y="1007258"/>
                    <a:pt x="1654204" y="997539"/>
                  </a:cubicBezTo>
                  <a:cubicBezTo>
                    <a:pt x="1675916" y="999262"/>
                    <a:pt x="1686944" y="1022766"/>
                    <a:pt x="1708517" y="1026281"/>
                  </a:cubicBezTo>
                  <a:cubicBezTo>
                    <a:pt x="1706587" y="973002"/>
                    <a:pt x="1705071" y="919654"/>
                    <a:pt x="1701418" y="866375"/>
                  </a:cubicBezTo>
                  <a:cubicBezTo>
                    <a:pt x="1698385" y="865342"/>
                    <a:pt x="1692251" y="863274"/>
                    <a:pt x="1689149" y="862309"/>
                  </a:cubicBezTo>
                  <a:cubicBezTo>
                    <a:pt x="1692458" y="861827"/>
                    <a:pt x="1699143" y="860862"/>
                    <a:pt x="1702452" y="860448"/>
                  </a:cubicBezTo>
                  <a:cubicBezTo>
                    <a:pt x="1698316" y="770846"/>
                    <a:pt x="1697696" y="680968"/>
                    <a:pt x="1691355" y="591642"/>
                  </a:cubicBezTo>
                  <a:cubicBezTo>
                    <a:pt x="1644486" y="587782"/>
                    <a:pt x="1597548" y="585783"/>
                    <a:pt x="1550680" y="582544"/>
                  </a:cubicBezTo>
                  <a:cubicBezTo>
                    <a:pt x="1537446" y="664082"/>
                    <a:pt x="1524695" y="745689"/>
                    <a:pt x="1511255" y="827157"/>
                  </a:cubicBezTo>
                  <a:cubicBezTo>
                    <a:pt x="1514356" y="827571"/>
                    <a:pt x="1520491" y="828467"/>
                    <a:pt x="1523523" y="828949"/>
                  </a:cubicBezTo>
                  <a:cubicBezTo>
                    <a:pt x="1520284" y="828743"/>
                    <a:pt x="1513805" y="828191"/>
                    <a:pt x="1510497" y="827985"/>
                  </a:cubicBezTo>
                  <a:cubicBezTo>
                    <a:pt x="1485132" y="994989"/>
                    <a:pt x="1456942" y="1161580"/>
                    <a:pt x="1430337" y="1328446"/>
                  </a:cubicBezTo>
                  <a:cubicBezTo>
                    <a:pt x="1427167" y="1338578"/>
                    <a:pt x="1429441" y="1347883"/>
                    <a:pt x="1438746" y="1353328"/>
                  </a:cubicBezTo>
                  <a:cubicBezTo>
                    <a:pt x="1436196" y="1353121"/>
                    <a:pt x="1431027" y="1352708"/>
                    <a:pt x="1428476" y="1352501"/>
                  </a:cubicBezTo>
                  <a:cubicBezTo>
                    <a:pt x="1406696" y="1459541"/>
                    <a:pt x="1392360" y="1568235"/>
                    <a:pt x="1375473" y="1676033"/>
                  </a:cubicBezTo>
                  <a:lnTo>
                    <a:pt x="1379815" y="1680306"/>
                  </a:lnTo>
                  <a:lnTo>
                    <a:pt x="1383538" y="1682856"/>
                  </a:lnTo>
                  <a:cubicBezTo>
                    <a:pt x="1381056" y="1683201"/>
                    <a:pt x="1376025" y="1683890"/>
                    <a:pt x="1373474" y="1684235"/>
                  </a:cubicBezTo>
                  <a:cubicBezTo>
                    <a:pt x="1364790" y="1730759"/>
                    <a:pt x="1359207" y="1777766"/>
                    <a:pt x="1351763" y="1824428"/>
                  </a:cubicBezTo>
                  <a:cubicBezTo>
                    <a:pt x="1362033" y="1824773"/>
                    <a:pt x="1367616" y="1820223"/>
                    <a:pt x="1368512" y="1810919"/>
                  </a:cubicBezTo>
                  <a:lnTo>
                    <a:pt x="1385950" y="1808506"/>
                  </a:lnTo>
                  <a:cubicBezTo>
                    <a:pt x="1384985" y="1812435"/>
                    <a:pt x="1383055" y="1820223"/>
                    <a:pt x="1382090" y="1824083"/>
                  </a:cubicBezTo>
                  <a:cubicBezTo>
                    <a:pt x="1407523" y="1825117"/>
                    <a:pt x="1432956" y="1826702"/>
                    <a:pt x="1458321" y="1828839"/>
                  </a:cubicBezTo>
                  <a:cubicBezTo>
                    <a:pt x="1463697" y="1799132"/>
                    <a:pt x="1467694" y="1769288"/>
                    <a:pt x="1472657" y="1739513"/>
                  </a:cubicBezTo>
                  <a:cubicBezTo>
                    <a:pt x="1461353" y="1735860"/>
                    <a:pt x="1461284" y="1733240"/>
                    <a:pt x="1472312" y="1731724"/>
                  </a:cubicBezTo>
                  <a:cubicBezTo>
                    <a:pt x="1480928" y="1679893"/>
                    <a:pt x="1490095" y="1628061"/>
                    <a:pt x="1497194" y="1575886"/>
                  </a:cubicBezTo>
                  <a:cubicBezTo>
                    <a:pt x="1494713" y="1556518"/>
                    <a:pt x="1504293" y="1528534"/>
                    <a:pt x="1483202" y="1517162"/>
                  </a:cubicBezTo>
                  <a:cubicBezTo>
                    <a:pt x="1483823" y="1507168"/>
                    <a:pt x="1484581" y="1497105"/>
                    <a:pt x="1485408" y="1487042"/>
                  </a:cubicBezTo>
                  <a:cubicBezTo>
                    <a:pt x="1493610" y="1487938"/>
                    <a:pt x="1501812" y="1488765"/>
                    <a:pt x="1510014" y="1489592"/>
                  </a:cubicBezTo>
                  <a:cubicBezTo>
                    <a:pt x="1513736" y="1468984"/>
                    <a:pt x="1516011" y="1448099"/>
                    <a:pt x="1516700" y="1427146"/>
                  </a:cubicBezTo>
                  <a:cubicBezTo>
                    <a:pt x="1512564" y="1427560"/>
                    <a:pt x="1504293" y="1428249"/>
                    <a:pt x="1500158" y="1428663"/>
                  </a:cubicBezTo>
                  <a:cubicBezTo>
                    <a:pt x="1504983" y="1421701"/>
                    <a:pt x="1511806" y="1419082"/>
                    <a:pt x="1520766" y="1420805"/>
                  </a:cubicBezTo>
                  <a:cubicBezTo>
                    <a:pt x="1527797" y="1368354"/>
                    <a:pt x="1538273" y="1316384"/>
                    <a:pt x="1542822" y="1263588"/>
                  </a:cubicBezTo>
                  <a:lnTo>
                    <a:pt x="1526349" y="1263037"/>
                  </a:lnTo>
                  <a:cubicBezTo>
                    <a:pt x="1535861" y="1273858"/>
                    <a:pt x="1527521" y="1280681"/>
                    <a:pt x="1519732" y="1284059"/>
                  </a:cubicBezTo>
                  <a:cubicBezTo>
                    <a:pt x="1512702" y="1278545"/>
                    <a:pt x="1505051" y="1273996"/>
                    <a:pt x="1497746" y="1268895"/>
                  </a:cubicBezTo>
                  <a:cubicBezTo>
                    <a:pt x="1495540" y="1265932"/>
                    <a:pt x="1491198" y="1260142"/>
                    <a:pt x="1488992" y="1257247"/>
                  </a:cubicBezTo>
                  <a:cubicBezTo>
                    <a:pt x="1484788" y="1257661"/>
                    <a:pt x="1476448" y="1258488"/>
                    <a:pt x="1472312" y="1258901"/>
                  </a:cubicBezTo>
                  <a:cubicBezTo>
                    <a:pt x="1473484" y="1233399"/>
                    <a:pt x="1496091" y="1244496"/>
                    <a:pt x="1510772" y="1249665"/>
                  </a:cubicBezTo>
                  <a:cubicBezTo>
                    <a:pt x="1511737" y="1236708"/>
                    <a:pt x="1505258" y="1218925"/>
                    <a:pt x="1521593" y="1213411"/>
                  </a:cubicBezTo>
                  <a:cubicBezTo>
                    <a:pt x="1520353" y="1198730"/>
                    <a:pt x="1519319" y="1184118"/>
                    <a:pt x="1518561" y="1169368"/>
                  </a:cubicBezTo>
                  <a:cubicBezTo>
                    <a:pt x="1521525" y="1173711"/>
                    <a:pt x="1524419" y="1178053"/>
                    <a:pt x="1527383" y="1182326"/>
                  </a:cubicBezTo>
                  <a:cubicBezTo>
                    <a:pt x="1526763" y="1185703"/>
                    <a:pt x="1525522" y="1192527"/>
                    <a:pt x="1524902" y="1195973"/>
                  </a:cubicBezTo>
                  <a:cubicBezTo>
                    <a:pt x="1545441" y="1209965"/>
                    <a:pt x="1530623" y="1233468"/>
                    <a:pt x="1517389" y="1246771"/>
                  </a:cubicBezTo>
                  <a:cubicBezTo>
                    <a:pt x="1521800" y="1248976"/>
                    <a:pt x="1530692" y="1253525"/>
                    <a:pt x="1535103" y="1255731"/>
                  </a:cubicBezTo>
                  <a:cubicBezTo>
                    <a:pt x="1537377" y="1257661"/>
                    <a:pt x="1541995" y="1261520"/>
                    <a:pt x="1544339" y="1263450"/>
                  </a:cubicBezTo>
                  <a:cubicBezTo>
                    <a:pt x="1555642" y="1191631"/>
                    <a:pt x="1565774" y="1119605"/>
                    <a:pt x="1577629" y="1047854"/>
                  </a:cubicBezTo>
                  <a:cubicBezTo>
                    <a:pt x="1565912" y="1044063"/>
                    <a:pt x="1553919" y="1040548"/>
                    <a:pt x="1543580" y="1033656"/>
                  </a:cubicBezTo>
                  <a:cubicBezTo>
                    <a:pt x="1555229" y="1030485"/>
                    <a:pt x="1564396" y="1036688"/>
                    <a:pt x="1572736" y="1044063"/>
                  </a:cubicBezTo>
                  <a:cubicBezTo>
                    <a:pt x="1590863" y="1002571"/>
                    <a:pt x="1585555" y="955495"/>
                    <a:pt x="1597755" y="912210"/>
                  </a:cubicBezTo>
                  <a:lnTo>
                    <a:pt x="1592655" y="908420"/>
                  </a:lnTo>
                  <a:cubicBezTo>
                    <a:pt x="1583557" y="904560"/>
                    <a:pt x="1572253" y="898288"/>
                    <a:pt x="1574183" y="886364"/>
                  </a:cubicBezTo>
                  <a:cubicBezTo>
                    <a:pt x="1571081" y="872648"/>
                    <a:pt x="1587416" y="866582"/>
                    <a:pt x="1592517" y="855554"/>
                  </a:cubicBezTo>
                  <a:cubicBezTo>
                    <a:pt x="1606715" y="859759"/>
                    <a:pt x="1606233" y="876094"/>
                    <a:pt x="1611747" y="887260"/>
                  </a:cubicBezTo>
                  <a:lnTo>
                    <a:pt x="1625118" y="882297"/>
                  </a:lnTo>
                  <a:cubicBezTo>
                    <a:pt x="1625256" y="884503"/>
                    <a:pt x="1625532" y="888914"/>
                    <a:pt x="1625670" y="891120"/>
                  </a:cubicBezTo>
                  <a:lnTo>
                    <a:pt x="1622982" y="883813"/>
                  </a:lnTo>
                  <a:cubicBezTo>
                    <a:pt x="1618157" y="886984"/>
                    <a:pt x="1613470" y="890154"/>
                    <a:pt x="1608852" y="893325"/>
                  </a:cubicBezTo>
                  <a:cubicBezTo>
                    <a:pt x="1604027" y="986994"/>
                    <a:pt x="1612160" y="1080869"/>
                    <a:pt x="1612574" y="1174606"/>
                  </a:cubicBezTo>
                  <a:cubicBezTo>
                    <a:pt x="1621741" y="1173917"/>
                    <a:pt x="1631046" y="1173366"/>
                    <a:pt x="1640351" y="1172952"/>
                  </a:cubicBezTo>
                  <a:cubicBezTo>
                    <a:pt x="1631804" y="1178191"/>
                    <a:pt x="1622430" y="1180327"/>
                    <a:pt x="1612643" y="1178535"/>
                  </a:cubicBezTo>
                  <a:cubicBezTo>
                    <a:pt x="1617261" y="1328860"/>
                    <a:pt x="1621189" y="1479115"/>
                    <a:pt x="1624360" y="1629440"/>
                  </a:cubicBezTo>
                  <a:cubicBezTo>
                    <a:pt x="1636904" y="1627097"/>
                    <a:pt x="1649724" y="1625649"/>
                    <a:pt x="1662406" y="1627510"/>
                  </a:cubicBezTo>
                  <a:cubicBezTo>
                    <a:pt x="1649380" y="1630198"/>
                    <a:pt x="1636215" y="1632128"/>
                    <a:pt x="1623051" y="1633851"/>
                  </a:cubicBezTo>
                  <a:cubicBezTo>
                    <a:pt x="1624843" y="1638469"/>
                    <a:pt x="1628427" y="1647774"/>
                    <a:pt x="1630150" y="1652392"/>
                  </a:cubicBezTo>
                  <a:cubicBezTo>
                    <a:pt x="1619949" y="1699605"/>
                    <a:pt x="1633941" y="1748266"/>
                    <a:pt x="1628220" y="1796100"/>
                  </a:cubicBezTo>
                  <a:cubicBezTo>
                    <a:pt x="1633734" y="1787898"/>
                    <a:pt x="1640626" y="1785761"/>
                    <a:pt x="1649035" y="1789621"/>
                  </a:cubicBezTo>
                  <a:cubicBezTo>
                    <a:pt x="1641867" y="1798512"/>
                    <a:pt x="1634492" y="1807265"/>
                    <a:pt x="1627186" y="1815881"/>
                  </a:cubicBezTo>
                  <a:cubicBezTo>
                    <a:pt x="1633045" y="1815605"/>
                    <a:pt x="1644762" y="1814985"/>
                    <a:pt x="1650551" y="1814640"/>
                  </a:cubicBezTo>
                  <a:cubicBezTo>
                    <a:pt x="1644555" y="1818293"/>
                    <a:pt x="1638007" y="1819534"/>
                    <a:pt x="1630839" y="1818362"/>
                  </a:cubicBezTo>
                  <a:cubicBezTo>
                    <a:pt x="1630908" y="1823601"/>
                    <a:pt x="1630977" y="1834077"/>
                    <a:pt x="1631046" y="1839315"/>
                  </a:cubicBezTo>
                  <a:moveTo>
                    <a:pt x="1944997" y="644645"/>
                  </a:moveTo>
                  <a:cubicBezTo>
                    <a:pt x="1941620" y="634996"/>
                    <a:pt x="1944929" y="631825"/>
                    <a:pt x="1954716" y="635065"/>
                  </a:cubicBezTo>
                  <a:cubicBezTo>
                    <a:pt x="1958024" y="644645"/>
                    <a:pt x="1954785" y="647884"/>
                    <a:pt x="1944997" y="644645"/>
                  </a:cubicBezTo>
                  <a:moveTo>
                    <a:pt x="1952372" y="685724"/>
                  </a:moveTo>
                  <a:cubicBezTo>
                    <a:pt x="1948581" y="674558"/>
                    <a:pt x="1952372" y="670699"/>
                    <a:pt x="1963607" y="674076"/>
                  </a:cubicBezTo>
                  <a:cubicBezTo>
                    <a:pt x="1967260" y="685311"/>
                    <a:pt x="1963538" y="689239"/>
                    <a:pt x="1952372" y="685724"/>
                  </a:cubicBezTo>
                  <a:moveTo>
                    <a:pt x="2165970" y="699371"/>
                  </a:moveTo>
                  <a:cubicBezTo>
                    <a:pt x="2155631" y="678556"/>
                    <a:pt x="2188784" y="698268"/>
                    <a:pt x="2165970" y="699371"/>
                  </a:cubicBezTo>
                  <a:moveTo>
                    <a:pt x="1966571" y="698751"/>
                  </a:moveTo>
                  <a:cubicBezTo>
                    <a:pt x="1970362" y="694960"/>
                    <a:pt x="1970362" y="694960"/>
                    <a:pt x="1966571" y="698751"/>
                  </a:cubicBezTo>
                  <a:moveTo>
                    <a:pt x="1953062" y="699509"/>
                  </a:moveTo>
                  <a:cubicBezTo>
                    <a:pt x="1956646" y="695925"/>
                    <a:pt x="1956646" y="695925"/>
                    <a:pt x="1953062" y="699509"/>
                  </a:cubicBezTo>
                  <a:moveTo>
                    <a:pt x="1932384" y="711709"/>
                  </a:moveTo>
                  <a:cubicBezTo>
                    <a:pt x="1927353" y="703989"/>
                    <a:pt x="1927353" y="696338"/>
                    <a:pt x="1932315" y="688688"/>
                  </a:cubicBezTo>
                  <a:cubicBezTo>
                    <a:pt x="1942378" y="688205"/>
                    <a:pt x="1942240" y="712811"/>
                    <a:pt x="1932384" y="711709"/>
                  </a:cubicBezTo>
                  <a:moveTo>
                    <a:pt x="2145775" y="726321"/>
                  </a:moveTo>
                  <a:cubicBezTo>
                    <a:pt x="2133644" y="706264"/>
                    <a:pt x="2168244" y="723495"/>
                    <a:pt x="2145775" y="726321"/>
                  </a:cubicBezTo>
                  <a:moveTo>
                    <a:pt x="2160732" y="802345"/>
                  </a:moveTo>
                  <a:cubicBezTo>
                    <a:pt x="2157423" y="789594"/>
                    <a:pt x="2158802" y="761265"/>
                    <a:pt x="2138538" y="774568"/>
                  </a:cubicBezTo>
                  <a:cubicBezTo>
                    <a:pt x="2145499" y="765815"/>
                    <a:pt x="2149635" y="755407"/>
                    <a:pt x="2154115" y="745137"/>
                  </a:cubicBezTo>
                  <a:cubicBezTo>
                    <a:pt x="2163351" y="744999"/>
                    <a:pt x="2172656" y="745413"/>
                    <a:pt x="2181960" y="745689"/>
                  </a:cubicBezTo>
                  <a:cubicBezTo>
                    <a:pt x="2182443" y="747618"/>
                    <a:pt x="2183270" y="751340"/>
                    <a:pt x="2183683" y="753270"/>
                  </a:cubicBezTo>
                  <a:cubicBezTo>
                    <a:pt x="2176377" y="745275"/>
                    <a:pt x="2167555" y="743759"/>
                    <a:pt x="2157423" y="748721"/>
                  </a:cubicBezTo>
                  <a:cubicBezTo>
                    <a:pt x="2143914" y="766228"/>
                    <a:pt x="2165970" y="783390"/>
                    <a:pt x="2165212" y="802276"/>
                  </a:cubicBezTo>
                  <a:lnTo>
                    <a:pt x="2160732" y="802345"/>
                  </a:lnTo>
                  <a:moveTo>
                    <a:pt x="1931833" y="817853"/>
                  </a:moveTo>
                  <a:cubicBezTo>
                    <a:pt x="1932660" y="795245"/>
                    <a:pt x="1952924" y="828467"/>
                    <a:pt x="1931833" y="817853"/>
                  </a:cubicBezTo>
                  <a:moveTo>
                    <a:pt x="1955819" y="819783"/>
                  </a:moveTo>
                  <a:cubicBezTo>
                    <a:pt x="1955681" y="814475"/>
                    <a:pt x="1955474" y="809168"/>
                    <a:pt x="1955336" y="803723"/>
                  </a:cubicBezTo>
                  <a:cubicBezTo>
                    <a:pt x="1963814" y="799174"/>
                    <a:pt x="1972085" y="794211"/>
                    <a:pt x="1980356" y="789111"/>
                  </a:cubicBezTo>
                  <a:cubicBezTo>
                    <a:pt x="1974428" y="799656"/>
                    <a:pt x="1968570" y="810271"/>
                    <a:pt x="1966226" y="822126"/>
                  </a:cubicBezTo>
                  <a:cubicBezTo>
                    <a:pt x="1963607" y="821574"/>
                    <a:pt x="1958438" y="820334"/>
                    <a:pt x="1955819" y="819783"/>
                  </a:cubicBezTo>
                  <a:moveTo>
                    <a:pt x="2160869" y="843217"/>
                  </a:moveTo>
                  <a:cubicBezTo>
                    <a:pt x="2158319" y="834188"/>
                    <a:pt x="2161972" y="829225"/>
                    <a:pt x="2172035" y="828467"/>
                  </a:cubicBezTo>
                  <a:cubicBezTo>
                    <a:pt x="2186716" y="833636"/>
                    <a:pt x="2170588" y="852522"/>
                    <a:pt x="2160869" y="843217"/>
                  </a:cubicBezTo>
                  <a:moveTo>
                    <a:pt x="2173207" y="886433"/>
                  </a:moveTo>
                  <a:cubicBezTo>
                    <a:pt x="2173620" y="863756"/>
                    <a:pt x="2194298" y="896358"/>
                    <a:pt x="2173207" y="886433"/>
                  </a:cubicBezTo>
                  <a:moveTo>
                    <a:pt x="2050176" y="955495"/>
                  </a:moveTo>
                  <a:cubicBezTo>
                    <a:pt x="2044525" y="947155"/>
                    <a:pt x="2056173" y="931440"/>
                    <a:pt x="2065684" y="937506"/>
                  </a:cubicBezTo>
                  <a:cubicBezTo>
                    <a:pt x="2072990" y="946121"/>
                    <a:pt x="2059688" y="961491"/>
                    <a:pt x="2050176" y="955495"/>
                  </a:cubicBezTo>
                  <a:moveTo>
                    <a:pt x="2144879" y="967005"/>
                  </a:moveTo>
                  <a:cubicBezTo>
                    <a:pt x="2134471" y="946190"/>
                    <a:pt x="2167555" y="966178"/>
                    <a:pt x="2144879" y="967005"/>
                  </a:cubicBezTo>
                  <a:moveTo>
                    <a:pt x="2105385" y="999331"/>
                  </a:moveTo>
                  <a:cubicBezTo>
                    <a:pt x="2093323" y="1000572"/>
                    <a:pt x="2072439" y="983754"/>
                    <a:pt x="2070992" y="1003880"/>
                  </a:cubicBezTo>
                  <a:cubicBezTo>
                    <a:pt x="2074438" y="988648"/>
                    <a:pt x="2068855" y="983961"/>
                    <a:pt x="2054312" y="989682"/>
                  </a:cubicBezTo>
                  <a:cubicBezTo>
                    <a:pt x="2049487" y="980653"/>
                    <a:pt x="2044387" y="971003"/>
                    <a:pt x="2048453" y="960320"/>
                  </a:cubicBezTo>
                  <a:cubicBezTo>
                    <a:pt x="2059826" y="971348"/>
                    <a:pt x="2064375" y="991405"/>
                    <a:pt x="2084363" y="987545"/>
                  </a:cubicBezTo>
                  <a:cubicBezTo>
                    <a:pt x="2084156" y="983410"/>
                    <a:pt x="2083743" y="975070"/>
                    <a:pt x="2083605" y="970934"/>
                  </a:cubicBezTo>
                  <a:lnTo>
                    <a:pt x="2087327" y="971003"/>
                  </a:lnTo>
                  <a:cubicBezTo>
                    <a:pt x="2086500" y="976931"/>
                    <a:pt x="2084914" y="988855"/>
                    <a:pt x="2084156" y="994782"/>
                  </a:cubicBezTo>
                  <a:cubicBezTo>
                    <a:pt x="2090635" y="994368"/>
                    <a:pt x="2103593" y="993473"/>
                    <a:pt x="2110072" y="993059"/>
                  </a:cubicBezTo>
                  <a:cubicBezTo>
                    <a:pt x="2112071" y="999331"/>
                    <a:pt x="2114001" y="1005603"/>
                    <a:pt x="2115793" y="1011944"/>
                  </a:cubicBezTo>
                  <a:cubicBezTo>
                    <a:pt x="2113174" y="1008774"/>
                    <a:pt x="2108004" y="1002502"/>
                    <a:pt x="2105385" y="999331"/>
                  </a:cubicBezTo>
                  <a:moveTo>
                    <a:pt x="1930799" y="1031795"/>
                  </a:moveTo>
                  <a:cubicBezTo>
                    <a:pt x="1934797" y="1012978"/>
                    <a:pt x="1935624" y="993679"/>
                    <a:pt x="1938312" y="974587"/>
                  </a:cubicBezTo>
                  <a:cubicBezTo>
                    <a:pt x="1942999" y="985684"/>
                    <a:pt x="1947203" y="996988"/>
                    <a:pt x="1950167" y="1008567"/>
                  </a:cubicBezTo>
                  <a:lnTo>
                    <a:pt x="1958300" y="1008567"/>
                  </a:lnTo>
                  <a:cubicBezTo>
                    <a:pt x="1959541" y="1000227"/>
                    <a:pt x="1960919" y="991887"/>
                    <a:pt x="1962366" y="983479"/>
                  </a:cubicBezTo>
                  <a:cubicBezTo>
                    <a:pt x="1962022" y="1006224"/>
                    <a:pt x="1960092" y="1029244"/>
                    <a:pt x="1951270" y="1050473"/>
                  </a:cubicBezTo>
                  <a:cubicBezTo>
                    <a:pt x="1944377" y="1044408"/>
                    <a:pt x="1937553" y="1038136"/>
                    <a:pt x="1930799" y="1031795"/>
                  </a:cubicBezTo>
                  <a:moveTo>
                    <a:pt x="2056173" y="1049508"/>
                  </a:moveTo>
                  <a:cubicBezTo>
                    <a:pt x="2050107" y="1040893"/>
                    <a:pt x="2051693" y="1035861"/>
                    <a:pt x="2060791" y="1034414"/>
                  </a:cubicBezTo>
                  <a:cubicBezTo>
                    <a:pt x="2066718" y="1043029"/>
                    <a:pt x="2065202" y="1048061"/>
                    <a:pt x="2056173" y="1049508"/>
                  </a:cubicBezTo>
                  <a:moveTo>
                    <a:pt x="2133437" y="1032622"/>
                  </a:moveTo>
                  <a:cubicBezTo>
                    <a:pt x="2138469" y="1034965"/>
                    <a:pt x="2143569" y="1037171"/>
                    <a:pt x="2148808" y="1039376"/>
                  </a:cubicBezTo>
                  <a:cubicBezTo>
                    <a:pt x="2148532" y="1049508"/>
                    <a:pt x="2148256" y="1059571"/>
                    <a:pt x="2147980" y="1069634"/>
                  </a:cubicBezTo>
                  <a:cubicBezTo>
                    <a:pt x="2135919" y="1060398"/>
                    <a:pt x="2146809" y="1042064"/>
                    <a:pt x="2133437" y="1032622"/>
                  </a:cubicBezTo>
                  <a:moveTo>
                    <a:pt x="2112140" y="1075700"/>
                  </a:moveTo>
                  <a:cubicBezTo>
                    <a:pt x="2105454" y="1062742"/>
                    <a:pt x="2104834" y="1048750"/>
                    <a:pt x="2111037" y="1035448"/>
                  </a:cubicBezTo>
                  <a:cubicBezTo>
                    <a:pt x="2123926" y="1042892"/>
                    <a:pt x="2126545" y="1069083"/>
                    <a:pt x="2112140" y="1075700"/>
                  </a:cubicBezTo>
                  <a:moveTo>
                    <a:pt x="2117929" y="1134561"/>
                  </a:moveTo>
                  <a:cubicBezTo>
                    <a:pt x="2119377" y="1111885"/>
                    <a:pt x="2138538" y="1145520"/>
                    <a:pt x="2117929" y="1134561"/>
                  </a:cubicBezTo>
                  <a:moveTo>
                    <a:pt x="2111657" y="1147312"/>
                  </a:moveTo>
                  <a:cubicBezTo>
                    <a:pt x="2115034" y="1143521"/>
                    <a:pt x="2115034" y="1143521"/>
                    <a:pt x="2111657" y="1147312"/>
                  </a:cubicBezTo>
                  <a:moveTo>
                    <a:pt x="1952166" y="1202659"/>
                  </a:moveTo>
                  <a:cubicBezTo>
                    <a:pt x="1941758" y="1181912"/>
                    <a:pt x="1975049" y="1201832"/>
                    <a:pt x="1952166" y="1202659"/>
                  </a:cubicBezTo>
                  <a:moveTo>
                    <a:pt x="2090842" y="1264829"/>
                  </a:moveTo>
                  <a:cubicBezTo>
                    <a:pt x="2086913" y="1255042"/>
                    <a:pt x="2089877" y="1251940"/>
                    <a:pt x="2099733" y="1255524"/>
                  </a:cubicBezTo>
                  <a:cubicBezTo>
                    <a:pt x="2103731" y="1265311"/>
                    <a:pt x="2100767" y="1268413"/>
                    <a:pt x="2090842" y="1264829"/>
                  </a:cubicBezTo>
                  <a:moveTo>
                    <a:pt x="1958713" y="1279096"/>
                  </a:moveTo>
                  <a:cubicBezTo>
                    <a:pt x="1948650" y="1257936"/>
                    <a:pt x="1981321" y="1278545"/>
                    <a:pt x="1958713" y="1279096"/>
                  </a:cubicBezTo>
                  <a:moveTo>
                    <a:pt x="2075541" y="1306252"/>
                  </a:moveTo>
                  <a:cubicBezTo>
                    <a:pt x="2065340" y="1285230"/>
                    <a:pt x="2098217" y="1305770"/>
                    <a:pt x="2075541" y="1306252"/>
                  </a:cubicBezTo>
                  <a:moveTo>
                    <a:pt x="1918737" y="1319072"/>
                  </a:moveTo>
                  <a:cubicBezTo>
                    <a:pt x="1922528" y="1315902"/>
                    <a:pt x="1922528" y="1315902"/>
                    <a:pt x="1918737" y="1319072"/>
                  </a:cubicBezTo>
                  <a:moveTo>
                    <a:pt x="2069889" y="1345746"/>
                  </a:moveTo>
                  <a:cubicBezTo>
                    <a:pt x="2063134" y="1338785"/>
                    <a:pt x="2069751" y="1320382"/>
                    <a:pt x="2080090" y="1323070"/>
                  </a:cubicBezTo>
                  <a:cubicBezTo>
                    <a:pt x="2083743" y="1330445"/>
                    <a:pt x="2079745" y="1346849"/>
                    <a:pt x="2069889" y="1345746"/>
                  </a:cubicBezTo>
                  <a:moveTo>
                    <a:pt x="1925078" y="1345884"/>
                  </a:moveTo>
                  <a:cubicBezTo>
                    <a:pt x="1919082" y="1337337"/>
                    <a:pt x="1920598" y="1332306"/>
                    <a:pt x="1929765" y="1330790"/>
                  </a:cubicBezTo>
                  <a:cubicBezTo>
                    <a:pt x="1935693" y="1339336"/>
                    <a:pt x="1934176" y="1344368"/>
                    <a:pt x="1925078" y="1345884"/>
                  </a:cubicBezTo>
                  <a:moveTo>
                    <a:pt x="2107591" y="1352915"/>
                  </a:moveTo>
                  <a:cubicBezTo>
                    <a:pt x="2104282" y="1350158"/>
                    <a:pt x="2097597" y="1344575"/>
                    <a:pt x="2094288" y="1341818"/>
                  </a:cubicBezTo>
                  <a:cubicBezTo>
                    <a:pt x="2094081" y="1333547"/>
                    <a:pt x="2094012" y="1325276"/>
                    <a:pt x="2093875" y="1316936"/>
                  </a:cubicBezTo>
                  <a:cubicBezTo>
                    <a:pt x="2103317" y="1316660"/>
                    <a:pt x="2112760" y="1316315"/>
                    <a:pt x="2122272" y="1315833"/>
                  </a:cubicBezTo>
                  <a:lnTo>
                    <a:pt x="2121858" y="1317763"/>
                  </a:lnTo>
                  <a:cubicBezTo>
                    <a:pt x="2112829" y="1320175"/>
                    <a:pt x="2103869" y="1322588"/>
                    <a:pt x="2094977" y="1325000"/>
                  </a:cubicBezTo>
                  <a:cubicBezTo>
                    <a:pt x="2099044" y="1334443"/>
                    <a:pt x="2103248" y="1343679"/>
                    <a:pt x="2107591" y="1352915"/>
                  </a:cubicBezTo>
                  <a:moveTo>
                    <a:pt x="1960299" y="1351329"/>
                  </a:moveTo>
                  <a:cubicBezTo>
                    <a:pt x="1960092" y="1344092"/>
                    <a:pt x="1959885" y="1336717"/>
                    <a:pt x="1959609" y="1329411"/>
                  </a:cubicBezTo>
                  <a:cubicBezTo>
                    <a:pt x="1971740" y="1339336"/>
                    <a:pt x="1988075" y="1337406"/>
                    <a:pt x="2002618" y="1339957"/>
                  </a:cubicBezTo>
                  <a:cubicBezTo>
                    <a:pt x="2000964" y="1346367"/>
                    <a:pt x="1999310" y="1352846"/>
                    <a:pt x="1997725" y="1359187"/>
                  </a:cubicBezTo>
                  <a:cubicBezTo>
                    <a:pt x="1984836" y="1358911"/>
                    <a:pt x="1972154" y="1356705"/>
                    <a:pt x="1960299" y="1351329"/>
                  </a:cubicBezTo>
                  <a:moveTo>
                    <a:pt x="1942654" y="1363942"/>
                  </a:moveTo>
                  <a:cubicBezTo>
                    <a:pt x="1960781" y="1353810"/>
                    <a:pt x="1973256" y="1368905"/>
                    <a:pt x="1978839" y="1384551"/>
                  </a:cubicBezTo>
                  <a:cubicBezTo>
                    <a:pt x="1964641" y="1381794"/>
                    <a:pt x="1952717" y="1373937"/>
                    <a:pt x="1942654" y="1363942"/>
                  </a:cubicBezTo>
                  <a:moveTo>
                    <a:pt x="1932453" y="1396682"/>
                  </a:moveTo>
                  <a:cubicBezTo>
                    <a:pt x="1930179" y="1387032"/>
                    <a:pt x="1933832" y="1383655"/>
                    <a:pt x="1943274" y="1386550"/>
                  </a:cubicBezTo>
                  <a:cubicBezTo>
                    <a:pt x="1945549" y="1396337"/>
                    <a:pt x="1941896" y="1399714"/>
                    <a:pt x="1932453" y="1396682"/>
                  </a:cubicBezTo>
                  <a:moveTo>
                    <a:pt x="2043215" y="1458369"/>
                  </a:moveTo>
                  <a:cubicBezTo>
                    <a:pt x="2044456" y="1435624"/>
                    <a:pt x="2063824" y="1468984"/>
                    <a:pt x="2043215" y="1458369"/>
                  </a:cubicBezTo>
                  <a:moveTo>
                    <a:pt x="2055484" y="1478495"/>
                  </a:moveTo>
                  <a:cubicBezTo>
                    <a:pt x="2047213" y="1467812"/>
                    <a:pt x="2066649" y="1458714"/>
                    <a:pt x="2073473" y="1467605"/>
                  </a:cubicBezTo>
                  <a:cubicBezTo>
                    <a:pt x="2080848" y="1478013"/>
                    <a:pt x="2062169" y="1486904"/>
                    <a:pt x="2055484" y="1478495"/>
                  </a:cubicBezTo>
                  <a:moveTo>
                    <a:pt x="1937347" y="1477323"/>
                  </a:moveTo>
                  <a:cubicBezTo>
                    <a:pt x="1926939" y="1456577"/>
                    <a:pt x="1960161" y="1476703"/>
                    <a:pt x="1937347" y="1477323"/>
                  </a:cubicBezTo>
                  <a:moveTo>
                    <a:pt x="1961057" y="1490212"/>
                  </a:moveTo>
                  <a:cubicBezTo>
                    <a:pt x="1960643" y="1482493"/>
                    <a:pt x="1960161" y="1474704"/>
                    <a:pt x="1959678" y="1466847"/>
                  </a:cubicBezTo>
                  <a:cubicBezTo>
                    <a:pt x="1967398" y="1464986"/>
                    <a:pt x="1975186" y="1463056"/>
                    <a:pt x="1982975" y="1461057"/>
                  </a:cubicBezTo>
                  <a:cubicBezTo>
                    <a:pt x="1981459" y="1469742"/>
                    <a:pt x="1980011" y="1478426"/>
                    <a:pt x="1978633" y="1487042"/>
                  </a:cubicBezTo>
                  <a:cubicBezTo>
                    <a:pt x="1972774" y="1488145"/>
                    <a:pt x="1966915" y="1489178"/>
                    <a:pt x="1961057" y="1490212"/>
                  </a:cubicBezTo>
                  <a:moveTo>
                    <a:pt x="1952510" y="1520263"/>
                  </a:moveTo>
                  <a:cubicBezTo>
                    <a:pt x="1946100" y="1513440"/>
                    <a:pt x="1954716" y="1496760"/>
                    <a:pt x="1964089" y="1502550"/>
                  </a:cubicBezTo>
                  <a:cubicBezTo>
                    <a:pt x="1970431" y="1509580"/>
                    <a:pt x="1962091" y="1526467"/>
                    <a:pt x="1952510" y="1520263"/>
                  </a:cubicBezTo>
                  <a:moveTo>
                    <a:pt x="1932522" y="1533566"/>
                  </a:moveTo>
                  <a:cubicBezTo>
                    <a:pt x="1935830" y="1529775"/>
                    <a:pt x="1935830" y="1529775"/>
                    <a:pt x="1932522" y="1533566"/>
                  </a:cubicBezTo>
                  <a:moveTo>
                    <a:pt x="2015990" y="1575265"/>
                  </a:moveTo>
                  <a:cubicBezTo>
                    <a:pt x="2005582" y="1546386"/>
                    <a:pt x="2014267" y="1516059"/>
                    <a:pt x="2012061" y="1486284"/>
                  </a:cubicBezTo>
                  <a:cubicBezTo>
                    <a:pt x="2010545" y="1352087"/>
                    <a:pt x="2006340" y="1217822"/>
                    <a:pt x="2007305" y="1083626"/>
                  </a:cubicBezTo>
                  <a:cubicBezTo>
                    <a:pt x="2032049" y="1085073"/>
                    <a:pt x="2056724" y="1087141"/>
                    <a:pt x="2081468" y="1088864"/>
                  </a:cubicBezTo>
                  <a:cubicBezTo>
                    <a:pt x="2074162" y="1141867"/>
                    <a:pt x="2067132" y="1194939"/>
                    <a:pt x="2058723" y="1247735"/>
                  </a:cubicBezTo>
                  <a:cubicBezTo>
                    <a:pt x="2060722" y="1250630"/>
                    <a:pt x="2064788" y="1256420"/>
                    <a:pt x="2066856" y="1259315"/>
                  </a:cubicBezTo>
                  <a:cubicBezTo>
                    <a:pt x="2066236" y="1263726"/>
                    <a:pt x="2064926" y="1272548"/>
                    <a:pt x="2064306" y="1277028"/>
                  </a:cubicBezTo>
                  <a:cubicBezTo>
                    <a:pt x="2061962" y="1276339"/>
                    <a:pt x="2057345" y="1274961"/>
                    <a:pt x="2055001" y="1274271"/>
                  </a:cubicBezTo>
                  <a:cubicBezTo>
                    <a:pt x="2054036" y="1294122"/>
                    <a:pt x="2045352" y="1314868"/>
                    <a:pt x="2053209" y="1334167"/>
                  </a:cubicBezTo>
                  <a:cubicBezTo>
                    <a:pt x="2048247" y="1345264"/>
                    <a:pt x="2043422" y="1356636"/>
                    <a:pt x="2042181" y="1368767"/>
                  </a:cubicBezTo>
                  <a:cubicBezTo>
                    <a:pt x="2033910" y="1431902"/>
                    <a:pt x="2023296" y="1494761"/>
                    <a:pt x="2016403" y="1558034"/>
                  </a:cubicBezTo>
                  <a:cubicBezTo>
                    <a:pt x="2020125" y="1563479"/>
                    <a:pt x="2023916" y="1568924"/>
                    <a:pt x="2027707" y="1574369"/>
                  </a:cubicBezTo>
                  <a:cubicBezTo>
                    <a:pt x="2024812" y="1574576"/>
                    <a:pt x="2018954" y="1575058"/>
                    <a:pt x="2015990" y="1575265"/>
                  </a:cubicBezTo>
                  <a:moveTo>
                    <a:pt x="2058378" y="1582847"/>
                  </a:moveTo>
                  <a:cubicBezTo>
                    <a:pt x="2060377" y="1571681"/>
                    <a:pt x="2060446" y="1560309"/>
                    <a:pt x="2060170" y="1549005"/>
                  </a:cubicBezTo>
                  <a:cubicBezTo>
                    <a:pt x="2065133" y="1554036"/>
                    <a:pt x="2070027" y="1558999"/>
                    <a:pt x="2074920" y="1564030"/>
                  </a:cubicBezTo>
                  <a:cubicBezTo>
                    <a:pt x="2069200" y="1570372"/>
                    <a:pt x="2063755" y="1576437"/>
                    <a:pt x="2058378" y="1582847"/>
                  </a:cubicBezTo>
                  <a:moveTo>
                    <a:pt x="2083674" y="1609521"/>
                  </a:moveTo>
                  <a:cubicBezTo>
                    <a:pt x="2086775" y="1605592"/>
                    <a:pt x="2086775" y="1605592"/>
                    <a:pt x="2083674" y="1609521"/>
                  </a:cubicBezTo>
                  <a:moveTo>
                    <a:pt x="2050797" y="1602835"/>
                  </a:moveTo>
                  <a:cubicBezTo>
                    <a:pt x="2042802" y="1601939"/>
                    <a:pt x="2034737" y="1600905"/>
                    <a:pt x="2026811" y="1599802"/>
                  </a:cubicBezTo>
                  <a:cubicBezTo>
                    <a:pt x="2032945" y="1600078"/>
                    <a:pt x="2045352" y="1600561"/>
                    <a:pt x="2051555" y="1600836"/>
                  </a:cubicBezTo>
                  <a:cubicBezTo>
                    <a:pt x="2053967" y="1598424"/>
                    <a:pt x="2058930" y="1593668"/>
                    <a:pt x="2061342" y="1591256"/>
                  </a:cubicBezTo>
                  <a:cubicBezTo>
                    <a:pt x="2065547" y="1601112"/>
                    <a:pt x="2064168" y="1611244"/>
                    <a:pt x="2058723" y="1620342"/>
                  </a:cubicBezTo>
                  <a:cubicBezTo>
                    <a:pt x="2055828" y="1614621"/>
                    <a:pt x="2053209" y="1608763"/>
                    <a:pt x="2050797" y="1602835"/>
                  </a:cubicBezTo>
                  <a:moveTo>
                    <a:pt x="2042112" y="1629647"/>
                  </a:moveTo>
                  <a:cubicBezTo>
                    <a:pt x="2045972" y="1625994"/>
                    <a:pt x="2045972" y="1625994"/>
                    <a:pt x="2042112" y="1629647"/>
                  </a:cubicBezTo>
                  <a:moveTo>
                    <a:pt x="2048315" y="1670519"/>
                  </a:moveTo>
                  <a:cubicBezTo>
                    <a:pt x="2038115" y="1649497"/>
                    <a:pt x="2070923" y="1669761"/>
                    <a:pt x="2048315" y="1670519"/>
                  </a:cubicBezTo>
                  <a:moveTo>
                    <a:pt x="2055828" y="1685269"/>
                  </a:moveTo>
                  <a:cubicBezTo>
                    <a:pt x="2059550" y="1681478"/>
                    <a:pt x="2059550" y="1681478"/>
                    <a:pt x="2055828" y="1685269"/>
                  </a:cubicBezTo>
                  <a:moveTo>
                    <a:pt x="2034048" y="1671415"/>
                  </a:moveTo>
                  <a:cubicBezTo>
                    <a:pt x="2033703" y="1681340"/>
                    <a:pt x="2033152" y="1691265"/>
                    <a:pt x="2032532" y="1701122"/>
                  </a:cubicBezTo>
                  <a:cubicBezTo>
                    <a:pt x="2014818" y="1699467"/>
                    <a:pt x="2013853" y="1667280"/>
                    <a:pt x="2034048" y="1671415"/>
                  </a:cubicBezTo>
                  <a:moveTo>
                    <a:pt x="2042319" y="1712425"/>
                  </a:moveTo>
                  <a:cubicBezTo>
                    <a:pt x="2046041" y="1708841"/>
                    <a:pt x="2046041" y="1708841"/>
                    <a:pt x="2042319" y="1712425"/>
                  </a:cubicBezTo>
                  <a:moveTo>
                    <a:pt x="2014680" y="1737238"/>
                  </a:moveTo>
                  <a:cubicBezTo>
                    <a:pt x="2009787" y="1726762"/>
                    <a:pt x="2031429" y="1715940"/>
                    <a:pt x="2034255" y="1729243"/>
                  </a:cubicBezTo>
                  <a:cubicBezTo>
                    <a:pt x="2038046" y="1741442"/>
                    <a:pt x="2021159" y="1744406"/>
                    <a:pt x="2014680" y="1737238"/>
                  </a:cubicBezTo>
                  <a:moveTo>
                    <a:pt x="2014818" y="1767703"/>
                  </a:moveTo>
                  <a:cubicBezTo>
                    <a:pt x="2006133" y="1760948"/>
                    <a:pt x="2014956" y="1741511"/>
                    <a:pt x="2025501" y="1749782"/>
                  </a:cubicBezTo>
                  <a:cubicBezTo>
                    <a:pt x="2034048" y="1756606"/>
                    <a:pt x="2025295" y="1775836"/>
                    <a:pt x="2014818" y="1767703"/>
                  </a:cubicBezTo>
                  <a:moveTo>
                    <a:pt x="2029361" y="1808851"/>
                  </a:moveTo>
                  <a:cubicBezTo>
                    <a:pt x="2019643" y="1804577"/>
                    <a:pt x="2019298" y="1800097"/>
                    <a:pt x="2028189" y="1795480"/>
                  </a:cubicBezTo>
                  <a:cubicBezTo>
                    <a:pt x="2037977" y="1799822"/>
                    <a:pt x="2038321" y="1804233"/>
                    <a:pt x="2029361" y="1808851"/>
                  </a:cubicBezTo>
                  <a:moveTo>
                    <a:pt x="1925009" y="1857649"/>
                  </a:moveTo>
                  <a:cubicBezTo>
                    <a:pt x="1972360" y="1860475"/>
                    <a:pt x="2019643" y="1864060"/>
                    <a:pt x="2066994" y="1866127"/>
                  </a:cubicBezTo>
                  <a:cubicBezTo>
                    <a:pt x="2067545" y="1839936"/>
                    <a:pt x="2082502" y="1812711"/>
                    <a:pt x="2073266" y="1787553"/>
                  </a:cubicBezTo>
                  <a:cubicBezTo>
                    <a:pt x="2061204" y="1785072"/>
                    <a:pt x="2057069" y="1800856"/>
                    <a:pt x="2057551" y="1809678"/>
                  </a:cubicBezTo>
                  <a:cubicBezTo>
                    <a:pt x="2055828" y="1807679"/>
                    <a:pt x="2052520" y="1803682"/>
                    <a:pt x="2050797" y="1801683"/>
                  </a:cubicBezTo>
                  <a:cubicBezTo>
                    <a:pt x="2050934" y="1797892"/>
                    <a:pt x="2051141" y="1790241"/>
                    <a:pt x="2051210" y="1786381"/>
                  </a:cubicBezTo>
                  <a:cubicBezTo>
                    <a:pt x="2059757" y="1784176"/>
                    <a:pt x="2068166" y="1781419"/>
                    <a:pt x="2076506" y="1778386"/>
                  </a:cubicBezTo>
                  <a:cubicBezTo>
                    <a:pt x="2087809" y="1765704"/>
                    <a:pt x="2083122" y="1743993"/>
                    <a:pt x="2087947" y="1727726"/>
                  </a:cubicBezTo>
                  <a:cubicBezTo>
                    <a:pt x="2077608" y="1727451"/>
                    <a:pt x="2067270" y="1727175"/>
                    <a:pt x="2056931" y="1726900"/>
                  </a:cubicBezTo>
                  <a:cubicBezTo>
                    <a:pt x="2058034" y="1739651"/>
                    <a:pt x="2055621" y="1752057"/>
                    <a:pt x="2051486" y="1763981"/>
                  </a:cubicBezTo>
                  <a:cubicBezTo>
                    <a:pt x="2049556" y="1750127"/>
                    <a:pt x="2034599" y="1712701"/>
                    <a:pt x="2065960" y="1725521"/>
                  </a:cubicBezTo>
                  <a:lnTo>
                    <a:pt x="2056724" y="1712081"/>
                  </a:lnTo>
                  <a:cubicBezTo>
                    <a:pt x="2064168" y="1723177"/>
                    <a:pt x="2076437" y="1725934"/>
                    <a:pt x="2089188" y="1724900"/>
                  </a:cubicBezTo>
                  <a:cubicBezTo>
                    <a:pt x="2083398" y="1699881"/>
                    <a:pt x="2096769" y="1677136"/>
                    <a:pt x="2100009" y="1652943"/>
                  </a:cubicBezTo>
                  <a:cubicBezTo>
                    <a:pt x="2111313" y="1580572"/>
                    <a:pt x="2121789" y="1508064"/>
                    <a:pt x="2134058" y="1435831"/>
                  </a:cubicBezTo>
                  <a:cubicBezTo>
                    <a:pt x="2130887" y="1433143"/>
                    <a:pt x="2124477" y="1427767"/>
                    <a:pt x="2121307" y="1425147"/>
                  </a:cubicBezTo>
                  <a:cubicBezTo>
                    <a:pt x="2120755" y="1418531"/>
                    <a:pt x="2120204" y="1411914"/>
                    <a:pt x="2119721" y="1405228"/>
                  </a:cubicBezTo>
                  <a:cubicBezTo>
                    <a:pt x="2125580" y="1408261"/>
                    <a:pt x="2131439" y="1411225"/>
                    <a:pt x="2137297" y="1414326"/>
                  </a:cubicBezTo>
                  <a:cubicBezTo>
                    <a:pt x="2140743" y="1388204"/>
                    <a:pt x="2144948" y="1362219"/>
                    <a:pt x="2149083" y="1336166"/>
                  </a:cubicBezTo>
                  <a:cubicBezTo>
                    <a:pt x="2145361" y="1334649"/>
                    <a:pt x="2137918" y="1331686"/>
                    <a:pt x="2134196" y="1330238"/>
                  </a:cubicBezTo>
                  <a:cubicBezTo>
                    <a:pt x="2133437" y="1326310"/>
                    <a:pt x="2132059" y="1318452"/>
                    <a:pt x="2131301" y="1314523"/>
                  </a:cubicBezTo>
                  <a:cubicBezTo>
                    <a:pt x="2134816" y="1317418"/>
                    <a:pt x="2141708" y="1323208"/>
                    <a:pt x="2145223" y="1326103"/>
                  </a:cubicBezTo>
                  <a:cubicBezTo>
                    <a:pt x="2151358" y="1319486"/>
                    <a:pt x="2152874" y="1312111"/>
                    <a:pt x="2149773" y="1304047"/>
                  </a:cubicBezTo>
                  <a:cubicBezTo>
                    <a:pt x="2156458" y="1280130"/>
                    <a:pt x="2163488" y="1255937"/>
                    <a:pt x="2164660" y="1230918"/>
                  </a:cubicBezTo>
                  <a:cubicBezTo>
                    <a:pt x="2165349" y="1221199"/>
                    <a:pt x="2154184" y="1217546"/>
                    <a:pt x="2149221" y="1210930"/>
                  </a:cubicBezTo>
                  <a:cubicBezTo>
                    <a:pt x="2153977" y="1211895"/>
                    <a:pt x="2163488" y="1213825"/>
                    <a:pt x="2168175" y="1214789"/>
                  </a:cubicBezTo>
                  <a:cubicBezTo>
                    <a:pt x="2172793" y="1181981"/>
                    <a:pt x="2177549" y="1149104"/>
                    <a:pt x="2183752" y="1116572"/>
                  </a:cubicBezTo>
                  <a:cubicBezTo>
                    <a:pt x="2174792" y="1117330"/>
                    <a:pt x="2165832" y="1117399"/>
                    <a:pt x="2156941" y="1116848"/>
                  </a:cubicBezTo>
                  <a:cubicBezTo>
                    <a:pt x="2148325" y="1111472"/>
                    <a:pt x="2148118" y="1099548"/>
                    <a:pt x="2143500" y="1091414"/>
                  </a:cubicBezTo>
                  <a:cubicBezTo>
                    <a:pt x="2138538" y="1091414"/>
                    <a:pt x="2128682" y="1091483"/>
                    <a:pt x="2123719" y="1091552"/>
                  </a:cubicBezTo>
                  <a:cubicBezTo>
                    <a:pt x="2127855" y="1088037"/>
                    <a:pt x="2132059" y="1084591"/>
                    <a:pt x="2136263" y="1081007"/>
                  </a:cubicBezTo>
                  <a:cubicBezTo>
                    <a:pt x="2143983" y="1088175"/>
                    <a:pt x="2151909" y="1095067"/>
                    <a:pt x="2159904" y="1101822"/>
                  </a:cubicBezTo>
                  <a:cubicBezTo>
                    <a:pt x="2167142" y="1106302"/>
                    <a:pt x="2174379" y="1110713"/>
                    <a:pt x="2181616" y="1115262"/>
                  </a:cubicBezTo>
                  <a:cubicBezTo>
                    <a:pt x="2190783" y="1062673"/>
                    <a:pt x="2205188" y="1009463"/>
                    <a:pt x="2200984" y="955771"/>
                  </a:cubicBezTo>
                  <a:lnTo>
                    <a:pt x="2192575" y="961560"/>
                  </a:lnTo>
                  <a:cubicBezTo>
                    <a:pt x="2191472" y="964593"/>
                    <a:pt x="2189128" y="970589"/>
                    <a:pt x="2187957" y="973622"/>
                  </a:cubicBezTo>
                  <a:cubicBezTo>
                    <a:pt x="2181823" y="972726"/>
                    <a:pt x="2169554" y="970865"/>
                    <a:pt x="2163420" y="969969"/>
                  </a:cubicBezTo>
                  <a:cubicBezTo>
                    <a:pt x="2162592" y="980515"/>
                    <a:pt x="2159215" y="990440"/>
                    <a:pt x="2155493" y="1000158"/>
                  </a:cubicBezTo>
                  <a:cubicBezTo>
                    <a:pt x="2145086" y="997125"/>
                    <a:pt x="2132404" y="998435"/>
                    <a:pt x="2123788" y="991474"/>
                  </a:cubicBezTo>
                  <a:cubicBezTo>
                    <a:pt x="2124615" y="987407"/>
                    <a:pt x="2126407" y="979205"/>
                    <a:pt x="2127303" y="975139"/>
                  </a:cubicBezTo>
                  <a:cubicBezTo>
                    <a:pt x="2123581" y="970107"/>
                    <a:pt x="2119997" y="964938"/>
                    <a:pt x="2116344" y="959768"/>
                  </a:cubicBezTo>
                  <a:cubicBezTo>
                    <a:pt x="2121513" y="959355"/>
                    <a:pt x="2131852" y="958459"/>
                    <a:pt x="2136953" y="957976"/>
                  </a:cubicBezTo>
                  <a:cubicBezTo>
                    <a:pt x="2134609" y="968591"/>
                    <a:pt x="2128957" y="979136"/>
                    <a:pt x="2131301" y="990233"/>
                  </a:cubicBezTo>
                  <a:cubicBezTo>
                    <a:pt x="2136125" y="990853"/>
                    <a:pt x="2145706" y="992163"/>
                    <a:pt x="2150531" y="992783"/>
                  </a:cubicBezTo>
                  <a:cubicBezTo>
                    <a:pt x="2152047" y="984168"/>
                    <a:pt x="2155769" y="975897"/>
                    <a:pt x="2160663" y="968591"/>
                  </a:cubicBezTo>
                  <a:cubicBezTo>
                    <a:pt x="2165625" y="967281"/>
                    <a:pt x="2175619" y="964731"/>
                    <a:pt x="2180582" y="963490"/>
                  </a:cubicBezTo>
                  <a:cubicBezTo>
                    <a:pt x="2182581" y="944605"/>
                    <a:pt x="2157354" y="948878"/>
                    <a:pt x="2145292" y="944398"/>
                  </a:cubicBezTo>
                  <a:cubicBezTo>
                    <a:pt x="2164522" y="943847"/>
                    <a:pt x="2183270" y="948396"/>
                    <a:pt x="2202155" y="951222"/>
                  </a:cubicBezTo>
                  <a:cubicBezTo>
                    <a:pt x="2202431" y="946604"/>
                    <a:pt x="2202982" y="937299"/>
                    <a:pt x="2203327" y="932681"/>
                  </a:cubicBezTo>
                  <a:cubicBezTo>
                    <a:pt x="2197262" y="932750"/>
                    <a:pt x="2185269" y="932888"/>
                    <a:pt x="2179203" y="933026"/>
                  </a:cubicBezTo>
                  <a:cubicBezTo>
                    <a:pt x="2180857" y="930407"/>
                    <a:pt x="2184097" y="925237"/>
                    <a:pt x="2185751" y="922687"/>
                  </a:cubicBezTo>
                  <a:cubicBezTo>
                    <a:pt x="2194298" y="928752"/>
                    <a:pt x="2203878" y="932612"/>
                    <a:pt x="2214424" y="933508"/>
                  </a:cubicBezTo>
                  <a:cubicBezTo>
                    <a:pt x="2212494" y="925444"/>
                    <a:pt x="2210495" y="917311"/>
                    <a:pt x="2208427" y="909178"/>
                  </a:cubicBezTo>
                  <a:cubicBezTo>
                    <a:pt x="2222074" y="889396"/>
                    <a:pt x="2224969" y="862585"/>
                    <a:pt x="2214493" y="840667"/>
                  </a:cubicBezTo>
                  <a:lnTo>
                    <a:pt x="2224831" y="844664"/>
                  </a:lnTo>
                  <a:cubicBezTo>
                    <a:pt x="2226003" y="828260"/>
                    <a:pt x="2229932" y="812132"/>
                    <a:pt x="2229518" y="795659"/>
                  </a:cubicBezTo>
                  <a:cubicBezTo>
                    <a:pt x="2225383" y="792626"/>
                    <a:pt x="2217112" y="786561"/>
                    <a:pt x="2213045" y="783528"/>
                  </a:cubicBezTo>
                  <a:cubicBezTo>
                    <a:pt x="2198502" y="798898"/>
                    <a:pt x="2199743" y="819024"/>
                    <a:pt x="2204154" y="838116"/>
                  </a:cubicBezTo>
                  <a:cubicBezTo>
                    <a:pt x="2198227" y="826951"/>
                    <a:pt x="2192092" y="815854"/>
                    <a:pt x="2185889" y="804826"/>
                  </a:cubicBezTo>
                  <a:cubicBezTo>
                    <a:pt x="2187543" y="801242"/>
                    <a:pt x="2190852" y="794074"/>
                    <a:pt x="2192506" y="790490"/>
                  </a:cubicBezTo>
                  <a:cubicBezTo>
                    <a:pt x="2191610" y="787388"/>
                    <a:pt x="2189749" y="781254"/>
                    <a:pt x="2188853" y="778152"/>
                  </a:cubicBezTo>
                  <a:cubicBezTo>
                    <a:pt x="2190300" y="775533"/>
                    <a:pt x="2193264" y="770295"/>
                    <a:pt x="2194711" y="767744"/>
                  </a:cubicBezTo>
                  <a:cubicBezTo>
                    <a:pt x="2197468" y="760232"/>
                    <a:pt x="2200225" y="752857"/>
                    <a:pt x="2203258" y="745413"/>
                  </a:cubicBezTo>
                  <a:cubicBezTo>
                    <a:pt x="2202845" y="741415"/>
                    <a:pt x="2202017" y="733489"/>
                    <a:pt x="2201604" y="729560"/>
                  </a:cubicBezTo>
                  <a:lnTo>
                    <a:pt x="2204774" y="728251"/>
                  </a:lnTo>
                  <a:cubicBezTo>
                    <a:pt x="2212080" y="725631"/>
                    <a:pt x="2219524" y="723081"/>
                    <a:pt x="2227037" y="720738"/>
                  </a:cubicBezTo>
                  <a:cubicBezTo>
                    <a:pt x="2224487" y="709848"/>
                    <a:pt x="2227933" y="707987"/>
                    <a:pt x="2237514" y="715155"/>
                  </a:cubicBezTo>
                  <a:lnTo>
                    <a:pt x="2245647" y="713018"/>
                  </a:lnTo>
                  <a:cubicBezTo>
                    <a:pt x="2244544" y="709159"/>
                    <a:pt x="2242338" y="701439"/>
                    <a:pt x="2241236" y="697648"/>
                  </a:cubicBezTo>
                  <a:cubicBezTo>
                    <a:pt x="2229036" y="687861"/>
                    <a:pt x="2217939" y="708676"/>
                    <a:pt x="2204499" y="704127"/>
                  </a:cubicBezTo>
                  <a:cubicBezTo>
                    <a:pt x="2200088" y="703024"/>
                    <a:pt x="2191265" y="700819"/>
                    <a:pt x="2186854" y="699716"/>
                  </a:cubicBezTo>
                  <a:cubicBezTo>
                    <a:pt x="2186785" y="697717"/>
                    <a:pt x="2186647" y="693581"/>
                    <a:pt x="2186578" y="691583"/>
                  </a:cubicBezTo>
                  <a:cubicBezTo>
                    <a:pt x="2196366" y="691238"/>
                    <a:pt x="2206222" y="690893"/>
                    <a:pt x="2216078" y="690549"/>
                  </a:cubicBezTo>
                  <a:lnTo>
                    <a:pt x="2217250" y="685517"/>
                  </a:lnTo>
                  <a:cubicBezTo>
                    <a:pt x="2224280" y="680210"/>
                    <a:pt x="2231104" y="674696"/>
                    <a:pt x="2237927" y="669044"/>
                  </a:cubicBezTo>
                  <a:cubicBezTo>
                    <a:pt x="2242063" y="669596"/>
                    <a:pt x="2250334" y="670699"/>
                    <a:pt x="2254469" y="671250"/>
                  </a:cubicBezTo>
                  <a:cubicBezTo>
                    <a:pt x="2254056" y="665943"/>
                    <a:pt x="2253297" y="655397"/>
                    <a:pt x="2252884" y="650159"/>
                  </a:cubicBezTo>
                  <a:cubicBezTo>
                    <a:pt x="2238479" y="657051"/>
                    <a:pt x="2223522" y="662772"/>
                    <a:pt x="2208496" y="668148"/>
                  </a:cubicBezTo>
                  <a:cubicBezTo>
                    <a:pt x="2207945" y="662703"/>
                    <a:pt x="2206842" y="651744"/>
                    <a:pt x="2206222" y="646230"/>
                  </a:cubicBezTo>
                  <a:cubicBezTo>
                    <a:pt x="2203534" y="643818"/>
                    <a:pt x="2198020" y="638993"/>
                    <a:pt x="2195263" y="636512"/>
                  </a:cubicBezTo>
                  <a:cubicBezTo>
                    <a:pt x="2194987" y="632652"/>
                    <a:pt x="2194436" y="624933"/>
                    <a:pt x="2194160" y="621073"/>
                  </a:cubicBezTo>
                  <a:cubicBezTo>
                    <a:pt x="2188508" y="626035"/>
                    <a:pt x="2183339" y="631480"/>
                    <a:pt x="2178238" y="636925"/>
                  </a:cubicBezTo>
                  <a:cubicBezTo>
                    <a:pt x="2178997" y="632721"/>
                    <a:pt x="2180513" y="624312"/>
                    <a:pt x="2181271" y="620108"/>
                  </a:cubicBezTo>
                  <a:cubicBezTo>
                    <a:pt x="2173827" y="620452"/>
                    <a:pt x="2158871" y="621211"/>
                    <a:pt x="2151427" y="621555"/>
                  </a:cubicBezTo>
                  <a:cubicBezTo>
                    <a:pt x="2147084" y="642508"/>
                    <a:pt x="2144603" y="663806"/>
                    <a:pt x="2140399" y="684759"/>
                  </a:cubicBezTo>
                  <a:cubicBezTo>
                    <a:pt x="2144327" y="689860"/>
                    <a:pt x="2148325" y="694822"/>
                    <a:pt x="2152530" y="699647"/>
                  </a:cubicBezTo>
                  <a:lnTo>
                    <a:pt x="2156665" y="687792"/>
                  </a:lnTo>
                  <a:cubicBezTo>
                    <a:pt x="2156665" y="690893"/>
                    <a:pt x="2156665" y="697028"/>
                    <a:pt x="2156665" y="700060"/>
                  </a:cubicBezTo>
                  <a:cubicBezTo>
                    <a:pt x="2152047" y="699647"/>
                    <a:pt x="2142880" y="698751"/>
                    <a:pt x="2138262" y="698337"/>
                  </a:cubicBezTo>
                  <a:cubicBezTo>
                    <a:pt x="2133644" y="733144"/>
                    <a:pt x="2131439" y="768640"/>
                    <a:pt x="2121100" y="802276"/>
                  </a:cubicBezTo>
                  <a:cubicBezTo>
                    <a:pt x="2124615" y="807927"/>
                    <a:pt x="2129440" y="812476"/>
                    <a:pt x="2134471" y="816819"/>
                  </a:cubicBezTo>
                  <a:cubicBezTo>
                    <a:pt x="2130818" y="817439"/>
                    <a:pt x="2123512" y="818680"/>
                    <a:pt x="2119859" y="819300"/>
                  </a:cubicBezTo>
                  <a:cubicBezTo>
                    <a:pt x="2119032" y="848386"/>
                    <a:pt x="2111726" y="876576"/>
                    <a:pt x="2108900" y="905387"/>
                  </a:cubicBezTo>
                  <a:cubicBezTo>
                    <a:pt x="2073128" y="904491"/>
                    <a:pt x="2037425" y="900976"/>
                    <a:pt x="2001653" y="898908"/>
                  </a:cubicBezTo>
                  <a:cubicBezTo>
                    <a:pt x="2000689" y="861551"/>
                    <a:pt x="2000413" y="824194"/>
                    <a:pt x="1998483" y="786905"/>
                  </a:cubicBezTo>
                  <a:cubicBezTo>
                    <a:pt x="1995450" y="787733"/>
                    <a:pt x="1989454" y="789456"/>
                    <a:pt x="1986421" y="790283"/>
                  </a:cubicBezTo>
                  <a:cubicBezTo>
                    <a:pt x="1995933" y="773810"/>
                    <a:pt x="1999379" y="755131"/>
                    <a:pt x="1999379" y="736177"/>
                  </a:cubicBezTo>
                  <a:cubicBezTo>
                    <a:pt x="1988282" y="742242"/>
                    <a:pt x="1976565" y="742932"/>
                    <a:pt x="1964434" y="738107"/>
                  </a:cubicBezTo>
                  <a:cubicBezTo>
                    <a:pt x="1963400" y="751547"/>
                    <a:pt x="1962298" y="764987"/>
                    <a:pt x="1960299" y="778290"/>
                  </a:cubicBezTo>
                  <a:cubicBezTo>
                    <a:pt x="1956715" y="766090"/>
                    <a:pt x="1954509" y="753615"/>
                    <a:pt x="1951338" y="741208"/>
                  </a:cubicBezTo>
                  <a:cubicBezTo>
                    <a:pt x="1946583" y="728388"/>
                    <a:pt x="1940862" y="748239"/>
                    <a:pt x="1938794" y="752374"/>
                  </a:cubicBezTo>
                  <a:cubicBezTo>
                    <a:pt x="1934383" y="750858"/>
                    <a:pt x="1930041" y="749135"/>
                    <a:pt x="1925767" y="747412"/>
                  </a:cubicBezTo>
                  <a:cubicBezTo>
                    <a:pt x="1934934" y="739347"/>
                    <a:pt x="1942792" y="729974"/>
                    <a:pt x="1952166" y="722116"/>
                  </a:cubicBezTo>
                  <a:cubicBezTo>
                    <a:pt x="1965813" y="730387"/>
                    <a:pt x="1980563" y="740657"/>
                    <a:pt x="1997380" y="735763"/>
                  </a:cubicBezTo>
                  <a:cubicBezTo>
                    <a:pt x="1993934" y="700336"/>
                    <a:pt x="1997104" y="664702"/>
                    <a:pt x="1995657" y="629206"/>
                  </a:cubicBezTo>
                  <a:cubicBezTo>
                    <a:pt x="1993520" y="627276"/>
                    <a:pt x="1989247" y="623416"/>
                    <a:pt x="1987110" y="621417"/>
                  </a:cubicBezTo>
                  <a:lnTo>
                    <a:pt x="1998552" y="620384"/>
                  </a:lnTo>
                  <a:cubicBezTo>
                    <a:pt x="1993176" y="611492"/>
                    <a:pt x="1984836" y="607426"/>
                    <a:pt x="1973463" y="608253"/>
                  </a:cubicBezTo>
                  <a:cubicBezTo>
                    <a:pt x="1971258" y="617902"/>
                    <a:pt x="1969121" y="627689"/>
                    <a:pt x="1960712" y="633686"/>
                  </a:cubicBezTo>
                  <a:cubicBezTo>
                    <a:pt x="1960712" y="627345"/>
                    <a:pt x="1960574" y="614594"/>
                    <a:pt x="1960574" y="608253"/>
                  </a:cubicBezTo>
                  <a:lnTo>
                    <a:pt x="1950443" y="607081"/>
                  </a:lnTo>
                  <a:cubicBezTo>
                    <a:pt x="1949340" y="610390"/>
                    <a:pt x="1947065" y="616868"/>
                    <a:pt x="1945962" y="620177"/>
                  </a:cubicBezTo>
                  <a:lnTo>
                    <a:pt x="1946238" y="603910"/>
                  </a:lnTo>
                  <a:cubicBezTo>
                    <a:pt x="1942654" y="606943"/>
                    <a:pt x="1935417" y="613146"/>
                    <a:pt x="1931833" y="616248"/>
                  </a:cubicBezTo>
                  <a:lnTo>
                    <a:pt x="1935210" y="605978"/>
                  </a:lnTo>
                  <a:cubicBezTo>
                    <a:pt x="1919082" y="605634"/>
                    <a:pt x="1903022" y="604669"/>
                    <a:pt x="1886894" y="603704"/>
                  </a:cubicBezTo>
                  <a:cubicBezTo>
                    <a:pt x="1891512" y="739416"/>
                    <a:pt x="1894131" y="875198"/>
                    <a:pt x="1900334" y="1010842"/>
                  </a:cubicBezTo>
                  <a:cubicBezTo>
                    <a:pt x="1900403" y="1037240"/>
                    <a:pt x="1899300" y="1063776"/>
                    <a:pt x="1903712" y="1089967"/>
                  </a:cubicBezTo>
                  <a:cubicBezTo>
                    <a:pt x="1920254" y="1094723"/>
                    <a:pt x="1936864" y="1099479"/>
                    <a:pt x="1952924" y="1105889"/>
                  </a:cubicBezTo>
                  <a:cubicBezTo>
                    <a:pt x="1952786" y="1112643"/>
                    <a:pt x="1952648" y="1119398"/>
                    <a:pt x="1952510" y="1126153"/>
                  </a:cubicBezTo>
                  <a:cubicBezTo>
                    <a:pt x="1944791" y="1123189"/>
                    <a:pt x="1937416" y="1119467"/>
                    <a:pt x="1931557" y="1113608"/>
                  </a:cubicBezTo>
                  <a:cubicBezTo>
                    <a:pt x="1929903" y="1109611"/>
                    <a:pt x="1926595" y="1101684"/>
                    <a:pt x="1924940" y="1097687"/>
                  </a:cubicBezTo>
                  <a:cubicBezTo>
                    <a:pt x="1919151" y="1098169"/>
                    <a:pt x="1907571" y="1099134"/>
                    <a:pt x="1901782" y="1099617"/>
                  </a:cubicBezTo>
                  <a:cubicBezTo>
                    <a:pt x="1902195" y="1111196"/>
                    <a:pt x="1902747" y="1122706"/>
                    <a:pt x="1903367" y="1134148"/>
                  </a:cubicBezTo>
                  <a:cubicBezTo>
                    <a:pt x="1908881" y="1140764"/>
                    <a:pt x="1914326" y="1147381"/>
                    <a:pt x="1919633" y="1154136"/>
                  </a:cubicBezTo>
                  <a:cubicBezTo>
                    <a:pt x="1915567" y="1153860"/>
                    <a:pt x="1907365" y="1153171"/>
                    <a:pt x="1903229" y="1152895"/>
                  </a:cubicBezTo>
                  <a:cubicBezTo>
                    <a:pt x="1906744" y="1169575"/>
                    <a:pt x="1905642" y="1186599"/>
                    <a:pt x="1905297" y="1203486"/>
                  </a:cubicBezTo>
                  <a:cubicBezTo>
                    <a:pt x="1907020" y="1293984"/>
                    <a:pt x="1911431" y="1384413"/>
                    <a:pt x="1913154" y="1474842"/>
                  </a:cubicBezTo>
                  <a:lnTo>
                    <a:pt x="1923700" y="1474980"/>
                  </a:lnTo>
                  <a:cubicBezTo>
                    <a:pt x="1914050" y="1481872"/>
                    <a:pt x="1910053" y="1493727"/>
                    <a:pt x="1919013" y="1503170"/>
                  </a:cubicBezTo>
                  <a:cubicBezTo>
                    <a:pt x="1912741" y="1515852"/>
                    <a:pt x="1908536" y="1543422"/>
                    <a:pt x="1927559" y="1546248"/>
                  </a:cubicBezTo>
                  <a:cubicBezTo>
                    <a:pt x="1919426" y="1551417"/>
                    <a:pt x="1914188" y="1558930"/>
                    <a:pt x="1916187" y="1569062"/>
                  </a:cubicBezTo>
                  <a:cubicBezTo>
                    <a:pt x="1918944" y="1665281"/>
                    <a:pt x="1921839" y="1761500"/>
                    <a:pt x="1925009" y="1857649"/>
                  </a:cubicBezTo>
                  <a:moveTo>
                    <a:pt x="2461656" y="712811"/>
                  </a:moveTo>
                  <a:cubicBezTo>
                    <a:pt x="2451042" y="692203"/>
                    <a:pt x="2484470" y="711640"/>
                    <a:pt x="2461656" y="712811"/>
                  </a:cubicBezTo>
                  <a:moveTo>
                    <a:pt x="2469169" y="810271"/>
                  </a:moveTo>
                  <a:cubicBezTo>
                    <a:pt x="2470134" y="794418"/>
                    <a:pt x="2471237" y="778497"/>
                    <a:pt x="2471099" y="762506"/>
                  </a:cubicBezTo>
                  <a:cubicBezTo>
                    <a:pt x="2472547" y="771535"/>
                    <a:pt x="2474270" y="780358"/>
                    <a:pt x="2476406" y="789180"/>
                  </a:cubicBezTo>
                  <a:cubicBezTo>
                    <a:pt x="2475441" y="796486"/>
                    <a:pt x="2474201" y="803861"/>
                    <a:pt x="2473236" y="811029"/>
                  </a:cubicBezTo>
                  <a:lnTo>
                    <a:pt x="2469169" y="810271"/>
                  </a:lnTo>
                  <a:moveTo>
                    <a:pt x="2460967" y="877679"/>
                  </a:moveTo>
                  <a:cubicBezTo>
                    <a:pt x="2454971" y="869477"/>
                    <a:pt x="2461105" y="856450"/>
                    <a:pt x="2469031" y="851626"/>
                  </a:cubicBezTo>
                  <a:cubicBezTo>
                    <a:pt x="2479646" y="855348"/>
                    <a:pt x="2472615" y="880712"/>
                    <a:pt x="2460967" y="877679"/>
                  </a:cubicBezTo>
                  <a:moveTo>
                    <a:pt x="2455936" y="906559"/>
                  </a:moveTo>
                  <a:cubicBezTo>
                    <a:pt x="2452696" y="894910"/>
                    <a:pt x="2456487" y="890844"/>
                    <a:pt x="2467239" y="894428"/>
                  </a:cubicBezTo>
                  <a:cubicBezTo>
                    <a:pt x="2470341" y="906214"/>
                    <a:pt x="2466619" y="910212"/>
                    <a:pt x="2455936" y="906559"/>
                  </a:cubicBezTo>
                  <a:moveTo>
                    <a:pt x="2456349" y="928270"/>
                  </a:moveTo>
                  <a:cubicBezTo>
                    <a:pt x="2456005" y="905318"/>
                    <a:pt x="2477440" y="937712"/>
                    <a:pt x="2456349" y="928270"/>
                  </a:cubicBezTo>
                  <a:moveTo>
                    <a:pt x="2435327" y="988648"/>
                  </a:moveTo>
                  <a:cubicBezTo>
                    <a:pt x="2437533" y="985891"/>
                    <a:pt x="2442013" y="980308"/>
                    <a:pt x="2444219" y="977551"/>
                  </a:cubicBezTo>
                  <a:cubicBezTo>
                    <a:pt x="2444012" y="970383"/>
                    <a:pt x="2443874" y="963215"/>
                    <a:pt x="2443805" y="956046"/>
                  </a:cubicBezTo>
                  <a:cubicBezTo>
                    <a:pt x="2444977" y="959837"/>
                    <a:pt x="2447389" y="967419"/>
                    <a:pt x="2448561" y="971210"/>
                  </a:cubicBezTo>
                  <a:cubicBezTo>
                    <a:pt x="2450629" y="969556"/>
                    <a:pt x="2454695" y="966247"/>
                    <a:pt x="2456694" y="964524"/>
                  </a:cubicBezTo>
                  <a:cubicBezTo>
                    <a:pt x="2459933" y="970314"/>
                    <a:pt x="2463242" y="976103"/>
                    <a:pt x="2466550" y="981824"/>
                  </a:cubicBezTo>
                  <a:cubicBezTo>
                    <a:pt x="2455522" y="981204"/>
                    <a:pt x="2445115" y="983892"/>
                    <a:pt x="2435327" y="988648"/>
                  </a:cubicBezTo>
                  <a:moveTo>
                    <a:pt x="2448630" y="1050542"/>
                  </a:moveTo>
                  <a:cubicBezTo>
                    <a:pt x="2445252" y="1041099"/>
                    <a:pt x="2448492" y="1037378"/>
                    <a:pt x="2458210" y="1039376"/>
                  </a:cubicBezTo>
                  <a:cubicBezTo>
                    <a:pt x="2461450" y="1048888"/>
                    <a:pt x="2458279" y="1052610"/>
                    <a:pt x="2448630" y="1050542"/>
                  </a:cubicBezTo>
                  <a:moveTo>
                    <a:pt x="2421956" y="1201142"/>
                  </a:moveTo>
                  <a:cubicBezTo>
                    <a:pt x="2416373" y="1196111"/>
                    <a:pt x="2415959" y="1179086"/>
                    <a:pt x="2425609" y="1179293"/>
                  </a:cubicBezTo>
                  <a:cubicBezTo>
                    <a:pt x="2431192" y="1184463"/>
                    <a:pt x="2431812" y="1201556"/>
                    <a:pt x="2421956" y="1201142"/>
                  </a:cubicBezTo>
                  <a:moveTo>
                    <a:pt x="2428090" y="1223405"/>
                  </a:moveTo>
                  <a:cubicBezTo>
                    <a:pt x="2424506" y="1213618"/>
                    <a:pt x="2427539" y="1210516"/>
                    <a:pt x="2437326" y="1214031"/>
                  </a:cubicBezTo>
                  <a:cubicBezTo>
                    <a:pt x="2440910" y="1223887"/>
                    <a:pt x="2437808" y="1227058"/>
                    <a:pt x="2428090" y="1223405"/>
                  </a:cubicBezTo>
                  <a:moveTo>
                    <a:pt x="2469721" y="1228574"/>
                  </a:moveTo>
                  <a:cubicBezTo>
                    <a:pt x="2463104" y="1220924"/>
                    <a:pt x="2464413" y="1216030"/>
                    <a:pt x="2473856" y="1213962"/>
                  </a:cubicBezTo>
                  <a:cubicBezTo>
                    <a:pt x="2480404" y="1221751"/>
                    <a:pt x="2479025" y="1226644"/>
                    <a:pt x="2469721" y="1228574"/>
                  </a:cubicBezTo>
                  <a:moveTo>
                    <a:pt x="2434431" y="1249872"/>
                  </a:moveTo>
                  <a:cubicBezTo>
                    <a:pt x="2423472" y="1229264"/>
                    <a:pt x="2456970" y="1248149"/>
                    <a:pt x="2434431" y="1249872"/>
                  </a:cubicBezTo>
                  <a:moveTo>
                    <a:pt x="2470065" y="1326379"/>
                  </a:moveTo>
                  <a:cubicBezTo>
                    <a:pt x="2461587" y="1327550"/>
                    <a:pt x="2449112" y="1317901"/>
                    <a:pt x="2455315" y="1309078"/>
                  </a:cubicBezTo>
                  <a:cubicBezTo>
                    <a:pt x="2464758" y="1300463"/>
                    <a:pt x="2482610" y="1320658"/>
                    <a:pt x="2470065" y="1326379"/>
                  </a:cubicBezTo>
                  <a:moveTo>
                    <a:pt x="2483712" y="1340232"/>
                  </a:moveTo>
                  <a:cubicBezTo>
                    <a:pt x="2477716" y="1331617"/>
                    <a:pt x="2479163" y="1326379"/>
                    <a:pt x="2488055" y="1324586"/>
                  </a:cubicBezTo>
                  <a:cubicBezTo>
                    <a:pt x="2494051" y="1333271"/>
                    <a:pt x="2492604" y="1338509"/>
                    <a:pt x="2483712" y="1340232"/>
                  </a:cubicBezTo>
                  <a:moveTo>
                    <a:pt x="2447872" y="1346849"/>
                  </a:moveTo>
                  <a:cubicBezTo>
                    <a:pt x="2437257" y="1325689"/>
                    <a:pt x="2470548" y="1346091"/>
                    <a:pt x="2447872" y="1346849"/>
                  </a:cubicBezTo>
                  <a:moveTo>
                    <a:pt x="2484953" y="1381105"/>
                  </a:moveTo>
                  <a:cubicBezTo>
                    <a:pt x="2477096" y="1381380"/>
                    <a:pt x="2469858" y="1365390"/>
                    <a:pt x="2480680" y="1364770"/>
                  </a:cubicBezTo>
                  <a:cubicBezTo>
                    <a:pt x="2489295" y="1364080"/>
                    <a:pt x="2497497" y="1381311"/>
                    <a:pt x="2484953" y="1381105"/>
                  </a:cubicBezTo>
                  <a:moveTo>
                    <a:pt x="2420784" y="1402058"/>
                  </a:moveTo>
                  <a:cubicBezTo>
                    <a:pt x="2409412" y="1381794"/>
                    <a:pt x="2443460" y="1400059"/>
                    <a:pt x="2420784" y="1402058"/>
                  </a:cubicBezTo>
                  <a:moveTo>
                    <a:pt x="2421473" y="1450581"/>
                  </a:moveTo>
                  <a:cubicBezTo>
                    <a:pt x="2425333" y="1446997"/>
                    <a:pt x="2425333" y="1446997"/>
                    <a:pt x="2421473" y="1450581"/>
                  </a:cubicBezTo>
                  <a:moveTo>
                    <a:pt x="2448423" y="1533979"/>
                  </a:moveTo>
                  <a:cubicBezTo>
                    <a:pt x="2442840" y="1527776"/>
                    <a:pt x="2447320" y="1511648"/>
                    <a:pt x="2457107" y="1514818"/>
                  </a:cubicBezTo>
                  <a:cubicBezTo>
                    <a:pt x="2463793" y="1520815"/>
                    <a:pt x="2459451" y="1542802"/>
                    <a:pt x="2448423" y="1533979"/>
                  </a:cubicBezTo>
                  <a:moveTo>
                    <a:pt x="2407688" y="1538804"/>
                  </a:moveTo>
                  <a:cubicBezTo>
                    <a:pt x="2401899" y="1530395"/>
                    <a:pt x="2414512" y="1516886"/>
                    <a:pt x="2423403" y="1522262"/>
                  </a:cubicBezTo>
                  <a:cubicBezTo>
                    <a:pt x="2428228" y="1530464"/>
                    <a:pt x="2415959" y="1542664"/>
                    <a:pt x="2407688" y="1538804"/>
                  </a:cubicBezTo>
                  <a:moveTo>
                    <a:pt x="2422300" y="1601525"/>
                  </a:moveTo>
                  <a:cubicBezTo>
                    <a:pt x="2425609" y="1597666"/>
                    <a:pt x="2425609" y="1597666"/>
                    <a:pt x="2422300" y="1601525"/>
                  </a:cubicBezTo>
                  <a:moveTo>
                    <a:pt x="2462690" y="1608487"/>
                  </a:moveTo>
                  <a:cubicBezTo>
                    <a:pt x="2466137" y="1604834"/>
                    <a:pt x="2466137" y="1604834"/>
                    <a:pt x="2462690" y="1608487"/>
                  </a:cubicBezTo>
                  <a:moveTo>
                    <a:pt x="2420302" y="1623099"/>
                  </a:moveTo>
                  <a:cubicBezTo>
                    <a:pt x="2409756" y="1602353"/>
                    <a:pt x="2443047" y="1621996"/>
                    <a:pt x="2420302" y="1623099"/>
                  </a:cubicBezTo>
                  <a:moveTo>
                    <a:pt x="2438291" y="1618964"/>
                  </a:moveTo>
                  <a:cubicBezTo>
                    <a:pt x="2439738" y="1617240"/>
                    <a:pt x="2442564" y="1613725"/>
                    <a:pt x="2443943" y="1611933"/>
                  </a:cubicBezTo>
                  <a:cubicBezTo>
                    <a:pt x="2444770" y="1622823"/>
                    <a:pt x="2445597" y="1633713"/>
                    <a:pt x="2446700" y="1644535"/>
                  </a:cubicBezTo>
                  <a:cubicBezTo>
                    <a:pt x="2443185" y="1651427"/>
                    <a:pt x="2439807" y="1658320"/>
                    <a:pt x="2436430" y="1665143"/>
                  </a:cubicBezTo>
                  <a:cubicBezTo>
                    <a:pt x="2438567" y="1649911"/>
                    <a:pt x="2439325" y="1634403"/>
                    <a:pt x="2438291" y="1618964"/>
                  </a:cubicBezTo>
                  <a:moveTo>
                    <a:pt x="2414305" y="1665212"/>
                  </a:moveTo>
                  <a:cubicBezTo>
                    <a:pt x="2405138" y="1660043"/>
                    <a:pt x="2405069" y="1655356"/>
                    <a:pt x="2413961" y="1651151"/>
                  </a:cubicBezTo>
                  <a:cubicBezTo>
                    <a:pt x="2423059" y="1656389"/>
                    <a:pt x="2423197" y="1661077"/>
                    <a:pt x="2414305" y="1665212"/>
                  </a:cubicBezTo>
                  <a:moveTo>
                    <a:pt x="2393007" y="1672242"/>
                  </a:moveTo>
                  <a:cubicBezTo>
                    <a:pt x="2387907" y="1663627"/>
                    <a:pt x="2384737" y="1646120"/>
                    <a:pt x="2392180" y="1638814"/>
                  </a:cubicBezTo>
                  <a:cubicBezTo>
                    <a:pt x="2399555" y="1645637"/>
                    <a:pt x="2404931" y="1669485"/>
                    <a:pt x="2393007" y="1672242"/>
                  </a:cubicBezTo>
                  <a:moveTo>
                    <a:pt x="2434845" y="1704912"/>
                  </a:moveTo>
                  <a:cubicBezTo>
                    <a:pt x="2431330" y="1693678"/>
                    <a:pt x="2435189" y="1689956"/>
                    <a:pt x="2446424" y="1693747"/>
                  </a:cubicBezTo>
                  <a:cubicBezTo>
                    <a:pt x="2449870" y="1705050"/>
                    <a:pt x="2446011" y="1708772"/>
                    <a:pt x="2434845" y="1704912"/>
                  </a:cubicBezTo>
                  <a:moveTo>
                    <a:pt x="2338695" y="1705395"/>
                  </a:moveTo>
                  <a:cubicBezTo>
                    <a:pt x="2342762" y="1701673"/>
                    <a:pt x="2342762" y="1701673"/>
                    <a:pt x="2338695" y="1705395"/>
                  </a:cubicBezTo>
                  <a:moveTo>
                    <a:pt x="2427332" y="1726555"/>
                  </a:moveTo>
                  <a:cubicBezTo>
                    <a:pt x="2417752" y="1705188"/>
                    <a:pt x="2450008" y="1726624"/>
                    <a:pt x="2427332" y="1726555"/>
                  </a:cubicBezTo>
                  <a:moveTo>
                    <a:pt x="2516727" y="1733309"/>
                  </a:moveTo>
                  <a:cubicBezTo>
                    <a:pt x="2506457" y="1712356"/>
                    <a:pt x="2539403" y="1732758"/>
                    <a:pt x="2516727" y="1733309"/>
                  </a:cubicBezTo>
                  <a:moveTo>
                    <a:pt x="2401347" y="1740753"/>
                  </a:moveTo>
                  <a:cubicBezTo>
                    <a:pt x="2393283" y="1740409"/>
                    <a:pt x="2385564" y="1723040"/>
                    <a:pt x="2396798" y="1722419"/>
                  </a:cubicBezTo>
                  <a:cubicBezTo>
                    <a:pt x="2403484" y="1723936"/>
                    <a:pt x="2412375" y="1739788"/>
                    <a:pt x="2401347" y="1740753"/>
                  </a:cubicBezTo>
                  <a:moveTo>
                    <a:pt x="2525136" y="1759156"/>
                  </a:moveTo>
                  <a:cubicBezTo>
                    <a:pt x="2521414" y="1751643"/>
                    <a:pt x="2527548" y="1736204"/>
                    <a:pt x="2537129" y="1737790"/>
                  </a:cubicBezTo>
                  <a:cubicBezTo>
                    <a:pt x="2543746" y="1745233"/>
                    <a:pt x="2535061" y="1762327"/>
                    <a:pt x="2525136" y="1759156"/>
                  </a:cubicBezTo>
                  <a:moveTo>
                    <a:pt x="2396178" y="1773699"/>
                  </a:moveTo>
                  <a:cubicBezTo>
                    <a:pt x="2390388" y="1756055"/>
                    <a:pt x="2372054" y="1739719"/>
                    <a:pt x="2380808" y="1720283"/>
                  </a:cubicBezTo>
                  <a:cubicBezTo>
                    <a:pt x="2382117" y="1724487"/>
                    <a:pt x="2384737" y="1732827"/>
                    <a:pt x="2386046" y="1737031"/>
                  </a:cubicBezTo>
                  <a:cubicBezTo>
                    <a:pt x="2395489" y="1746956"/>
                    <a:pt x="2395902" y="1760673"/>
                    <a:pt x="2397763" y="1773355"/>
                  </a:cubicBezTo>
                  <a:lnTo>
                    <a:pt x="2396178" y="1773699"/>
                  </a:lnTo>
                  <a:moveTo>
                    <a:pt x="2372675" y="1773492"/>
                  </a:moveTo>
                  <a:cubicBezTo>
                    <a:pt x="2367092" y="1764739"/>
                    <a:pt x="2368884" y="1759639"/>
                    <a:pt x="2377913" y="1758191"/>
                  </a:cubicBezTo>
                  <a:cubicBezTo>
                    <a:pt x="2383427" y="1767014"/>
                    <a:pt x="2381704" y="1772114"/>
                    <a:pt x="2372675" y="1773492"/>
                  </a:cubicBezTo>
                  <a:moveTo>
                    <a:pt x="2477027" y="1780385"/>
                  </a:moveTo>
                  <a:cubicBezTo>
                    <a:pt x="2471926" y="1772321"/>
                    <a:pt x="2471237" y="1759983"/>
                    <a:pt x="2476958" y="1752057"/>
                  </a:cubicBezTo>
                  <a:cubicBezTo>
                    <a:pt x="2487365" y="1753573"/>
                    <a:pt x="2486745" y="1778524"/>
                    <a:pt x="2477027" y="1780385"/>
                  </a:cubicBezTo>
                  <a:moveTo>
                    <a:pt x="2507698" y="1812986"/>
                  </a:moveTo>
                  <a:cubicBezTo>
                    <a:pt x="2499565" y="1801269"/>
                    <a:pt x="2505286" y="1793480"/>
                    <a:pt x="2516658" y="1788242"/>
                  </a:cubicBezTo>
                  <a:cubicBezTo>
                    <a:pt x="2514866" y="1804715"/>
                    <a:pt x="2513350" y="1821257"/>
                    <a:pt x="2509559" y="1837386"/>
                  </a:cubicBezTo>
                  <a:cubicBezTo>
                    <a:pt x="2491225" y="1845726"/>
                    <a:pt x="2489847" y="1811884"/>
                    <a:pt x="2507698" y="1812986"/>
                  </a:cubicBezTo>
                  <a:moveTo>
                    <a:pt x="2290517" y="1850275"/>
                  </a:moveTo>
                  <a:cubicBezTo>
                    <a:pt x="2294238" y="1846828"/>
                    <a:pt x="2294238" y="1846828"/>
                    <a:pt x="2290517" y="1850275"/>
                  </a:cubicBezTo>
                  <a:moveTo>
                    <a:pt x="2537405" y="1877707"/>
                  </a:moveTo>
                  <a:cubicBezTo>
                    <a:pt x="2526652" y="1857029"/>
                    <a:pt x="2560012" y="1876190"/>
                    <a:pt x="2537405" y="1877707"/>
                  </a:cubicBezTo>
                  <a:moveTo>
                    <a:pt x="2471444" y="1889079"/>
                  </a:moveTo>
                  <a:cubicBezTo>
                    <a:pt x="2481989" y="1892732"/>
                    <a:pt x="2492948" y="1895144"/>
                    <a:pt x="2504252" y="1896316"/>
                  </a:cubicBezTo>
                  <a:cubicBezTo>
                    <a:pt x="2504321" y="1886460"/>
                    <a:pt x="2504459" y="1876535"/>
                    <a:pt x="2504665" y="1866610"/>
                  </a:cubicBezTo>
                  <a:cubicBezTo>
                    <a:pt x="2506940" y="1868264"/>
                    <a:pt x="2511489" y="1871503"/>
                    <a:pt x="2513763" y="1873088"/>
                  </a:cubicBezTo>
                  <a:cubicBezTo>
                    <a:pt x="2512247" y="1879361"/>
                    <a:pt x="2505768" y="1889562"/>
                    <a:pt x="2514315" y="1893559"/>
                  </a:cubicBezTo>
                  <a:cubicBezTo>
                    <a:pt x="2526652" y="1898039"/>
                    <a:pt x="2540851" y="1895351"/>
                    <a:pt x="2553878" y="1897212"/>
                  </a:cubicBezTo>
                  <a:cubicBezTo>
                    <a:pt x="2553119" y="1892870"/>
                    <a:pt x="2551603" y="1884116"/>
                    <a:pt x="2550845" y="1879774"/>
                  </a:cubicBezTo>
                  <a:lnTo>
                    <a:pt x="2555807" y="1879912"/>
                  </a:lnTo>
                  <a:cubicBezTo>
                    <a:pt x="2557806" y="1884944"/>
                    <a:pt x="2561735" y="1895007"/>
                    <a:pt x="2563734" y="1900038"/>
                  </a:cubicBezTo>
                  <a:lnTo>
                    <a:pt x="2572418" y="1895903"/>
                  </a:lnTo>
                  <a:cubicBezTo>
                    <a:pt x="2577312" y="1833664"/>
                    <a:pt x="2580620" y="1771218"/>
                    <a:pt x="2584342" y="1708772"/>
                  </a:cubicBezTo>
                  <a:cubicBezTo>
                    <a:pt x="2548364" y="1707118"/>
                    <a:pt x="2512454" y="1704292"/>
                    <a:pt x="2476544" y="1702983"/>
                  </a:cubicBezTo>
                  <a:cubicBezTo>
                    <a:pt x="2477302" y="1674586"/>
                    <a:pt x="2479990" y="1646258"/>
                    <a:pt x="2481300" y="1617930"/>
                  </a:cubicBezTo>
                  <a:cubicBezTo>
                    <a:pt x="2485435" y="1596287"/>
                    <a:pt x="2458831" y="1584363"/>
                    <a:pt x="2463380" y="1561480"/>
                  </a:cubicBezTo>
                  <a:cubicBezTo>
                    <a:pt x="2468480" y="1565133"/>
                    <a:pt x="2478750" y="1572508"/>
                    <a:pt x="2483919" y="1576161"/>
                  </a:cubicBezTo>
                  <a:cubicBezTo>
                    <a:pt x="2486745" y="1540320"/>
                    <a:pt x="2489020" y="1504411"/>
                    <a:pt x="2486263" y="1468432"/>
                  </a:cubicBezTo>
                  <a:cubicBezTo>
                    <a:pt x="2488261" y="1463745"/>
                    <a:pt x="2492259" y="1454303"/>
                    <a:pt x="2494189" y="1449547"/>
                  </a:cubicBezTo>
                  <a:cubicBezTo>
                    <a:pt x="2484126" y="1444240"/>
                    <a:pt x="2473856" y="1439208"/>
                    <a:pt x="2463448" y="1434659"/>
                  </a:cubicBezTo>
                  <a:cubicBezTo>
                    <a:pt x="2463724" y="1438657"/>
                    <a:pt x="2464344" y="1446652"/>
                    <a:pt x="2464620" y="1450649"/>
                  </a:cubicBezTo>
                  <a:cubicBezTo>
                    <a:pt x="2462897" y="1450098"/>
                    <a:pt x="2459382" y="1448926"/>
                    <a:pt x="2457659" y="1448375"/>
                  </a:cubicBezTo>
                  <a:cubicBezTo>
                    <a:pt x="2459727" y="1440655"/>
                    <a:pt x="2461587" y="1432936"/>
                    <a:pt x="2463380" y="1425010"/>
                  </a:cubicBezTo>
                  <a:cubicBezTo>
                    <a:pt x="2472478" y="1428732"/>
                    <a:pt x="2481507" y="1432453"/>
                    <a:pt x="2490743" y="1436038"/>
                  </a:cubicBezTo>
                  <a:cubicBezTo>
                    <a:pt x="2491639" y="1433005"/>
                    <a:pt x="2493500" y="1427077"/>
                    <a:pt x="2494396" y="1424114"/>
                  </a:cubicBezTo>
                  <a:cubicBezTo>
                    <a:pt x="2489571" y="1420943"/>
                    <a:pt x="2484884" y="1417704"/>
                    <a:pt x="2480197" y="1414464"/>
                  </a:cubicBezTo>
                  <a:cubicBezTo>
                    <a:pt x="2479025" y="1410122"/>
                    <a:pt x="2476613" y="1401506"/>
                    <a:pt x="2475441" y="1397233"/>
                  </a:cubicBezTo>
                  <a:cubicBezTo>
                    <a:pt x="2481093" y="1399094"/>
                    <a:pt x="2497290" y="1414395"/>
                    <a:pt x="2494533" y="1397578"/>
                  </a:cubicBezTo>
                  <a:cubicBezTo>
                    <a:pt x="2508181" y="1199006"/>
                    <a:pt x="2519760" y="1000227"/>
                    <a:pt x="2532442" y="801518"/>
                  </a:cubicBezTo>
                  <a:cubicBezTo>
                    <a:pt x="2530995" y="799656"/>
                    <a:pt x="2528031" y="795935"/>
                    <a:pt x="2526583" y="794074"/>
                  </a:cubicBezTo>
                  <a:cubicBezTo>
                    <a:pt x="2538714" y="771053"/>
                    <a:pt x="2534510" y="743276"/>
                    <a:pt x="2537129" y="718050"/>
                  </a:cubicBezTo>
                  <a:lnTo>
                    <a:pt x="2532304" y="718946"/>
                  </a:lnTo>
                  <a:cubicBezTo>
                    <a:pt x="2519553" y="723633"/>
                    <a:pt x="2515142" y="737142"/>
                    <a:pt x="2507422" y="746860"/>
                  </a:cubicBezTo>
                  <a:cubicBezTo>
                    <a:pt x="2505630" y="744999"/>
                    <a:pt x="2502046" y="741277"/>
                    <a:pt x="2500254" y="739416"/>
                  </a:cubicBezTo>
                  <a:cubicBezTo>
                    <a:pt x="2498600" y="735074"/>
                    <a:pt x="2495430" y="726459"/>
                    <a:pt x="2493844" y="722185"/>
                  </a:cubicBezTo>
                  <a:cubicBezTo>
                    <a:pt x="2489709" y="715431"/>
                    <a:pt x="2485573" y="708676"/>
                    <a:pt x="2481507" y="701921"/>
                  </a:cubicBezTo>
                  <a:cubicBezTo>
                    <a:pt x="2488675" y="699509"/>
                    <a:pt x="2495843" y="697097"/>
                    <a:pt x="2503080" y="694684"/>
                  </a:cubicBezTo>
                  <a:cubicBezTo>
                    <a:pt x="2500254" y="683587"/>
                    <a:pt x="2503287" y="681313"/>
                    <a:pt x="2512178" y="687861"/>
                  </a:cubicBezTo>
                  <a:cubicBezTo>
                    <a:pt x="2521345" y="682829"/>
                    <a:pt x="2530926" y="678556"/>
                    <a:pt x="2540437" y="674076"/>
                  </a:cubicBezTo>
                  <a:cubicBezTo>
                    <a:pt x="2540989" y="664220"/>
                    <a:pt x="2541471" y="654363"/>
                    <a:pt x="2541954" y="644438"/>
                  </a:cubicBezTo>
                  <a:cubicBezTo>
                    <a:pt x="2531133" y="644094"/>
                    <a:pt x="2520242" y="643680"/>
                    <a:pt x="2509490" y="643129"/>
                  </a:cubicBezTo>
                  <a:cubicBezTo>
                    <a:pt x="2510662" y="653261"/>
                    <a:pt x="2511627" y="663324"/>
                    <a:pt x="2512040" y="673456"/>
                  </a:cubicBezTo>
                  <a:cubicBezTo>
                    <a:pt x="2508870" y="663048"/>
                    <a:pt x="2507147" y="652434"/>
                    <a:pt x="2505630" y="641612"/>
                  </a:cubicBezTo>
                  <a:cubicBezTo>
                    <a:pt x="2493706" y="643611"/>
                    <a:pt x="2476613" y="635685"/>
                    <a:pt x="2467860" y="646368"/>
                  </a:cubicBezTo>
                  <a:lnTo>
                    <a:pt x="2465654" y="649745"/>
                  </a:lnTo>
                  <a:cubicBezTo>
                    <a:pt x="2459106" y="639751"/>
                    <a:pt x="2448216" y="637201"/>
                    <a:pt x="2436775" y="637546"/>
                  </a:cubicBezTo>
                  <a:cubicBezTo>
                    <a:pt x="2440290" y="646851"/>
                    <a:pt x="2447113" y="653881"/>
                    <a:pt x="2453730" y="660842"/>
                  </a:cubicBezTo>
                  <a:cubicBezTo>
                    <a:pt x="2447320" y="669871"/>
                    <a:pt x="2440910" y="679107"/>
                    <a:pt x="2434500" y="687999"/>
                  </a:cubicBezTo>
                  <a:cubicBezTo>
                    <a:pt x="2437326" y="691169"/>
                    <a:pt x="2442978" y="697441"/>
                    <a:pt x="2445804" y="700543"/>
                  </a:cubicBezTo>
                  <a:cubicBezTo>
                    <a:pt x="2436085" y="717429"/>
                    <a:pt x="2430640" y="736246"/>
                    <a:pt x="2432364" y="755820"/>
                  </a:cubicBezTo>
                  <a:cubicBezTo>
                    <a:pt x="2440083" y="764987"/>
                    <a:pt x="2431743" y="774430"/>
                    <a:pt x="2430227" y="783873"/>
                  </a:cubicBezTo>
                  <a:cubicBezTo>
                    <a:pt x="2428573" y="795176"/>
                    <a:pt x="2428710" y="806687"/>
                    <a:pt x="2428504" y="817990"/>
                  </a:cubicBezTo>
                  <a:cubicBezTo>
                    <a:pt x="2451111" y="838185"/>
                    <a:pt x="2413478" y="868168"/>
                    <a:pt x="2426987" y="887191"/>
                  </a:cubicBezTo>
                  <a:cubicBezTo>
                    <a:pt x="2438567" y="893808"/>
                    <a:pt x="2444770" y="889672"/>
                    <a:pt x="2445390" y="874784"/>
                  </a:cubicBezTo>
                  <a:cubicBezTo>
                    <a:pt x="2447044" y="877266"/>
                    <a:pt x="2448768" y="879747"/>
                    <a:pt x="2450491" y="882090"/>
                  </a:cubicBezTo>
                  <a:cubicBezTo>
                    <a:pt x="2445115" y="888431"/>
                    <a:pt x="2440152" y="895117"/>
                    <a:pt x="2437464" y="902975"/>
                  </a:cubicBezTo>
                  <a:cubicBezTo>
                    <a:pt x="2435052" y="902768"/>
                    <a:pt x="2430158" y="902492"/>
                    <a:pt x="2427677" y="902285"/>
                  </a:cubicBezTo>
                  <a:cubicBezTo>
                    <a:pt x="2420922" y="919447"/>
                    <a:pt x="2420991" y="938333"/>
                    <a:pt x="2419130" y="956322"/>
                  </a:cubicBezTo>
                  <a:cubicBezTo>
                    <a:pt x="2403829" y="1202659"/>
                    <a:pt x="2388390" y="1448995"/>
                    <a:pt x="2372951" y="1695332"/>
                  </a:cubicBezTo>
                  <a:cubicBezTo>
                    <a:pt x="2356960" y="1694850"/>
                    <a:pt x="2340969" y="1694229"/>
                    <a:pt x="2325048" y="1693264"/>
                  </a:cubicBezTo>
                  <a:cubicBezTo>
                    <a:pt x="2325393" y="1696366"/>
                    <a:pt x="2326082" y="1702638"/>
                    <a:pt x="2326495" y="1705740"/>
                  </a:cubicBezTo>
                  <a:cubicBezTo>
                    <a:pt x="2324979" y="1705533"/>
                    <a:pt x="2322015" y="1705188"/>
                    <a:pt x="2320499" y="1705050"/>
                  </a:cubicBezTo>
                  <a:cubicBezTo>
                    <a:pt x="2320774" y="1701880"/>
                    <a:pt x="2321395" y="1695608"/>
                    <a:pt x="2321671" y="1692506"/>
                  </a:cubicBezTo>
                  <a:cubicBezTo>
                    <a:pt x="2310022" y="1691817"/>
                    <a:pt x="2298305" y="1690990"/>
                    <a:pt x="2286726" y="1690163"/>
                  </a:cubicBezTo>
                  <a:lnTo>
                    <a:pt x="2286312" y="1696779"/>
                  </a:lnTo>
                  <a:cubicBezTo>
                    <a:pt x="2280316" y="1693678"/>
                    <a:pt x="2267220" y="1681478"/>
                    <a:pt x="2263222" y="1692368"/>
                  </a:cubicBezTo>
                  <a:cubicBezTo>
                    <a:pt x="2262327" y="1735928"/>
                    <a:pt x="2256468" y="1779213"/>
                    <a:pt x="2254883" y="1822842"/>
                  </a:cubicBezTo>
                  <a:cubicBezTo>
                    <a:pt x="2259294" y="1822222"/>
                    <a:pt x="2268047" y="1821050"/>
                    <a:pt x="2272458" y="1820499"/>
                  </a:cubicBezTo>
                  <a:cubicBezTo>
                    <a:pt x="2272252" y="1822016"/>
                    <a:pt x="2271769" y="1825186"/>
                    <a:pt x="2271562" y="1826702"/>
                  </a:cubicBezTo>
                  <a:cubicBezTo>
                    <a:pt x="2267289" y="1826358"/>
                    <a:pt x="2258742" y="1825668"/>
                    <a:pt x="2254469" y="1825324"/>
                  </a:cubicBezTo>
                  <a:cubicBezTo>
                    <a:pt x="2253435" y="1843038"/>
                    <a:pt x="2252401" y="1860751"/>
                    <a:pt x="2251574" y="1878396"/>
                  </a:cubicBezTo>
                  <a:cubicBezTo>
                    <a:pt x="2267220" y="1878809"/>
                    <a:pt x="2283280" y="1881773"/>
                    <a:pt x="2298719" y="1877982"/>
                  </a:cubicBezTo>
                  <a:cubicBezTo>
                    <a:pt x="2303405" y="1876328"/>
                    <a:pt x="2312710" y="1872951"/>
                    <a:pt x="2317397" y="1871297"/>
                  </a:cubicBezTo>
                  <a:cubicBezTo>
                    <a:pt x="2313675" y="1841797"/>
                    <a:pt x="2299752" y="1814227"/>
                    <a:pt x="2278730" y="1793343"/>
                  </a:cubicBezTo>
                  <a:cubicBezTo>
                    <a:pt x="2279902" y="1784589"/>
                    <a:pt x="2281074" y="1775767"/>
                    <a:pt x="2282383" y="1766945"/>
                  </a:cubicBezTo>
                  <a:cubicBezTo>
                    <a:pt x="2292102" y="1751299"/>
                    <a:pt x="2292722" y="1732758"/>
                    <a:pt x="2292240" y="1714838"/>
                  </a:cubicBezTo>
                  <a:cubicBezTo>
                    <a:pt x="2300235" y="1715113"/>
                    <a:pt x="2308299" y="1715320"/>
                    <a:pt x="2316363" y="1715458"/>
                  </a:cubicBezTo>
                  <a:cubicBezTo>
                    <a:pt x="2303268" y="1750541"/>
                    <a:pt x="2282728" y="1791206"/>
                    <a:pt x="2306231" y="1826564"/>
                  </a:cubicBezTo>
                  <a:cubicBezTo>
                    <a:pt x="2310643" y="1821878"/>
                    <a:pt x="2319396" y="1812504"/>
                    <a:pt x="2323807" y="1807748"/>
                  </a:cubicBezTo>
                  <a:cubicBezTo>
                    <a:pt x="2324841" y="1810091"/>
                    <a:pt x="2326840" y="1814709"/>
                    <a:pt x="2327874" y="1817053"/>
                  </a:cubicBezTo>
                  <a:cubicBezTo>
                    <a:pt x="2327736" y="1814847"/>
                    <a:pt x="2327322" y="1810505"/>
                    <a:pt x="2327116" y="1808368"/>
                  </a:cubicBezTo>
                  <a:cubicBezTo>
                    <a:pt x="2324359" y="1794170"/>
                    <a:pt x="2322567" y="1779765"/>
                    <a:pt x="2321602" y="1765221"/>
                  </a:cubicBezTo>
                  <a:cubicBezTo>
                    <a:pt x="2316570" y="1765566"/>
                    <a:pt x="2306369" y="1766255"/>
                    <a:pt x="2301338" y="1766531"/>
                  </a:cubicBezTo>
                  <a:cubicBezTo>
                    <a:pt x="2312779" y="1755848"/>
                    <a:pt x="2325117" y="1744406"/>
                    <a:pt x="2322704" y="1727037"/>
                  </a:cubicBezTo>
                  <a:cubicBezTo>
                    <a:pt x="2330493" y="1724143"/>
                    <a:pt x="2338350" y="1721179"/>
                    <a:pt x="2346208" y="1718077"/>
                  </a:cubicBezTo>
                  <a:cubicBezTo>
                    <a:pt x="2354065" y="1720145"/>
                    <a:pt x="2361923" y="1722144"/>
                    <a:pt x="2369849" y="1724074"/>
                  </a:cubicBezTo>
                  <a:cubicBezTo>
                    <a:pt x="2367023" y="1729312"/>
                    <a:pt x="2364197" y="1734550"/>
                    <a:pt x="2361509" y="1739788"/>
                  </a:cubicBezTo>
                  <a:cubicBezTo>
                    <a:pt x="2360889" y="1749093"/>
                    <a:pt x="2360406" y="1758398"/>
                    <a:pt x="2359924" y="1767634"/>
                  </a:cubicBezTo>
                  <a:cubicBezTo>
                    <a:pt x="2365920" y="1775974"/>
                    <a:pt x="2371985" y="1784314"/>
                    <a:pt x="2378051" y="1792585"/>
                  </a:cubicBezTo>
                  <a:cubicBezTo>
                    <a:pt x="2370194" y="1797823"/>
                    <a:pt x="2362474" y="1803061"/>
                    <a:pt x="2354754" y="1808299"/>
                  </a:cubicBezTo>
                  <a:lnTo>
                    <a:pt x="2353376" y="1810643"/>
                  </a:lnTo>
                  <a:cubicBezTo>
                    <a:pt x="2352273" y="1813055"/>
                    <a:pt x="2350136" y="1817742"/>
                    <a:pt x="2349034" y="1820154"/>
                  </a:cubicBezTo>
                  <a:lnTo>
                    <a:pt x="2348551" y="1823325"/>
                  </a:lnTo>
                  <a:lnTo>
                    <a:pt x="2349447" y="1829528"/>
                  </a:lnTo>
                  <a:cubicBezTo>
                    <a:pt x="2352824" y="1828770"/>
                    <a:pt x="2359648" y="1827392"/>
                    <a:pt x="2363094" y="1826633"/>
                  </a:cubicBezTo>
                  <a:cubicBezTo>
                    <a:pt x="2365024" y="1829942"/>
                    <a:pt x="2368953" y="1836627"/>
                    <a:pt x="2370952" y="1840005"/>
                  </a:cubicBezTo>
                  <a:cubicBezTo>
                    <a:pt x="2372399" y="1838213"/>
                    <a:pt x="2375294" y="1834629"/>
                    <a:pt x="2376810" y="1832837"/>
                  </a:cubicBezTo>
                  <a:cubicBezTo>
                    <a:pt x="2380808" y="1826840"/>
                    <a:pt x="2386046" y="1822016"/>
                    <a:pt x="2392387" y="1818431"/>
                  </a:cubicBezTo>
                  <a:cubicBezTo>
                    <a:pt x="2394455" y="1827530"/>
                    <a:pt x="2391629" y="1836834"/>
                    <a:pt x="2385633" y="1843727"/>
                  </a:cubicBezTo>
                  <a:lnTo>
                    <a:pt x="2392594" y="1846346"/>
                  </a:lnTo>
                  <a:cubicBezTo>
                    <a:pt x="2394731" y="1848276"/>
                    <a:pt x="2399004" y="1852135"/>
                    <a:pt x="2401141" y="1853997"/>
                  </a:cubicBezTo>
                  <a:lnTo>
                    <a:pt x="2399211" y="1859235"/>
                  </a:lnTo>
                  <a:cubicBezTo>
                    <a:pt x="2397005" y="1865024"/>
                    <a:pt x="2394662" y="1870814"/>
                    <a:pt x="2392111" y="1876397"/>
                  </a:cubicBezTo>
                  <a:cubicBezTo>
                    <a:pt x="2388872" y="1877913"/>
                    <a:pt x="2382531" y="1880946"/>
                    <a:pt x="2379360" y="1882462"/>
                  </a:cubicBezTo>
                  <a:lnTo>
                    <a:pt x="2373915" y="1886184"/>
                  </a:lnTo>
                  <a:cubicBezTo>
                    <a:pt x="2403622" y="1884875"/>
                    <a:pt x="2435534" y="1894042"/>
                    <a:pt x="2463724" y="1888183"/>
                  </a:cubicBezTo>
                  <a:cubicBezTo>
                    <a:pt x="2464069" y="1883151"/>
                    <a:pt x="2464689" y="1873088"/>
                    <a:pt x="2465034" y="1868057"/>
                  </a:cubicBezTo>
                  <a:cubicBezTo>
                    <a:pt x="2466619" y="1867919"/>
                    <a:pt x="2469721" y="1867712"/>
                    <a:pt x="2471237" y="1867574"/>
                  </a:cubicBezTo>
                  <a:cubicBezTo>
                    <a:pt x="2468411" y="1874881"/>
                    <a:pt x="2468411" y="1882049"/>
                    <a:pt x="2471444" y="1889079"/>
                  </a:cubicBezTo>
                  <a:moveTo>
                    <a:pt x="2945507" y="712949"/>
                  </a:moveTo>
                  <a:cubicBezTo>
                    <a:pt x="2948816" y="709227"/>
                    <a:pt x="2948816" y="709227"/>
                    <a:pt x="2945507" y="712949"/>
                  </a:cubicBezTo>
                  <a:moveTo>
                    <a:pt x="2856112" y="712467"/>
                  </a:moveTo>
                  <a:cubicBezTo>
                    <a:pt x="2859558" y="708745"/>
                    <a:pt x="2859558" y="708745"/>
                    <a:pt x="2856112" y="712467"/>
                  </a:cubicBezTo>
                  <a:moveTo>
                    <a:pt x="2764098" y="712329"/>
                  </a:moveTo>
                  <a:cubicBezTo>
                    <a:pt x="2755896" y="705574"/>
                    <a:pt x="2767130" y="690342"/>
                    <a:pt x="2776091" y="696063"/>
                  </a:cubicBezTo>
                  <a:cubicBezTo>
                    <a:pt x="2783741" y="703093"/>
                    <a:pt x="2773058" y="717567"/>
                    <a:pt x="2764098" y="712329"/>
                  </a:cubicBezTo>
                  <a:moveTo>
                    <a:pt x="2785947" y="726665"/>
                  </a:moveTo>
                  <a:cubicBezTo>
                    <a:pt x="2768784" y="718532"/>
                    <a:pt x="2796285" y="705988"/>
                    <a:pt x="2803936" y="715362"/>
                  </a:cubicBezTo>
                  <a:cubicBezTo>
                    <a:pt x="2808623" y="725080"/>
                    <a:pt x="2792770" y="729974"/>
                    <a:pt x="2785947" y="726665"/>
                  </a:cubicBezTo>
                  <a:moveTo>
                    <a:pt x="2861902" y="732731"/>
                  </a:moveTo>
                  <a:cubicBezTo>
                    <a:pt x="2851494" y="711916"/>
                    <a:pt x="2884647" y="732041"/>
                    <a:pt x="2861902" y="732731"/>
                  </a:cubicBezTo>
                  <a:moveTo>
                    <a:pt x="2979005" y="761059"/>
                  </a:moveTo>
                  <a:cubicBezTo>
                    <a:pt x="2969011" y="740037"/>
                    <a:pt x="3001681" y="760507"/>
                    <a:pt x="2979005" y="761059"/>
                  </a:cubicBezTo>
                  <a:moveTo>
                    <a:pt x="2814068" y="762989"/>
                  </a:moveTo>
                  <a:cubicBezTo>
                    <a:pt x="2817583" y="751478"/>
                    <a:pt x="2821650" y="739072"/>
                    <a:pt x="2806900" y="734040"/>
                  </a:cubicBezTo>
                  <a:cubicBezTo>
                    <a:pt x="2814964" y="728182"/>
                    <a:pt x="2817928" y="718670"/>
                    <a:pt x="2821236" y="709641"/>
                  </a:cubicBezTo>
                  <a:cubicBezTo>
                    <a:pt x="2825923" y="715017"/>
                    <a:pt x="2837296" y="717912"/>
                    <a:pt x="2836951" y="725976"/>
                  </a:cubicBezTo>
                  <a:cubicBezTo>
                    <a:pt x="2829232" y="738314"/>
                    <a:pt x="2821443" y="750513"/>
                    <a:pt x="2814068" y="762989"/>
                  </a:cubicBezTo>
                  <a:moveTo>
                    <a:pt x="2921246" y="775119"/>
                  </a:moveTo>
                  <a:cubicBezTo>
                    <a:pt x="2916214" y="772776"/>
                    <a:pt x="2906082" y="768020"/>
                    <a:pt x="2901051" y="765608"/>
                  </a:cubicBezTo>
                  <a:cubicBezTo>
                    <a:pt x="2904152" y="758991"/>
                    <a:pt x="2907392" y="752236"/>
                    <a:pt x="2910907" y="745620"/>
                  </a:cubicBezTo>
                  <a:cubicBezTo>
                    <a:pt x="2914215" y="755545"/>
                    <a:pt x="2917593" y="765332"/>
                    <a:pt x="2921246" y="775119"/>
                  </a:cubicBezTo>
                  <a:moveTo>
                    <a:pt x="2758997" y="774568"/>
                  </a:moveTo>
                  <a:cubicBezTo>
                    <a:pt x="2762306" y="767262"/>
                    <a:pt x="2765545" y="759887"/>
                    <a:pt x="2768853" y="752443"/>
                  </a:cubicBezTo>
                  <a:cubicBezTo>
                    <a:pt x="2759618" y="749479"/>
                    <a:pt x="2759135" y="741691"/>
                    <a:pt x="2765476" y="735626"/>
                  </a:cubicBezTo>
                  <a:cubicBezTo>
                    <a:pt x="2768716" y="737624"/>
                    <a:pt x="2775263" y="741553"/>
                    <a:pt x="2778503" y="743552"/>
                  </a:cubicBezTo>
                  <a:cubicBezTo>
                    <a:pt x="2782156" y="742036"/>
                    <a:pt x="2789324" y="738934"/>
                    <a:pt x="2792908" y="737418"/>
                  </a:cubicBezTo>
                  <a:cubicBezTo>
                    <a:pt x="2793666" y="748101"/>
                    <a:pt x="2795251" y="758784"/>
                    <a:pt x="2797044" y="769261"/>
                  </a:cubicBezTo>
                  <a:cubicBezTo>
                    <a:pt x="2794907" y="757406"/>
                    <a:pt x="2792219" y="745344"/>
                    <a:pt x="2778227" y="755338"/>
                  </a:cubicBezTo>
                  <a:cubicBezTo>
                    <a:pt x="2777193" y="759129"/>
                    <a:pt x="2775057" y="766711"/>
                    <a:pt x="2773954" y="770570"/>
                  </a:cubicBezTo>
                  <a:cubicBezTo>
                    <a:pt x="2770232" y="771535"/>
                    <a:pt x="2762719" y="773603"/>
                    <a:pt x="2758997" y="774568"/>
                  </a:cubicBezTo>
                  <a:moveTo>
                    <a:pt x="2978315" y="781323"/>
                  </a:moveTo>
                  <a:cubicBezTo>
                    <a:pt x="2967701" y="760507"/>
                    <a:pt x="3000991" y="780151"/>
                    <a:pt x="2978315" y="781323"/>
                  </a:cubicBezTo>
                  <a:moveTo>
                    <a:pt x="2936823" y="791385"/>
                  </a:moveTo>
                  <a:cubicBezTo>
                    <a:pt x="2932205" y="780909"/>
                    <a:pt x="2944611" y="764918"/>
                    <a:pt x="2955157" y="764987"/>
                  </a:cubicBezTo>
                  <a:cubicBezTo>
                    <a:pt x="2956949" y="774913"/>
                    <a:pt x="2949298" y="795590"/>
                    <a:pt x="2936823" y="791385"/>
                  </a:cubicBezTo>
                  <a:moveTo>
                    <a:pt x="2957845" y="796279"/>
                  </a:moveTo>
                  <a:cubicBezTo>
                    <a:pt x="2948058" y="775119"/>
                    <a:pt x="2980521" y="796141"/>
                    <a:pt x="2957845" y="796279"/>
                  </a:cubicBezTo>
                  <a:moveTo>
                    <a:pt x="2815309" y="802276"/>
                  </a:moveTo>
                  <a:cubicBezTo>
                    <a:pt x="2806348" y="796968"/>
                    <a:pt x="2813172" y="778910"/>
                    <a:pt x="2823235" y="787043"/>
                  </a:cubicBezTo>
                  <a:cubicBezTo>
                    <a:pt x="2833160" y="792282"/>
                    <a:pt x="2825510" y="811098"/>
                    <a:pt x="2815309" y="802276"/>
                  </a:cubicBezTo>
                  <a:moveTo>
                    <a:pt x="2861557" y="808892"/>
                  </a:moveTo>
                  <a:cubicBezTo>
                    <a:pt x="2850460" y="788491"/>
                    <a:pt x="2884302" y="807307"/>
                    <a:pt x="2861557" y="808892"/>
                  </a:cubicBezTo>
                  <a:moveTo>
                    <a:pt x="2807589" y="823160"/>
                  </a:moveTo>
                  <a:cubicBezTo>
                    <a:pt x="2811242" y="819576"/>
                    <a:pt x="2811242" y="819576"/>
                    <a:pt x="2807589" y="823160"/>
                  </a:cubicBezTo>
                  <a:moveTo>
                    <a:pt x="2775126" y="872854"/>
                  </a:moveTo>
                  <a:cubicBezTo>
                    <a:pt x="2769887" y="861758"/>
                    <a:pt x="2768026" y="842941"/>
                    <a:pt x="2752036" y="842665"/>
                  </a:cubicBezTo>
                  <a:cubicBezTo>
                    <a:pt x="2754104" y="836324"/>
                    <a:pt x="2756240" y="829845"/>
                    <a:pt x="2758308" y="823367"/>
                  </a:cubicBezTo>
                  <a:cubicBezTo>
                    <a:pt x="2760721" y="829501"/>
                    <a:pt x="2764511" y="834119"/>
                    <a:pt x="2769681" y="837220"/>
                  </a:cubicBezTo>
                  <a:cubicBezTo>
                    <a:pt x="2770577" y="832120"/>
                    <a:pt x="2772438" y="821988"/>
                    <a:pt x="2773334" y="816888"/>
                  </a:cubicBezTo>
                  <a:cubicBezTo>
                    <a:pt x="2775263" y="820678"/>
                    <a:pt x="2779054" y="828260"/>
                    <a:pt x="2780915" y="832120"/>
                  </a:cubicBezTo>
                  <a:cubicBezTo>
                    <a:pt x="2783810" y="831086"/>
                    <a:pt x="2789531" y="829087"/>
                    <a:pt x="2792357" y="828053"/>
                  </a:cubicBezTo>
                  <a:cubicBezTo>
                    <a:pt x="2787946" y="834463"/>
                    <a:pt x="2783534" y="840942"/>
                    <a:pt x="2778434" y="846732"/>
                  </a:cubicBezTo>
                  <a:cubicBezTo>
                    <a:pt x="2771955" y="853969"/>
                    <a:pt x="2775746" y="864239"/>
                    <a:pt x="2775126" y="872854"/>
                  </a:cubicBezTo>
                  <a:moveTo>
                    <a:pt x="2751071" y="871338"/>
                  </a:moveTo>
                  <a:cubicBezTo>
                    <a:pt x="2740181" y="850730"/>
                    <a:pt x="2773609" y="869408"/>
                    <a:pt x="2751071" y="871338"/>
                  </a:cubicBezTo>
                  <a:moveTo>
                    <a:pt x="2718194" y="870856"/>
                  </a:moveTo>
                  <a:cubicBezTo>
                    <a:pt x="2721778" y="867203"/>
                    <a:pt x="2721778" y="867203"/>
                    <a:pt x="2718194" y="870856"/>
                  </a:cubicBezTo>
                  <a:moveTo>
                    <a:pt x="2793666" y="898701"/>
                  </a:moveTo>
                  <a:cubicBezTo>
                    <a:pt x="2797182" y="895048"/>
                    <a:pt x="2797182" y="895048"/>
                    <a:pt x="2793666" y="898701"/>
                  </a:cubicBezTo>
                  <a:moveTo>
                    <a:pt x="2715988" y="910970"/>
                  </a:moveTo>
                  <a:cubicBezTo>
                    <a:pt x="2715713" y="900769"/>
                    <a:pt x="2715437" y="890430"/>
                    <a:pt x="2715230" y="880092"/>
                  </a:cubicBezTo>
                  <a:cubicBezTo>
                    <a:pt x="2718608" y="880574"/>
                    <a:pt x="2725431" y="881470"/>
                    <a:pt x="2728808" y="881884"/>
                  </a:cubicBezTo>
                  <a:cubicBezTo>
                    <a:pt x="2727705" y="886984"/>
                    <a:pt x="2726671" y="892015"/>
                    <a:pt x="2725638" y="897047"/>
                  </a:cubicBezTo>
                  <a:cubicBezTo>
                    <a:pt x="2728188" y="898219"/>
                    <a:pt x="2733357" y="900562"/>
                    <a:pt x="2735908" y="901734"/>
                  </a:cubicBezTo>
                  <a:lnTo>
                    <a:pt x="2737493" y="908557"/>
                  </a:lnTo>
                  <a:cubicBezTo>
                    <a:pt x="2732117" y="909178"/>
                    <a:pt x="2721364" y="910418"/>
                    <a:pt x="2715988" y="910970"/>
                  </a:cubicBezTo>
                  <a:moveTo>
                    <a:pt x="2758515" y="940056"/>
                  </a:moveTo>
                  <a:cubicBezTo>
                    <a:pt x="2753483" y="930958"/>
                    <a:pt x="2763546" y="911452"/>
                    <a:pt x="2775057" y="916346"/>
                  </a:cubicBezTo>
                  <a:cubicBezTo>
                    <a:pt x="2781122" y="925788"/>
                    <a:pt x="2769129" y="942399"/>
                    <a:pt x="2758515" y="940056"/>
                  </a:cubicBezTo>
                  <a:moveTo>
                    <a:pt x="2771266" y="955150"/>
                  </a:moveTo>
                  <a:cubicBezTo>
                    <a:pt x="2760789" y="934404"/>
                    <a:pt x="2793873" y="953634"/>
                    <a:pt x="2771266" y="955150"/>
                  </a:cubicBezTo>
                  <a:moveTo>
                    <a:pt x="2737286" y="996988"/>
                  </a:moveTo>
                  <a:cubicBezTo>
                    <a:pt x="2739423" y="980308"/>
                    <a:pt x="2738940" y="962594"/>
                    <a:pt x="2747625" y="947500"/>
                  </a:cubicBezTo>
                  <a:cubicBezTo>
                    <a:pt x="2742800" y="945432"/>
                    <a:pt x="2733219" y="941297"/>
                    <a:pt x="2728395" y="939229"/>
                  </a:cubicBezTo>
                  <a:cubicBezTo>
                    <a:pt x="2730945" y="936610"/>
                    <a:pt x="2736114" y="931371"/>
                    <a:pt x="2738665" y="928821"/>
                  </a:cubicBezTo>
                  <a:cubicBezTo>
                    <a:pt x="2749761" y="945087"/>
                    <a:pt x="2766510" y="962319"/>
                    <a:pt x="2755069" y="982996"/>
                  </a:cubicBezTo>
                  <a:cubicBezTo>
                    <a:pt x="2756447" y="992852"/>
                    <a:pt x="2757688" y="1002708"/>
                    <a:pt x="2758721" y="1012565"/>
                  </a:cubicBezTo>
                  <a:cubicBezTo>
                    <a:pt x="2751416" y="1007533"/>
                    <a:pt x="2744316" y="1002295"/>
                    <a:pt x="2737286" y="996988"/>
                  </a:cubicBezTo>
                  <a:moveTo>
                    <a:pt x="2759549" y="1063431"/>
                  </a:moveTo>
                  <a:cubicBezTo>
                    <a:pt x="2762719" y="1039032"/>
                    <a:pt x="2765063" y="1014495"/>
                    <a:pt x="2768371" y="990026"/>
                  </a:cubicBezTo>
                  <a:cubicBezTo>
                    <a:pt x="2771679" y="1014701"/>
                    <a:pt x="2768578" y="1039445"/>
                    <a:pt x="2767475" y="1064051"/>
                  </a:cubicBezTo>
                  <a:cubicBezTo>
                    <a:pt x="2765476" y="1063914"/>
                    <a:pt x="2761547" y="1063569"/>
                    <a:pt x="2759549" y="1063431"/>
                  </a:cubicBezTo>
                  <a:moveTo>
                    <a:pt x="2752312" y="1133114"/>
                  </a:moveTo>
                  <a:cubicBezTo>
                    <a:pt x="2745074" y="1133872"/>
                    <a:pt x="2734529" y="1125463"/>
                    <a:pt x="2740663" y="1118157"/>
                  </a:cubicBezTo>
                  <a:cubicBezTo>
                    <a:pt x="2749624" y="1108232"/>
                    <a:pt x="2765959" y="1129254"/>
                    <a:pt x="2752312" y="1133114"/>
                  </a:cubicBezTo>
                  <a:moveTo>
                    <a:pt x="2695311" y="1194664"/>
                  </a:moveTo>
                  <a:cubicBezTo>
                    <a:pt x="2698964" y="1188047"/>
                    <a:pt x="2702686" y="1181430"/>
                    <a:pt x="2706477" y="1174744"/>
                  </a:cubicBezTo>
                  <a:cubicBezTo>
                    <a:pt x="2711301" y="1169713"/>
                    <a:pt x="2715713" y="1164199"/>
                    <a:pt x="2719641" y="1158340"/>
                  </a:cubicBezTo>
                  <a:cubicBezTo>
                    <a:pt x="2724328" y="1157996"/>
                    <a:pt x="2733771" y="1157306"/>
                    <a:pt x="2738458" y="1156962"/>
                  </a:cubicBezTo>
                  <a:cubicBezTo>
                    <a:pt x="2731634" y="1166404"/>
                    <a:pt x="2724880" y="1175916"/>
                    <a:pt x="2721158" y="1187013"/>
                  </a:cubicBezTo>
                  <a:cubicBezTo>
                    <a:pt x="2710543" y="1182395"/>
                    <a:pt x="2702066" y="1186117"/>
                    <a:pt x="2695311" y="1194664"/>
                  </a:cubicBezTo>
                  <a:moveTo>
                    <a:pt x="2748590" y="1180327"/>
                  </a:moveTo>
                  <a:cubicBezTo>
                    <a:pt x="2754241" y="1188529"/>
                    <a:pt x="2750795" y="1206588"/>
                    <a:pt x="2737837" y="1201556"/>
                  </a:cubicBezTo>
                  <a:cubicBezTo>
                    <a:pt x="2719159" y="1200040"/>
                    <a:pt x="2739561" y="1178466"/>
                    <a:pt x="2748590" y="1180327"/>
                  </a:cubicBezTo>
                  <a:moveTo>
                    <a:pt x="2889541" y="1230918"/>
                  </a:moveTo>
                  <a:cubicBezTo>
                    <a:pt x="2881476" y="1230022"/>
                    <a:pt x="2875893" y="1213066"/>
                    <a:pt x="2886921" y="1212998"/>
                  </a:cubicBezTo>
                  <a:cubicBezTo>
                    <a:pt x="2894848" y="1213962"/>
                    <a:pt x="2900500" y="1230849"/>
                    <a:pt x="2889541" y="1230918"/>
                  </a:cubicBezTo>
                  <a:moveTo>
                    <a:pt x="2876445" y="1278476"/>
                  </a:moveTo>
                  <a:cubicBezTo>
                    <a:pt x="2880098" y="1274961"/>
                    <a:pt x="2880098" y="1274961"/>
                    <a:pt x="2876445" y="1278476"/>
                  </a:cubicBezTo>
                  <a:moveTo>
                    <a:pt x="2896226" y="1286471"/>
                  </a:moveTo>
                  <a:cubicBezTo>
                    <a:pt x="2894503" y="1275099"/>
                    <a:pt x="2893745" y="1263588"/>
                    <a:pt x="2893400" y="1252009"/>
                  </a:cubicBezTo>
                  <a:cubicBezTo>
                    <a:pt x="2904911" y="1260969"/>
                    <a:pt x="2907185" y="1276201"/>
                    <a:pt x="2896226" y="1286471"/>
                  </a:cubicBezTo>
                  <a:moveTo>
                    <a:pt x="2877065" y="1305494"/>
                  </a:moveTo>
                  <a:cubicBezTo>
                    <a:pt x="2880305" y="1301634"/>
                    <a:pt x="2880305" y="1301634"/>
                    <a:pt x="2877065" y="1305494"/>
                  </a:cubicBezTo>
                  <a:moveTo>
                    <a:pt x="2890092" y="1317556"/>
                  </a:moveTo>
                  <a:cubicBezTo>
                    <a:pt x="2883406" y="1309837"/>
                    <a:pt x="2890436" y="1293295"/>
                    <a:pt x="2901464" y="1295983"/>
                  </a:cubicBezTo>
                  <a:cubicBezTo>
                    <a:pt x="2915387" y="1301221"/>
                    <a:pt x="2901051" y="1323277"/>
                    <a:pt x="2890092" y="1317556"/>
                  </a:cubicBezTo>
                  <a:moveTo>
                    <a:pt x="2759549" y="1478013"/>
                  </a:moveTo>
                  <a:cubicBezTo>
                    <a:pt x="2762926" y="1474360"/>
                    <a:pt x="2762926" y="1474360"/>
                    <a:pt x="2759549" y="1478013"/>
                  </a:cubicBezTo>
                  <a:moveTo>
                    <a:pt x="2738665" y="1610348"/>
                  </a:moveTo>
                  <a:cubicBezTo>
                    <a:pt x="2740939" y="1597804"/>
                    <a:pt x="2740801" y="1584226"/>
                    <a:pt x="2747418" y="1572922"/>
                  </a:cubicBezTo>
                  <a:cubicBezTo>
                    <a:pt x="2747900" y="1583743"/>
                    <a:pt x="2749417" y="1594288"/>
                    <a:pt x="2754310" y="1604007"/>
                  </a:cubicBezTo>
                  <a:cubicBezTo>
                    <a:pt x="2749141" y="1606281"/>
                    <a:pt x="2743903" y="1608418"/>
                    <a:pt x="2738665" y="1610348"/>
                  </a:cubicBezTo>
                  <a:moveTo>
                    <a:pt x="2717574" y="1621790"/>
                  </a:moveTo>
                  <a:cubicBezTo>
                    <a:pt x="2711508" y="1613174"/>
                    <a:pt x="2712887" y="1607867"/>
                    <a:pt x="2721709" y="1605730"/>
                  </a:cubicBezTo>
                  <a:cubicBezTo>
                    <a:pt x="2727637" y="1614345"/>
                    <a:pt x="2726258" y="1619722"/>
                    <a:pt x="2717574" y="1621790"/>
                  </a:cubicBezTo>
                  <a:moveTo>
                    <a:pt x="2698068" y="1634747"/>
                  </a:moveTo>
                  <a:cubicBezTo>
                    <a:pt x="2694001" y="1628199"/>
                    <a:pt x="2692692" y="1614552"/>
                    <a:pt x="2701652" y="1611451"/>
                  </a:cubicBezTo>
                  <a:cubicBezTo>
                    <a:pt x="2713369" y="1613656"/>
                    <a:pt x="2708751" y="1636884"/>
                    <a:pt x="2698068" y="1634747"/>
                  </a:cubicBezTo>
                  <a:moveTo>
                    <a:pt x="2836331" y="1798994"/>
                  </a:moveTo>
                  <a:cubicBezTo>
                    <a:pt x="2837020" y="1785210"/>
                    <a:pt x="2837778" y="1771425"/>
                    <a:pt x="2837433" y="1757571"/>
                  </a:cubicBezTo>
                  <a:cubicBezTo>
                    <a:pt x="2844188" y="1757157"/>
                    <a:pt x="2851012" y="1756744"/>
                    <a:pt x="2857904" y="1756330"/>
                  </a:cubicBezTo>
                  <a:lnTo>
                    <a:pt x="2854458" y="1744682"/>
                  </a:lnTo>
                  <a:cubicBezTo>
                    <a:pt x="2857284" y="1744544"/>
                    <a:pt x="2862867" y="1744131"/>
                    <a:pt x="2865693" y="1743924"/>
                  </a:cubicBezTo>
                  <a:cubicBezTo>
                    <a:pt x="2864521" y="1747025"/>
                    <a:pt x="2862246" y="1753091"/>
                    <a:pt x="2861074" y="1756193"/>
                  </a:cubicBezTo>
                  <a:cubicBezTo>
                    <a:pt x="2854182" y="1760604"/>
                    <a:pt x="2847428" y="1765015"/>
                    <a:pt x="2840811" y="1769702"/>
                  </a:cubicBezTo>
                  <a:cubicBezTo>
                    <a:pt x="2844671" y="1779282"/>
                    <a:pt x="2848668" y="1788725"/>
                    <a:pt x="2852804" y="1798099"/>
                  </a:cubicBezTo>
                  <a:cubicBezTo>
                    <a:pt x="2847290" y="1798443"/>
                    <a:pt x="2841776" y="1798719"/>
                    <a:pt x="2836331" y="1798994"/>
                  </a:cubicBezTo>
                  <a:moveTo>
                    <a:pt x="2820961" y="1843520"/>
                  </a:moveTo>
                  <a:cubicBezTo>
                    <a:pt x="2824613" y="1839936"/>
                    <a:pt x="2824613" y="1839936"/>
                    <a:pt x="2820961" y="1843520"/>
                  </a:cubicBezTo>
                  <a:moveTo>
                    <a:pt x="2676494" y="1857718"/>
                  </a:moveTo>
                  <a:cubicBezTo>
                    <a:pt x="2674358" y="1848000"/>
                    <a:pt x="2678011" y="1844485"/>
                    <a:pt x="2687384" y="1847104"/>
                  </a:cubicBezTo>
                  <a:cubicBezTo>
                    <a:pt x="2689452" y="1856960"/>
                    <a:pt x="2685799" y="1860475"/>
                    <a:pt x="2676494" y="1857718"/>
                  </a:cubicBezTo>
                  <a:moveTo>
                    <a:pt x="2890643" y="1870125"/>
                  </a:moveTo>
                  <a:cubicBezTo>
                    <a:pt x="2894227" y="1866472"/>
                    <a:pt x="2894227" y="1866472"/>
                    <a:pt x="2890643" y="1870125"/>
                  </a:cubicBezTo>
                  <a:moveTo>
                    <a:pt x="2924348" y="1877913"/>
                  </a:moveTo>
                  <a:cubicBezTo>
                    <a:pt x="2927931" y="1874398"/>
                    <a:pt x="2927931" y="1874398"/>
                    <a:pt x="2924348" y="1877913"/>
                  </a:cubicBezTo>
                  <a:moveTo>
                    <a:pt x="2910907" y="1898729"/>
                  </a:moveTo>
                  <a:cubicBezTo>
                    <a:pt x="2914078" y="1894800"/>
                    <a:pt x="2914078" y="1894800"/>
                    <a:pt x="2910907" y="1898729"/>
                  </a:cubicBezTo>
                  <a:moveTo>
                    <a:pt x="2765752" y="1897695"/>
                  </a:moveTo>
                  <a:cubicBezTo>
                    <a:pt x="2757619" y="1881566"/>
                    <a:pt x="2797664" y="1879774"/>
                    <a:pt x="2792426" y="1895696"/>
                  </a:cubicBezTo>
                  <a:cubicBezTo>
                    <a:pt x="2784431" y="1898935"/>
                    <a:pt x="2773885" y="1901348"/>
                    <a:pt x="2765752" y="1897695"/>
                  </a:cubicBezTo>
                  <a:moveTo>
                    <a:pt x="2872102" y="1918923"/>
                  </a:moveTo>
                  <a:cubicBezTo>
                    <a:pt x="2893607" y="1919957"/>
                    <a:pt x="2915112" y="1921336"/>
                    <a:pt x="2936685" y="1922439"/>
                  </a:cubicBezTo>
                  <a:cubicBezTo>
                    <a:pt x="2939718" y="1859373"/>
                    <a:pt x="2945025" y="1796375"/>
                    <a:pt x="2947782" y="1733240"/>
                  </a:cubicBezTo>
                  <a:cubicBezTo>
                    <a:pt x="2884509" y="1731242"/>
                    <a:pt x="2821512" y="1725107"/>
                    <a:pt x="2758239" y="1721386"/>
                  </a:cubicBezTo>
                  <a:cubicBezTo>
                    <a:pt x="2765614" y="1608005"/>
                    <a:pt x="2772369" y="1494623"/>
                    <a:pt x="2779606" y="1381242"/>
                  </a:cubicBezTo>
                  <a:cubicBezTo>
                    <a:pt x="2825785" y="1383862"/>
                    <a:pt x="2871965" y="1386894"/>
                    <a:pt x="2918144" y="1389789"/>
                  </a:cubicBezTo>
                  <a:cubicBezTo>
                    <a:pt x="2919178" y="1374419"/>
                    <a:pt x="2920281" y="1359049"/>
                    <a:pt x="2921660" y="1343610"/>
                  </a:cubicBezTo>
                  <a:cubicBezTo>
                    <a:pt x="2916835" y="1338992"/>
                    <a:pt x="2912010" y="1334374"/>
                    <a:pt x="2907116" y="1329825"/>
                  </a:cubicBezTo>
                  <a:cubicBezTo>
                    <a:pt x="2906565" y="1328377"/>
                    <a:pt x="2905531" y="1325413"/>
                    <a:pt x="2904980" y="1323897"/>
                  </a:cubicBezTo>
                  <a:cubicBezTo>
                    <a:pt x="2909322" y="1323622"/>
                    <a:pt x="2917937" y="1323001"/>
                    <a:pt x="2922211" y="1322725"/>
                  </a:cubicBezTo>
                  <a:cubicBezTo>
                    <a:pt x="2924830" y="1281922"/>
                    <a:pt x="2928621" y="1241119"/>
                    <a:pt x="2929103" y="1200177"/>
                  </a:cubicBezTo>
                  <a:cubicBezTo>
                    <a:pt x="2897881" y="1198937"/>
                    <a:pt x="2866795" y="1196800"/>
                    <a:pt x="2835641" y="1194388"/>
                  </a:cubicBezTo>
                  <a:cubicBezTo>
                    <a:pt x="2834745" y="1203072"/>
                    <a:pt x="2833712" y="1211895"/>
                    <a:pt x="2828404" y="1219132"/>
                  </a:cubicBezTo>
                  <a:cubicBezTo>
                    <a:pt x="2828818" y="1212515"/>
                    <a:pt x="2829645" y="1199419"/>
                    <a:pt x="2830058" y="1192871"/>
                  </a:cubicBezTo>
                  <a:cubicBezTo>
                    <a:pt x="2819444" y="1192044"/>
                    <a:pt x="2809312" y="1193492"/>
                    <a:pt x="2799732" y="1197076"/>
                  </a:cubicBezTo>
                  <a:cubicBezTo>
                    <a:pt x="2792770" y="1202521"/>
                    <a:pt x="2783810" y="1199764"/>
                    <a:pt x="2775953" y="1199971"/>
                  </a:cubicBezTo>
                  <a:cubicBezTo>
                    <a:pt x="2778020" y="1187289"/>
                    <a:pt x="2779881" y="1174606"/>
                    <a:pt x="2782018" y="1161855"/>
                  </a:cubicBezTo>
                  <a:cubicBezTo>
                    <a:pt x="2784362" y="1172745"/>
                    <a:pt x="2775401" y="1191286"/>
                    <a:pt x="2786154" y="1197007"/>
                  </a:cubicBezTo>
                  <a:lnTo>
                    <a:pt x="2790220" y="1195835"/>
                  </a:lnTo>
                  <a:cubicBezTo>
                    <a:pt x="2799318" y="1091001"/>
                    <a:pt x="2803522" y="985270"/>
                    <a:pt x="2810829" y="880092"/>
                  </a:cubicBezTo>
                  <a:cubicBezTo>
                    <a:pt x="2806142" y="880712"/>
                    <a:pt x="2796837" y="881884"/>
                    <a:pt x="2792219" y="882435"/>
                  </a:cubicBezTo>
                  <a:cubicBezTo>
                    <a:pt x="2798698" y="880781"/>
                    <a:pt x="2805177" y="879058"/>
                    <a:pt x="2811793" y="877335"/>
                  </a:cubicBezTo>
                  <a:cubicBezTo>
                    <a:pt x="2811931" y="868788"/>
                    <a:pt x="2812069" y="860172"/>
                    <a:pt x="2812345" y="851488"/>
                  </a:cubicBezTo>
                  <a:cubicBezTo>
                    <a:pt x="2843292" y="853211"/>
                    <a:pt x="2874308" y="854658"/>
                    <a:pt x="2905186" y="857622"/>
                  </a:cubicBezTo>
                  <a:cubicBezTo>
                    <a:pt x="2907943" y="850730"/>
                    <a:pt x="2910838" y="843906"/>
                    <a:pt x="2913871" y="837083"/>
                  </a:cubicBezTo>
                  <a:cubicBezTo>
                    <a:pt x="2913044" y="842528"/>
                    <a:pt x="2911321" y="853418"/>
                    <a:pt x="2910494" y="858863"/>
                  </a:cubicBezTo>
                  <a:cubicBezTo>
                    <a:pt x="2917179" y="858587"/>
                    <a:pt x="2930482" y="858105"/>
                    <a:pt x="2937168" y="857829"/>
                  </a:cubicBezTo>
                  <a:cubicBezTo>
                    <a:pt x="2933790" y="839012"/>
                    <a:pt x="2952951" y="843148"/>
                    <a:pt x="2963635" y="839564"/>
                  </a:cubicBezTo>
                  <a:cubicBezTo>
                    <a:pt x="2955984" y="842734"/>
                    <a:pt x="2934342" y="848662"/>
                    <a:pt x="2947368" y="859070"/>
                  </a:cubicBezTo>
                  <a:cubicBezTo>
                    <a:pt x="2965495" y="861895"/>
                    <a:pt x="2983898" y="862033"/>
                    <a:pt x="3002163" y="863343"/>
                  </a:cubicBezTo>
                  <a:cubicBezTo>
                    <a:pt x="3003748" y="843010"/>
                    <a:pt x="3005954" y="822608"/>
                    <a:pt x="3004438" y="802207"/>
                  </a:cubicBezTo>
                  <a:cubicBezTo>
                    <a:pt x="3000165" y="801173"/>
                    <a:pt x="2991687" y="799174"/>
                    <a:pt x="2987483" y="798209"/>
                  </a:cubicBezTo>
                  <a:cubicBezTo>
                    <a:pt x="3000923" y="821506"/>
                    <a:pt x="2973491" y="824814"/>
                    <a:pt x="2957707" y="829708"/>
                  </a:cubicBezTo>
                  <a:cubicBezTo>
                    <a:pt x="2967770" y="820747"/>
                    <a:pt x="2980107" y="815647"/>
                    <a:pt x="2974938" y="799105"/>
                  </a:cubicBezTo>
                  <a:cubicBezTo>
                    <a:pt x="2977695" y="800139"/>
                    <a:pt x="2983209" y="802276"/>
                    <a:pt x="2985966" y="803378"/>
                  </a:cubicBezTo>
                  <a:lnTo>
                    <a:pt x="2985277" y="791799"/>
                  </a:lnTo>
                  <a:cubicBezTo>
                    <a:pt x="2990515" y="792557"/>
                    <a:pt x="3001060" y="794211"/>
                    <a:pt x="3006299" y="794970"/>
                  </a:cubicBezTo>
                  <a:cubicBezTo>
                    <a:pt x="3001405" y="787388"/>
                    <a:pt x="2996580" y="779806"/>
                    <a:pt x="2991687" y="772293"/>
                  </a:cubicBezTo>
                  <a:lnTo>
                    <a:pt x="2997614" y="771053"/>
                  </a:lnTo>
                  <a:lnTo>
                    <a:pt x="2999200" y="781116"/>
                  </a:lnTo>
                  <a:lnTo>
                    <a:pt x="3007057" y="780702"/>
                  </a:lnTo>
                  <a:cubicBezTo>
                    <a:pt x="3006712" y="744999"/>
                    <a:pt x="3014019" y="709779"/>
                    <a:pt x="3014432" y="674007"/>
                  </a:cubicBezTo>
                  <a:cubicBezTo>
                    <a:pt x="2983416" y="673387"/>
                    <a:pt x="2952262" y="667459"/>
                    <a:pt x="2921315" y="671457"/>
                  </a:cubicBezTo>
                  <a:cubicBezTo>
                    <a:pt x="2906082" y="679452"/>
                    <a:pt x="2915043" y="702817"/>
                    <a:pt x="2929723" y="706057"/>
                  </a:cubicBezTo>
                  <a:lnTo>
                    <a:pt x="2926898" y="711502"/>
                  </a:lnTo>
                  <a:cubicBezTo>
                    <a:pt x="2914974" y="704954"/>
                    <a:pt x="2906634" y="719221"/>
                    <a:pt x="2902636" y="728251"/>
                  </a:cubicBezTo>
                  <a:cubicBezTo>
                    <a:pt x="2906772" y="716602"/>
                    <a:pt x="2910425" y="704816"/>
                    <a:pt x="2913871" y="692823"/>
                  </a:cubicBezTo>
                  <a:cubicBezTo>
                    <a:pt x="2909735" y="684690"/>
                    <a:pt x="2905738" y="676419"/>
                    <a:pt x="2902016" y="668010"/>
                  </a:cubicBezTo>
                  <a:cubicBezTo>
                    <a:pt x="2886439" y="665116"/>
                    <a:pt x="2870517" y="665047"/>
                    <a:pt x="2854734" y="663944"/>
                  </a:cubicBezTo>
                  <a:cubicBezTo>
                    <a:pt x="2856801" y="676006"/>
                    <a:pt x="2859007" y="687999"/>
                    <a:pt x="2861212" y="699923"/>
                  </a:cubicBezTo>
                  <a:cubicBezTo>
                    <a:pt x="2858662" y="697855"/>
                    <a:pt x="2853493" y="693581"/>
                    <a:pt x="2850943" y="691514"/>
                  </a:cubicBezTo>
                  <a:cubicBezTo>
                    <a:pt x="2849426" y="698475"/>
                    <a:pt x="2847772" y="705436"/>
                    <a:pt x="2846118" y="712329"/>
                  </a:cubicBezTo>
                  <a:cubicBezTo>
                    <a:pt x="2834677" y="706402"/>
                    <a:pt x="2823304" y="700474"/>
                    <a:pt x="2811931" y="694546"/>
                  </a:cubicBezTo>
                  <a:cubicBezTo>
                    <a:pt x="2808830" y="695787"/>
                    <a:pt x="2802558" y="698131"/>
                    <a:pt x="2799456" y="699302"/>
                  </a:cubicBezTo>
                  <a:cubicBezTo>
                    <a:pt x="2796079" y="690342"/>
                    <a:pt x="2796285" y="681451"/>
                    <a:pt x="2800076" y="672490"/>
                  </a:cubicBezTo>
                  <a:cubicBezTo>
                    <a:pt x="2797940" y="669320"/>
                    <a:pt x="2793735" y="663048"/>
                    <a:pt x="2791599" y="659877"/>
                  </a:cubicBezTo>
                  <a:cubicBezTo>
                    <a:pt x="2772782" y="658981"/>
                    <a:pt x="2753897" y="657879"/>
                    <a:pt x="2735080" y="656707"/>
                  </a:cubicBezTo>
                  <a:cubicBezTo>
                    <a:pt x="2734667" y="661256"/>
                    <a:pt x="2733771" y="670423"/>
                    <a:pt x="2733288" y="675041"/>
                  </a:cubicBezTo>
                  <a:cubicBezTo>
                    <a:pt x="2732806" y="670354"/>
                    <a:pt x="2731841" y="661118"/>
                    <a:pt x="2731290" y="656431"/>
                  </a:cubicBezTo>
                  <a:lnTo>
                    <a:pt x="2720813" y="655742"/>
                  </a:lnTo>
                  <a:cubicBezTo>
                    <a:pt x="2719986" y="673662"/>
                    <a:pt x="2719572" y="691514"/>
                    <a:pt x="2719159" y="709296"/>
                  </a:cubicBezTo>
                  <a:lnTo>
                    <a:pt x="2729704" y="710813"/>
                  </a:lnTo>
                  <a:cubicBezTo>
                    <a:pt x="2726671" y="710882"/>
                    <a:pt x="2720468" y="710950"/>
                    <a:pt x="2717436" y="710950"/>
                  </a:cubicBezTo>
                  <a:cubicBezTo>
                    <a:pt x="2717229" y="716051"/>
                    <a:pt x="2716815" y="726183"/>
                    <a:pt x="2716609" y="731283"/>
                  </a:cubicBezTo>
                  <a:cubicBezTo>
                    <a:pt x="2719779" y="731008"/>
                    <a:pt x="2726120" y="730525"/>
                    <a:pt x="2729291" y="730249"/>
                  </a:cubicBezTo>
                  <a:cubicBezTo>
                    <a:pt x="2704754" y="732800"/>
                    <a:pt x="2728464" y="760507"/>
                    <a:pt x="2711439" y="771260"/>
                  </a:cubicBezTo>
                  <a:cubicBezTo>
                    <a:pt x="2717711" y="774913"/>
                    <a:pt x="2724121" y="778497"/>
                    <a:pt x="2730462" y="782150"/>
                  </a:cubicBezTo>
                  <a:cubicBezTo>
                    <a:pt x="2726051" y="783873"/>
                    <a:pt x="2717091" y="787319"/>
                    <a:pt x="2712611" y="789042"/>
                  </a:cubicBezTo>
                  <a:lnTo>
                    <a:pt x="2710750" y="801518"/>
                  </a:lnTo>
                  <a:cubicBezTo>
                    <a:pt x="2749968" y="790352"/>
                    <a:pt x="2690762" y="810547"/>
                    <a:pt x="2711991" y="826951"/>
                  </a:cubicBezTo>
                  <a:cubicBezTo>
                    <a:pt x="2715575" y="823918"/>
                    <a:pt x="2722674" y="817715"/>
                    <a:pt x="2726189" y="814682"/>
                  </a:cubicBezTo>
                  <a:cubicBezTo>
                    <a:pt x="2733633" y="821161"/>
                    <a:pt x="2741490" y="821919"/>
                    <a:pt x="2749693" y="816957"/>
                  </a:cubicBezTo>
                  <a:cubicBezTo>
                    <a:pt x="2741146" y="802276"/>
                    <a:pt x="2745764" y="785182"/>
                    <a:pt x="2746384" y="769261"/>
                  </a:cubicBezTo>
                  <a:cubicBezTo>
                    <a:pt x="2749417" y="782632"/>
                    <a:pt x="2753690" y="795728"/>
                    <a:pt x="2755482" y="809306"/>
                  </a:cubicBezTo>
                  <a:cubicBezTo>
                    <a:pt x="2750450" y="819507"/>
                    <a:pt x="2744385" y="829294"/>
                    <a:pt x="2739147" y="839357"/>
                  </a:cubicBezTo>
                  <a:cubicBezTo>
                    <a:pt x="2744179" y="849834"/>
                    <a:pt x="2735356" y="857622"/>
                    <a:pt x="2730807" y="865686"/>
                  </a:cubicBezTo>
                  <a:cubicBezTo>
                    <a:pt x="2724948" y="857553"/>
                    <a:pt x="2719503" y="849076"/>
                    <a:pt x="2714334" y="840391"/>
                  </a:cubicBezTo>
                  <a:cubicBezTo>
                    <a:pt x="2719503" y="841356"/>
                    <a:pt x="2729911" y="843286"/>
                    <a:pt x="2735080" y="844251"/>
                  </a:cubicBezTo>
                  <a:cubicBezTo>
                    <a:pt x="2744937" y="819645"/>
                    <a:pt x="2711095" y="824676"/>
                    <a:pt x="2711301" y="838806"/>
                  </a:cubicBezTo>
                  <a:cubicBezTo>
                    <a:pt x="2708820" y="889327"/>
                    <a:pt x="2702135" y="941297"/>
                    <a:pt x="2703513" y="990853"/>
                  </a:cubicBezTo>
                  <a:lnTo>
                    <a:pt x="2707373" y="990991"/>
                  </a:lnTo>
                  <a:cubicBezTo>
                    <a:pt x="2708820" y="987890"/>
                    <a:pt x="2711646" y="981686"/>
                    <a:pt x="2713094" y="978585"/>
                  </a:cubicBezTo>
                  <a:lnTo>
                    <a:pt x="2715920" y="979205"/>
                  </a:lnTo>
                  <a:cubicBezTo>
                    <a:pt x="2714541" y="997125"/>
                    <a:pt x="2693864" y="1003398"/>
                    <a:pt x="2695793" y="1022834"/>
                  </a:cubicBezTo>
                  <a:lnTo>
                    <a:pt x="2708958" y="1020491"/>
                  </a:lnTo>
                  <a:cubicBezTo>
                    <a:pt x="2706063" y="1022697"/>
                    <a:pt x="2700342" y="1027108"/>
                    <a:pt x="2697448" y="1029313"/>
                  </a:cubicBezTo>
                  <a:cubicBezTo>
                    <a:pt x="2696552" y="1059364"/>
                    <a:pt x="2693381" y="1089278"/>
                    <a:pt x="2692416" y="1119329"/>
                  </a:cubicBezTo>
                  <a:cubicBezTo>
                    <a:pt x="2696483" y="1118295"/>
                    <a:pt x="2704478" y="1116227"/>
                    <a:pt x="2708544" y="1115262"/>
                  </a:cubicBezTo>
                  <a:cubicBezTo>
                    <a:pt x="2708200" y="1124498"/>
                    <a:pt x="2707993" y="1133734"/>
                    <a:pt x="2707717" y="1142901"/>
                  </a:cubicBezTo>
                  <a:cubicBezTo>
                    <a:pt x="2702479" y="1146485"/>
                    <a:pt x="2692003" y="1153791"/>
                    <a:pt x="2686764" y="1157375"/>
                  </a:cubicBezTo>
                  <a:cubicBezTo>
                    <a:pt x="2691038" y="1158202"/>
                    <a:pt x="2699722" y="1159857"/>
                    <a:pt x="2703995" y="1160684"/>
                  </a:cubicBezTo>
                  <a:cubicBezTo>
                    <a:pt x="2693726" y="1165440"/>
                    <a:pt x="2686764" y="1172401"/>
                    <a:pt x="2690555" y="1184394"/>
                  </a:cubicBezTo>
                  <a:cubicBezTo>
                    <a:pt x="2682215" y="1237328"/>
                    <a:pt x="2682836" y="1291365"/>
                    <a:pt x="2677322" y="1344781"/>
                  </a:cubicBezTo>
                  <a:cubicBezTo>
                    <a:pt x="2679803" y="1345195"/>
                    <a:pt x="2684627" y="1346160"/>
                    <a:pt x="2687040" y="1346642"/>
                  </a:cubicBezTo>
                  <a:cubicBezTo>
                    <a:pt x="2688418" y="1343058"/>
                    <a:pt x="2691107" y="1335821"/>
                    <a:pt x="2692416" y="1332237"/>
                  </a:cubicBezTo>
                  <a:lnTo>
                    <a:pt x="2700342" y="1336373"/>
                  </a:lnTo>
                  <a:lnTo>
                    <a:pt x="2693243" y="1335821"/>
                  </a:lnTo>
                  <a:cubicBezTo>
                    <a:pt x="2693312" y="1340370"/>
                    <a:pt x="2693450" y="1349468"/>
                    <a:pt x="2693588" y="1353948"/>
                  </a:cubicBezTo>
                  <a:cubicBezTo>
                    <a:pt x="2689315" y="1353810"/>
                    <a:pt x="2680768" y="1353466"/>
                    <a:pt x="2676563" y="1353259"/>
                  </a:cubicBezTo>
                  <a:cubicBezTo>
                    <a:pt x="2667879" y="1537081"/>
                    <a:pt x="2653749" y="1720558"/>
                    <a:pt x="2642997" y="1904311"/>
                  </a:cubicBezTo>
                  <a:cubicBezTo>
                    <a:pt x="2701790" y="1908033"/>
                    <a:pt x="2760652" y="1911480"/>
                    <a:pt x="2819444" y="1915270"/>
                  </a:cubicBezTo>
                  <a:cubicBezTo>
                    <a:pt x="2818479" y="1911893"/>
                    <a:pt x="2816480" y="1905138"/>
                    <a:pt x="2815447" y="1901761"/>
                  </a:cubicBezTo>
                  <a:cubicBezTo>
                    <a:pt x="2818273" y="1906448"/>
                    <a:pt x="2821098" y="1911066"/>
                    <a:pt x="2823924" y="1915684"/>
                  </a:cubicBezTo>
                  <a:cubicBezTo>
                    <a:pt x="2836055" y="1916511"/>
                    <a:pt x="2848255" y="1917476"/>
                    <a:pt x="2860454" y="1918648"/>
                  </a:cubicBezTo>
                  <a:cubicBezTo>
                    <a:pt x="2864521" y="1913341"/>
                    <a:pt x="2868312" y="1907758"/>
                    <a:pt x="2872309" y="1902244"/>
                  </a:cubicBezTo>
                  <a:cubicBezTo>
                    <a:pt x="2872240" y="1906448"/>
                    <a:pt x="2872171" y="1914719"/>
                    <a:pt x="2872102" y="1918923"/>
                  </a:cubicBezTo>
                  <a:moveTo>
                    <a:pt x="3944777" y="1677480"/>
                  </a:moveTo>
                  <a:cubicBezTo>
                    <a:pt x="3948360" y="1674034"/>
                    <a:pt x="3948360" y="1674034"/>
                    <a:pt x="3944777" y="1677480"/>
                  </a:cubicBezTo>
                  <a:moveTo>
                    <a:pt x="4191596" y="1705464"/>
                  </a:moveTo>
                  <a:cubicBezTo>
                    <a:pt x="4181119" y="1684580"/>
                    <a:pt x="4214134" y="1704430"/>
                    <a:pt x="4191596" y="1705464"/>
                  </a:cubicBezTo>
                  <a:moveTo>
                    <a:pt x="4205587" y="1718904"/>
                  </a:moveTo>
                  <a:cubicBezTo>
                    <a:pt x="4195662" y="1697538"/>
                    <a:pt x="4228057" y="1717939"/>
                    <a:pt x="4205587" y="1718904"/>
                  </a:cubicBezTo>
                  <a:moveTo>
                    <a:pt x="3949877" y="1729312"/>
                  </a:moveTo>
                  <a:cubicBezTo>
                    <a:pt x="3953737" y="1725176"/>
                    <a:pt x="3961387" y="1716906"/>
                    <a:pt x="3965247" y="1712701"/>
                  </a:cubicBezTo>
                  <a:cubicBezTo>
                    <a:pt x="3969727" y="1713873"/>
                    <a:pt x="3978619" y="1716285"/>
                    <a:pt x="3983099" y="1717457"/>
                  </a:cubicBezTo>
                  <a:cubicBezTo>
                    <a:pt x="3985304" y="1714975"/>
                    <a:pt x="3989853" y="1710082"/>
                    <a:pt x="3992128" y="1707669"/>
                  </a:cubicBezTo>
                  <a:cubicBezTo>
                    <a:pt x="3988681" y="1714631"/>
                    <a:pt x="3984201" y="1720765"/>
                    <a:pt x="3978550" y="1726003"/>
                  </a:cubicBezTo>
                  <a:lnTo>
                    <a:pt x="3981582" y="1736273"/>
                  </a:lnTo>
                  <a:cubicBezTo>
                    <a:pt x="3977653" y="1732414"/>
                    <a:pt x="3973587" y="1728691"/>
                    <a:pt x="3969589" y="1724969"/>
                  </a:cubicBezTo>
                  <a:cubicBezTo>
                    <a:pt x="3962766" y="1726555"/>
                    <a:pt x="3956494" y="1727933"/>
                    <a:pt x="3949877" y="1729312"/>
                  </a:cubicBezTo>
                  <a:moveTo>
                    <a:pt x="4206690" y="1739926"/>
                  </a:moveTo>
                  <a:cubicBezTo>
                    <a:pt x="4210205" y="1736273"/>
                    <a:pt x="4210205" y="1736273"/>
                    <a:pt x="4206690" y="1739926"/>
                  </a:cubicBezTo>
                  <a:moveTo>
                    <a:pt x="4164232" y="1744544"/>
                  </a:moveTo>
                  <a:cubicBezTo>
                    <a:pt x="4159959" y="1727382"/>
                    <a:pt x="4158029" y="1709806"/>
                    <a:pt x="4156926" y="1692230"/>
                  </a:cubicBezTo>
                  <a:cubicBezTo>
                    <a:pt x="4160442" y="1692506"/>
                    <a:pt x="4167403" y="1693058"/>
                    <a:pt x="4170849" y="1693333"/>
                  </a:cubicBezTo>
                  <a:cubicBezTo>
                    <a:pt x="4168437" y="1700295"/>
                    <a:pt x="4166025" y="1707187"/>
                    <a:pt x="4163750" y="1714080"/>
                  </a:cubicBezTo>
                  <a:cubicBezTo>
                    <a:pt x="4168437" y="1720627"/>
                    <a:pt x="4176984" y="1725452"/>
                    <a:pt x="4177742" y="1734205"/>
                  </a:cubicBezTo>
                  <a:cubicBezTo>
                    <a:pt x="4174365" y="1736756"/>
                    <a:pt x="4167610" y="1741925"/>
                    <a:pt x="4164232" y="1744544"/>
                  </a:cubicBezTo>
                  <a:moveTo>
                    <a:pt x="3951876" y="1782039"/>
                  </a:moveTo>
                  <a:cubicBezTo>
                    <a:pt x="3946500" y="1768185"/>
                    <a:pt x="3947740" y="1753918"/>
                    <a:pt x="3953874" y="1740547"/>
                  </a:cubicBezTo>
                  <a:cubicBezTo>
                    <a:pt x="3954150" y="1746060"/>
                    <a:pt x="3954564" y="1757019"/>
                    <a:pt x="3954840" y="1762533"/>
                  </a:cubicBezTo>
                  <a:cubicBezTo>
                    <a:pt x="3964902" y="1756675"/>
                    <a:pt x="3975103" y="1750679"/>
                    <a:pt x="3985511" y="1745233"/>
                  </a:cubicBezTo>
                  <a:cubicBezTo>
                    <a:pt x="3974621" y="1753298"/>
                    <a:pt x="3963111" y="1760397"/>
                    <a:pt x="3951531" y="1767289"/>
                  </a:cubicBezTo>
                  <a:cubicBezTo>
                    <a:pt x="3952703" y="1770735"/>
                    <a:pt x="3955046" y="1777697"/>
                    <a:pt x="3956287" y="1781212"/>
                  </a:cubicBezTo>
                  <a:lnTo>
                    <a:pt x="3951876" y="1782039"/>
                  </a:lnTo>
                  <a:moveTo>
                    <a:pt x="4191527" y="1801889"/>
                  </a:moveTo>
                  <a:cubicBezTo>
                    <a:pt x="4190768" y="1799339"/>
                    <a:pt x="4189252" y="1794239"/>
                    <a:pt x="4188425" y="1791689"/>
                  </a:cubicBezTo>
                  <a:lnTo>
                    <a:pt x="4190010" y="1788380"/>
                  </a:lnTo>
                  <a:cubicBezTo>
                    <a:pt x="4190217" y="1782177"/>
                    <a:pt x="4188770" y="1776318"/>
                    <a:pt x="4185806" y="1770804"/>
                  </a:cubicBezTo>
                  <a:cubicBezTo>
                    <a:pt x="4192285" y="1779213"/>
                    <a:pt x="4199109" y="1787415"/>
                    <a:pt x="4206828" y="1794790"/>
                  </a:cubicBezTo>
                  <a:cubicBezTo>
                    <a:pt x="4207241" y="1784038"/>
                    <a:pt x="4207793" y="1773286"/>
                    <a:pt x="4208344" y="1762533"/>
                  </a:cubicBezTo>
                  <a:cubicBezTo>
                    <a:pt x="4209103" y="1773837"/>
                    <a:pt x="4209861" y="1785141"/>
                    <a:pt x="4210895" y="1796444"/>
                  </a:cubicBezTo>
                  <a:cubicBezTo>
                    <a:pt x="4206070" y="1795962"/>
                    <a:pt x="4196421" y="1794928"/>
                    <a:pt x="4191527" y="1794446"/>
                  </a:cubicBezTo>
                  <a:lnTo>
                    <a:pt x="4191527" y="1801889"/>
                  </a:lnTo>
                  <a:moveTo>
                    <a:pt x="4123084" y="1808713"/>
                  </a:moveTo>
                  <a:cubicBezTo>
                    <a:pt x="4112401" y="1788105"/>
                    <a:pt x="4145829" y="1807541"/>
                    <a:pt x="4123084" y="1808713"/>
                  </a:cubicBezTo>
                  <a:moveTo>
                    <a:pt x="4198006" y="1863991"/>
                  </a:moveTo>
                  <a:cubicBezTo>
                    <a:pt x="4187805" y="1843106"/>
                    <a:pt x="4220751" y="1863163"/>
                    <a:pt x="4198006" y="1863991"/>
                  </a:cubicBezTo>
                  <a:moveTo>
                    <a:pt x="4027210" y="1863922"/>
                  </a:moveTo>
                  <a:cubicBezTo>
                    <a:pt x="4019215" y="1864197"/>
                    <a:pt x="4008807" y="1854686"/>
                    <a:pt x="4014597" y="1846690"/>
                  </a:cubicBezTo>
                  <a:cubicBezTo>
                    <a:pt x="4024729" y="1836145"/>
                    <a:pt x="4041960" y="1859855"/>
                    <a:pt x="4027210" y="1863922"/>
                  </a:cubicBezTo>
                  <a:moveTo>
                    <a:pt x="3957941" y="1891147"/>
                  </a:moveTo>
                  <a:cubicBezTo>
                    <a:pt x="3961663" y="1887632"/>
                    <a:pt x="3961663" y="1887632"/>
                    <a:pt x="3957941" y="1891147"/>
                  </a:cubicBezTo>
                  <a:moveTo>
                    <a:pt x="3992955" y="1967929"/>
                  </a:moveTo>
                  <a:cubicBezTo>
                    <a:pt x="4024109" y="2005768"/>
                    <a:pt x="4082488" y="2018106"/>
                    <a:pt x="4124739" y="1991708"/>
                  </a:cubicBezTo>
                  <a:cubicBezTo>
                    <a:pt x="4173882" y="1961036"/>
                    <a:pt x="4202072" y="1906793"/>
                    <a:pt x="4221923" y="1854134"/>
                  </a:cubicBezTo>
                  <a:cubicBezTo>
                    <a:pt x="4255013" y="1764670"/>
                    <a:pt x="4247631" y="1668038"/>
                    <a:pt x="4257281" y="1574783"/>
                  </a:cubicBezTo>
                  <a:cubicBezTo>
                    <a:pt x="4252870" y="1578298"/>
                    <a:pt x="4244047" y="1585259"/>
                    <a:pt x="4239636" y="1588706"/>
                  </a:cubicBezTo>
                  <a:cubicBezTo>
                    <a:pt x="4233364" y="1565409"/>
                    <a:pt x="4207379" y="1573749"/>
                    <a:pt x="4189528" y="1571061"/>
                  </a:cubicBezTo>
                  <a:cubicBezTo>
                    <a:pt x="4186564" y="1577195"/>
                    <a:pt x="4183669" y="1583192"/>
                    <a:pt x="4180843" y="1589188"/>
                  </a:cubicBezTo>
                  <a:cubicBezTo>
                    <a:pt x="4193525" y="1564858"/>
                    <a:pt x="4164991" y="1568993"/>
                    <a:pt x="4150034" y="1568235"/>
                  </a:cubicBezTo>
                  <a:cubicBezTo>
                    <a:pt x="4149276" y="1577815"/>
                    <a:pt x="4148724" y="1587396"/>
                    <a:pt x="4148311" y="1596908"/>
                  </a:cubicBezTo>
                  <a:cubicBezTo>
                    <a:pt x="4150654" y="1613725"/>
                    <a:pt x="4140040" y="1639227"/>
                    <a:pt x="4160373" y="1647705"/>
                  </a:cubicBezTo>
                  <a:cubicBezTo>
                    <a:pt x="4156857" y="1634472"/>
                    <a:pt x="4158718" y="1622134"/>
                    <a:pt x="4170229" y="1614139"/>
                  </a:cubicBezTo>
                  <a:cubicBezTo>
                    <a:pt x="4168851" y="1630887"/>
                    <a:pt x="4166783" y="1647498"/>
                    <a:pt x="4164922" y="1664178"/>
                  </a:cubicBezTo>
                  <a:cubicBezTo>
                    <a:pt x="4157478" y="1663420"/>
                    <a:pt x="4150172" y="1662662"/>
                    <a:pt x="4142866" y="1661834"/>
                  </a:cubicBezTo>
                  <a:cubicBezTo>
                    <a:pt x="4142521" y="1705878"/>
                    <a:pt x="4142935" y="1753780"/>
                    <a:pt x="4117708" y="1791964"/>
                  </a:cubicBezTo>
                  <a:cubicBezTo>
                    <a:pt x="4107232" y="1808644"/>
                    <a:pt x="4087795" y="1824841"/>
                    <a:pt x="4066842" y="1817811"/>
                  </a:cubicBezTo>
                  <a:cubicBezTo>
                    <a:pt x="4047956" y="1809747"/>
                    <a:pt x="4033207" y="1791895"/>
                    <a:pt x="4029829" y="1771356"/>
                  </a:cubicBezTo>
                  <a:cubicBezTo>
                    <a:pt x="4024315" y="1740409"/>
                    <a:pt x="4009910" y="1711254"/>
                    <a:pt x="4017285" y="1678997"/>
                  </a:cubicBezTo>
                  <a:cubicBezTo>
                    <a:pt x="4012805" y="1680582"/>
                    <a:pt x="4003707" y="1683822"/>
                    <a:pt x="3999227" y="1685407"/>
                  </a:cubicBezTo>
                  <a:lnTo>
                    <a:pt x="4002742" y="1675688"/>
                  </a:lnTo>
                  <a:cubicBezTo>
                    <a:pt x="3999503" y="1676033"/>
                    <a:pt x="3993093" y="1676585"/>
                    <a:pt x="3989853" y="1676929"/>
                  </a:cubicBezTo>
                  <a:cubicBezTo>
                    <a:pt x="3986131" y="1676791"/>
                    <a:pt x="3978619" y="1676653"/>
                    <a:pt x="3974896" y="1676516"/>
                  </a:cubicBezTo>
                  <a:cubicBezTo>
                    <a:pt x="3975655" y="1685200"/>
                    <a:pt x="3976068" y="1693884"/>
                    <a:pt x="3976689" y="1702500"/>
                  </a:cubicBezTo>
                  <a:cubicBezTo>
                    <a:pt x="3962766" y="1707532"/>
                    <a:pt x="3949050" y="1712977"/>
                    <a:pt x="3935127" y="1717526"/>
                  </a:cubicBezTo>
                  <a:cubicBezTo>
                    <a:pt x="3944432" y="1707256"/>
                    <a:pt x="3958148" y="1704016"/>
                    <a:pt x="3971106" y="1700501"/>
                  </a:cubicBezTo>
                  <a:cubicBezTo>
                    <a:pt x="3971726" y="1692161"/>
                    <a:pt x="3972484" y="1683822"/>
                    <a:pt x="3973242" y="1675413"/>
                  </a:cubicBezTo>
                  <a:lnTo>
                    <a:pt x="3966143" y="1670657"/>
                  </a:lnTo>
                  <a:cubicBezTo>
                    <a:pt x="3954977" y="1653219"/>
                    <a:pt x="3947465" y="1632748"/>
                    <a:pt x="3930095" y="1620135"/>
                  </a:cubicBezTo>
                  <a:cubicBezTo>
                    <a:pt x="3927476" y="1640399"/>
                    <a:pt x="3925202" y="1660663"/>
                    <a:pt x="3923134" y="1680858"/>
                  </a:cubicBezTo>
                  <a:cubicBezTo>
                    <a:pt x="3920860" y="1703189"/>
                    <a:pt x="3920653" y="1725590"/>
                    <a:pt x="3920653" y="1747990"/>
                  </a:cubicBezTo>
                  <a:cubicBezTo>
                    <a:pt x="3928441" y="1739375"/>
                    <a:pt x="3936850" y="1732414"/>
                    <a:pt x="3943880" y="1745302"/>
                  </a:cubicBezTo>
                  <a:cubicBezTo>
                    <a:pt x="3932852" y="1744199"/>
                    <a:pt x="3918447" y="1747577"/>
                    <a:pt x="3921411" y="1761775"/>
                  </a:cubicBezTo>
                  <a:cubicBezTo>
                    <a:pt x="3925340" y="1834904"/>
                    <a:pt x="3944501" y="1911204"/>
                    <a:pt x="3992955" y="1967929"/>
                  </a:cubicBezTo>
                  <a:moveTo>
                    <a:pt x="3656672" y="754373"/>
                  </a:moveTo>
                  <a:cubicBezTo>
                    <a:pt x="3652881" y="744793"/>
                    <a:pt x="3655982" y="741622"/>
                    <a:pt x="3665976" y="744793"/>
                  </a:cubicBezTo>
                  <a:cubicBezTo>
                    <a:pt x="3669629" y="754442"/>
                    <a:pt x="3666597" y="757612"/>
                    <a:pt x="3656672" y="754373"/>
                  </a:cubicBezTo>
                  <a:moveTo>
                    <a:pt x="3447692" y="759749"/>
                  </a:moveTo>
                  <a:cubicBezTo>
                    <a:pt x="3445555" y="749962"/>
                    <a:pt x="3449209" y="746722"/>
                    <a:pt x="3458720" y="749893"/>
                  </a:cubicBezTo>
                  <a:cubicBezTo>
                    <a:pt x="3460719" y="759680"/>
                    <a:pt x="3457066" y="762920"/>
                    <a:pt x="3447692" y="759749"/>
                  </a:cubicBezTo>
                  <a:moveTo>
                    <a:pt x="3662530" y="767882"/>
                  </a:moveTo>
                  <a:cubicBezTo>
                    <a:pt x="3665976" y="764298"/>
                    <a:pt x="3665976" y="764298"/>
                    <a:pt x="3662530" y="767882"/>
                  </a:cubicBezTo>
                  <a:moveTo>
                    <a:pt x="3626896" y="793522"/>
                  </a:moveTo>
                  <a:cubicBezTo>
                    <a:pt x="3620968" y="784631"/>
                    <a:pt x="3622485" y="779324"/>
                    <a:pt x="3631376" y="777463"/>
                  </a:cubicBezTo>
                  <a:cubicBezTo>
                    <a:pt x="3637028" y="786354"/>
                    <a:pt x="3635512" y="791730"/>
                    <a:pt x="3626896" y="793522"/>
                  </a:cubicBezTo>
                  <a:moveTo>
                    <a:pt x="3653570" y="802207"/>
                  </a:moveTo>
                  <a:cubicBezTo>
                    <a:pt x="3642542" y="781460"/>
                    <a:pt x="3676177" y="801173"/>
                    <a:pt x="3653570" y="802207"/>
                  </a:cubicBezTo>
                  <a:moveTo>
                    <a:pt x="3613663" y="809375"/>
                  </a:moveTo>
                  <a:cubicBezTo>
                    <a:pt x="3610354" y="799725"/>
                    <a:pt x="3613594" y="796486"/>
                    <a:pt x="3623381" y="799588"/>
                  </a:cubicBezTo>
                  <a:cubicBezTo>
                    <a:pt x="3626551" y="809306"/>
                    <a:pt x="3623312" y="812545"/>
                    <a:pt x="3613663" y="809375"/>
                  </a:cubicBezTo>
                  <a:moveTo>
                    <a:pt x="3330934" y="815923"/>
                  </a:moveTo>
                  <a:cubicBezTo>
                    <a:pt x="3327694" y="805998"/>
                    <a:pt x="3330865" y="802965"/>
                    <a:pt x="3340514" y="806894"/>
                  </a:cubicBezTo>
                  <a:cubicBezTo>
                    <a:pt x="3343685" y="816888"/>
                    <a:pt x="3340514" y="819851"/>
                    <a:pt x="3330934" y="815923"/>
                  </a:cubicBezTo>
                  <a:moveTo>
                    <a:pt x="3559005" y="852315"/>
                  </a:moveTo>
                  <a:cubicBezTo>
                    <a:pt x="3560522" y="829639"/>
                    <a:pt x="3579476" y="863343"/>
                    <a:pt x="3559005" y="852315"/>
                  </a:cubicBezTo>
                  <a:moveTo>
                    <a:pt x="3544186" y="851005"/>
                  </a:moveTo>
                  <a:cubicBezTo>
                    <a:pt x="3548115" y="847283"/>
                    <a:pt x="3548115" y="847283"/>
                    <a:pt x="3544186" y="851005"/>
                  </a:cubicBezTo>
                  <a:moveTo>
                    <a:pt x="3463407" y="848731"/>
                  </a:moveTo>
                  <a:cubicBezTo>
                    <a:pt x="3463200" y="843493"/>
                    <a:pt x="3463062" y="838185"/>
                    <a:pt x="3462855" y="832809"/>
                  </a:cubicBezTo>
                  <a:cubicBezTo>
                    <a:pt x="3465543" y="836118"/>
                    <a:pt x="3470782" y="842665"/>
                    <a:pt x="3473401" y="845974"/>
                  </a:cubicBezTo>
                  <a:cubicBezTo>
                    <a:pt x="3473883" y="841218"/>
                    <a:pt x="3474780" y="831706"/>
                    <a:pt x="3475262" y="826951"/>
                  </a:cubicBezTo>
                  <a:cubicBezTo>
                    <a:pt x="3478088" y="827916"/>
                    <a:pt x="3483671" y="829777"/>
                    <a:pt x="3486428" y="830741"/>
                  </a:cubicBezTo>
                  <a:cubicBezTo>
                    <a:pt x="3487875" y="827571"/>
                    <a:pt x="3490770" y="821299"/>
                    <a:pt x="3492148" y="818128"/>
                  </a:cubicBezTo>
                  <a:cubicBezTo>
                    <a:pt x="3493113" y="828949"/>
                    <a:pt x="3494010" y="839771"/>
                    <a:pt x="3495043" y="850454"/>
                  </a:cubicBezTo>
                  <a:cubicBezTo>
                    <a:pt x="3484429" y="850523"/>
                    <a:pt x="3473883" y="850040"/>
                    <a:pt x="3463407" y="848731"/>
                  </a:cubicBezTo>
                  <a:moveTo>
                    <a:pt x="3579476" y="853762"/>
                  </a:moveTo>
                  <a:cubicBezTo>
                    <a:pt x="3579476" y="852591"/>
                    <a:pt x="3579407" y="850316"/>
                    <a:pt x="3579338" y="849144"/>
                  </a:cubicBezTo>
                  <a:cubicBezTo>
                    <a:pt x="3601118" y="847421"/>
                    <a:pt x="3622899" y="845491"/>
                    <a:pt x="3644679" y="843837"/>
                  </a:cubicBezTo>
                  <a:cubicBezTo>
                    <a:pt x="3644747" y="849282"/>
                    <a:pt x="3644954" y="860172"/>
                    <a:pt x="3645023" y="865617"/>
                  </a:cubicBezTo>
                  <a:cubicBezTo>
                    <a:pt x="3638820" y="859001"/>
                    <a:pt x="3635098" y="848248"/>
                    <a:pt x="3624346" y="848110"/>
                  </a:cubicBezTo>
                  <a:cubicBezTo>
                    <a:pt x="3619177" y="852797"/>
                    <a:pt x="3614214" y="857622"/>
                    <a:pt x="3609458" y="862585"/>
                  </a:cubicBezTo>
                  <a:cubicBezTo>
                    <a:pt x="3599326" y="860172"/>
                    <a:pt x="3589332" y="856933"/>
                    <a:pt x="3579476" y="853762"/>
                  </a:cubicBezTo>
                  <a:moveTo>
                    <a:pt x="3475882" y="863963"/>
                  </a:moveTo>
                  <a:cubicBezTo>
                    <a:pt x="3479397" y="860310"/>
                    <a:pt x="3479397" y="860310"/>
                    <a:pt x="3475882" y="863963"/>
                  </a:cubicBezTo>
                  <a:moveTo>
                    <a:pt x="3518615" y="884778"/>
                  </a:moveTo>
                  <a:cubicBezTo>
                    <a:pt x="3509449" y="881194"/>
                    <a:pt x="3494974" y="883331"/>
                    <a:pt x="3489805" y="874026"/>
                  </a:cubicBezTo>
                  <a:cubicBezTo>
                    <a:pt x="3494561" y="858656"/>
                    <a:pt x="3530540" y="876232"/>
                    <a:pt x="3518615" y="884778"/>
                  </a:cubicBezTo>
                  <a:moveTo>
                    <a:pt x="3331347" y="1022697"/>
                  </a:moveTo>
                  <a:cubicBezTo>
                    <a:pt x="3334725" y="1018975"/>
                    <a:pt x="3334725" y="1018975"/>
                    <a:pt x="3331347" y="1022697"/>
                  </a:cubicBezTo>
                  <a:moveTo>
                    <a:pt x="3483671" y="1065223"/>
                  </a:moveTo>
                  <a:cubicBezTo>
                    <a:pt x="3485256" y="1056194"/>
                    <a:pt x="3490356" y="1054540"/>
                    <a:pt x="3498903" y="1060467"/>
                  </a:cubicBezTo>
                  <a:cubicBezTo>
                    <a:pt x="3497180" y="1069634"/>
                    <a:pt x="3492148" y="1071219"/>
                    <a:pt x="3483671" y="1065223"/>
                  </a:cubicBezTo>
                  <a:moveTo>
                    <a:pt x="3473814" y="1086176"/>
                  </a:moveTo>
                  <a:cubicBezTo>
                    <a:pt x="3468714" y="1068807"/>
                    <a:pt x="3495802" y="1073976"/>
                    <a:pt x="3498559" y="1084453"/>
                  </a:cubicBezTo>
                  <a:cubicBezTo>
                    <a:pt x="3493458" y="1091759"/>
                    <a:pt x="3477537" y="1098238"/>
                    <a:pt x="3473814" y="1086176"/>
                  </a:cubicBezTo>
                  <a:moveTo>
                    <a:pt x="3530126" y="1098514"/>
                  </a:moveTo>
                  <a:cubicBezTo>
                    <a:pt x="3520201" y="1077423"/>
                    <a:pt x="3552802" y="1098100"/>
                    <a:pt x="3530126" y="1098514"/>
                  </a:cubicBezTo>
                  <a:moveTo>
                    <a:pt x="3544324" y="1105958"/>
                  </a:moveTo>
                  <a:cubicBezTo>
                    <a:pt x="3533848" y="1085211"/>
                    <a:pt x="3567070" y="1104924"/>
                    <a:pt x="3544324" y="1105958"/>
                  </a:cubicBezTo>
                  <a:moveTo>
                    <a:pt x="3556179" y="1102442"/>
                  </a:moveTo>
                  <a:cubicBezTo>
                    <a:pt x="3570309" y="1103476"/>
                    <a:pt x="3584438" y="1105268"/>
                    <a:pt x="3598568" y="1106991"/>
                  </a:cubicBezTo>
                  <a:cubicBezTo>
                    <a:pt x="3589194" y="1125670"/>
                    <a:pt x="3569206" y="1107129"/>
                    <a:pt x="3556179" y="1102442"/>
                  </a:cubicBezTo>
                  <a:moveTo>
                    <a:pt x="3323283" y="1113332"/>
                  </a:moveTo>
                  <a:cubicBezTo>
                    <a:pt x="3324524" y="1090243"/>
                    <a:pt x="3343271" y="1124360"/>
                    <a:pt x="3323283" y="1113332"/>
                  </a:cubicBezTo>
                  <a:moveTo>
                    <a:pt x="3566587" y="1132080"/>
                  </a:moveTo>
                  <a:cubicBezTo>
                    <a:pt x="3563761" y="1121121"/>
                    <a:pt x="3567965" y="1117261"/>
                    <a:pt x="3579269" y="1120501"/>
                  </a:cubicBezTo>
                  <a:cubicBezTo>
                    <a:pt x="3582095" y="1131391"/>
                    <a:pt x="3577891" y="1135251"/>
                    <a:pt x="3566587" y="1132080"/>
                  </a:cubicBezTo>
                  <a:moveTo>
                    <a:pt x="3600705" y="1139179"/>
                  </a:moveTo>
                  <a:cubicBezTo>
                    <a:pt x="3587678" y="1132976"/>
                    <a:pt x="3593330" y="1110782"/>
                    <a:pt x="3608493" y="1116089"/>
                  </a:cubicBezTo>
                  <a:cubicBezTo>
                    <a:pt x="3609803" y="1123051"/>
                    <a:pt x="3609114" y="1137387"/>
                    <a:pt x="3600705" y="1139179"/>
                  </a:cubicBezTo>
                  <a:moveTo>
                    <a:pt x="3295507" y="1160063"/>
                  </a:moveTo>
                  <a:cubicBezTo>
                    <a:pt x="3289510" y="1151655"/>
                    <a:pt x="3291095" y="1146554"/>
                    <a:pt x="3300193" y="1144831"/>
                  </a:cubicBezTo>
                  <a:cubicBezTo>
                    <a:pt x="3306121" y="1153309"/>
                    <a:pt x="3304536" y="1158409"/>
                    <a:pt x="3295507" y="1160063"/>
                  </a:cubicBezTo>
                  <a:moveTo>
                    <a:pt x="3501729" y="1157444"/>
                  </a:moveTo>
                  <a:cubicBezTo>
                    <a:pt x="3487806" y="1158202"/>
                    <a:pt x="3465543" y="1138559"/>
                    <a:pt x="3462304" y="1161304"/>
                  </a:cubicBezTo>
                  <a:cubicBezTo>
                    <a:pt x="3463062" y="1157651"/>
                    <a:pt x="3464579" y="1150345"/>
                    <a:pt x="3465268" y="1146692"/>
                  </a:cubicBezTo>
                  <a:cubicBezTo>
                    <a:pt x="3454860" y="1146968"/>
                    <a:pt x="3444797" y="1144624"/>
                    <a:pt x="3441144" y="1133872"/>
                  </a:cubicBezTo>
                  <a:cubicBezTo>
                    <a:pt x="3442730" y="1121121"/>
                    <a:pt x="3447830" y="1109197"/>
                    <a:pt x="3451759" y="1096997"/>
                  </a:cubicBezTo>
                  <a:cubicBezTo>
                    <a:pt x="3458927" y="1099065"/>
                    <a:pt x="3466095" y="1100995"/>
                    <a:pt x="3473401" y="1102925"/>
                  </a:cubicBezTo>
                  <a:cubicBezTo>
                    <a:pt x="3465543" y="1102649"/>
                    <a:pt x="3457755" y="1102374"/>
                    <a:pt x="3450035" y="1102029"/>
                  </a:cubicBezTo>
                  <a:cubicBezTo>
                    <a:pt x="3446245" y="1120018"/>
                    <a:pt x="3454584" y="1148622"/>
                    <a:pt x="3477261" y="1146347"/>
                  </a:cubicBezTo>
                  <a:cubicBezTo>
                    <a:pt x="3477261" y="1140696"/>
                    <a:pt x="3477330" y="1129323"/>
                    <a:pt x="3477399" y="1123671"/>
                  </a:cubicBezTo>
                  <a:cubicBezTo>
                    <a:pt x="3480983" y="1123878"/>
                    <a:pt x="3488151" y="1124291"/>
                    <a:pt x="3491735" y="1124498"/>
                  </a:cubicBezTo>
                  <a:cubicBezTo>
                    <a:pt x="3492011" y="1126084"/>
                    <a:pt x="3492493" y="1129254"/>
                    <a:pt x="3492700" y="1130770"/>
                  </a:cubicBezTo>
                  <a:cubicBezTo>
                    <a:pt x="3490081" y="1130495"/>
                    <a:pt x="3484774" y="1129874"/>
                    <a:pt x="3482154" y="1129530"/>
                  </a:cubicBezTo>
                  <a:cubicBezTo>
                    <a:pt x="3478570" y="1137801"/>
                    <a:pt x="3479466" y="1145796"/>
                    <a:pt x="3484842" y="1153378"/>
                  </a:cubicBezTo>
                  <a:cubicBezTo>
                    <a:pt x="3490425" y="1152620"/>
                    <a:pt x="3501729" y="1151172"/>
                    <a:pt x="3507381" y="1150414"/>
                  </a:cubicBezTo>
                  <a:cubicBezTo>
                    <a:pt x="3507381" y="1155376"/>
                    <a:pt x="3507243" y="1165371"/>
                    <a:pt x="3507243" y="1170333"/>
                  </a:cubicBezTo>
                  <a:cubicBezTo>
                    <a:pt x="3505864" y="1167094"/>
                    <a:pt x="3503107" y="1160684"/>
                    <a:pt x="3501729" y="1157444"/>
                  </a:cubicBezTo>
                  <a:moveTo>
                    <a:pt x="3396550" y="1170816"/>
                  </a:moveTo>
                  <a:cubicBezTo>
                    <a:pt x="3376975" y="1103683"/>
                    <a:pt x="3368153" y="1032760"/>
                    <a:pt x="3376355" y="963077"/>
                  </a:cubicBezTo>
                  <a:cubicBezTo>
                    <a:pt x="3380146" y="918827"/>
                    <a:pt x="3399927" y="876025"/>
                    <a:pt x="3432942" y="846043"/>
                  </a:cubicBezTo>
                  <a:cubicBezTo>
                    <a:pt x="3428462" y="853280"/>
                    <a:pt x="3423982" y="860379"/>
                    <a:pt x="3419295" y="867341"/>
                  </a:cubicBezTo>
                  <a:cubicBezTo>
                    <a:pt x="3437353" y="863481"/>
                    <a:pt x="3454515" y="870166"/>
                    <a:pt x="3465612" y="884641"/>
                  </a:cubicBezTo>
                  <a:cubicBezTo>
                    <a:pt x="3467336" y="881263"/>
                    <a:pt x="3470782" y="874440"/>
                    <a:pt x="3472505" y="870993"/>
                  </a:cubicBezTo>
                  <a:cubicBezTo>
                    <a:pt x="3463958" y="897461"/>
                    <a:pt x="3490977" y="917380"/>
                    <a:pt x="3497318" y="941848"/>
                  </a:cubicBezTo>
                  <a:cubicBezTo>
                    <a:pt x="3465888" y="1004776"/>
                    <a:pt x="3438525" y="1069703"/>
                    <a:pt x="3413712" y="1135526"/>
                  </a:cubicBezTo>
                  <a:cubicBezTo>
                    <a:pt x="3408819" y="1147657"/>
                    <a:pt x="3405717" y="1161097"/>
                    <a:pt x="3396550" y="1170816"/>
                  </a:cubicBezTo>
                  <a:moveTo>
                    <a:pt x="3454860" y="1209551"/>
                  </a:moveTo>
                  <a:cubicBezTo>
                    <a:pt x="3444935" y="1208242"/>
                    <a:pt x="3443832" y="1190321"/>
                    <a:pt x="3454722" y="1189563"/>
                  </a:cubicBezTo>
                  <a:cubicBezTo>
                    <a:pt x="3465337" y="1190114"/>
                    <a:pt x="3465957" y="1209551"/>
                    <a:pt x="3454860" y="1209551"/>
                  </a:cubicBezTo>
                  <a:moveTo>
                    <a:pt x="3309223" y="1200108"/>
                  </a:moveTo>
                  <a:cubicBezTo>
                    <a:pt x="3313151" y="1200384"/>
                    <a:pt x="3320871" y="1200867"/>
                    <a:pt x="3324731" y="1201142"/>
                  </a:cubicBezTo>
                  <a:cubicBezTo>
                    <a:pt x="3326523" y="1178604"/>
                    <a:pt x="3329211" y="1156066"/>
                    <a:pt x="3332864" y="1133734"/>
                  </a:cubicBezTo>
                  <a:cubicBezTo>
                    <a:pt x="3342168" y="1143315"/>
                    <a:pt x="3344029" y="1156824"/>
                    <a:pt x="3346442" y="1169368"/>
                  </a:cubicBezTo>
                  <a:cubicBezTo>
                    <a:pt x="3350853" y="1161924"/>
                    <a:pt x="3353334" y="1153653"/>
                    <a:pt x="3353748" y="1144624"/>
                  </a:cubicBezTo>
                  <a:lnTo>
                    <a:pt x="3354851" y="1144280"/>
                  </a:lnTo>
                  <a:cubicBezTo>
                    <a:pt x="3356712" y="1165302"/>
                    <a:pt x="3357470" y="1187220"/>
                    <a:pt x="3345270" y="1205485"/>
                  </a:cubicBezTo>
                  <a:cubicBezTo>
                    <a:pt x="3340997" y="1202865"/>
                    <a:pt x="3332450" y="1197696"/>
                    <a:pt x="3328108" y="1195077"/>
                  </a:cubicBezTo>
                  <a:cubicBezTo>
                    <a:pt x="3328108" y="1198179"/>
                    <a:pt x="3327970" y="1204382"/>
                    <a:pt x="3327970" y="1207484"/>
                  </a:cubicBezTo>
                  <a:cubicBezTo>
                    <a:pt x="3321629" y="1205002"/>
                    <a:pt x="3315426" y="1202590"/>
                    <a:pt x="3309223" y="1200108"/>
                  </a:cubicBezTo>
                  <a:moveTo>
                    <a:pt x="3426877" y="1214514"/>
                  </a:moveTo>
                  <a:cubicBezTo>
                    <a:pt x="3419157" y="1207759"/>
                    <a:pt x="3428945" y="1191424"/>
                    <a:pt x="3438250" y="1198523"/>
                  </a:cubicBezTo>
                  <a:cubicBezTo>
                    <a:pt x="3445762" y="1205347"/>
                    <a:pt x="3435837" y="1221199"/>
                    <a:pt x="3426877" y="1214514"/>
                  </a:cubicBezTo>
                  <a:moveTo>
                    <a:pt x="3358297" y="1237879"/>
                  </a:moveTo>
                  <a:cubicBezTo>
                    <a:pt x="3358228" y="1214858"/>
                    <a:pt x="3379319" y="1247873"/>
                    <a:pt x="3358297" y="1237879"/>
                  </a:cubicBezTo>
                  <a:moveTo>
                    <a:pt x="3426119" y="1242911"/>
                  </a:moveTo>
                  <a:cubicBezTo>
                    <a:pt x="3415504" y="1222096"/>
                    <a:pt x="3448795" y="1242015"/>
                    <a:pt x="3426119" y="1242911"/>
                  </a:cubicBezTo>
                  <a:moveTo>
                    <a:pt x="3632962" y="1271928"/>
                  </a:moveTo>
                  <a:cubicBezTo>
                    <a:pt x="3629860" y="1260487"/>
                    <a:pt x="3633857" y="1256696"/>
                    <a:pt x="3644816" y="1260556"/>
                  </a:cubicBezTo>
                  <a:cubicBezTo>
                    <a:pt x="3647849" y="1272066"/>
                    <a:pt x="3643852" y="1275788"/>
                    <a:pt x="3632962" y="1271928"/>
                  </a:cubicBezTo>
                  <a:moveTo>
                    <a:pt x="3358986" y="1271308"/>
                  </a:moveTo>
                  <a:cubicBezTo>
                    <a:pt x="3362708" y="1267793"/>
                    <a:pt x="3362708" y="1267793"/>
                    <a:pt x="3358986" y="1271308"/>
                  </a:cubicBezTo>
                  <a:moveTo>
                    <a:pt x="3592847" y="1298878"/>
                  </a:moveTo>
                  <a:cubicBezTo>
                    <a:pt x="3586989" y="1290193"/>
                    <a:pt x="3588574" y="1284955"/>
                    <a:pt x="3597465" y="1283094"/>
                  </a:cubicBezTo>
                  <a:cubicBezTo>
                    <a:pt x="3603255" y="1291847"/>
                    <a:pt x="3601739" y="1297086"/>
                    <a:pt x="3592847" y="1298878"/>
                  </a:cubicBezTo>
                  <a:moveTo>
                    <a:pt x="3358021" y="1311973"/>
                  </a:moveTo>
                  <a:cubicBezTo>
                    <a:pt x="3347614" y="1291089"/>
                    <a:pt x="3380835" y="1311629"/>
                    <a:pt x="3358021" y="1311973"/>
                  </a:cubicBezTo>
                  <a:moveTo>
                    <a:pt x="3366154" y="1368354"/>
                  </a:moveTo>
                  <a:cubicBezTo>
                    <a:pt x="3366430" y="1357188"/>
                    <a:pt x="3366775" y="1345953"/>
                    <a:pt x="3367395" y="1334718"/>
                  </a:cubicBezTo>
                  <a:cubicBezTo>
                    <a:pt x="3371737" y="1343265"/>
                    <a:pt x="3374977" y="1352294"/>
                    <a:pt x="3377527" y="1361530"/>
                  </a:cubicBezTo>
                  <a:cubicBezTo>
                    <a:pt x="3374632" y="1363253"/>
                    <a:pt x="3368980" y="1366630"/>
                    <a:pt x="3366154" y="1368354"/>
                  </a:cubicBezTo>
                  <a:moveTo>
                    <a:pt x="3346924" y="1367940"/>
                  </a:moveTo>
                  <a:cubicBezTo>
                    <a:pt x="3340859" y="1362357"/>
                    <a:pt x="3347407" y="1347469"/>
                    <a:pt x="3356091" y="1351812"/>
                  </a:cubicBezTo>
                  <a:cubicBezTo>
                    <a:pt x="3362984" y="1357532"/>
                    <a:pt x="3355816" y="1373178"/>
                    <a:pt x="3346924" y="1367940"/>
                  </a:cubicBezTo>
                  <a:moveTo>
                    <a:pt x="3354919" y="1398887"/>
                  </a:moveTo>
                  <a:cubicBezTo>
                    <a:pt x="3354093" y="1395923"/>
                    <a:pt x="3352438" y="1389996"/>
                    <a:pt x="3351611" y="1387032"/>
                  </a:cubicBezTo>
                  <a:cubicBezTo>
                    <a:pt x="3357745" y="1384482"/>
                    <a:pt x="3365741" y="1383103"/>
                    <a:pt x="3372289" y="1385516"/>
                  </a:cubicBezTo>
                  <a:cubicBezTo>
                    <a:pt x="3381042" y="1395303"/>
                    <a:pt x="3362708" y="1409157"/>
                    <a:pt x="3354919" y="1398887"/>
                  </a:cubicBezTo>
                  <a:moveTo>
                    <a:pt x="3421225" y="1424803"/>
                  </a:moveTo>
                  <a:cubicBezTo>
                    <a:pt x="3421914" y="1402058"/>
                    <a:pt x="3442109" y="1434935"/>
                    <a:pt x="3421225" y="1424803"/>
                  </a:cubicBezTo>
                  <a:moveTo>
                    <a:pt x="3343685" y="1422597"/>
                  </a:moveTo>
                  <a:cubicBezTo>
                    <a:pt x="3333622" y="1401506"/>
                    <a:pt x="3366361" y="1422115"/>
                    <a:pt x="3343685" y="1422597"/>
                  </a:cubicBezTo>
                  <a:moveTo>
                    <a:pt x="3441007" y="1428318"/>
                  </a:moveTo>
                  <a:cubicBezTo>
                    <a:pt x="3430254" y="1407710"/>
                    <a:pt x="3463820" y="1427077"/>
                    <a:pt x="3441007" y="1428318"/>
                  </a:cubicBezTo>
                  <a:moveTo>
                    <a:pt x="3386418" y="1450305"/>
                  </a:moveTo>
                  <a:cubicBezTo>
                    <a:pt x="3389726" y="1446445"/>
                    <a:pt x="3389726" y="1446445"/>
                    <a:pt x="3386418" y="1450305"/>
                  </a:cubicBezTo>
                  <a:moveTo>
                    <a:pt x="3372220" y="1449960"/>
                  </a:moveTo>
                  <a:cubicBezTo>
                    <a:pt x="3375873" y="1446376"/>
                    <a:pt x="3375873" y="1446376"/>
                    <a:pt x="3372220" y="1449960"/>
                  </a:cubicBezTo>
                  <a:moveTo>
                    <a:pt x="3399996" y="1456991"/>
                  </a:moveTo>
                  <a:cubicBezTo>
                    <a:pt x="3403580" y="1453269"/>
                    <a:pt x="3403580" y="1453269"/>
                    <a:pt x="3399996" y="1456991"/>
                  </a:cubicBezTo>
                  <a:moveTo>
                    <a:pt x="3461477" y="1498070"/>
                  </a:moveTo>
                  <a:cubicBezTo>
                    <a:pt x="3450656" y="1477461"/>
                    <a:pt x="3484153" y="1496622"/>
                    <a:pt x="3461477" y="1498070"/>
                  </a:cubicBezTo>
                  <a:moveTo>
                    <a:pt x="3406062" y="1510959"/>
                  </a:moveTo>
                  <a:cubicBezTo>
                    <a:pt x="3400961" y="1503997"/>
                    <a:pt x="3410128" y="1490695"/>
                    <a:pt x="3418468" y="1494692"/>
                  </a:cubicBezTo>
                  <a:cubicBezTo>
                    <a:pt x="3423431" y="1501723"/>
                    <a:pt x="3414264" y="1514887"/>
                    <a:pt x="3406062" y="1510959"/>
                  </a:cubicBezTo>
                  <a:moveTo>
                    <a:pt x="3432253" y="1481252"/>
                  </a:moveTo>
                  <a:cubicBezTo>
                    <a:pt x="3438732" y="1483527"/>
                    <a:pt x="3445349" y="1485732"/>
                    <a:pt x="3451965" y="1487938"/>
                  </a:cubicBezTo>
                  <a:cubicBezTo>
                    <a:pt x="3447554" y="1494486"/>
                    <a:pt x="3443143" y="1501033"/>
                    <a:pt x="3438939" y="1507650"/>
                  </a:cubicBezTo>
                  <a:cubicBezTo>
                    <a:pt x="3446658" y="1509373"/>
                    <a:pt x="3454309" y="1511579"/>
                    <a:pt x="3461822" y="1514336"/>
                  </a:cubicBezTo>
                  <a:cubicBezTo>
                    <a:pt x="3464717" y="1515370"/>
                    <a:pt x="3470506" y="1517506"/>
                    <a:pt x="3473401" y="1518609"/>
                  </a:cubicBezTo>
                  <a:cubicBezTo>
                    <a:pt x="3468094" y="1517782"/>
                    <a:pt x="3457548" y="1516197"/>
                    <a:pt x="3452241" y="1515439"/>
                  </a:cubicBezTo>
                  <a:cubicBezTo>
                    <a:pt x="3450311" y="1518954"/>
                    <a:pt x="3446521" y="1525984"/>
                    <a:pt x="3444590" y="1529431"/>
                  </a:cubicBezTo>
                  <a:cubicBezTo>
                    <a:pt x="3428118" y="1518058"/>
                    <a:pt x="3428945" y="1498828"/>
                    <a:pt x="3432253" y="1481252"/>
                  </a:cubicBezTo>
                  <a:moveTo>
                    <a:pt x="3511930" y="1697538"/>
                  </a:moveTo>
                  <a:cubicBezTo>
                    <a:pt x="3514756" y="1696090"/>
                    <a:pt x="3520339" y="1693127"/>
                    <a:pt x="3523164" y="1691610"/>
                  </a:cubicBezTo>
                  <a:cubicBezTo>
                    <a:pt x="3524543" y="1694643"/>
                    <a:pt x="3527231" y="1700777"/>
                    <a:pt x="3528609" y="1703810"/>
                  </a:cubicBezTo>
                  <a:cubicBezTo>
                    <a:pt x="3521166" y="1706911"/>
                    <a:pt x="3515652" y="1704844"/>
                    <a:pt x="3511930" y="1697538"/>
                  </a:cubicBezTo>
                  <a:moveTo>
                    <a:pt x="3330383" y="1774595"/>
                  </a:moveTo>
                  <a:cubicBezTo>
                    <a:pt x="3320044" y="1753573"/>
                    <a:pt x="3352921" y="1773492"/>
                    <a:pt x="3330383" y="1774595"/>
                  </a:cubicBezTo>
                  <a:moveTo>
                    <a:pt x="3303433" y="1816295"/>
                  </a:moveTo>
                  <a:cubicBezTo>
                    <a:pt x="3299504" y="1805129"/>
                    <a:pt x="3303226" y="1801269"/>
                    <a:pt x="3314599" y="1804508"/>
                  </a:cubicBezTo>
                  <a:cubicBezTo>
                    <a:pt x="3318389" y="1815674"/>
                    <a:pt x="3314668" y="1819603"/>
                    <a:pt x="3303433" y="1816295"/>
                  </a:cubicBezTo>
                  <a:moveTo>
                    <a:pt x="3516272" y="1843864"/>
                  </a:moveTo>
                  <a:cubicBezTo>
                    <a:pt x="3505933" y="1822980"/>
                    <a:pt x="3538948" y="1842969"/>
                    <a:pt x="3516272" y="1843864"/>
                  </a:cubicBezTo>
                  <a:moveTo>
                    <a:pt x="3351060" y="1796996"/>
                  </a:moveTo>
                  <a:cubicBezTo>
                    <a:pt x="3345063" y="1772114"/>
                    <a:pt x="3350715" y="1745647"/>
                    <a:pt x="3342858" y="1721317"/>
                  </a:cubicBezTo>
                  <a:cubicBezTo>
                    <a:pt x="3340101" y="1720489"/>
                    <a:pt x="3334656" y="1718766"/>
                    <a:pt x="3331899" y="1717939"/>
                  </a:cubicBezTo>
                  <a:cubicBezTo>
                    <a:pt x="3327626" y="1713597"/>
                    <a:pt x="3323421" y="1709117"/>
                    <a:pt x="3319355" y="1704637"/>
                  </a:cubicBezTo>
                  <a:cubicBezTo>
                    <a:pt x="3323559" y="1692093"/>
                    <a:pt x="3329211" y="1680099"/>
                    <a:pt x="3335000" y="1668176"/>
                  </a:cubicBezTo>
                  <a:cubicBezTo>
                    <a:pt x="3336379" y="1668520"/>
                    <a:pt x="3339205" y="1669210"/>
                    <a:pt x="3340583" y="1669485"/>
                  </a:cubicBezTo>
                  <a:cubicBezTo>
                    <a:pt x="3336930" y="1675619"/>
                    <a:pt x="3333415" y="1681754"/>
                    <a:pt x="3330038" y="1687819"/>
                  </a:cubicBezTo>
                  <a:cubicBezTo>
                    <a:pt x="3329073" y="1697331"/>
                    <a:pt x="3331623" y="1708290"/>
                    <a:pt x="3343065" y="1709186"/>
                  </a:cubicBezTo>
                  <a:lnTo>
                    <a:pt x="3348165" y="1708428"/>
                  </a:lnTo>
                  <a:cubicBezTo>
                    <a:pt x="3354437" y="1641846"/>
                    <a:pt x="3377458" y="1578643"/>
                    <a:pt x="3392346" y="1513785"/>
                  </a:cubicBezTo>
                  <a:cubicBezTo>
                    <a:pt x="3381731" y="1517438"/>
                    <a:pt x="3341341" y="1515232"/>
                    <a:pt x="3358159" y="1495933"/>
                  </a:cubicBezTo>
                  <a:lnTo>
                    <a:pt x="3352507" y="1488145"/>
                  </a:lnTo>
                  <a:cubicBezTo>
                    <a:pt x="3356505" y="1490075"/>
                    <a:pt x="3360571" y="1492004"/>
                    <a:pt x="3364638" y="1493865"/>
                  </a:cubicBezTo>
                  <a:cubicBezTo>
                    <a:pt x="3367188" y="1493176"/>
                    <a:pt x="3372289" y="1491798"/>
                    <a:pt x="3374839" y="1491108"/>
                  </a:cubicBezTo>
                  <a:cubicBezTo>
                    <a:pt x="3381800" y="1492969"/>
                    <a:pt x="3388830" y="1494761"/>
                    <a:pt x="3395930" y="1496484"/>
                  </a:cubicBezTo>
                  <a:cubicBezTo>
                    <a:pt x="3394827" y="1508684"/>
                    <a:pt x="3389933" y="1521504"/>
                    <a:pt x="3395034" y="1533359"/>
                  </a:cubicBezTo>
                  <a:cubicBezTo>
                    <a:pt x="3411162" y="1579952"/>
                    <a:pt x="3428255" y="1626270"/>
                    <a:pt x="3442247" y="1673621"/>
                  </a:cubicBezTo>
                  <a:cubicBezTo>
                    <a:pt x="3452999" y="1676171"/>
                    <a:pt x="3463752" y="1678928"/>
                    <a:pt x="3474642" y="1681409"/>
                  </a:cubicBezTo>
                  <a:cubicBezTo>
                    <a:pt x="3477674" y="1683959"/>
                    <a:pt x="3480845" y="1686510"/>
                    <a:pt x="3484015" y="1688922"/>
                  </a:cubicBezTo>
                  <a:cubicBezTo>
                    <a:pt x="3483533" y="1697607"/>
                    <a:pt x="3483257" y="1706222"/>
                    <a:pt x="3482844" y="1714838"/>
                  </a:cubicBezTo>
                  <a:cubicBezTo>
                    <a:pt x="3478570" y="1705257"/>
                    <a:pt x="3470920" y="1695884"/>
                    <a:pt x="3477537" y="1684442"/>
                  </a:cubicBezTo>
                  <a:cubicBezTo>
                    <a:pt x="3470093" y="1689887"/>
                    <a:pt x="3462786" y="1695401"/>
                    <a:pt x="3455481" y="1700846"/>
                  </a:cubicBezTo>
                  <a:cubicBezTo>
                    <a:pt x="3457962" y="1697469"/>
                    <a:pt x="3462855" y="1690714"/>
                    <a:pt x="3465337" y="1687268"/>
                  </a:cubicBezTo>
                  <a:cubicBezTo>
                    <a:pt x="3457548" y="1684442"/>
                    <a:pt x="3449553" y="1682305"/>
                    <a:pt x="3441351" y="1680996"/>
                  </a:cubicBezTo>
                  <a:lnTo>
                    <a:pt x="3448864" y="1694505"/>
                  </a:lnTo>
                  <a:cubicBezTo>
                    <a:pt x="3452103" y="1740685"/>
                    <a:pt x="3449209" y="1788518"/>
                    <a:pt x="3432391" y="1832285"/>
                  </a:cubicBezTo>
                  <a:cubicBezTo>
                    <a:pt x="3442730" y="1833043"/>
                    <a:pt x="3451069" y="1836834"/>
                    <a:pt x="3452517" y="1847931"/>
                  </a:cubicBezTo>
                  <a:cubicBezTo>
                    <a:pt x="3443970" y="1846966"/>
                    <a:pt x="3435493" y="1845863"/>
                    <a:pt x="3427015" y="1844554"/>
                  </a:cubicBezTo>
                  <a:cubicBezTo>
                    <a:pt x="3416125" y="1856133"/>
                    <a:pt x="3401513" y="1873364"/>
                    <a:pt x="3383661" y="1864266"/>
                  </a:cubicBezTo>
                  <a:cubicBezTo>
                    <a:pt x="3360365" y="1851033"/>
                    <a:pt x="3355885" y="1821050"/>
                    <a:pt x="3351060" y="1796996"/>
                  </a:cubicBezTo>
                  <a:moveTo>
                    <a:pt x="3293852" y="1844898"/>
                  </a:moveTo>
                  <a:cubicBezTo>
                    <a:pt x="3301503" y="1845863"/>
                    <a:pt x="3308189" y="1848896"/>
                    <a:pt x="3314047" y="1853997"/>
                  </a:cubicBezTo>
                  <a:cubicBezTo>
                    <a:pt x="3326523" y="1851998"/>
                    <a:pt x="3339411" y="1853169"/>
                    <a:pt x="3350233" y="1860200"/>
                  </a:cubicBezTo>
                  <a:cubicBezTo>
                    <a:pt x="3332106" y="1858890"/>
                    <a:pt x="3303295" y="1864680"/>
                    <a:pt x="3293852" y="1844898"/>
                  </a:cubicBezTo>
                  <a:moveTo>
                    <a:pt x="3475400" y="1869987"/>
                  </a:moveTo>
                  <a:cubicBezTo>
                    <a:pt x="3469334" y="1861509"/>
                    <a:pt x="3470782" y="1856271"/>
                    <a:pt x="3479673" y="1854272"/>
                  </a:cubicBezTo>
                  <a:cubicBezTo>
                    <a:pt x="3485670" y="1862819"/>
                    <a:pt x="3484222" y="1868057"/>
                    <a:pt x="3475400" y="1869987"/>
                  </a:cubicBezTo>
                  <a:moveTo>
                    <a:pt x="3386694" y="1877638"/>
                  </a:moveTo>
                  <a:cubicBezTo>
                    <a:pt x="3390071" y="1873847"/>
                    <a:pt x="3390071" y="1873847"/>
                    <a:pt x="3386694" y="1877638"/>
                  </a:cubicBezTo>
                  <a:moveTo>
                    <a:pt x="3365258" y="1995292"/>
                  </a:moveTo>
                  <a:cubicBezTo>
                    <a:pt x="3360985" y="1983781"/>
                    <a:pt x="3364500" y="1980060"/>
                    <a:pt x="3375735" y="1984126"/>
                  </a:cubicBezTo>
                  <a:cubicBezTo>
                    <a:pt x="3379939" y="1995568"/>
                    <a:pt x="3376424" y="1999289"/>
                    <a:pt x="3365258" y="1995292"/>
                  </a:cubicBezTo>
                  <a:moveTo>
                    <a:pt x="3333140" y="1992052"/>
                  </a:moveTo>
                  <a:cubicBezTo>
                    <a:pt x="3362846" y="2016521"/>
                    <a:pt x="3407854" y="2017486"/>
                    <a:pt x="3439421" y="1995912"/>
                  </a:cubicBezTo>
                  <a:cubicBezTo>
                    <a:pt x="3484360" y="1966619"/>
                    <a:pt x="3509724" y="1915753"/>
                    <a:pt x="3524750" y="1865714"/>
                  </a:cubicBezTo>
                  <a:cubicBezTo>
                    <a:pt x="3540120" y="1819052"/>
                    <a:pt x="3545496" y="1769702"/>
                    <a:pt x="3545634" y="1720765"/>
                  </a:cubicBezTo>
                  <a:cubicBezTo>
                    <a:pt x="3546254" y="1712632"/>
                    <a:pt x="3544118" y="1705395"/>
                    <a:pt x="3539086" y="1698985"/>
                  </a:cubicBezTo>
                  <a:cubicBezTo>
                    <a:pt x="3549218" y="1666246"/>
                    <a:pt x="3536949" y="1632335"/>
                    <a:pt x="3531918" y="1599734"/>
                  </a:cubicBezTo>
                  <a:cubicBezTo>
                    <a:pt x="3519029" y="1545007"/>
                    <a:pt x="3497662" y="1492763"/>
                    <a:pt x="3479260" y="1439760"/>
                  </a:cubicBezTo>
                  <a:cubicBezTo>
                    <a:pt x="3476434" y="1429283"/>
                    <a:pt x="3469610" y="1424734"/>
                    <a:pt x="3458858" y="1425975"/>
                  </a:cubicBezTo>
                  <a:cubicBezTo>
                    <a:pt x="3462235" y="1424183"/>
                    <a:pt x="3468921" y="1420461"/>
                    <a:pt x="3472298" y="1418600"/>
                  </a:cubicBezTo>
                  <a:cubicBezTo>
                    <a:pt x="3465337" y="1394821"/>
                    <a:pt x="3455481" y="1371938"/>
                    <a:pt x="3449415" y="1347883"/>
                  </a:cubicBezTo>
                  <a:cubicBezTo>
                    <a:pt x="3452861" y="1327481"/>
                    <a:pt x="3462166" y="1308665"/>
                    <a:pt x="3467267" y="1288677"/>
                  </a:cubicBezTo>
                  <a:cubicBezTo>
                    <a:pt x="3448312" y="1286747"/>
                    <a:pt x="3426325" y="1287574"/>
                    <a:pt x="3411300" y="1273858"/>
                  </a:cubicBezTo>
                  <a:cubicBezTo>
                    <a:pt x="3420536" y="1273858"/>
                    <a:pt x="3429289" y="1276477"/>
                    <a:pt x="3437491" y="1280612"/>
                  </a:cubicBezTo>
                  <a:cubicBezTo>
                    <a:pt x="3448450" y="1280819"/>
                    <a:pt x="3459340" y="1281991"/>
                    <a:pt x="3470093" y="1284128"/>
                  </a:cubicBezTo>
                  <a:cubicBezTo>
                    <a:pt x="3481189" y="1252009"/>
                    <a:pt x="3493458" y="1220235"/>
                    <a:pt x="3506209" y="1188736"/>
                  </a:cubicBezTo>
                  <a:cubicBezTo>
                    <a:pt x="3503245" y="1187909"/>
                    <a:pt x="3497249" y="1186324"/>
                    <a:pt x="3494216" y="1185566"/>
                  </a:cubicBezTo>
                  <a:cubicBezTo>
                    <a:pt x="3497593" y="1185979"/>
                    <a:pt x="3504417" y="1186806"/>
                    <a:pt x="3507794" y="1187220"/>
                  </a:cubicBezTo>
                  <a:cubicBezTo>
                    <a:pt x="3518615" y="1164888"/>
                    <a:pt x="3522062" y="1140420"/>
                    <a:pt x="3515169" y="1116296"/>
                  </a:cubicBezTo>
                  <a:cubicBezTo>
                    <a:pt x="3524474" y="1114366"/>
                    <a:pt x="3534055" y="1112712"/>
                    <a:pt x="3543566" y="1111334"/>
                  </a:cubicBezTo>
                  <a:cubicBezTo>
                    <a:pt x="3543704" y="1118433"/>
                    <a:pt x="3543842" y="1132562"/>
                    <a:pt x="3543911" y="1139662"/>
                  </a:cubicBezTo>
                  <a:cubicBezTo>
                    <a:pt x="3546737" y="1139110"/>
                    <a:pt x="3552457" y="1138076"/>
                    <a:pt x="3555283" y="1137525"/>
                  </a:cubicBezTo>
                  <a:cubicBezTo>
                    <a:pt x="3543291" y="1176812"/>
                    <a:pt x="3559281" y="1217478"/>
                    <a:pt x="3560177" y="1257385"/>
                  </a:cubicBezTo>
                  <a:cubicBezTo>
                    <a:pt x="3565002" y="1261934"/>
                    <a:pt x="3570033" y="1266276"/>
                    <a:pt x="3574720" y="1271032"/>
                  </a:cubicBezTo>
                  <a:cubicBezTo>
                    <a:pt x="3571550" y="1273307"/>
                    <a:pt x="3565140" y="1277924"/>
                    <a:pt x="3561969" y="1280268"/>
                  </a:cubicBezTo>
                  <a:cubicBezTo>
                    <a:pt x="3562452" y="1286333"/>
                    <a:pt x="3563485" y="1298464"/>
                    <a:pt x="3563968" y="1304529"/>
                  </a:cubicBezTo>
                  <a:cubicBezTo>
                    <a:pt x="3567414" y="1304047"/>
                    <a:pt x="3574238" y="1302944"/>
                    <a:pt x="3577684" y="1302462"/>
                  </a:cubicBezTo>
                  <a:lnTo>
                    <a:pt x="3577408" y="1308803"/>
                  </a:lnTo>
                  <a:cubicBezTo>
                    <a:pt x="3574031" y="1308527"/>
                    <a:pt x="3567345" y="1308045"/>
                    <a:pt x="3563968" y="1307769"/>
                  </a:cubicBezTo>
                  <a:cubicBezTo>
                    <a:pt x="3564106" y="1314523"/>
                    <a:pt x="3564382" y="1327964"/>
                    <a:pt x="3564519" y="1334649"/>
                  </a:cubicBezTo>
                  <a:cubicBezTo>
                    <a:pt x="3598086" y="1324724"/>
                    <a:pt x="3634478" y="1318383"/>
                    <a:pt x="3663357" y="1297361"/>
                  </a:cubicBezTo>
                  <a:cubicBezTo>
                    <a:pt x="3659222" y="1296879"/>
                    <a:pt x="3651020" y="1295845"/>
                    <a:pt x="3646953" y="1295293"/>
                  </a:cubicBezTo>
                  <a:lnTo>
                    <a:pt x="3643852" y="1285162"/>
                  </a:lnTo>
                  <a:cubicBezTo>
                    <a:pt x="3647642" y="1284266"/>
                    <a:pt x="3655224" y="1282542"/>
                    <a:pt x="3659015" y="1281646"/>
                  </a:cubicBezTo>
                  <a:cubicBezTo>
                    <a:pt x="3658188" y="1240567"/>
                    <a:pt x="3652812" y="1199695"/>
                    <a:pt x="3649021" y="1158823"/>
                  </a:cubicBezTo>
                  <a:cubicBezTo>
                    <a:pt x="3646609" y="1146692"/>
                    <a:pt x="3648401" y="1129737"/>
                    <a:pt x="3633237" y="1125946"/>
                  </a:cubicBezTo>
                  <a:cubicBezTo>
                    <a:pt x="3635719" y="1123396"/>
                    <a:pt x="3640681" y="1118364"/>
                    <a:pt x="3643162" y="1115883"/>
                  </a:cubicBezTo>
                  <a:cubicBezTo>
                    <a:pt x="3637373" y="1064396"/>
                    <a:pt x="3627241" y="1013392"/>
                    <a:pt x="3615937" y="962870"/>
                  </a:cubicBezTo>
                  <a:cubicBezTo>
                    <a:pt x="3635443" y="936954"/>
                    <a:pt x="3655638" y="907248"/>
                    <a:pt x="3689204" y="899115"/>
                  </a:cubicBezTo>
                  <a:cubicBezTo>
                    <a:pt x="3693684" y="843217"/>
                    <a:pt x="3695200" y="787112"/>
                    <a:pt x="3700301" y="731283"/>
                  </a:cubicBezTo>
                  <a:cubicBezTo>
                    <a:pt x="3641577" y="722392"/>
                    <a:pt x="3602841" y="778772"/>
                    <a:pt x="3569896" y="818266"/>
                  </a:cubicBezTo>
                  <a:cubicBezTo>
                    <a:pt x="3565002" y="807652"/>
                    <a:pt x="3560108" y="796968"/>
                    <a:pt x="3555490" y="786216"/>
                  </a:cubicBezTo>
                  <a:cubicBezTo>
                    <a:pt x="3552388" y="786216"/>
                    <a:pt x="3546117" y="786147"/>
                    <a:pt x="3542946" y="786078"/>
                  </a:cubicBezTo>
                  <a:lnTo>
                    <a:pt x="3552733" y="782563"/>
                  </a:lnTo>
                  <a:cubicBezTo>
                    <a:pt x="3529781" y="740381"/>
                    <a:pt x="3495043" y="699923"/>
                    <a:pt x="3444797" y="692548"/>
                  </a:cubicBezTo>
                  <a:cubicBezTo>
                    <a:pt x="3444521" y="696338"/>
                    <a:pt x="3443901" y="704058"/>
                    <a:pt x="3443626" y="707849"/>
                  </a:cubicBezTo>
                  <a:cubicBezTo>
                    <a:pt x="3443143" y="704127"/>
                    <a:pt x="3442247" y="696683"/>
                    <a:pt x="3441764" y="692961"/>
                  </a:cubicBezTo>
                  <a:cubicBezTo>
                    <a:pt x="3424671" y="694546"/>
                    <a:pt x="3407923" y="698475"/>
                    <a:pt x="3392346" y="705574"/>
                  </a:cubicBezTo>
                  <a:cubicBezTo>
                    <a:pt x="3392897" y="716602"/>
                    <a:pt x="3393449" y="727561"/>
                    <a:pt x="3394138" y="738451"/>
                  </a:cubicBezTo>
                  <a:cubicBezTo>
                    <a:pt x="3390002" y="738176"/>
                    <a:pt x="3381800" y="737624"/>
                    <a:pt x="3377665" y="737280"/>
                  </a:cubicBezTo>
                  <a:cubicBezTo>
                    <a:pt x="3380766" y="736384"/>
                    <a:pt x="3387107" y="734592"/>
                    <a:pt x="3390209" y="733696"/>
                  </a:cubicBezTo>
                  <a:cubicBezTo>
                    <a:pt x="3390002" y="727148"/>
                    <a:pt x="3389520" y="714052"/>
                    <a:pt x="3389313" y="707435"/>
                  </a:cubicBezTo>
                  <a:cubicBezTo>
                    <a:pt x="3361881" y="726872"/>
                    <a:pt x="3341203" y="754304"/>
                    <a:pt x="3327212" y="784562"/>
                  </a:cubicBezTo>
                  <a:cubicBezTo>
                    <a:pt x="3289717" y="857484"/>
                    <a:pt x="3278551" y="940607"/>
                    <a:pt x="3276621" y="1021594"/>
                  </a:cubicBezTo>
                  <a:cubicBezTo>
                    <a:pt x="3281584" y="1022007"/>
                    <a:pt x="3291509" y="1022766"/>
                    <a:pt x="3296471" y="1023179"/>
                  </a:cubicBezTo>
                  <a:cubicBezTo>
                    <a:pt x="3291026" y="1027314"/>
                    <a:pt x="3280205" y="1035517"/>
                    <a:pt x="3274829" y="1039652"/>
                  </a:cubicBezTo>
                  <a:cubicBezTo>
                    <a:pt x="3278275" y="1040479"/>
                    <a:pt x="3285237" y="1042064"/>
                    <a:pt x="3288683" y="1042892"/>
                  </a:cubicBezTo>
                  <a:lnTo>
                    <a:pt x="3276828" y="1042202"/>
                  </a:lnTo>
                  <a:cubicBezTo>
                    <a:pt x="3277035" y="1047027"/>
                    <a:pt x="3277448" y="1056745"/>
                    <a:pt x="3277655" y="1061570"/>
                  </a:cubicBezTo>
                  <a:lnTo>
                    <a:pt x="3285857" y="1061915"/>
                  </a:lnTo>
                  <a:cubicBezTo>
                    <a:pt x="3283651" y="1064051"/>
                    <a:pt x="3279171" y="1068462"/>
                    <a:pt x="3276966" y="1070668"/>
                  </a:cubicBezTo>
                  <a:cubicBezTo>
                    <a:pt x="3278758" y="1082179"/>
                    <a:pt x="3280688" y="1093689"/>
                    <a:pt x="3282825" y="1105131"/>
                  </a:cubicBezTo>
                  <a:cubicBezTo>
                    <a:pt x="3281791" y="1154687"/>
                    <a:pt x="3297023" y="1202383"/>
                    <a:pt x="3306121" y="1250561"/>
                  </a:cubicBezTo>
                  <a:cubicBezTo>
                    <a:pt x="3317149" y="1253043"/>
                    <a:pt x="3328246" y="1254904"/>
                    <a:pt x="3339480" y="1257040"/>
                  </a:cubicBezTo>
                  <a:cubicBezTo>
                    <a:pt x="3339549" y="1252836"/>
                    <a:pt x="3339618" y="1244358"/>
                    <a:pt x="3339618" y="1240154"/>
                  </a:cubicBezTo>
                  <a:cubicBezTo>
                    <a:pt x="3341272" y="1240292"/>
                    <a:pt x="3344581" y="1240567"/>
                    <a:pt x="3346235" y="1240705"/>
                  </a:cubicBezTo>
                  <a:lnTo>
                    <a:pt x="3343547" y="1249734"/>
                  </a:lnTo>
                  <a:cubicBezTo>
                    <a:pt x="3347545" y="1250975"/>
                    <a:pt x="3355402" y="1253525"/>
                    <a:pt x="3359400" y="1254766"/>
                  </a:cubicBezTo>
                  <a:lnTo>
                    <a:pt x="3343960" y="1251871"/>
                  </a:lnTo>
                  <a:cubicBezTo>
                    <a:pt x="3344994" y="1258763"/>
                    <a:pt x="3347200" y="1272548"/>
                    <a:pt x="3348303" y="1279441"/>
                  </a:cubicBezTo>
                  <a:cubicBezTo>
                    <a:pt x="3340239" y="1276546"/>
                    <a:pt x="3323076" y="1282956"/>
                    <a:pt x="3327005" y="1266828"/>
                  </a:cubicBezTo>
                  <a:cubicBezTo>
                    <a:pt x="3322732" y="1265587"/>
                    <a:pt x="3314185" y="1263037"/>
                    <a:pt x="3309912" y="1261796"/>
                  </a:cubicBezTo>
                  <a:cubicBezTo>
                    <a:pt x="3317700" y="1293295"/>
                    <a:pt x="3329417" y="1323828"/>
                    <a:pt x="3335690" y="1355672"/>
                  </a:cubicBezTo>
                  <a:cubicBezTo>
                    <a:pt x="3324662" y="1402402"/>
                    <a:pt x="3307706" y="1447617"/>
                    <a:pt x="3294404" y="1493796"/>
                  </a:cubicBezTo>
                  <a:cubicBezTo>
                    <a:pt x="3258494" y="1608763"/>
                    <a:pt x="3238161" y="1732138"/>
                    <a:pt x="3261113" y="1851722"/>
                  </a:cubicBezTo>
                  <a:cubicBezTo>
                    <a:pt x="3271107" y="1903691"/>
                    <a:pt x="3290406" y="1957935"/>
                    <a:pt x="3333140" y="1992052"/>
                  </a:cubicBezTo>
                  <a:moveTo>
                    <a:pt x="4586947" y="810271"/>
                  </a:moveTo>
                  <a:cubicBezTo>
                    <a:pt x="4580882" y="801724"/>
                    <a:pt x="4592737" y="786147"/>
                    <a:pt x="4602387" y="792488"/>
                  </a:cubicBezTo>
                  <a:cubicBezTo>
                    <a:pt x="4609486" y="800966"/>
                    <a:pt x="4596045" y="816336"/>
                    <a:pt x="4586947" y="810271"/>
                  </a:cubicBezTo>
                  <a:moveTo>
                    <a:pt x="4590669" y="844044"/>
                  </a:moveTo>
                  <a:cubicBezTo>
                    <a:pt x="4586327" y="835222"/>
                    <a:pt x="4583846" y="825710"/>
                    <a:pt x="4584811" y="815716"/>
                  </a:cubicBezTo>
                  <a:cubicBezTo>
                    <a:pt x="4597562" y="824125"/>
                    <a:pt x="4599698" y="846732"/>
                    <a:pt x="4619480" y="839840"/>
                  </a:cubicBezTo>
                  <a:cubicBezTo>
                    <a:pt x="4620376" y="835911"/>
                    <a:pt x="4622168" y="828053"/>
                    <a:pt x="4623064" y="824125"/>
                  </a:cubicBezTo>
                  <a:cubicBezTo>
                    <a:pt x="4622926" y="828812"/>
                    <a:pt x="4622512" y="838254"/>
                    <a:pt x="4622375" y="842941"/>
                  </a:cubicBezTo>
                  <a:cubicBezTo>
                    <a:pt x="4611760" y="843217"/>
                    <a:pt x="4601146" y="843493"/>
                    <a:pt x="4590669" y="844044"/>
                  </a:cubicBezTo>
                  <a:moveTo>
                    <a:pt x="4511061" y="863343"/>
                  </a:moveTo>
                  <a:cubicBezTo>
                    <a:pt x="4513611" y="853487"/>
                    <a:pt x="4516024" y="843630"/>
                    <a:pt x="4518436" y="833636"/>
                  </a:cubicBezTo>
                  <a:cubicBezTo>
                    <a:pt x="4520435" y="831982"/>
                    <a:pt x="4524433" y="828674"/>
                    <a:pt x="4526431" y="827020"/>
                  </a:cubicBezTo>
                  <a:cubicBezTo>
                    <a:pt x="4524846" y="833361"/>
                    <a:pt x="4521745" y="846112"/>
                    <a:pt x="4520159" y="852453"/>
                  </a:cubicBezTo>
                  <a:lnTo>
                    <a:pt x="4533600" y="850936"/>
                  </a:lnTo>
                  <a:cubicBezTo>
                    <a:pt x="4530498" y="854383"/>
                    <a:pt x="4527465" y="857829"/>
                    <a:pt x="4524502" y="861206"/>
                  </a:cubicBezTo>
                  <a:cubicBezTo>
                    <a:pt x="4521124" y="861758"/>
                    <a:pt x="4514370" y="862791"/>
                    <a:pt x="4511061" y="863343"/>
                  </a:cubicBezTo>
                  <a:moveTo>
                    <a:pt x="4577987" y="879196"/>
                  </a:moveTo>
                  <a:cubicBezTo>
                    <a:pt x="4574610" y="869408"/>
                    <a:pt x="4577849" y="866307"/>
                    <a:pt x="4587568" y="869891"/>
                  </a:cubicBezTo>
                  <a:cubicBezTo>
                    <a:pt x="4590807" y="879747"/>
                    <a:pt x="4587636" y="882849"/>
                    <a:pt x="4577987" y="879196"/>
                  </a:cubicBezTo>
                  <a:moveTo>
                    <a:pt x="4573162" y="905594"/>
                  </a:moveTo>
                  <a:cubicBezTo>
                    <a:pt x="4577160" y="897116"/>
                    <a:pt x="4585224" y="892084"/>
                    <a:pt x="4592599" y="886708"/>
                  </a:cubicBezTo>
                  <a:cubicBezTo>
                    <a:pt x="4600732" y="887466"/>
                    <a:pt x="4608934" y="888018"/>
                    <a:pt x="4617274" y="888500"/>
                  </a:cubicBezTo>
                  <a:cubicBezTo>
                    <a:pt x="4611553" y="894014"/>
                    <a:pt x="4605833" y="899459"/>
                    <a:pt x="4600250" y="904904"/>
                  </a:cubicBezTo>
                  <a:cubicBezTo>
                    <a:pt x="4591221" y="905042"/>
                    <a:pt x="4582122" y="905249"/>
                    <a:pt x="4573162" y="905594"/>
                  </a:cubicBezTo>
                  <a:moveTo>
                    <a:pt x="4468328" y="886019"/>
                  </a:moveTo>
                  <a:cubicBezTo>
                    <a:pt x="4473566" y="870235"/>
                    <a:pt x="4467639" y="849765"/>
                    <a:pt x="4481010" y="837841"/>
                  </a:cubicBezTo>
                  <a:cubicBezTo>
                    <a:pt x="4482320" y="843355"/>
                    <a:pt x="4484801" y="854314"/>
                    <a:pt x="4486042" y="859828"/>
                  </a:cubicBezTo>
                  <a:cubicBezTo>
                    <a:pt x="4489281" y="862447"/>
                    <a:pt x="4495829" y="867823"/>
                    <a:pt x="4499137" y="870442"/>
                  </a:cubicBezTo>
                  <a:cubicBezTo>
                    <a:pt x="4495209" y="884158"/>
                    <a:pt x="4488040" y="897805"/>
                    <a:pt x="4491073" y="912348"/>
                  </a:cubicBezTo>
                  <a:cubicBezTo>
                    <a:pt x="4484463" y="902768"/>
                    <a:pt x="4476392" y="894428"/>
                    <a:pt x="4468328" y="886019"/>
                  </a:cubicBezTo>
                  <a:moveTo>
                    <a:pt x="4571163" y="942124"/>
                  </a:moveTo>
                  <a:cubicBezTo>
                    <a:pt x="4562134" y="936885"/>
                    <a:pt x="4562066" y="932198"/>
                    <a:pt x="4571026" y="927994"/>
                  </a:cubicBezTo>
                  <a:cubicBezTo>
                    <a:pt x="4580055" y="933301"/>
                    <a:pt x="4580124" y="937988"/>
                    <a:pt x="4571163" y="942124"/>
                  </a:cubicBezTo>
                  <a:moveTo>
                    <a:pt x="4631542" y="953565"/>
                  </a:moveTo>
                  <a:cubicBezTo>
                    <a:pt x="4623546" y="946810"/>
                    <a:pt x="4634574" y="931509"/>
                    <a:pt x="4643534" y="936954"/>
                  </a:cubicBezTo>
                  <a:cubicBezTo>
                    <a:pt x="4650634" y="944122"/>
                    <a:pt x="4640708" y="958734"/>
                    <a:pt x="4631542" y="953565"/>
                  </a:cubicBezTo>
                  <a:moveTo>
                    <a:pt x="4392373" y="960251"/>
                  </a:moveTo>
                  <a:cubicBezTo>
                    <a:pt x="4396371" y="956598"/>
                    <a:pt x="4396371" y="956598"/>
                    <a:pt x="4392373" y="960251"/>
                  </a:cubicBezTo>
                  <a:moveTo>
                    <a:pt x="4647532" y="967143"/>
                  </a:moveTo>
                  <a:cubicBezTo>
                    <a:pt x="4636987" y="946397"/>
                    <a:pt x="4670346" y="966385"/>
                    <a:pt x="4647532" y="967143"/>
                  </a:cubicBezTo>
                  <a:moveTo>
                    <a:pt x="4392718" y="1003811"/>
                  </a:moveTo>
                  <a:cubicBezTo>
                    <a:pt x="4396715" y="1000020"/>
                    <a:pt x="4396715" y="1000020"/>
                    <a:pt x="4392718" y="1003811"/>
                  </a:cubicBezTo>
                  <a:moveTo>
                    <a:pt x="4598596" y="1009118"/>
                  </a:moveTo>
                  <a:cubicBezTo>
                    <a:pt x="4587850" y="988579"/>
                    <a:pt x="4621272" y="1007740"/>
                    <a:pt x="4598596" y="1009118"/>
                  </a:cubicBezTo>
                  <a:moveTo>
                    <a:pt x="4625269" y="1021938"/>
                  </a:moveTo>
                  <a:cubicBezTo>
                    <a:pt x="4623340" y="1006155"/>
                    <a:pt x="4629818" y="993955"/>
                    <a:pt x="4645533" y="990026"/>
                  </a:cubicBezTo>
                  <a:cubicBezTo>
                    <a:pt x="4650220" y="985339"/>
                    <a:pt x="4654976" y="980722"/>
                    <a:pt x="4659801" y="975966"/>
                  </a:cubicBezTo>
                  <a:cubicBezTo>
                    <a:pt x="4659870" y="979205"/>
                    <a:pt x="4660007" y="985546"/>
                    <a:pt x="4660076" y="988786"/>
                  </a:cubicBezTo>
                  <a:lnTo>
                    <a:pt x="4648221" y="993404"/>
                  </a:lnTo>
                  <a:cubicBezTo>
                    <a:pt x="4650496" y="995402"/>
                    <a:pt x="4654976" y="999400"/>
                    <a:pt x="4657182" y="1001468"/>
                  </a:cubicBezTo>
                  <a:cubicBezTo>
                    <a:pt x="4653459" y="1001399"/>
                    <a:pt x="4645878" y="1001399"/>
                    <a:pt x="4642087" y="1001330"/>
                  </a:cubicBezTo>
                  <a:cubicBezTo>
                    <a:pt x="4636918" y="1008636"/>
                    <a:pt x="4631335" y="1015528"/>
                    <a:pt x="4625269" y="1021938"/>
                  </a:cubicBezTo>
                  <a:moveTo>
                    <a:pt x="4431660" y="1004914"/>
                  </a:moveTo>
                  <a:cubicBezTo>
                    <a:pt x="4427456" y="1007602"/>
                    <a:pt x="4418978" y="1012909"/>
                    <a:pt x="4414705" y="1015597"/>
                  </a:cubicBezTo>
                  <a:cubicBezTo>
                    <a:pt x="4414705" y="1008705"/>
                    <a:pt x="4415049" y="1001744"/>
                    <a:pt x="4415738" y="994782"/>
                  </a:cubicBezTo>
                  <a:cubicBezTo>
                    <a:pt x="4423183" y="990922"/>
                    <a:pt x="4432005" y="995678"/>
                    <a:pt x="4439793" y="996643"/>
                  </a:cubicBezTo>
                  <a:cubicBezTo>
                    <a:pt x="4440896" y="1003260"/>
                    <a:pt x="4440896" y="1010083"/>
                    <a:pt x="4441310" y="1016700"/>
                  </a:cubicBezTo>
                  <a:cubicBezTo>
                    <a:pt x="4442550" y="1024626"/>
                    <a:pt x="4443584" y="1032484"/>
                    <a:pt x="4444618" y="1040410"/>
                  </a:cubicBezTo>
                  <a:cubicBezTo>
                    <a:pt x="4436623" y="1030071"/>
                    <a:pt x="4434555" y="1017252"/>
                    <a:pt x="4431660" y="1004914"/>
                  </a:cubicBezTo>
                  <a:moveTo>
                    <a:pt x="4392580" y="1035930"/>
                  </a:moveTo>
                  <a:cubicBezTo>
                    <a:pt x="4382310" y="1030554"/>
                    <a:pt x="4389202" y="1010152"/>
                    <a:pt x="4399817" y="1021387"/>
                  </a:cubicBezTo>
                  <a:cubicBezTo>
                    <a:pt x="4408019" y="1026763"/>
                    <a:pt x="4402781" y="1045442"/>
                    <a:pt x="4392580" y="1035930"/>
                  </a:cubicBezTo>
                  <a:moveTo>
                    <a:pt x="4609003" y="1047992"/>
                  </a:moveTo>
                  <a:cubicBezTo>
                    <a:pt x="4610451" y="1037515"/>
                    <a:pt x="4611967" y="1026970"/>
                    <a:pt x="4614035" y="1016562"/>
                  </a:cubicBezTo>
                  <a:cubicBezTo>
                    <a:pt x="4617826" y="1029934"/>
                    <a:pt x="4621685" y="1043236"/>
                    <a:pt x="4625338" y="1056607"/>
                  </a:cubicBezTo>
                  <a:cubicBezTo>
                    <a:pt x="4619824" y="1053782"/>
                    <a:pt x="4614379" y="1050887"/>
                    <a:pt x="4609003" y="1047992"/>
                  </a:cubicBezTo>
                  <a:moveTo>
                    <a:pt x="4407812" y="1072322"/>
                  </a:moveTo>
                  <a:cubicBezTo>
                    <a:pt x="4407537" y="1062121"/>
                    <a:pt x="4407399" y="1051921"/>
                    <a:pt x="4407399" y="1041651"/>
                  </a:cubicBezTo>
                  <a:cubicBezTo>
                    <a:pt x="4412912" y="1049853"/>
                    <a:pt x="4418289" y="1058124"/>
                    <a:pt x="4423872" y="1066257"/>
                  </a:cubicBezTo>
                  <a:cubicBezTo>
                    <a:pt x="4418495" y="1068325"/>
                    <a:pt x="4413119" y="1070324"/>
                    <a:pt x="4407812" y="1072322"/>
                  </a:cubicBezTo>
                  <a:moveTo>
                    <a:pt x="4433383" y="1085004"/>
                  </a:moveTo>
                  <a:cubicBezTo>
                    <a:pt x="4422431" y="1064327"/>
                    <a:pt x="4455922" y="1083626"/>
                    <a:pt x="4433383" y="1085004"/>
                  </a:cubicBezTo>
                  <a:moveTo>
                    <a:pt x="4593082" y="1098996"/>
                  </a:moveTo>
                  <a:cubicBezTo>
                    <a:pt x="4596735" y="1095550"/>
                    <a:pt x="4596735" y="1095550"/>
                    <a:pt x="4593082" y="1098996"/>
                  </a:cubicBezTo>
                  <a:moveTo>
                    <a:pt x="4441241" y="1098583"/>
                  </a:moveTo>
                  <a:cubicBezTo>
                    <a:pt x="4444825" y="1095067"/>
                    <a:pt x="4444825" y="1095067"/>
                    <a:pt x="4441241" y="1098583"/>
                  </a:cubicBezTo>
                  <a:moveTo>
                    <a:pt x="4626786" y="1120363"/>
                  </a:moveTo>
                  <a:cubicBezTo>
                    <a:pt x="4622581" y="1109197"/>
                    <a:pt x="4626234" y="1105544"/>
                    <a:pt x="4637676" y="1109473"/>
                  </a:cubicBezTo>
                  <a:cubicBezTo>
                    <a:pt x="4641811" y="1120707"/>
                    <a:pt x="4638158" y="1124360"/>
                    <a:pt x="4626786" y="1120363"/>
                  </a:cubicBezTo>
                  <a:moveTo>
                    <a:pt x="4662213" y="1127186"/>
                  </a:moveTo>
                  <a:cubicBezTo>
                    <a:pt x="4659525" y="1117606"/>
                    <a:pt x="4663040" y="1113953"/>
                    <a:pt x="4672621" y="1116365"/>
                  </a:cubicBezTo>
                  <a:cubicBezTo>
                    <a:pt x="4675171" y="1126015"/>
                    <a:pt x="4671724" y="1129599"/>
                    <a:pt x="4662213" y="1127186"/>
                  </a:cubicBezTo>
                  <a:moveTo>
                    <a:pt x="4661524" y="1140144"/>
                  </a:moveTo>
                  <a:cubicBezTo>
                    <a:pt x="4665039" y="1136491"/>
                    <a:pt x="4665039" y="1136491"/>
                    <a:pt x="4661524" y="1140144"/>
                  </a:cubicBezTo>
                  <a:moveTo>
                    <a:pt x="4605006" y="1195422"/>
                  </a:moveTo>
                  <a:cubicBezTo>
                    <a:pt x="4595149" y="1174262"/>
                    <a:pt x="4627613" y="1194939"/>
                    <a:pt x="4605006" y="1195422"/>
                  </a:cubicBezTo>
                  <a:moveTo>
                    <a:pt x="4585776" y="1223750"/>
                  </a:moveTo>
                  <a:cubicBezTo>
                    <a:pt x="4583019" y="1214376"/>
                    <a:pt x="4586534" y="1210654"/>
                    <a:pt x="4596321" y="1212653"/>
                  </a:cubicBezTo>
                  <a:cubicBezTo>
                    <a:pt x="4599009" y="1222096"/>
                    <a:pt x="4595494" y="1225817"/>
                    <a:pt x="4585776" y="1223750"/>
                  </a:cubicBezTo>
                  <a:moveTo>
                    <a:pt x="4413809" y="1305012"/>
                  </a:moveTo>
                  <a:cubicBezTo>
                    <a:pt x="4417393" y="1301566"/>
                    <a:pt x="4417393" y="1301566"/>
                    <a:pt x="4413809" y="1305012"/>
                  </a:cubicBezTo>
                  <a:moveTo>
                    <a:pt x="4387410" y="1347401"/>
                  </a:moveTo>
                  <a:cubicBezTo>
                    <a:pt x="4388789" y="1338234"/>
                    <a:pt x="4393752" y="1336579"/>
                    <a:pt x="4402298" y="1342438"/>
                  </a:cubicBezTo>
                  <a:cubicBezTo>
                    <a:pt x="4400713" y="1351743"/>
                    <a:pt x="4395750" y="1353397"/>
                    <a:pt x="4387410" y="1347401"/>
                  </a:cubicBezTo>
                  <a:moveTo>
                    <a:pt x="4407399" y="1381311"/>
                  </a:moveTo>
                  <a:cubicBezTo>
                    <a:pt x="4411052" y="1377796"/>
                    <a:pt x="4411052" y="1377796"/>
                    <a:pt x="4407399" y="1381311"/>
                  </a:cubicBezTo>
                  <a:moveTo>
                    <a:pt x="4569716" y="1425147"/>
                  </a:moveTo>
                  <a:cubicBezTo>
                    <a:pt x="4575023" y="1412603"/>
                    <a:pt x="4583777" y="1396544"/>
                    <a:pt x="4600043" y="1398198"/>
                  </a:cubicBezTo>
                  <a:cubicBezTo>
                    <a:pt x="4597079" y="1393580"/>
                    <a:pt x="4594253" y="1388893"/>
                    <a:pt x="4591427" y="1384206"/>
                  </a:cubicBezTo>
                  <a:cubicBezTo>
                    <a:pt x="4597493" y="1379795"/>
                    <a:pt x="4605144" y="1380622"/>
                    <a:pt x="4610795" y="1385585"/>
                  </a:cubicBezTo>
                  <a:lnTo>
                    <a:pt x="4607901" y="1389720"/>
                  </a:lnTo>
                  <a:cubicBezTo>
                    <a:pt x="4599905" y="1401644"/>
                    <a:pt x="4595149" y="1415291"/>
                    <a:pt x="4588808" y="1427973"/>
                  </a:cubicBezTo>
                  <a:cubicBezTo>
                    <a:pt x="4584053" y="1427284"/>
                    <a:pt x="4574472" y="1425837"/>
                    <a:pt x="4569716" y="1425147"/>
                  </a:cubicBezTo>
                  <a:moveTo>
                    <a:pt x="4393062" y="1437692"/>
                  </a:moveTo>
                  <a:cubicBezTo>
                    <a:pt x="4395406" y="1425079"/>
                    <a:pt x="4394510" y="1410949"/>
                    <a:pt x="4402161" y="1399921"/>
                  </a:cubicBezTo>
                  <a:cubicBezTo>
                    <a:pt x="4399755" y="1411638"/>
                    <a:pt x="4402298" y="1421563"/>
                    <a:pt x="4409949" y="1429765"/>
                  </a:cubicBezTo>
                  <a:cubicBezTo>
                    <a:pt x="4404297" y="1432453"/>
                    <a:pt x="4398645" y="1435073"/>
                    <a:pt x="4393062" y="1437692"/>
                  </a:cubicBezTo>
                  <a:moveTo>
                    <a:pt x="4591841" y="1438657"/>
                  </a:moveTo>
                  <a:cubicBezTo>
                    <a:pt x="4600732" y="1431006"/>
                    <a:pt x="4609761" y="1423355"/>
                    <a:pt x="4618859" y="1415774"/>
                  </a:cubicBezTo>
                  <a:cubicBezTo>
                    <a:pt x="4618446" y="1425423"/>
                    <a:pt x="4617963" y="1435073"/>
                    <a:pt x="4617550" y="1444722"/>
                  </a:cubicBezTo>
                  <a:cubicBezTo>
                    <a:pt x="4608934" y="1442723"/>
                    <a:pt x="4600319" y="1440724"/>
                    <a:pt x="4591841" y="1438657"/>
                  </a:cubicBezTo>
                  <a:moveTo>
                    <a:pt x="4372040" y="1449478"/>
                  </a:moveTo>
                  <a:cubicBezTo>
                    <a:pt x="4365699" y="1441138"/>
                    <a:pt x="4366940" y="1435693"/>
                    <a:pt x="4375693" y="1433143"/>
                  </a:cubicBezTo>
                  <a:cubicBezTo>
                    <a:pt x="4381828" y="1441551"/>
                    <a:pt x="4380587" y="1446997"/>
                    <a:pt x="4372040" y="1449478"/>
                  </a:cubicBezTo>
                  <a:moveTo>
                    <a:pt x="4351294" y="1462573"/>
                  </a:moveTo>
                  <a:cubicBezTo>
                    <a:pt x="4345780" y="1455819"/>
                    <a:pt x="4346332" y="1440931"/>
                    <a:pt x="4355981" y="1438174"/>
                  </a:cubicBezTo>
                  <a:cubicBezTo>
                    <a:pt x="4368739" y="1440655"/>
                    <a:pt x="4363287" y="1465744"/>
                    <a:pt x="4351294" y="1462573"/>
                  </a:cubicBezTo>
                  <a:moveTo>
                    <a:pt x="4563651" y="1504962"/>
                  </a:moveTo>
                  <a:cubicBezTo>
                    <a:pt x="4553726" y="1483802"/>
                    <a:pt x="4586396" y="1504893"/>
                    <a:pt x="4563651" y="1504962"/>
                  </a:cubicBezTo>
                  <a:moveTo>
                    <a:pt x="4577642" y="1517506"/>
                  </a:moveTo>
                  <a:cubicBezTo>
                    <a:pt x="4571784" y="1511165"/>
                    <a:pt x="4579228" y="1495795"/>
                    <a:pt x="4588188" y="1500620"/>
                  </a:cubicBezTo>
                  <a:cubicBezTo>
                    <a:pt x="4592806" y="1506961"/>
                    <a:pt x="4585982" y="1521435"/>
                    <a:pt x="4577642" y="1517506"/>
                  </a:cubicBezTo>
                  <a:moveTo>
                    <a:pt x="4599698" y="1526122"/>
                  </a:moveTo>
                  <a:cubicBezTo>
                    <a:pt x="4603420" y="1522745"/>
                    <a:pt x="4603420" y="1522745"/>
                    <a:pt x="4599698" y="1526122"/>
                  </a:cubicBezTo>
                  <a:moveTo>
                    <a:pt x="4414843" y="1541768"/>
                  </a:moveTo>
                  <a:cubicBezTo>
                    <a:pt x="4416290" y="1518954"/>
                    <a:pt x="4435175" y="1552934"/>
                    <a:pt x="4414843" y="1541768"/>
                  </a:cubicBezTo>
                  <a:moveTo>
                    <a:pt x="4605419" y="1546662"/>
                  </a:moveTo>
                  <a:cubicBezTo>
                    <a:pt x="4602042" y="1535220"/>
                    <a:pt x="4605901" y="1531567"/>
                    <a:pt x="4616998" y="1535702"/>
                  </a:cubicBezTo>
                  <a:cubicBezTo>
                    <a:pt x="4620238" y="1547144"/>
                    <a:pt x="4616378" y="1550797"/>
                    <a:pt x="4605419" y="1546662"/>
                  </a:cubicBezTo>
                  <a:moveTo>
                    <a:pt x="4554415" y="1543284"/>
                  </a:moveTo>
                  <a:cubicBezTo>
                    <a:pt x="4561859" y="1541423"/>
                    <a:pt x="4569371" y="1539562"/>
                    <a:pt x="4577022" y="1537770"/>
                  </a:cubicBezTo>
                  <a:cubicBezTo>
                    <a:pt x="4580537" y="1554795"/>
                    <a:pt x="4558206" y="1559757"/>
                    <a:pt x="4554415" y="1543284"/>
                  </a:cubicBezTo>
                  <a:moveTo>
                    <a:pt x="4379829" y="1555346"/>
                  </a:moveTo>
                  <a:cubicBezTo>
                    <a:pt x="4378244" y="1544801"/>
                    <a:pt x="4376245" y="1534324"/>
                    <a:pt x="4373625" y="1523916"/>
                  </a:cubicBezTo>
                  <a:cubicBezTo>
                    <a:pt x="4375762" y="1524261"/>
                    <a:pt x="4380105" y="1524881"/>
                    <a:pt x="4382241" y="1525226"/>
                  </a:cubicBezTo>
                  <a:cubicBezTo>
                    <a:pt x="4379415" y="1516128"/>
                    <a:pt x="4379078" y="1507030"/>
                    <a:pt x="4381076" y="1497932"/>
                  </a:cubicBezTo>
                  <a:cubicBezTo>
                    <a:pt x="4386652" y="1518540"/>
                    <a:pt x="4390099" y="1539700"/>
                    <a:pt x="4393958" y="1560653"/>
                  </a:cubicBezTo>
                  <a:cubicBezTo>
                    <a:pt x="4389202" y="1558930"/>
                    <a:pt x="4384447" y="1557207"/>
                    <a:pt x="4379829" y="1555346"/>
                  </a:cubicBezTo>
                  <a:moveTo>
                    <a:pt x="4349433" y="1581055"/>
                  </a:moveTo>
                  <a:cubicBezTo>
                    <a:pt x="4337371" y="1568649"/>
                    <a:pt x="4356877" y="1558586"/>
                    <a:pt x="4363356" y="1572577"/>
                  </a:cubicBezTo>
                  <a:cubicBezTo>
                    <a:pt x="4380173" y="1575127"/>
                    <a:pt x="4355843" y="1589119"/>
                    <a:pt x="4349433" y="1581055"/>
                  </a:cubicBezTo>
                  <a:moveTo>
                    <a:pt x="4350949" y="1597252"/>
                  </a:moveTo>
                  <a:cubicBezTo>
                    <a:pt x="4350398" y="1574300"/>
                    <a:pt x="4372178" y="1606419"/>
                    <a:pt x="4350949" y="1597252"/>
                  </a:cubicBezTo>
                  <a:moveTo>
                    <a:pt x="4377141" y="1578505"/>
                  </a:moveTo>
                  <a:cubicBezTo>
                    <a:pt x="4385136" y="1583950"/>
                    <a:pt x="4391064" y="1599113"/>
                    <a:pt x="4388031" y="1608832"/>
                  </a:cubicBezTo>
                  <a:cubicBezTo>
                    <a:pt x="4373074" y="1612967"/>
                    <a:pt x="4369352" y="1587189"/>
                    <a:pt x="4377141" y="1578505"/>
                  </a:cubicBezTo>
                  <a:moveTo>
                    <a:pt x="4352190" y="1622341"/>
                  </a:moveTo>
                  <a:cubicBezTo>
                    <a:pt x="4344057" y="1622616"/>
                    <a:pt x="4337854" y="1606350"/>
                    <a:pt x="4348675" y="1606006"/>
                  </a:cubicBezTo>
                  <a:cubicBezTo>
                    <a:pt x="4357428" y="1605523"/>
                    <a:pt x="4364528" y="1622754"/>
                    <a:pt x="4352190" y="1622341"/>
                  </a:cubicBezTo>
                  <a:moveTo>
                    <a:pt x="4349157" y="1660318"/>
                  </a:moveTo>
                  <a:cubicBezTo>
                    <a:pt x="4347365" y="1653219"/>
                    <a:pt x="4345504" y="1646120"/>
                    <a:pt x="4343712" y="1639021"/>
                  </a:cubicBezTo>
                  <a:cubicBezTo>
                    <a:pt x="4351225" y="1642260"/>
                    <a:pt x="4358738" y="1645500"/>
                    <a:pt x="4366457" y="1648670"/>
                  </a:cubicBezTo>
                  <a:cubicBezTo>
                    <a:pt x="4366802" y="1652668"/>
                    <a:pt x="4367491" y="1660663"/>
                    <a:pt x="4367836" y="1664660"/>
                  </a:cubicBezTo>
                  <a:cubicBezTo>
                    <a:pt x="4361564" y="1663213"/>
                    <a:pt x="4355360" y="1661766"/>
                    <a:pt x="4349157" y="1660318"/>
                  </a:cubicBezTo>
                  <a:moveTo>
                    <a:pt x="4578608" y="1705602"/>
                  </a:moveTo>
                  <a:cubicBezTo>
                    <a:pt x="4581778" y="1701673"/>
                    <a:pt x="4581778" y="1701673"/>
                    <a:pt x="4578608" y="1705602"/>
                  </a:cubicBezTo>
                  <a:moveTo>
                    <a:pt x="4565174" y="1725866"/>
                  </a:moveTo>
                  <a:cubicBezTo>
                    <a:pt x="4568613" y="1722281"/>
                    <a:pt x="4568613" y="1722281"/>
                    <a:pt x="4565174" y="1725866"/>
                  </a:cubicBezTo>
                  <a:moveTo>
                    <a:pt x="4381483" y="1761362"/>
                  </a:moveTo>
                  <a:cubicBezTo>
                    <a:pt x="4375073" y="1756399"/>
                    <a:pt x="4376934" y="1736618"/>
                    <a:pt x="4387617" y="1746267"/>
                  </a:cubicBezTo>
                  <a:cubicBezTo>
                    <a:pt x="4398438" y="1751092"/>
                    <a:pt x="4392235" y="1774389"/>
                    <a:pt x="4381483" y="1761362"/>
                  </a:cubicBezTo>
                  <a:moveTo>
                    <a:pt x="4564478" y="1773079"/>
                  </a:moveTo>
                  <a:cubicBezTo>
                    <a:pt x="4559309" y="1767565"/>
                    <a:pt x="4558481" y="1750058"/>
                    <a:pt x="4568544" y="1750403"/>
                  </a:cubicBezTo>
                  <a:cubicBezTo>
                    <a:pt x="4573369" y="1756055"/>
                    <a:pt x="4573920" y="1773010"/>
                    <a:pt x="4564478" y="1773079"/>
                  </a:cubicBezTo>
                  <a:moveTo>
                    <a:pt x="4612725" y="1781901"/>
                  </a:moveTo>
                  <a:cubicBezTo>
                    <a:pt x="4609072" y="1770735"/>
                    <a:pt x="4612863" y="1766807"/>
                    <a:pt x="4624098" y="1770184"/>
                  </a:cubicBezTo>
                  <a:cubicBezTo>
                    <a:pt x="4627613" y="1781419"/>
                    <a:pt x="4623822" y="1785348"/>
                    <a:pt x="4612725" y="1781901"/>
                  </a:cubicBezTo>
                  <a:moveTo>
                    <a:pt x="4332891" y="1807059"/>
                  </a:moveTo>
                  <a:cubicBezTo>
                    <a:pt x="4333098" y="1802854"/>
                    <a:pt x="4333374" y="1794446"/>
                    <a:pt x="4333512" y="1790241"/>
                  </a:cubicBezTo>
                  <a:cubicBezTo>
                    <a:pt x="4342541" y="1791895"/>
                    <a:pt x="4347779" y="1797961"/>
                    <a:pt x="4349846" y="1806783"/>
                  </a:cubicBezTo>
                  <a:cubicBezTo>
                    <a:pt x="4345642" y="1806852"/>
                    <a:pt x="4337164" y="1806990"/>
                    <a:pt x="4332891" y="1807059"/>
                  </a:cubicBezTo>
                  <a:moveTo>
                    <a:pt x="4612312" y="1814778"/>
                  </a:moveTo>
                  <a:cubicBezTo>
                    <a:pt x="4601421" y="1794239"/>
                    <a:pt x="4634988" y="1813124"/>
                    <a:pt x="4612312" y="1814778"/>
                  </a:cubicBezTo>
                  <a:moveTo>
                    <a:pt x="4395475" y="1803957"/>
                  </a:moveTo>
                  <a:lnTo>
                    <a:pt x="4383344" y="1805060"/>
                  </a:lnTo>
                  <a:cubicBezTo>
                    <a:pt x="4389416" y="1802923"/>
                    <a:pt x="4395406" y="1800994"/>
                    <a:pt x="4401678" y="1798857"/>
                  </a:cubicBezTo>
                  <a:cubicBezTo>
                    <a:pt x="4402092" y="1808368"/>
                    <a:pt x="4402505" y="1817811"/>
                    <a:pt x="4402918" y="1827185"/>
                  </a:cubicBezTo>
                  <a:cubicBezTo>
                    <a:pt x="4395544" y="1820844"/>
                    <a:pt x="4393062" y="1813055"/>
                    <a:pt x="4395475" y="1803957"/>
                  </a:cubicBezTo>
                  <a:moveTo>
                    <a:pt x="4544765" y="1843658"/>
                  </a:moveTo>
                  <a:cubicBezTo>
                    <a:pt x="4541250" y="1835180"/>
                    <a:pt x="4555380" y="1827805"/>
                    <a:pt x="4562066" y="1832423"/>
                  </a:cubicBezTo>
                  <a:cubicBezTo>
                    <a:pt x="4565994" y="1841176"/>
                    <a:pt x="4551382" y="1848896"/>
                    <a:pt x="4544765" y="1843658"/>
                  </a:cubicBezTo>
                  <a:moveTo>
                    <a:pt x="4414153" y="1820568"/>
                  </a:moveTo>
                  <a:cubicBezTo>
                    <a:pt x="4416635" y="1828839"/>
                    <a:pt x="4424492" y="1837110"/>
                    <a:pt x="4421597" y="1846139"/>
                  </a:cubicBezTo>
                  <a:cubicBezTo>
                    <a:pt x="4408364" y="1853032"/>
                    <a:pt x="4403884" y="1822429"/>
                    <a:pt x="4414153" y="1820568"/>
                  </a:cubicBezTo>
                  <a:moveTo>
                    <a:pt x="4519332" y="1849930"/>
                  </a:moveTo>
                  <a:cubicBezTo>
                    <a:pt x="4515128" y="1843589"/>
                    <a:pt x="4510992" y="1837248"/>
                    <a:pt x="4506926" y="1830907"/>
                  </a:cubicBezTo>
                  <a:cubicBezTo>
                    <a:pt x="4492314" y="1839522"/>
                    <a:pt x="4474124" y="1850275"/>
                    <a:pt x="4457507" y="1839936"/>
                  </a:cubicBezTo>
                  <a:cubicBezTo>
                    <a:pt x="4425802" y="1819879"/>
                    <a:pt x="4420908" y="1778110"/>
                    <a:pt x="4418426" y="1743993"/>
                  </a:cubicBezTo>
                  <a:cubicBezTo>
                    <a:pt x="4414567" y="1746888"/>
                    <a:pt x="4406778" y="1752677"/>
                    <a:pt x="4402918" y="1755572"/>
                  </a:cubicBezTo>
                  <a:cubicBezTo>
                    <a:pt x="4406089" y="1752264"/>
                    <a:pt x="4412430" y="1745509"/>
                    <a:pt x="4415601" y="1742201"/>
                  </a:cubicBezTo>
                  <a:cubicBezTo>
                    <a:pt x="4414498" y="1728898"/>
                    <a:pt x="4429110" y="1708979"/>
                    <a:pt x="4414222" y="1700708"/>
                  </a:cubicBezTo>
                  <a:cubicBezTo>
                    <a:pt x="4416083" y="1699330"/>
                    <a:pt x="4419805" y="1696504"/>
                    <a:pt x="4421666" y="1695125"/>
                  </a:cubicBezTo>
                  <a:cubicBezTo>
                    <a:pt x="4435727" y="1490212"/>
                    <a:pt x="4447788" y="1285024"/>
                    <a:pt x="4460264" y="1080111"/>
                  </a:cubicBezTo>
                  <a:cubicBezTo>
                    <a:pt x="4461918" y="1045511"/>
                    <a:pt x="4465433" y="1010497"/>
                    <a:pt x="4480803" y="978860"/>
                  </a:cubicBezTo>
                  <a:cubicBezTo>
                    <a:pt x="4475358" y="973346"/>
                    <a:pt x="4469844" y="967832"/>
                    <a:pt x="4464468" y="962319"/>
                  </a:cubicBezTo>
                  <a:lnTo>
                    <a:pt x="4465640" y="955909"/>
                  </a:lnTo>
                  <a:cubicBezTo>
                    <a:pt x="4442137" y="954599"/>
                    <a:pt x="4417944" y="953358"/>
                    <a:pt x="4396440" y="942882"/>
                  </a:cubicBezTo>
                  <a:cubicBezTo>
                    <a:pt x="4399610" y="933784"/>
                    <a:pt x="4401816" y="924410"/>
                    <a:pt x="4403125" y="914830"/>
                  </a:cubicBezTo>
                  <a:cubicBezTo>
                    <a:pt x="4404711" y="922756"/>
                    <a:pt x="4406365" y="930751"/>
                    <a:pt x="4408364" y="938540"/>
                  </a:cubicBezTo>
                  <a:cubicBezTo>
                    <a:pt x="4415876" y="938402"/>
                    <a:pt x="4423045" y="940056"/>
                    <a:pt x="4429730" y="943502"/>
                  </a:cubicBezTo>
                  <a:cubicBezTo>
                    <a:pt x="4434072" y="943985"/>
                    <a:pt x="4442757" y="944881"/>
                    <a:pt x="4447099" y="945294"/>
                  </a:cubicBezTo>
                  <a:lnTo>
                    <a:pt x="4453302" y="952462"/>
                  </a:lnTo>
                  <a:cubicBezTo>
                    <a:pt x="4456749" y="948258"/>
                    <a:pt x="4460264" y="943985"/>
                    <a:pt x="4463786" y="939642"/>
                  </a:cubicBezTo>
                  <a:lnTo>
                    <a:pt x="4456749" y="953221"/>
                  </a:lnTo>
                  <a:cubicBezTo>
                    <a:pt x="4469775" y="950739"/>
                    <a:pt x="4481424" y="957218"/>
                    <a:pt x="4492934" y="962043"/>
                  </a:cubicBezTo>
                  <a:cubicBezTo>
                    <a:pt x="4503824" y="955150"/>
                    <a:pt x="4514645" y="944950"/>
                    <a:pt x="4528706" y="946742"/>
                  </a:cubicBezTo>
                  <a:cubicBezTo>
                    <a:pt x="4549521" y="948051"/>
                    <a:pt x="4559102" y="969211"/>
                    <a:pt x="4575230" y="979136"/>
                  </a:cubicBezTo>
                  <a:cubicBezTo>
                    <a:pt x="4586051" y="979205"/>
                    <a:pt x="4596873" y="979688"/>
                    <a:pt x="4607763" y="980653"/>
                  </a:cubicBezTo>
                  <a:cubicBezTo>
                    <a:pt x="4607763" y="976379"/>
                    <a:pt x="4607694" y="967695"/>
                    <a:pt x="4607625" y="963421"/>
                  </a:cubicBezTo>
                  <a:cubicBezTo>
                    <a:pt x="4608245" y="971692"/>
                    <a:pt x="4608658" y="979963"/>
                    <a:pt x="4609279" y="988096"/>
                  </a:cubicBezTo>
                  <a:cubicBezTo>
                    <a:pt x="4596190" y="986580"/>
                    <a:pt x="4583019" y="985064"/>
                    <a:pt x="4570130" y="983203"/>
                  </a:cubicBezTo>
                  <a:cubicBezTo>
                    <a:pt x="4591221" y="1046062"/>
                    <a:pt x="4572542" y="1112230"/>
                    <a:pt x="4573300" y="1176536"/>
                  </a:cubicBezTo>
                  <a:lnTo>
                    <a:pt x="4579710" y="1185014"/>
                  </a:lnTo>
                  <a:cubicBezTo>
                    <a:pt x="4584466" y="1175296"/>
                    <a:pt x="4589498" y="1165440"/>
                    <a:pt x="4594184" y="1155583"/>
                  </a:cubicBezTo>
                  <a:cubicBezTo>
                    <a:pt x="4590325" y="1166335"/>
                    <a:pt x="4588877" y="1177708"/>
                    <a:pt x="4588602" y="1189012"/>
                  </a:cubicBezTo>
                  <a:lnTo>
                    <a:pt x="4594391" y="1187771"/>
                  </a:lnTo>
                  <a:cubicBezTo>
                    <a:pt x="4587430" y="1196387"/>
                    <a:pt x="4582536" y="1207552"/>
                    <a:pt x="4571577" y="1211619"/>
                  </a:cubicBezTo>
                  <a:cubicBezTo>
                    <a:pt x="4567373" y="1260142"/>
                    <a:pt x="4562686" y="1308941"/>
                    <a:pt x="4563237" y="1357670"/>
                  </a:cubicBezTo>
                  <a:cubicBezTo>
                    <a:pt x="4566614" y="1358015"/>
                    <a:pt x="4573438" y="1358704"/>
                    <a:pt x="4576884" y="1359049"/>
                  </a:cubicBezTo>
                  <a:cubicBezTo>
                    <a:pt x="4574334" y="1366906"/>
                    <a:pt x="4578470" y="1378899"/>
                    <a:pt x="4570957" y="1383862"/>
                  </a:cubicBezTo>
                  <a:cubicBezTo>
                    <a:pt x="4558137" y="1388549"/>
                    <a:pt x="4557172" y="1395372"/>
                    <a:pt x="4568062" y="1404332"/>
                  </a:cubicBezTo>
                  <a:cubicBezTo>
                    <a:pt x="4564960" y="1407572"/>
                    <a:pt x="4558826" y="1414051"/>
                    <a:pt x="4555724" y="1417290"/>
                  </a:cubicBezTo>
                  <a:cubicBezTo>
                    <a:pt x="4557241" y="1420392"/>
                    <a:pt x="4560274" y="1426595"/>
                    <a:pt x="4561790" y="1429765"/>
                  </a:cubicBezTo>
                  <a:cubicBezTo>
                    <a:pt x="4551796" y="1452235"/>
                    <a:pt x="4555035" y="1477254"/>
                    <a:pt x="4553174" y="1501102"/>
                  </a:cubicBezTo>
                  <a:cubicBezTo>
                    <a:pt x="4550831" y="1532601"/>
                    <a:pt x="4548212" y="1564099"/>
                    <a:pt x="4546902" y="1595598"/>
                  </a:cubicBezTo>
                  <a:cubicBezTo>
                    <a:pt x="4554966" y="1590773"/>
                    <a:pt x="4561238" y="1583192"/>
                    <a:pt x="4567580" y="1576230"/>
                  </a:cubicBezTo>
                  <a:cubicBezTo>
                    <a:pt x="4561721" y="1584088"/>
                    <a:pt x="4557723" y="1594495"/>
                    <a:pt x="4546764" y="1596425"/>
                  </a:cubicBezTo>
                  <a:cubicBezTo>
                    <a:pt x="4547522" y="1629854"/>
                    <a:pt x="4535047" y="1665419"/>
                    <a:pt x="4546144" y="1697469"/>
                  </a:cubicBezTo>
                  <a:cubicBezTo>
                    <a:pt x="4544421" y="1697331"/>
                    <a:pt x="4540975" y="1697055"/>
                    <a:pt x="4539252" y="1696917"/>
                  </a:cubicBezTo>
                  <a:cubicBezTo>
                    <a:pt x="4542767" y="1717457"/>
                    <a:pt x="4533875" y="1742545"/>
                    <a:pt x="4547867" y="1759914"/>
                  </a:cubicBezTo>
                  <a:cubicBezTo>
                    <a:pt x="4545179" y="1759570"/>
                    <a:pt x="4539872" y="1758881"/>
                    <a:pt x="4537184" y="1758536"/>
                  </a:cubicBezTo>
                  <a:cubicBezTo>
                    <a:pt x="4532014" y="1782108"/>
                    <a:pt x="4522503" y="1804371"/>
                    <a:pt x="4510234" y="1824979"/>
                  </a:cubicBezTo>
                  <a:cubicBezTo>
                    <a:pt x="4517885" y="1827461"/>
                    <a:pt x="4525536" y="1829942"/>
                    <a:pt x="4533255" y="1832423"/>
                  </a:cubicBezTo>
                  <a:cubicBezTo>
                    <a:pt x="4533255" y="1836903"/>
                    <a:pt x="4533393" y="1845863"/>
                    <a:pt x="4533393" y="1850343"/>
                  </a:cubicBezTo>
                  <a:cubicBezTo>
                    <a:pt x="4529878" y="1850275"/>
                    <a:pt x="4522847" y="1850068"/>
                    <a:pt x="4519332" y="1849930"/>
                  </a:cubicBezTo>
                  <a:moveTo>
                    <a:pt x="4379484" y="1852342"/>
                  </a:moveTo>
                  <a:cubicBezTo>
                    <a:pt x="4379553" y="1845726"/>
                    <a:pt x="4379622" y="1839109"/>
                    <a:pt x="4379691" y="1832423"/>
                  </a:cubicBezTo>
                  <a:lnTo>
                    <a:pt x="4382103" y="1843106"/>
                  </a:lnTo>
                  <a:cubicBezTo>
                    <a:pt x="4388169" y="1843106"/>
                    <a:pt x="4400299" y="1843175"/>
                    <a:pt x="4406365" y="1843175"/>
                  </a:cubicBezTo>
                  <a:cubicBezTo>
                    <a:pt x="4398094" y="1848138"/>
                    <a:pt x="4388513" y="1850068"/>
                    <a:pt x="4379484" y="1852342"/>
                  </a:cubicBezTo>
                  <a:moveTo>
                    <a:pt x="4368456" y="1887632"/>
                  </a:moveTo>
                  <a:cubicBezTo>
                    <a:pt x="4363631" y="1867023"/>
                    <a:pt x="4386446" y="1859993"/>
                    <a:pt x="4401058" y="1854617"/>
                  </a:cubicBezTo>
                  <a:cubicBezTo>
                    <a:pt x="4398645" y="1867988"/>
                    <a:pt x="4385963" y="1899556"/>
                    <a:pt x="4368456" y="1887632"/>
                  </a:cubicBezTo>
                  <a:moveTo>
                    <a:pt x="4476668" y="1879223"/>
                  </a:moveTo>
                  <a:cubicBezTo>
                    <a:pt x="4472257" y="1881222"/>
                    <a:pt x="4463365" y="1885082"/>
                    <a:pt x="4458885" y="1887011"/>
                  </a:cubicBezTo>
                  <a:cubicBezTo>
                    <a:pt x="4458816" y="1880395"/>
                    <a:pt x="4458816" y="1873709"/>
                    <a:pt x="4458954" y="1867023"/>
                  </a:cubicBezTo>
                  <a:cubicBezTo>
                    <a:pt x="4464606" y="1867299"/>
                    <a:pt x="4476048" y="1867712"/>
                    <a:pt x="4481699" y="1867919"/>
                  </a:cubicBezTo>
                  <a:cubicBezTo>
                    <a:pt x="4485008" y="1883496"/>
                    <a:pt x="4485904" y="1899487"/>
                    <a:pt x="4485559" y="1915339"/>
                  </a:cubicBezTo>
                  <a:cubicBezTo>
                    <a:pt x="4480252" y="1904036"/>
                    <a:pt x="4477702" y="1891698"/>
                    <a:pt x="4476668" y="1879223"/>
                  </a:cubicBezTo>
                  <a:moveTo>
                    <a:pt x="4537390" y="1925954"/>
                  </a:moveTo>
                  <a:cubicBezTo>
                    <a:pt x="4541181" y="1922508"/>
                    <a:pt x="4541181" y="1922508"/>
                    <a:pt x="4537390" y="1925954"/>
                  </a:cubicBezTo>
                  <a:moveTo>
                    <a:pt x="4475772" y="1954626"/>
                  </a:moveTo>
                  <a:cubicBezTo>
                    <a:pt x="4479425" y="1950973"/>
                    <a:pt x="4479425" y="1950973"/>
                    <a:pt x="4475772" y="1954626"/>
                  </a:cubicBezTo>
                  <a:moveTo>
                    <a:pt x="4378657" y="1960692"/>
                  </a:moveTo>
                  <a:cubicBezTo>
                    <a:pt x="4382586" y="1957108"/>
                    <a:pt x="4382586" y="1957108"/>
                    <a:pt x="4378657" y="1960692"/>
                  </a:cubicBezTo>
                  <a:moveTo>
                    <a:pt x="4439311" y="1981989"/>
                  </a:moveTo>
                  <a:cubicBezTo>
                    <a:pt x="4428490" y="1961243"/>
                    <a:pt x="4461849" y="1979922"/>
                    <a:pt x="4439311" y="1981989"/>
                  </a:cubicBezTo>
                  <a:moveTo>
                    <a:pt x="4419254" y="1996464"/>
                  </a:moveTo>
                  <a:cubicBezTo>
                    <a:pt x="4410500" y="1979577"/>
                    <a:pt x="4414636" y="1958900"/>
                    <a:pt x="4428972" y="1946287"/>
                  </a:cubicBezTo>
                  <a:cubicBezTo>
                    <a:pt x="4424078" y="1944494"/>
                    <a:pt x="4414291" y="1940979"/>
                    <a:pt x="4409398" y="1939187"/>
                  </a:cubicBezTo>
                  <a:lnTo>
                    <a:pt x="4405882" y="1939463"/>
                  </a:lnTo>
                  <a:cubicBezTo>
                    <a:pt x="4405193" y="1920646"/>
                    <a:pt x="4396853" y="1896110"/>
                    <a:pt x="4419047" y="1886873"/>
                  </a:cubicBezTo>
                  <a:cubicBezTo>
                    <a:pt x="4415118" y="1887011"/>
                    <a:pt x="4407192" y="1887287"/>
                    <a:pt x="4403194" y="1887425"/>
                  </a:cubicBezTo>
                  <a:cubicBezTo>
                    <a:pt x="4403194" y="1882531"/>
                    <a:pt x="4403194" y="1872744"/>
                    <a:pt x="4403194" y="1867850"/>
                  </a:cubicBezTo>
                  <a:cubicBezTo>
                    <a:pt x="4410638" y="1871297"/>
                    <a:pt x="4418082" y="1874743"/>
                    <a:pt x="4425664" y="1878189"/>
                  </a:cubicBezTo>
                  <a:cubicBezTo>
                    <a:pt x="4431040" y="1874398"/>
                    <a:pt x="4436485" y="1870469"/>
                    <a:pt x="4441999" y="1866610"/>
                  </a:cubicBezTo>
                  <a:cubicBezTo>
                    <a:pt x="4440276" y="1881222"/>
                    <a:pt x="4442550" y="1895765"/>
                    <a:pt x="4448202" y="1909412"/>
                  </a:cubicBezTo>
                  <a:cubicBezTo>
                    <a:pt x="4440689" y="1910652"/>
                    <a:pt x="4433245" y="1911962"/>
                    <a:pt x="4425940" y="1913203"/>
                  </a:cubicBezTo>
                  <a:cubicBezTo>
                    <a:pt x="4422562" y="1921818"/>
                    <a:pt x="4418978" y="1930296"/>
                    <a:pt x="4415394" y="1938705"/>
                  </a:cubicBezTo>
                  <a:cubicBezTo>
                    <a:pt x="4419392" y="1938429"/>
                    <a:pt x="4427525" y="1937740"/>
                    <a:pt x="4431591" y="1937464"/>
                  </a:cubicBezTo>
                  <a:lnTo>
                    <a:pt x="4436554" y="1931674"/>
                  </a:lnTo>
                  <a:cubicBezTo>
                    <a:pt x="4441034" y="1931054"/>
                    <a:pt x="4449994" y="1929745"/>
                    <a:pt x="4454474" y="1929124"/>
                  </a:cubicBezTo>
                  <a:cubicBezTo>
                    <a:pt x="4454681" y="1938154"/>
                    <a:pt x="4454957" y="1947182"/>
                    <a:pt x="4455301" y="1956212"/>
                  </a:cubicBezTo>
                  <a:cubicBezTo>
                    <a:pt x="4442619" y="1961312"/>
                    <a:pt x="4429868" y="1966206"/>
                    <a:pt x="4417531" y="1971927"/>
                  </a:cubicBezTo>
                  <a:cubicBezTo>
                    <a:pt x="4412844" y="1983988"/>
                    <a:pt x="4417393" y="1989226"/>
                    <a:pt x="4431247" y="1987641"/>
                  </a:cubicBezTo>
                  <a:cubicBezTo>
                    <a:pt x="4427180" y="1990605"/>
                    <a:pt x="4423183" y="1993569"/>
                    <a:pt x="4419254" y="1996464"/>
                  </a:cubicBezTo>
                  <a:moveTo>
                    <a:pt x="4452958" y="1996601"/>
                  </a:moveTo>
                  <a:cubicBezTo>
                    <a:pt x="4456404" y="1988606"/>
                    <a:pt x="4460539" y="1980887"/>
                    <a:pt x="4464606" y="1973098"/>
                  </a:cubicBezTo>
                  <a:cubicBezTo>
                    <a:pt x="4469431" y="1971927"/>
                    <a:pt x="4478942" y="1969652"/>
                    <a:pt x="4483698" y="1968480"/>
                  </a:cubicBezTo>
                  <a:cubicBezTo>
                    <a:pt x="4478805" y="1979784"/>
                    <a:pt x="4472946" y="1990467"/>
                    <a:pt x="4467432" y="2001357"/>
                  </a:cubicBezTo>
                  <a:cubicBezTo>
                    <a:pt x="4462263" y="2000461"/>
                    <a:pt x="4457438" y="1998876"/>
                    <a:pt x="4452958" y="1996601"/>
                  </a:cubicBezTo>
                  <a:moveTo>
                    <a:pt x="4488316" y="2010042"/>
                  </a:moveTo>
                  <a:cubicBezTo>
                    <a:pt x="4476737" y="1989640"/>
                    <a:pt x="4510579" y="2007354"/>
                    <a:pt x="4488316" y="2010042"/>
                  </a:cubicBezTo>
                  <a:moveTo>
                    <a:pt x="4475289" y="2009077"/>
                  </a:moveTo>
                  <a:cubicBezTo>
                    <a:pt x="4478942" y="2005355"/>
                    <a:pt x="4478942" y="2005355"/>
                    <a:pt x="4475289" y="2009077"/>
                  </a:cubicBezTo>
                  <a:moveTo>
                    <a:pt x="4433659" y="2009353"/>
                  </a:moveTo>
                  <a:cubicBezTo>
                    <a:pt x="4430144" y="1998600"/>
                    <a:pt x="4434141" y="1994603"/>
                    <a:pt x="4445721" y="1997497"/>
                  </a:cubicBezTo>
                  <a:cubicBezTo>
                    <a:pt x="4449098" y="2008457"/>
                    <a:pt x="4445100" y="2012385"/>
                    <a:pt x="4433659" y="2009353"/>
                  </a:cubicBezTo>
                  <a:moveTo>
                    <a:pt x="4408157" y="2008112"/>
                  </a:moveTo>
                  <a:cubicBezTo>
                    <a:pt x="4425112" y="2032787"/>
                    <a:pt x="4459368" y="2036371"/>
                    <a:pt x="4486800" y="2032580"/>
                  </a:cubicBezTo>
                  <a:cubicBezTo>
                    <a:pt x="4534909" y="2022999"/>
                    <a:pt x="4568476" y="1981921"/>
                    <a:pt x="4591565" y="1941324"/>
                  </a:cubicBezTo>
                  <a:cubicBezTo>
                    <a:pt x="4601077" y="1922852"/>
                    <a:pt x="4616240" y="1903071"/>
                    <a:pt x="4607073" y="1881428"/>
                  </a:cubicBezTo>
                  <a:cubicBezTo>
                    <a:pt x="4609417" y="1883772"/>
                    <a:pt x="4614104" y="1888459"/>
                    <a:pt x="4616447" y="1890871"/>
                  </a:cubicBezTo>
                  <a:cubicBezTo>
                    <a:pt x="4619480" y="1879981"/>
                    <a:pt x="4622375" y="1868953"/>
                    <a:pt x="4625200" y="1857925"/>
                  </a:cubicBezTo>
                  <a:cubicBezTo>
                    <a:pt x="4616792" y="1855375"/>
                    <a:pt x="4608452" y="1852756"/>
                    <a:pt x="4600250" y="1849999"/>
                  </a:cubicBezTo>
                  <a:cubicBezTo>
                    <a:pt x="4599974" y="1844278"/>
                    <a:pt x="4599836" y="1838488"/>
                    <a:pt x="4599698" y="1832699"/>
                  </a:cubicBezTo>
                  <a:cubicBezTo>
                    <a:pt x="4608038" y="1840143"/>
                    <a:pt x="4614241" y="1852480"/>
                    <a:pt x="4625476" y="1855375"/>
                  </a:cubicBezTo>
                  <a:cubicBezTo>
                    <a:pt x="4642363" y="1812159"/>
                    <a:pt x="4641329" y="1764739"/>
                    <a:pt x="4647394" y="1719318"/>
                  </a:cubicBezTo>
                  <a:cubicBezTo>
                    <a:pt x="4635194" y="1718629"/>
                    <a:pt x="4624511" y="1707807"/>
                    <a:pt x="4626855" y="1695332"/>
                  </a:cubicBezTo>
                  <a:cubicBezTo>
                    <a:pt x="4636297" y="1692713"/>
                    <a:pt x="4642294" y="1697262"/>
                    <a:pt x="4644844" y="1708979"/>
                  </a:cubicBezTo>
                  <a:cubicBezTo>
                    <a:pt x="4655114" y="1637711"/>
                    <a:pt x="4655045" y="1564789"/>
                    <a:pt x="4661041" y="1492900"/>
                  </a:cubicBezTo>
                  <a:cubicBezTo>
                    <a:pt x="4659042" y="1484836"/>
                    <a:pt x="4656975" y="1476772"/>
                    <a:pt x="4654838" y="1468708"/>
                  </a:cubicBezTo>
                  <a:cubicBezTo>
                    <a:pt x="4656837" y="1460644"/>
                    <a:pt x="4658836" y="1452648"/>
                    <a:pt x="4661041" y="1444584"/>
                  </a:cubicBezTo>
                  <a:cubicBezTo>
                    <a:pt x="4656354" y="1443757"/>
                    <a:pt x="4646981" y="1442103"/>
                    <a:pt x="4642294" y="1441276"/>
                  </a:cubicBezTo>
                  <a:cubicBezTo>
                    <a:pt x="4644086" y="1427973"/>
                    <a:pt x="4645740" y="1414671"/>
                    <a:pt x="4647601" y="1401231"/>
                  </a:cubicBezTo>
                  <a:cubicBezTo>
                    <a:pt x="4649945" y="1405642"/>
                    <a:pt x="4654562" y="1414395"/>
                    <a:pt x="4656837" y="1418806"/>
                  </a:cubicBezTo>
                  <a:cubicBezTo>
                    <a:pt x="4659387" y="1417152"/>
                    <a:pt x="4664419" y="1413913"/>
                    <a:pt x="4666969" y="1412259"/>
                  </a:cubicBezTo>
                  <a:cubicBezTo>
                    <a:pt x="4670139" y="1331134"/>
                    <a:pt x="4676481" y="1250148"/>
                    <a:pt x="4681305" y="1169161"/>
                  </a:cubicBezTo>
                  <a:cubicBezTo>
                    <a:pt x="4684476" y="1106991"/>
                    <a:pt x="4691713" y="1044890"/>
                    <a:pt x="4687715" y="982582"/>
                  </a:cubicBezTo>
                  <a:cubicBezTo>
                    <a:pt x="4684200" y="980928"/>
                    <a:pt x="4677238" y="977551"/>
                    <a:pt x="4673730" y="975897"/>
                  </a:cubicBezTo>
                  <a:cubicBezTo>
                    <a:pt x="4685303" y="969142"/>
                    <a:pt x="4686130" y="958252"/>
                    <a:pt x="4682684" y="946052"/>
                  </a:cubicBezTo>
                  <a:cubicBezTo>
                    <a:pt x="4677583" y="946259"/>
                    <a:pt x="4667382" y="946535"/>
                    <a:pt x="4662282" y="946673"/>
                  </a:cubicBezTo>
                  <a:cubicBezTo>
                    <a:pt x="4663867" y="940883"/>
                    <a:pt x="4665453" y="935024"/>
                    <a:pt x="4667107" y="929097"/>
                  </a:cubicBezTo>
                  <a:cubicBezTo>
                    <a:pt x="4661179" y="929028"/>
                    <a:pt x="4649255" y="928821"/>
                    <a:pt x="4643328" y="928752"/>
                  </a:cubicBezTo>
                  <a:cubicBezTo>
                    <a:pt x="4644775" y="918414"/>
                    <a:pt x="4646291" y="908075"/>
                    <a:pt x="4648014" y="897667"/>
                  </a:cubicBezTo>
                  <a:lnTo>
                    <a:pt x="4648083" y="897185"/>
                  </a:lnTo>
                  <a:lnTo>
                    <a:pt x="4649945" y="896909"/>
                  </a:lnTo>
                  <a:cubicBezTo>
                    <a:pt x="4654907" y="896220"/>
                    <a:pt x="4664832" y="894772"/>
                    <a:pt x="4669795" y="894014"/>
                  </a:cubicBezTo>
                  <a:cubicBezTo>
                    <a:pt x="4665728" y="880436"/>
                    <a:pt x="4661662" y="866789"/>
                    <a:pt x="4657871" y="853073"/>
                  </a:cubicBezTo>
                  <a:cubicBezTo>
                    <a:pt x="4655803" y="856657"/>
                    <a:pt x="4651736" y="863825"/>
                    <a:pt x="4649738" y="867409"/>
                  </a:cubicBezTo>
                  <a:cubicBezTo>
                    <a:pt x="4648152" y="858174"/>
                    <a:pt x="4632506" y="842045"/>
                    <a:pt x="4651599" y="841632"/>
                  </a:cubicBezTo>
                  <a:cubicBezTo>
                    <a:pt x="4633609" y="814131"/>
                    <a:pt x="4616654" y="783597"/>
                    <a:pt x="4586879" y="767124"/>
                  </a:cubicBezTo>
                  <a:cubicBezTo>
                    <a:pt x="4551865" y="746171"/>
                    <a:pt x="4504927" y="750513"/>
                    <a:pt x="4473222" y="775602"/>
                  </a:cubicBezTo>
                  <a:cubicBezTo>
                    <a:pt x="4438415" y="802482"/>
                    <a:pt x="4414567" y="841425"/>
                    <a:pt x="4398232" y="881677"/>
                  </a:cubicBezTo>
                  <a:cubicBezTo>
                    <a:pt x="4406434" y="881539"/>
                    <a:pt x="4414705" y="881401"/>
                    <a:pt x="4422976" y="881125"/>
                  </a:cubicBezTo>
                  <a:lnTo>
                    <a:pt x="4425181" y="870580"/>
                  </a:lnTo>
                  <a:cubicBezTo>
                    <a:pt x="4425250" y="877403"/>
                    <a:pt x="4425388" y="891051"/>
                    <a:pt x="4425457" y="897874"/>
                  </a:cubicBezTo>
                  <a:lnTo>
                    <a:pt x="4419460" y="884503"/>
                  </a:lnTo>
                  <a:cubicBezTo>
                    <a:pt x="4412430" y="888363"/>
                    <a:pt x="4404297" y="899321"/>
                    <a:pt x="4396784" y="885123"/>
                  </a:cubicBezTo>
                  <a:cubicBezTo>
                    <a:pt x="4391133" y="897598"/>
                    <a:pt x="4385894" y="910280"/>
                    <a:pt x="4380932" y="922963"/>
                  </a:cubicBezTo>
                  <a:cubicBezTo>
                    <a:pt x="4383551" y="925375"/>
                    <a:pt x="4388789" y="930200"/>
                    <a:pt x="4391415" y="932612"/>
                  </a:cubicBezTo>
                  <a:cubicBezTo>
                    <a:pt x="4387755" y="932198"/>
                    <a:pt x="4380518" y="931440"/>
                    <a:pt x="4376865" y="931027"/>
                  </a:cubicBezTo>
                  <a:cubicBezTo>
                    <a:pt x="4379553" y="945846"/>
                    <a:pt x="4381690" y="960802"/>
                    <a:pt x="4383689" y="975690"/>
                  </a:cubicBezTo>
                  <a:lnTo>
                    <a:pt x="4379553" y="976862"/>
                  </a:lnTo>
                  <a:cubicBezTo>
                    <a:pt x="4378106" y="968591"/>
                    <a:pt x="4375969" y="960458"/>
                    <a:pt x="4373212" y="952531"/>
                  </a:cubicBezTo>
                  <a:cubicBezTo>
                    <a:pt x="4372730" y="959217"/>
                    <a:pt x="4371765" y="972657"/>
                    <a:pt x="4371282" y="979412"/>
                  </a:cubicBezTo>
                  <a:cubicBezTo>
                    <a:pt x="4363569" y="998366"/>
                    <a:pt x="4363287" y="1019113"/>
                    <a:pt x="4361495" y="1039169"/>
                  </a:cubicBezTo>
                  <a:cubicBezTo>
                    <a:pt x="4353231" y="1169988"/>
                    <a:pt x="4345160" y="1300738"/>
                    <a:pt x="4336889" y="1431489"/>
                  </a:cubicBezTo>
                  <a:cubicBezTo>
                    <a:pt x="4335304" y="1445618"/>
                    <a:pt x="4342541" y="1459748"/>
                    <a:pt x="4337440" y="1473464"/>
                  </a:cubicBezTo>
                  <a:cubicBezTo>
                    <a:pt x="4329858" y="1500551"/>
                    <a:pt x="4331788" y="1529017"/>
                    <a:pt x="4329790" y="1556793"/>
                  </a:cubicBezTo>
                  <a:cubicBezTo>
                    <a:pt x="4333029" y="1559275"/>
                    <a:pt x="4339439" y="1564237"/>
                    <a:pt x="4342609" y="1566718"/>
                  </a:cubicBezTo>
                  <a:cubicBezTo>
                    <a:pt x="4339301" y="1564375"/>
                    <a:pt x="4332684" y="1559688"/>
                    <a:pt x="4329307" y="1557345"/>
                  </a:cubicBezTo>
                  <a:cubicBezTo>
                    <a:pt x="4326412" y="1599940"/>
                    <a:pt x="4322828" y="1642536"/>
                    <a:pt x="4322621" y="1685269"/>
                  </a:cubicBezTo>
                  <a:lnTo>
                    <a:pt x="4333512" y="1683201"/>
                  </a:lnTo>
                  <a:cubicBezTo>
                    <a:pt x="4332340" y="1678997"/>
                    <a:pt x="4330065" y="1670588"/>
                    <a:pt x="4328893" y="1666384"/>
                  </a:cubicBezTo>
                  <a:cubicBezTo>
                    <a:pt x="4340197" y="1670174"/>
                    <a:pt x="4351501" y="1673759"/>
                    <a:pt x="4362942" y="1677136"/>
                  </a:cubicBezTo>
                  <a:cubicBezTo>
                    <a:pt x="4360048" y="1681409"/>
                    <a:pt x="4357084" y="1685613"/>
                    <a:pt x="4354327" y="1689887"/>
                  </a:cubicBezTo>
                  <a:cubicBezTo>
                    <a:pt x="4348330" y="1685476"/>
                    <a:pt x="4342196" y="1681340"/>
                    <a:pt x="4335855" y="1677480"/>
                  </a:cubicBezTo>
                  <a:cubicBezTo>
                    <a:pt x="4335166" y="1680582"/>
                    <a:pt x="4333718" y="1686854"/>
                    <a:pt x="4333029" y="1689956"/>
                  </a:cubicBezTo>
                  <a:cubicBezTo>
                    <a:pt x="4329927" y="1689542"/>
                    <a:pt x="4323724" y="1688853"/>
                    <a:pt x="4320622" y="1688439"/>
                  </a:cubicBezTo>
                  <a:cubicBezTo>
                    <a:pt x="4315247" y="1754883"/>
                    <a:pt x="4315591" y="1822498"/>
                    <a:pt x="4333512" y="1887218"/>
                  </a:cubicBezTo>
                  <a:cubicBezTo>
                    <a:pt x="4335855" y="1879705"/>
                    <a:pt x="4338267" y="1872262"/>
                    <a:pt x="4340749" y="1864749"/>
                  </a:cubicBezTo>
                  <a:cubicBezTo>
                    <a:pt x="4361012" y="1872813"/>
                    <a:pt x="4355636" y="1894042"/>
                    <a:pt x="4337095" y="1898522"/>
                  </a:cubicBezTo>
                  <a:cubicBezTo>
                    <a:pt x="4338888" y="1907344"/>
                    <a:pt x="4344470" y="1912513"/>
                    <a:pt x="4354120" y="1912789"/>
                  </a:cubicBezTo>
                  <a:cubicBezTo>
                    <a:pt x="4353706" y="1921543"/>
                    <a:pt x="4353293" y="1930227"/>
                    <a:pt x="4352879" y="1938911"/>
                  </a:cubicBezTo>
                  <a:cubicBezTo>
                    <a:pt x="4364321" y="1958210"/>
                    <a:pt x="4371834" y="1982748"/>
                    <a:pt x="4392924" y="1993845"/>
                  </a:cubicBezTo>
                  <a:cubicBezTo>
                    <a:pt x="4393890" y="2002805"/>
                    <a:pt x="4398990" y="2007560"/>
                    <a:pt x="4408157" y="2008112"/>
                  </a:cubicBezTo>
                  <a:moveTo>
                    <a:pt x="4800545" y="829432"/>
                  </a:moveTo>
                  <a:cubicBezTo>
                    <a:pt x="4796478" y="820472"/>
                    <a:pt x="4800820" y="808341"/>
                    <a:pt x="4805714" y="800346"/>
                  </a:cubicBezTo>
                  <a:cubicBezTo>
                    <a:pt x="4819706" y="802345"/>
                    <a:pt x="4815501" y="833774"/>
                    <a:pt x="4800545" y="829432"/>
                  </a:cubicBezTo>
                  <a:moveTo>
                    <a:pt x="4834111" y="863963"/>
                  </a:moveTo>
                  <a:cubicBezTo>
                    <a:pt x="4824944" y="858725"/>
                    <a:pt x="4831768" y="839357"/>
                    <a:pt x="4842037" y="848248"/>
                  </a:cubicBezTo>
                  <a:cubicBezTo>
                    <a:pt x="4850584" y="853693"/>
                    <a:pt x="4844319" y="872027"/>
                    <a:pt x="4834111" y="863963"/>
                  </a:cubicBezTo>
                  <a:moveTo>
                    <a:pt x="4841210" y="913244"/>
                  </a:moveTo>
                  <a:cubicBezTo>
                    <a:pt x="4843829" y="890568"/>
                    <a:pt x="4861130" y="925237"/>
                    <a:pt x="4841210" y="913244"/>
                  </a:cubicBezTo>
                  <a:moveTo>
                    <a:pt x="4777800" y="968591"/>
                  </a:moveTo>
                  <a:cubicBezTo>
                    <a:pt x="4766909" y="947982"/>
                    <a:pt x="4800407" y="967143"/>
                    <a:pt x="4777800" y="968591"/>
                  </a:cubicBezTo>
                  <a:moveTo>
                    <a:pt x="4777386" y="1015528"/>
                  </a:moveTo>
                  <a:cubicBezTo>
                    <a:pt x="4783451" y="1012151"/>
                    <a:pt x="4789586" y="1008705"/>
                    <a:pt x="4795789" y="1005396"/>
                  </a:cubicBezTo>
                  <a:cubicBezTo>
                    <a:pt x="4792625" y="998228"/>
                    <a:pt x="4789517" y="990991"/>
                    <a:pt x="4786415" y="983754"/>
                  </a:cubicBezTo>
                  <a:cubicBezTo>
                    <a:pt x="4791653" y="982238"/>
                    <a:pt x="4797030" y="980653"/>
                    <a:pt x="4802406" y="979067"/>
                  </a:cubicBezTo>
                  <a:cubicBezTo>
                    <a:pt x="4801165" y="996161"/>
                    <a:pt x="4800338" y="1017527"/>
                    <a:pt x="4777386" y="1015528"/>
                  </a:cubicBezTo>
                  <a:moveTo>
                    <a:pt x="4803095" y="1035310"/>
                  </a:moveTo>
                  <a:cubicBezTo>
                    <a:pt x="4806472" y="1020422"/>
                    <a:pt x="4818603" y="1010566"/>
                    <a:pt x="4827218" y="998711"/>
                  </a:cubicBezTo>
                  <a:cubicBezTo>
                    <a:pt x="4827632" y="1002088"/>
                    <a:pt x="4828528" y="1008912"/>
                    <a:pt x="4829011" y="1012289"/>
                  </a:cubicBezTo>
                  <a:cubicBezTo>
                    <a:pt x="4815915" y="1013874"/>
                    <a:pt x="4812951" y="1028831"/>
                    <a:pt x="4803095" y="1035310"/>
                  </a:cubicBezTo>
                  <a:moveTo>
                    <a:pt x="4780143" y="1065430"/>
                  </a:moveTo>
                  <a:cubicBezTo>
                    <a:pt x="4776628" y="1056883"/>
                    <a:pt x="4790964" y="1050060"/>
                    <a:pt x="4796823" y="1056056"/>
                  </a:cubicBezTo>
                  <a:cubicBezTo>
                    <a:pt x="4801027" y="1065016"/>
                    <a:pt x="4785795" y="1072529"/>
                    <a:pt x="4780143" y="1065430"/>
                  </a:cubicBezTo>
                  <a:moveTo>
                    <a:pt x="4779178" y="1170885"/>
                  </a:moveTo>
                  <a:cubicBezTo>
                    <a:pt x="4770356" y="1157651"/>
                    <a:pt x="4770769" y="1134699"/>
                    <a:pt x="4787311" y="1127669"/>
                  </a:cubicBezTo>
                  <a:cubicBezTo>
                    <a:pt x="4786002" y="1142350"/>
                    <a:pt x="4783038" y="1156755"/>
                    <a:pt x="4779178" y="1170885"/>
                  </a:cubicBezTo>
                  <a:moveTo>
                    <a:pt x="5068317" y="1226093"/>
                  </a:moveTo>
                  <a:cubicBezTo>
                    <a:pt x="5066732" y="1213687"/>
                    <a:pt x="5065491" y="1201211"/>
                    <a:pt x="5064388" y="1188667"/>
                  </a:cubicBezTo>
                  <a:cubicBezTo>
                    <a:pt x="5091269" y="1185979"/>
                    <a:pt x="5076795" y="1214100"/>
                    <a:pt x="5068317" y="1226093"/>
                  </a:cubicBezTo>
                  <a:moveTo>
                    <a:pt x="4798615" y="1230160"/>
                  </a:moveTo>
                  <a:cubicBezTo>
                    <a:pt x="4794893" y="1218925"/>
                    <a:pt x="4798684" y="1215134"/>
                    <a:pt x="4809987" y="1218718"/>
                  </a:cubicBezTo>
                  <a:cubicBezTo>
                    <a:pt x="4813641" y="1229953"/>
                    <a:pt x="4809850" y="1233744"/>
                    <a:pt x="4798615" y="1230160"/>
                  </a:cubicBezTo>
                  <a:moveTo>
                    <a:pt x="5082171" y="1245047"/>
                  </a:moveTo>
                  <a:cubicBezTo>
                    <a:pt x="5077897" y="1235398"/>
                    <a:pt x="5080654" y="1232021"/>
                    <a:pt x="5090511" y="1234915"/>
                  </a:cubicBezTo>
                  <a:cubicBezTo>
                    <a:pt x="5094784" y="1244634"/>
                    <a:pt x="5091958" y="1248011"/>
                    <a:pt x="5082171" y="1245047"/>
                  </a:cubicBezTo>
                  <a:moveTo>
                    <a:pt x="4924540" y="1252078"/>
                  </a:moveTo>
                  <a:cubicBezTo>
                    <a:pt x="4925574" y="1229264"/>
                    <a:pt x="4945149" y="1262761"/>
                    <a:pt x="4924540" y="1252078"/>
                  </a:cubicBezTo>
                  <a:moveTo>
                    <a:pt x="5025928" y="1255593"/>
                  </a:moveTo>
                  <a:cubicBezTo>
                    <a:pt x="5020621" y="1243876"/>
                    <a:pt x="5043642" y="1239051"/>
                    <a:pt x="5046054" y="1250768"/>
                  </a:cubicBezTo>
                  <a:cubicBezTo>
                    <a:pt x="5045572" y="1260004"/>
                    <a:pt x="5031166" y="1261038"/>
                    <a:pt x="5025928" y="1255593"/>
                  </a:cubicBezTo>
                  <a:moveTo>
                    <a:pt x="4800407" y="1248494"/>
                  </a:moveTo>
                  <a:cubicBezTo>
                    <a:pt x="4796892" y="1234226"/>
                    <a:pt x="4818052" y="1238500"/>
                    <a:pt x="4821980" y="1246977"/>
                  </a:cubicBezTo>
                  <a:cubicBezTo>
                    <a:pt x="4821911" y="1257730"/>
                    <a:pt x="4801785" y="1260624"/>
                    <a:pt x="4800407" y="1248494"/>
                  </a:cubicBezTo>
                  <a:moveTo>
                    <a:pt x="4928745" y="1277511"/>
                  </a:moveTo>
                  <a:cubicBezTo>
                    <a:pt x="4918475" y="1256696"/>
                    <a:pt x="4951490" y="1276822"/>
                    <a:pt x="4928745" y="1277511"/>
                  </a:cubicBezTo>
                  <a:moveTo>
                    <a:pt x="5033648" y="1286471"/>
                  </a:moveTo>
                  <a:cubicBezTo>
                    <a:pt x="5029650" y="1275443"/>
                    <a:pt x="5033372" y="1271721"/>
                    <a:pt x="5044883" y="1275305"/>
                  </a:cubicBezTo>
                  <a:cubicBezTo>
                    <a:pt x="5048880" y="1286402"/>
                    <a:pt x="5045089" y="1290124"/>
                    <a:pt x="5033648" y="1286471"/>
                  </a:cubicBezTo>
                  <a:moveTo>
                    <a:pt x="5004975" y="1285644"/>
                  </a:moveTo>
                  <a:cubicBezTo>
                    <a:pt x="4993051" y="1265656"/>
                    <a:pt x="5027582" y="1283232"/>
                    <a:pt x="5004975" y="1285644"/>
                  </a:cubicBezTo>
                  <a:moveTo>
                    <a:pt x="4792825" y="1284817"/>
                  </a:moveTo>
                  <a:cubicBezTo>
                    <a:pt x="4796478" y="1281440"/>
                    <a:pt x="4796478" y="1281440"/>
                    <a:pt x="4792825" y="1284817"/>
                  </a:cubicBezTo>
                  <a:moveTo>
                    <a:pt x="5018553" y="1305219"/>
                  </a:moveTo>
                  <a:cubicBezTo>
                    <a:pt x="5015383" y="1295638"/>
                    <a:pt x="5018691" y="1291985"/>
                    <a:pt x="5028547" y="1294191"/>
                  </a:cubicBezTo>
                  <a:cubicBezTo>
                    <a:pt x="5031442" y="1303633"/>
                    <a:pt x="5028134" y="1307286"/>
                    <a:pt x="5018553" y="1305219"/>
                  </a:cubicBezTo>
                  <a:moveTo>
                    <a:pt x="4786139" y="1312938"/>
                  </a:moveTo>
                  <a:cubicBezTo>
                    <a:pt x="4782073" y="1303082"/>
                    <a:pt x="4784968" y="1300049"/>
                    <a:pt x="4794824" y="1303840"/>
                  </a:cubicBezTo>
                  <a:cubicBezTo>
                    <a:pt x="4798890" y="1313765"/>
                    <a:pt x="4795996" y="1316798"/>
                    <a:pt x="4786139" y="1312938"/>
                  </a:cubicBezTo>
                  <a:moveTo>
                    <a:pt x="5040196" y="1333340"/>
                  </a:moveTo>
                  <a:cubicBezTo>
                    <a:pt x="5036680" y="1322932"/>
                    <a:pt x="5039644" y="1320037"/>
                    <a:pt x="5049156" y="1324517"/>
                  </a:cubicBezTo>
                  <a:cubicBezTo>
                    <a:pt x="5052533" y="1334856"/>
                    <a:pt x="5049500" y="1337751"/>
                    <a:pt x="5040196" y="1333340"/>
                  </a:cubicBezTo>
                  <a:moveTo>
                    <a:pt x="4764980" y="1361047"/>
                  </a:moveTo>
                  <a:cubicBezTo>
                    <a:pt x="4768357" y="1357257"/>
                    <a:pt x="4768357" y="1357257"/>
                    <a:pt x="4764980" y="1361047"/>
                  </a:cubicBezTo>
                  <a:moveTo>
                    <a:pt x="4812675" y="1349124"/>
                  </a:moveTo>
                  <a:cubicBezTo>
                    <a:pt x="4821360" y="1351260"/>
                    <a:pt x="4822876" y="1356774"/>
                    <a:pt x="4817293" y="1365597"/>
                  </a:cubicBezTo>
                  <a:cubicBezTo>
                    <a:pt x="4808609" y="1363529"/>
                    <a:pt x="4807024" y="1358015"/>
                    <a:pt x="4812675" y="1349124"/>
                  </a:cubicBezTo>
                  <a:moveTo>
                    <a:pt x="4749816" y="1373937"/>
                  </a:moveTo>
                  <a:cubicBezTo>
                    <a:pt x="4738788" y="1353190"/>
                    <a:pt x="4772492" y="1372971"/>
                    <a:pt x="4749816" y="1373937"/>
                  </a:cubicBezTo>
                  <a:moveTo>
                    <a:pt x="4800476" y="1380760"/>
                  </a:moveTo>
                  <a:cubicBezTo>
                    <a:pt x="4791860" y="1371938"/>
                    <a:pt x="4808402" y="1365321"/>
                    <a:pt x="4813572" y="1373454"/>
                  </a:cubicBezTo>
                  <a:cubicBezTo>
                    <a:pt x="4822532" y="1382345"/>
                    <a:pt x="4805438" y="1388893"/>
                    <a:pt x="4800476" y="1380760"/>
                  </a:cubicBezTo>
                  <a:moveTo>
                    <a:pt x="4752298" y="1397164"/>
                  </a:moveTo>
                  <a:cubicBezTo>
                    <a:pt x="4749609" y="1387515"/>
                    <a:pt x="4752987" y="1383793"/>
                    <a:pt x="4762498" y="1385998"/>
                  </a:cubicBezTo>
                  <a:cubicBezTo>
                    <a:pt x="4765117" y="1395854"/>
                    <a:pt x="4761740" y="1399576"/>
                    <a:pt x="4752298" y="1397164"/>
                  </a:cubicBezTo>
                  <a:moveTo>
                    <a:pt x="5023033" y="1404953"/>
                  </a:moveTo>
                  <a:cubicBezTo>
                    <a:pt x="5021724" y="1394959"/>
                    <a:pt x="5020621" y="1384895"/>
                    <a:pt x="5019656" y="1374832"/>
                  </a:cubicBezTo>
                  <a:cubicBezTo>
                    <a:pt x="5024963" y="1378830"/>
                    <a:pt x="5030132" y="1382966"/>
                    <a:pt x="5035233" y="1387308"/>
                  </a:cubicBezTo>
                  <a:cubicBezTo>
                    <a:pt x="5032958" y="1394338"/>
                    <a:pt x="5027307" y="1399370"/>
                    <a:pt x="5023033" y="1404953"/>
                  </a:cubicBezTo>
                  <a:moveTo>
                    <a:pt x="4998979" y="1429559"/>
                  </a:moveTo>
                  <a:cubicBezTo>
                    <a:pt x="5002770" y="1425768"/>
                    <a:pt x="5002770" y="1425768"/>
                    <a:pt x="4998979" y="1429559"/>
                  </a:cubicBezTo>
                  <a:moveTo>
                    <a:pt x="5041030" y="1436382"/>
                  </a:moveTo>
                  <a:cubicBezTo>
                    <a:pt x="5044676" y="1432867"/>
                    <a:pt x="5044676" y="1432867"/>
                    <a:pt x="5041030" y="1436382"/>
                  </a:cubicBezTo>
                  <a:moveTo>
                    <a:pt x="4774767" y="1434866"/>
                  </a:moveTo>
                  <a:lnTo>
                    <a:pt x="4776766" y="1426664"/>
                  </a:lnTo>
                  <a:cubicBezTo>
                    <a:pt x="4773251" y="1425492"/>
                    <a:pt x="4766151" y="1423218"/>
                    <a:pt x="4762567" y="1422115"/>
                  </a:cubicBezTo>
                  <a:cubicBezTo>
                    <a:pt x="4784830" y="1419082"/>
                    <a:pt x="4807230" y="1416187"/>
                    <a:pt x="4829700" y="1415360"/>
                  </a:cubicBezTo>
                  <a:cubicBezTo>
                    <a:pt x="4830320" y="1422873"/>
                    <a:pt x="4830458" y="1430386"/>
                    <a:pt x="4830665" y="1437830"/>
                  </a:cubicBezTo>
                  <a:cubicBezTo>
                    <a:pt x="4827770" y="1427284"/>
                    <a:pt x="4821084" y="1421563"/>
                    <a:pt x="4810401" y="1420667"/>
                  </a:cubicBezTo>
                  <a:cubicBezTo>
                    <a:pt x="4802268" y="1426871"/>
                    <a:pt x="4794962" y="1435555"/>
                    <a:pt x="4783589" y="1432798"/>
                  </a:cubicBezTo>
                  <a:cubicBezTo>
                    <a:pt x="4781384" y="1433350"/>
                    <a:pt x="4776972" y="1434314"/>
                    <a:pt x="4774767" y="1434866"/>
                  </a:cubicBezTo>
                  <a:moveTo>
                    <a:pt x="5012557" y="1442172"/>
                  </a:moveTo>
                  <a:cubicBezTo>
                    <a:pt x="5006767" y="1435486"/>
                    <a:pt x="5008353" y="1420392"/>
                    <a:pt x="5018484" y="1418944"/>
                  </a:cubicBezTo>
                  <a:cubicBezTo>
                    <a:pt x="5033441" y="1421219"/>
                    <a:pt x="5026618" y="1450098"/>
                    <a:pt x="5012557" y="1442172"/>
                  </a:cubicBezTo>
                  <a:moveTo>
                    <a:pt x="4998772" y="1458025"/>
                  </a:moveTo>
                  <a:cubicBezTo>
                    <a:pt x="4987813" y="1437554"/>
                    <a:pt x="5021655" y="1456715"/>
                    <a:pt x="4998772" y="1458025"/>
                  </a:cubicBezTo>
                  <a:moveTo>
                    <a:pt x="4757949" y="1472154"/>
                  </a:moveTo>
                  <a:cubicBezTo>
                    <a:pt x="4749885" y="1471603"/>
                    <a:pt x="4743061" y="1454785"/>
                    <a:pt x="4754021" y="1454027"/>
                  </a:cubicBezTo>
                  <a:cubicBezTo>
                    <a:pt x="4761609" y="1454923"/>
                    <a:pt x="4768702" y="1471189"/>
                    <a:pt x="4757949" y="1472154"/>
                  </a:cubicBezTo>
                  <a:moveTo>
                    <a:pt x="5047433" y="1500137"/>
                  </a:moveTo>
                  <a:cubicBezTo>
                    <a:pt x="5047915" y="1477323"/>
                    <a:pt x="5068317" y="1510269"/>
                    <a:pt x="5047433" y="1500137"/>
                  </a:cubicBezTo>
                  <a:moveTo>
                    <a:pt x="5005802" y="1497243"/>
                  </a:moveTo>
                  <a:cubicBezTo>
                    <a:pt x="5003390" y="1487455"/>
                    <a:pt x="5006905" y="1484078"/>
                    <a:pt x="5016486" y="1487042"/>
                  </a:cubicBezTo>
                  <a:cubicBezTo>
                    <a:pt x="5018760" y="1496829"/>
                    <a:pt x="5015176" y="1500206"/>
                    <a:pt x="5005802" y="1497243"/>
                  </a:cubicBezTo>
                  <a:moveTo>
                    <a:pt x="5019932" y="1511924"/>
                  </a:moveTo>
                  <a:cubicBezTo>
                    <a:pt x="5023240" y="1507926"/>
                    <a:pt x="5023240" y="1507926"/>
                    <a:pt x="5019932" y="1511924"/>
                  </a:cubicBezTo>
                  <a:moveTo>
                    <a:pt x="4760982" y="1520677"/>
                  </a:moveTo>
                  <a:cubicBezTo>
                    <a:pt x="4760913" y="1511510"/>
                    <a:pt x="4761051" y="1502343"/>
                    <a:pt x="4761258" y="1493107"/>
                  </a:cubicBezTo>
                  <a:cubicBezTo>
                    <a:pt x="4769046" y="1500620"/>
                    <a:pt x="4779109" y="1519505"/>
                    <a:pt x="4760982" y="1520677"/>
                  </a:cubicBezTo>
                  <a:moveTo>
                    <a:pt x="4744027" y="1519436"/>
                  </a:moveTo>
                  <a:cubicBezTo>
                    <a:pt x="4747611" y="1515852"/>
                    <a:pt x="4747611" y="1515852"/>
                    <a:pt x="4744027" y="1519436"/>
                  </a:cubicBezTo>
                  <a:moveTo>
                    <a:pt x="5047088" y="1507237"/>
                  </a:moveTo>
                  <a:cubicBezTo>
                    <a:pt x="5050603" y="1515990"/>
                    <a:pt x="5056944" y="1519161"/>
                    <a:pt x="5066042" y="1516679"/>
                  </a:cubicBezTo>
                  <a:cubicBezTo>
                    <a:pt x="5053705" y="1518885"/>
                    <a:pt x="5055014" y="1532050"/>
                    <a:pt x="5051913" y="1541216"/>
                  </a:cubicBezTo>
                  <a:cubicBezTo>
                    <a:pt x="5048053" y="1530257"/>
                    <a:pt x="5047984" y="1518678"/>
                    <a:pt x="5047088" y="1507237"/>
                  </a:cubicBezTo>
                  <a:moveTo>
                    <a:pt x="5000013" y="1541699"/>
                  </a:moveTo>
                  <a:cubicBezTo>
                    <a:pt x="5001598" y="1518885"/>
                    <a:pt x="5020414" y="1552589"/>
                    <a:pt x="5000013" y="1541699"/>
                  </a:cubicBezTo>
                  <a:moveTo>
                    <a:pt x="4744440" y="1546524"/>
                  </a:moveTo>
                  <a:cubicBezTo>
                    <a:pt x="4748438" y="1543422"/>
                    <a:pt x="4748438" y="1543422"/>
                    <a:pt x="4744440" y="1546524"/>
                  </a:cubicBezTo>
                  <a:moveTo>
                    <a:pt x="4751746" y="1581193"/>
                  </a:moveTo>
                  <a:cubicBezTo>
                    <a:pt x="4751057" y="1573611"/>
                    <a:pt x="4750505" y="1565961"/>
                    <a:pt x="4750023" y="1558241"/>
                  </a:cubicBezTo>
                  <a:cubicBezTo>
                    <a:pt x="4751953" y="1554243"/>
                    <a:pt x="4755881" y="1546248"/>
                    <a:pt x="4757812" y="1542250"/>
                  </a:cubicBezTo>
                  <a:cubicBezTo>
                    <a:pt x="4760637" y="1540665"/>
                    <a:pt x="4766151" y="1537426"/>
                    <a:pt x="4768977" y="1535840"/>
                  </a:cubicBezTo>
                  <a:cubicBezTo>
                    <a:pt x="4769391" y="1549694"/>
                    <a:pt x="4769804" y="1563617"/>
                    <a:pt x="4770494" y="1577471"/>
                  </a:cubicBezTo>
                  <a:cubicBezTo>
                    <a:pt x="4764152" y="1578712"/>
                    <a:pt x="4757880" y="1579952"/>
                    <a:pt x="4751746" y="1581193"/>
                  </a:cubicBezTo>
                  <a:moveTo>
                    <a:pt x="5007663" y="1550384"/>
                  </a:moveTo>
                  <a:cubicBezTo>
                    <a:pt x="5015796" y="1545145"/>
                    <a:pt x="5025032" y="1543560"/>
                    <a:pt x="5033372" y="1549487"/>
                  </a:cubicBezTo>
                  <a:cubicBezTo>
                    <a:pt x="5038335" y="1545352"/>
                    <a:pt x="5042884" y="1546593"/>
                    <a:pt x="5047019" y="1553210"/>
                  </a:cubicBezTo>
                  <a:cubicBezTo>
                    <a:pt x="5036336" y="1553761"/>
                    <a:pt x="5025790" y="1553830"/>
                    <a:pt x="5015176" y="1553761"/>
                  </a:cubicBezTo>
                  <a:cubicBezTo>
                    <a:pt x="5016141" y="1566305"/>
                    <a:pt x="5016003" y="1578780"/>
                    <a:pt x="5014907" y="1591256"/>
                  </a:cubicBezTo>
                  <a:cubicBezTo>
                    <a:pt x="5009593" y="1578298"/>
                    <a:pt x="5007250" y="1564444"/>
                    <a:pt x="5007663" y="1550384"/>
                  </a:cubicBezTo>
                  <a:moveTo>
                    <a:pt x="4750643" y="1595185"/>
                  </a:moveTo>
                  <a:cubicBezTo>
                    <a:pt x="4754089" y="1591463"/>
                    <a:pt x="4754089" y="1591463"/>
                    <a:pt x="4750643" y="1595185"/>
                  </a:cubicBezTo>
                  <a:moveTo>
                    <a:pt x="5041712" y="1603662"/>
                  </a:moveTo>
                  <a:cubicBezTo>
                    <a:pt x="5038335" y="1595460"/>
                    <a:pt x="5043504" y="1585535"/>
                    <a:pt x="5048742" y="1579125"/>
                  </a:cubicBezTo>
                  <a:cubicBezTo>
                    <a:pt x="5059977" y="1580848"/>
                    <a:pt x="5053498" y="1608211"/>
                    <a:pt x="5041712" y="1603662"/>
                  </a:cubicBezTo>
                  <a:moveTo>
                    <a:pt x="4743130" y="1604627"/>
                  </a:moveTo>
                  <a:cubicBezTo>
                    <a:pt x="4748989" y="1598631"/>
                    <a:pt x="4763532" y="1605248"/>
                    <a:pt x="4762223" y="1613519"/>
                  </a:cubicBezTo>
                  <a:cubicBezTo>
                    <a:pt x="4755881" y="1618343"/>
                    <a:pt x="4740029" y="1614483"/>
                    <a:pt x="4743130" y="1604627"/>
                  </a:cubicBezTo>
                  <a:moveTo>
                    <a:pt x="4840728" y="1627993"/>
                  </a:moveTo>
                  <a:cubicBezTo>
                    <a:pt x="4836661" y="1621514"/>
                    <a:pt x="4836730" y="1608487"/>
                    <a:pt x="4845277" y="1605661"/>
                  </a:cubicBezTo>
                  <a:cubicBezTo>
                    <a:pt x="4857408" y="1607729"/>
                    <a:pt x="4851756" y="1631646"/>
                    <a:pt x="4840728" y="1627993"/>
                  </a:cubicBezTo>
                  <a:moveTo>
                    <a:pt x="5005113" y="1628475"/>
                  </a:moveTo>
                  <a:cubicBezTo>
                    <a:pt x="4993327" y="1634609"/>
                    <a:pt x="4985331" y="1632748"/>
                    <a:pt x="4981127" y="1622961"/>
                  </a:cubicBezTo>
                  <a:cubicBezTo>
                    <a:pt x="4987882" y="1624133"/>
                    <a:pt x="5001391" y="1626476"/>
                    <a:pt x="5008215" y="1627648"/>
                  </a:cubicBezTo>
                  <a:cubicBezTo>
                    <a:pt x="5008421" y="1625029"/>
                    <a:pt x="5008973" y="1619722"/>
                    <a:pt x="5009179" y="1617033"/>
                  </a:cubicBezTo>
                  <a:cubicBezTo>
                    <a:pt x="5017519" y="1612140"/>
                    <a:pt x="5025790" y="1606971"/>
                    <a:pt x="5034130" y="1601732"/>
                  </a:cubicBezTo>
                  <a:cubicBezTo>
                    <a:pt x="5029443" y="1610279"/>
                    <a:pt x="5024757" y="1618757"/>
                    <a:pt x="5020076" y="1627235"/>
                  </a:cubicBezTo>
                  <a:lnTo>
                    <a:pt x="5029788" y="1627993"/>
                  </a:lnTo>
                  <a:cubicBezTo>
                    <a:pt x="5025790" y="1630474"/>
                    <a:pt x="5021862" y="1632886"/>
                    <a:pt x="5018002" y="1635298"/>
                  </a:cubicBezTo>
                  <a:cubicBezTo>
                    <a:pt x="5014831" y="1633575"/>
                    <a:pt x="5008353" y="1630198"/>
                    <a:pt x="5005113" y="1628475"/>
                  </a:cubicBezTo>
                  <a:moveTo>
                    <a:pt x="4848034" y="1643225"/>
                  </a:moveTo>
                  <a:cubicBezTo>
                    <a:pt x="4851687" y="1639434"/>
                    <a:pt x="4851687" y="1639434"/>
                    <a:pt x="4848034" y="1643225"/>
                  </a:cubicBezTo>
                  <a:moveTo>
                    <a:pt x="4729621" y="1677756"/>
                  </a:moveTo>
                  <a:cubicBezTo>
                    <a:pt x="4718938" y="1657010"/>
                    <a:pt x="4752298" y="1676516"/>
                    <a:pt x="4729621" y="1677756"/>
                  </a:cubicBezTo>
                  <a:moveTo>
                    <a:pt x="4759052" y="1683270"/>
                  </a:moveTo>
                  <a:cubicBezTo>
                    <a:pt x="4753193" y="1678652"/>
                    <a:pt x="4747542" y="1673965"/>
                    <a:pt x="4741752" y="1669348"/>
                  </a:cubicBezTo>
                  <a:cubicBezTo>
                    <a:pt x="4754710" y="1673965"/>
                    <a:pt x="4768081" y="1677687"/>
                    <a:pt x="4782004" y="1677756"/>
                  </a:cubicBezTo>
                  <a:cubicBezTo>
                    <a:pt x="4781384" y="1679962"/>
                    <a:pt x="4780212" y="1684373"/>
                    <a:pt x="4779591" y="1686510"/>
                  </a:cubicBezTo>
                  <a:cubicBezTo>
                    <a:pt x="4774491" y="1685751"/>
                    <a:pt x="4764221" y="1684097"/>
                    <a:pt x="4759052" y="1683270"/>
                  </a:cubicBezTo>
                  <a:moveTo>
                    <a:pt x="4816742" y="1695677"/>
                  </a:moveTo>
                  <a:cubicBezTo>
                    <a:pt x="4823014" y="1693333"/>
                    <a:pt x="4829562" y="1691886"/>
                    <a:pt x="4836317" y="1691334"/>
                  </a:cubicBezTo>
                  <a:lnTo>
                    <a:pt x="4839970" y="1693058"/>
                  </a:lnTo>
                  <a:cubicBezTo>
                    <a:pt x="4856994" y="1690370"/>
                    <a:pt x="4854582" y="1666522"/>
                    <a:pt x="4857545" y="1653426"/>
                  </a:cubicBezTo>
                  <a:cubicBezTo>
                    <a:pt x="4859337" y="1655976"/>
                    <a:pt x="4861199" y="1658457"/>
                    <a:pt x="4863197" y="1660939"/>
                  </a:cubicBezTo>
                  <a:cubicBezTo>
                    <a:pt x="4858235" y="1673207"/>
                    <a:pt x="4854788" y="1685958"/>
                    <a:pt x="4849619" y="1698089"/>
                  </a:cubicBezTo>
                  <a:cubicBezTo>
                    <a:pt x="4840108" y="1708635"/>
                    <a:pt x="4825771" y="1704016"/>
                    <a:pt x="4816742" y="1695677"/>
                  </a:cubicBezTo>
                  <a:moveTo>
                    <a:pt x="4758294" y="1704568"/>
                  </a:moveTo>
                  <a:cubicBezTo>
                    <a:pt x="4749334" y="1700226"/>
                    <a:pt x="4749541" y="1695746"/>
                    <a:pt x="4758983" y="1691196"/>
                  </a:cubicBezTo>
                  <a:cubicBezTo>
                    <a:pt x="4768150" y="1695815"/>
                    <a:pt x="4767943" y="1700226"/>
                    <a:pt x="4758294" y="1704568"/>
                  </a:cubicBezTo>
                  <a:moveTo>
                    <a:pt x="4793997" y="1687957"/>
                  </a:moveTo>
                  <a:cubicBezTo>
                    <a:pt x="4796065" y="1695332"/>
                    <a:pt x="4793445" y="1704430"/>
                    <a:pt x="4789517" y="1710771"/>
                  </a:cubicBezTo>
                  <a:cubicBezTo>
                    <a:pt x="4774009" y="1710495"/>
                    <a:pt x="4776835" y="1680237"/>
                    <a:pt x="4793997" y="1687957"/>
                  </a:cubicBezTo>
                  <a:moveTo>
                    <a:pt x="4985125" y="1813124"/>
                  </a:moveTo>
                  <a:cubicBezTo>
                    <a:pt x="4989060" y="1813745"/>
                    <a:pt x="4996911" y="1815054"/>
                    <a:pt x="5000909" y="1815743"/>
                  </a:cubicBezTo>
                  <a:cubicBezTo>
                    <a:pt x="5002907" y="1792860"/>
                    <a:pt x="5001046" y="1768392"/>
                    <a:pt x="5012074" y="1747508"/>
                  </a:cubicBezTo>
                  <a:cubicBezTo>
                    <a:pt x="5015107" y="1759707"/>
                    <a:pt x="5018002" y="1771907"/>
                    <a:pt x="5020897" y="1784107"/>
                  </a:cubicBezTo>
                  <a:cubicBezTo>
                    <a:pt x="5023033" y="1778662"/>
                    <a:pt x="5027307" y="1767703"/>
                    <a:pt x="5029443" y="1762258"/>
                  </a:cubicBezTo>
                  <a:cubicBezTo>
                    <a:pt x="5030891" y="1782453"/>
                    <a:pt x="5032614" y="1803613"/>
                    <a:pt x="5020690" y="1821326"/>
                  </a:cubicBezTo>
                  <a:cubicBezTo>
                    <a:pt x="5014211" y="1817811"/>
                    <a:pt x="5007939" y="1814089"/>
                    <a:pt x="5001873" y="1810160"/>
                  </a:cubicBezTo>
                  <a:lnTo>
                    <a:pt x="5003183" y="1823049"/>
                  </a:lnTo>
                  <a:cubicBezTo>
                    <a:pt x="4997118" y="1819741"/>
                    <a:pt x="4991121" y="1816433"/>
                    <a:pt x="4985125" y="1813124"/>
                  </a:cubicBezTo>
                  <a:moveTo>
                    <a:pt x="4806403" y="1822773"/>
                  </a:moveTo>
                  <a:cubicBezTo>
                    <a:pt x="4810263" y="1819327"/>
                    <a:pt x="4810263" y="1819327"/>
                    <a:pt x="4806403" y="1822773"/>
                  </a:cubicBezTo>
                  <a:moveTo>
                    <a:pt x="4804887" y="1853652"/>
                  </a:moveTo>
                  <a:cubicBezTo>
                    <a:pt x="4803370" y="1849723"/>
                    <a:pt x="4800338" y="1841797"/>
                    <a:pt x="4798890" y="1837868"/>
                  </a:cubicBezTo>
                  <a:cubicBezTo>
                    <a:pt x="4804129" y="1839109"/>
                    <a:pt x="4809436" y="1840281"/>
                    <a:pt x="4814881" y="1841452"/>
                  </a:cubicBezTo>
                  <a:cubicBezTo>
                    <a:pt x="4819637" y="1836627"/>
                    <a:pt x="4825289" y="1832975"/>
                    <a:pt x="4831699" y="1830562"/>
                  </a:cubicBezTo>
                  <a:cubicBezTo>
                    <a:pt x="4837764" y="1848207"/>
                    <a:pt x="4817293" y="1851860"/>
                    <a:pt x="4804887" y="1853652"/>
                  </a:cubicBezTo>
                  <a:moveTo>
                    <a:pt x="4778627" y="1863991"/>
                  </a:moveTo>
                  <a:cubicBezTo>
                    <a:pt x="4767874" y="1843244"/>
                    <a:pt x="4801303" y="1862888"/>
                    <a:pt x="4778627" y="1863991"/>
                  </a:cubicBezTo>
                  <a:moveTo>
                    <a:pt x="5009248" y="1895282"/>
                  </a:moveTo>
                  <a:cubicBezTo>
                    <a:pt x="5003872" y="1886598"/>
                    <a:pt x="4998496" y="1877845"/>
                    <a:pt x="4993534" y="1868815"/>
                  </a:cubicBezTo>
                  <a:cubicBezTo>
                    <a:pt x="5009800" y="1869436"/>
                    <a:pt x="5028341" y="1876535"/>
                    <a:pt x="5022000" y="1896454"/>
                  </a:cubicBezTo>
                  <a:cubicBezTo>
                    <a:pt x="5018829" y="1896178"/>
                    <a:pt x="5012419" y="1895627"/>
                    <a:pt x="5009248" y="1895282"/>
                  </a:cubicBezTo>
                  <a:moveTo>
                    <a:pt x="5025584" y="1974477"/>
                  </a:moveTo>
                  <a:cubicBezTo>
                    <a:pt x="5014349" y="1954213"/>
                    <a:pt x="5048329" y="1972616"/>
                    <a:pt x="5025584" y="1974477"/>
                  </a:cubicBezTo>
                  <a:moveTo>
                    <a:pt x="4964516" y="2002115"/>
                  </a:moveTo>
                  <a:cubicBezTo>
                    <a:pt x="4953626" y="1981576"/>
                    <a:pt x="4987331" y="2000668"/>
                    <a:pt x="4964516" y="2002115"/>
                  </a:cubicBezTo>
                  <a:moveTo>
                    <a:pt x="4950249" y="2048915"/>
                  </a:moveTo>
                  <a:cubicBezTo>
                    <a:pt x="4984574" y="2050432"/>
                    <a:pt x="5018898" y="2053051"/>
                    <a:pt x="5053291" y="2054912"/>
                  </a:cubicBezTo>
                  <a:cubicBezTo>
                    <a:pt x="5064802" y="1872331"/>
                    <a:pt x="5076036" y="1689680"/>
                    <a:pt x="5087554" y="1507099"/>
                  </a:cubicBezTo>
                  <a:cubicBezTo>
                    <a:pt x="5089890" y="1463125"/>
                    <a:pt x="5094784" y="1419151"/>
                    <a:pt x="5092441" y="1374970"/>
                  </a:cubicBezTo>
                  <a:cubicBezTo>
                    <a:pt x="5099195" y="1353328"/>
                    <a:pt x="5098230" y="1330376"/>
                    <a:pt x="5099953" y="1307976"/>
                  </a:cubicBezTo>
                  <a:cubicBezTo>
                    <a:pt x="5110430" y="1140833"/>
                    <a:pt x="5120975" y="973622"/>
                    <a:pt x="5131383" y="806480"/>
                  </a:cubicBezTo>
                  <a:cubicBezTo>
                    <a:pt x="5094095" y="804343"/>
                    <a:pt x="5056875" y="801242"/>
                    <a:pt x="5019587" y="800346"/>
                  </a:cubicBezTo>
                  <a:cubicBezTo>
                    <a:pt x="4982506" y="959079"/>
                    <a:pt x="4942943" y="1117261"/>
                    <a:pt x="4905103" y="1275857"/>
                  </a:cubicBezTo>
                  <a:cubicBezTo>
                    <a:pt x="4879601" y="1378072"/>
                    <a:pt x="4856787" y="1481045"/>
                    <a:pt x="4829562" y="1582847"/>
                  </a:cubicBezTo>
                  <a:cubicBezTo>
                    <a:pt x="4834249" y="1518471"/>
                    <a:pt x="4837764" y="1454027"/>
                    <a:pt x="4842106" y="1389651"/>
                  </a:cubicBezTo>
                  <a:cubicBezTo>
                    <a:pt x="4841831" y="1378485"/>
                    <a:pt x="4845414" y="1364080"/>
                    <a:pt x="4834249" y="1356843"/>
                  </a:cubicBezTo>
                  <a:lnTo>
                    <a:pt x="4844932" y="1360910"/>
                  </a:lnTo>
                  <a:cubicBezTo>
                    <a:pt x="4841762" y="1324517"/>
                    <a:pt x="4849619" y="1288746"/>
                    <a:pt x="4850653" y="1252491"/>
                  </a:cubicBezTo>
                  <a:cubicBezTo>
                    <a:pt x="4854030" y="1185428"/>
                    <a:pt x="4860854" y="1118433"/>
                    <a:pt x="4861543" y="1051300"/>
                  </a:cubicBezTo>
                  <a:cubicBezTo>
                    <a:pt x="4856511" y="1051507"/>
                    <a:pt x="4846517" y="1051990"/>
                    <a:pt x="4841486" y="1052196"/>
                  </a:cubicBezTo>
                  <a:cubicBezTo>
                    <a:pt x="4842451" y="1056470"/>
                    <a:pt x="4844450" y="1065085"/>
                    <a:pt x="4845483" y="1069359"/>
                  </a:cubicBezTo>
                  <a:cubicBezTo>
                    <a:pt x="4831216" y="1065292"/>
                    <a:pt x="4823841" y="1082110"/>
                    <a:pt x="4811504" y="1085900"/>
                  </a:cubicBezTo>
                  <a:cubicBezTo>
                    <a:pt x="4809022" y="1097273"/>
                    <a:pt x="4807506" y="1108783"/>
                    <a:pt x="4807437" y="1120363"/>
                  </a:cubicBezTo>
                  <a:cubicBezTo>
                    <a:pt x="4806679" y="1109611"/>
                    <a:pt x="4800338" y="1097755"/>
                    <a:pt x="4806610" y="1087555"/>
                  </a:cubicBezTo>
                  <a:cubicBezTo>
                    <a:pt x="4815019" y="1081145"/>
                    <a:pt x="4823910" y="1075286"/>
                    <a:pt x="4831906" y="1068118"/>
                  </a:cubicBezTo>
                  <a:cubicBezTo>
                    <a:pt x="4841417" y="1056539"/>
                    <a:pt x="4832526" y="1043994"/>
                    <a:pt x="4828115" y="1032415"/>
                  </a:cubicBezTo>
                  <a:cubicBezTo>
                    <a:pt x="4836110" y="1035792"/>
                    <a:pt x="4837488" y="1044821"/>
                    <a:pt x="4840659" y="1051921"/>
                  </a:cubicBezTo>
                  <a:cubicBezTo>
                    <a:pt x="4863404" y="1053023"/>
                    <a:pt x="4864024" y="1031037"/>
                    <a:pt x="4867057" y="1014288"/>
                  </a:cubicBezTo>
                  <a:cubicBezTo>
                    <a:pt x="4857752" y="1012289"/>
                    <a:pt x="4850653" y="1006706"/>
                    <a:pt x="4844794" y="999676"/>
                  </a:cubicBezTo>
                  <a:cubicBezTo>
                    <a:pt x="4851618" y="1004087"/>
                    <a:pt x="4858786" y="1008153"/>
                    <a:pt x="4866161" y="1011806"/>
                  </a:cubicBezTo>
                  <a:cubicBezTo>
                    <a:pt x="4868022" y="970245"/>
                    <a:pt x="4870848" y="928752"/>
                    <a:pt x="4873605" y="887329"/>
                  </a:cubicBezTo>
                  <a:lnTo>
                    <a:pt x="4859475" y="888087"/>
                  </a:lnTo>
                  <a:cubicBezTo>
                    <a:pt x="4864300" y="886639"/>
                    <a:pt x="4869125" y="885192"/>
                    <a:pt x="4874087" y="883744"/>
                  </a:cubicBezTo>
                  <a:cubicBezTo>
                    <a:pt x="4872571" y="871958"/>
                    <a:pt x="4862715" y="855348"/>
                    <a:pt x="4875810" y="846456"/>
                  </a:cubicBezTo>
                  <a:cubicBezTo>
                    <a:pt x="4877258" y="828467"/>
                    <a:pt x="4878016" y="810478"/>
                    <a:pt x="4879601" y="792419"/>
                  </a:cubicBezTo>
                  <a:cubicBezTo>
                    <a:pt x="4845208" y="787733"/>
                    <a:pt x="4810539" y="788491"/>
                    <a:pt x="4776214" y="783942"/>
                  </a:cubicBezTo>
                  <a:cubicBezTo>
                    <a:pt x="4775180" y="796624"/>
                    <a:pt x="4774078" y="809306"/>
                    <a:pt x="4772975" y="821850"/>
                  </a:cubicBezTo>
                  <a:cubicBezTo>
                    <a:pt x="4777248" y="821161"/>
                    <a:pt x="4785726" y="819851"/>
                    <a:pt x="4789999" y="819162"/>
                  </a:cubicBezTo>
                  <a:cubicBezTo>
                    <a:pt x="4790275" y="821781"/>
                    <a:pt x="4790688" y="827088"/>
                    <a:pt x="4790964" y="829708"/>
                  </a:cubicBezTo>
                  <a:cubicBezTo>
                    <a:pt x="4786553" y="828674"/>
                    <a:pt x="4777731" y="826606"/>
                    <a:pt x="4773320" y="825572"/>
                  </a:cubicBezTo>
                  <a:cubicBezTo>
                    <a:pt x="4772217" y="847559"/>
                    <a:pt x="4770218" y="869408"/>
                    <a:pt x="4769046" y="891326"/>
                  </a:cubicBezTo>
                  <a:cubicBezTo>
                    <a:pt x="4770769" y="891740"/>
                    <a:pt x="4774353" y="892498"/>
                    <a:pt x="4776077" y="892911"/>
                  </a:cubicBezTo>
                  <a:cubicBezTo>
                    <a:pt x="4782831" y="885743"/>
                    <a:pt x="4784003" y="875818"/>
                    <a:pt x="4786484" y="866651"/>
                  </a:cubicBezTo>
                  <a:lnTo>
                    <a:pt x="4788138" y="868099"/>
                  </a:lnTo>
                  <a:cubicBezTo>
                    <a:pt x="4787380" y="878299"/>
                    <a:pt x="4787311" y="888431"/>
                    <a:pt x="4788000" y="898425"/>
                  </a:cubicBezTo>
                  <a:cubicBezTo>
                    <a:pt x="4783314" y="898425"/>
                    <a:pt x="4774009" y="898425"/>
                    <a:pt x="4769391" y="898425"/>
                  </a:cubicBezTo>
                  <a:cubicBezTo>
                    <a:pt x="4757605" y="1063982"/>
                    <a:pt x="4748713" y="1229746"/>
                    <a:pt x="4737547" y="1395303"/>
                  </a:cubicBezTo>
                  <a:cubicBezTo>
                    <a:pt x="4743061" y="1400541"/>
                    <a:pt x="4749127" y="1405159"/>
                    <a:pt x="4755399" y="1409502"/>
                  </a:cubicBezTo>
                  <a:cubicBezTo>
                    <a:pt x="4750230" y="1410260"/>
                    <a:pt x="4739960" y="1411707"/>
                    <a:pt x="4734859" y="1412396"/>
                  </a:cubicBezTo>
                  <a:cubicBezTo>
                    <a:pt x="4739478" y="1414533"/>
                    <a:pt x="4748851" y="1418738"/>
                    <a:pt x="4753538" y="1420805"/>
                  </a:cubicBezTo>
                  <a:cubicBezTo>
                    <a:pt x="4752504" y="1429421"/>
                    <a:pt x="4754089" y="1437967"/>
                    <a:pt x="4761120" y="1443688"/>
                  </a:cubicBezTo>
                  <a:cubicBezTo>
                    <a:pt x="4757467" y="1443068"/>
                    <a:pt x="4750161" y="1441689"/>
                    <a:pt x="4746508" y="1441000"/>
                  </a:cubicBezTo>
                  <a:cubicBezTo>
                    <a:pt x="4746715" y="1435555"/>
                    <a:pt x="4747059" y="1424665"/>
                    <a:pt x="4747197" y="1419220"/>
                  </a:cubicBezTo>
                  <a:cubicBezTo>
                    <a:pt x="4729828" y="1420805"/>
                    <a:pt x="4737203" y="1441345"/>
                    <a:pt x="4734033" y="1452579"/>
                  </a:cubicBezTo>
                  <a:cubicBezTo>
                    <a:pt x="4729139" y="1531222"/>
                    <a:pt x="4725348" y="1609934"/>
                    <a:pt x="4719214" y="1688577"/>
                  </a:cubicBezTo>
                  <a:cubicBezTo>
                    <a:pt x="4723280" y="1688784"/>
                    <a:pt x="4731413" y="1689336"/>
                    <a:pt x="4735480" y="1689611"/>
                  </a:cubicBezTo>
                  <a:cubicBezTo>
                    <a:pt x="4731413" y="1689887"/>
                    <a:pt x="4723211" y="1690438"/>
                    <a:pt x="4719076" y="1690714"/>
                  </a:cubicBezTo>
                  <a:cubicBezTo>
                    <a:pt x="4718731" y="1698227"/>
                    <a:pt x="4717973" y="1713252"/>
                    <a:pt x="4717628" y="1720696"/>
                  </a:cubicBezTo>
                  <a:cubicBezTo>
                    <a:pt x="4726106" y="1717870"/>
                    <a:pt x="4733964" y="1713666"/>
                    <a:pt x="4741270" y="1708221"/>
                  </a:cubicBezTo>
                  <a:cubicBezTo>
                    <a:pt x="4740787" y="1712425"/>
                    <a:pt x="4739891" y="1720834"/>
                    <a:pt x="4739409" y="1725038"/>
                  </a:cubicBezTo>
                  <a:cubicBezTo>
                    <a:pt x="4733550" y="1724832"/>
                    <a:pt x="4721764" y="1724280"/>
                    <a:pt x="4715905" y="1724074"/>
                  </a:cubicBezTo>
                  <a:cubicBezTo>
                    <a:pt x="4715974" y="1736480"/>
                    <a:pt x="4715974" y="1748817"/>
                    <a:pt x="4716319" y="1761155"/>
                  </a:cubicBezTo>
                  <a:cubicBezTo>
                    <a:pt x="4720179" y="1762120"/>
                    <a:pt x="4727898" y="1763912"/>
                    <a:pt x="4731827" y="1764877"/>
                  </a:cubicBezTo>
                  <a:cubicBezTo>
                    <a:pt x="4729001" y="1775974"/>
                    <a:pt x="4733964" y="1789690"/>
                    <a:pt x="4725072" y="1798788"/>
                  </a:cubicBezTo>
                  <a:cubicBezTo>
                    <a:pt x="4725210" y="1785899"/>
                    <a:pt x="4723418" y="1773010"/>
                    <a:pt x="4715285" y="1762533"/>
                  </a:cubicBezTo>
                  <a:cubicBezTo>
                    <a:pt x="4713975" y="1777077"/>
                    <a:pt x="4712735" y="1791551"/>
                    <a:pt x="4711494" y="1805956"/>
                  </a:cubicBezTo>
                  <a:cubicBezTo>
                    <a:pt x="4728243" y="1819052"/>
                    <a:pt x="4744923" y="1832285"/>
                    <a:pt x="4763394" y="1842969"/>
                  </a:cubicBezTo>
                  <a:cubicBezTo>
                    <a:pt x="4753124" y="1843038"/>
                    <a:pt x="4742924" y="1843106"/>
                    <a:pt x="4732792" y="1843175"/>
                  </a:cubicBezTo>
                  <a:cubicBezTo>
                    <a:pt x="4730310" y="1834835"/>
                    <a:pt x="4727898" y="1826496"/>
                    <a:pt x="4725555" y="1818156"/>
                  </a:cubicBezTo>
                  <a:lnTo>
                    <a:pt x="4711563" y="1823049"/>
                  </a:lnTo>
                  <a:cubicBezTo>
                    <a:pt x="4706118" y="1892939"/>
                    <a:pt x="4701914" y="1962966"/>
                    <a:pt x="4698467" y="2032925"/>
                  </a:cubicBezTo>
                  <a:cubicBezTo>
                    <a:pt x="4736996" y="2035199"/>
                    <a:pt x="4775525" y="2037543"/>
                    <a:pt x="4813985" y="2040231"/>
                  </a:cubicBezTo>
                  <a:cubicBezTo>
                    <a:pt x="4827218" y="1988469"/>
                    <a:pt x="4836730" y="1935810"/>
                    <a:pt x="4850515" y="1884116"/>
                  </a:cubicBezTo>
                  <a:cubicBezTo>
                    <a:pt x="4846793" y="1884461"/>
                    <a:pt x="4839349" y="1885013"/>
                    <a:pt x="4835627" y="1885357"/>
                  </a:cubicBezTo>
                  <a:cubicBezTo>
                    <a:pt x="4837075" y="1875777"/>
                    <a:pt x="4835834" y="1866472"/>
                    <a:pt x="4831837" y="1857580"/>
                  </a:cubicBezTo>
                  <a:cubicBezTo>
                    <a:pt x="4834869" y="1855926"/>
                    <a:pt x="4840934" y="1852756"/>
                    <a:pt x="4843967" y="1851171"/>
                  </a:cubicBezTo>
                  <a:cubicBezTo>
                    <a:pt x="4841072" y="1863646"/>
                    <a:pt x="4843416" y="1875156"/>
                    <a:pt x="4852445" y="1884392"/>
                  </a:cubicBezTo>
                  <a:cubicBezTo>
                    <a:pt x="4853892" y="1856478"/>
                    <a:pt x="4862784" y="1829804"/>
                    <a:pt x="4868367" y="1802579"/>
                  </a:cubicBezTo>
                  <a:cubicBezTo>
                    <a:pt x="4906895" y="1630818"/>
                    <a:pt x="4947147" y="1459403"/>
                    <a:pt x="4984574" y="1287436"/>
                  </a:cubicBezTo>
                  <a:cubicBezTo>
                    <a:pt x="4979060" y="1261796"/>
                    <a:pt x="4987882" y="1236708"/>
                    <a:pt x="5004355" y="1216995"/>
                  </a:cubicBezTo>
                  <a:cubicBezTo>
                    <a:pt x="5004148" y="1233468"/>
                    <a:pt x="5003045" y="1249941"/>
                    <a:pt x="5000288" y="1266138"/>
                  </a:cubicBezTo>
                  <a:cubicBezTo>
                    <a:pt x="4992155" y="1342645"/>
                    <a:pt x="4989191" y="1419771"/>
                    <a:pt x="4984987" y="1496553"/>
                  </a:cubicBezTo>
                  <a:cubicBezTo>
                    <a:pt x="4999461" y="1515094"/>
                    <a:pt x="4971616" y="1535978"/>
                    <a:pt x="4984780" y="1554450"/>
                  </a:cubicBezTo>
                  <a:cubicBezTo>
                    <a:pt x="4987331" y="1554243"/>
                    <a:pt x="4992431" y="1553830"/>
                    <a:pt x="4995050" y="1553623"/>
                  </a:cubicBezTo>
                  <a:cubicBezTo>
                    <a:pt x="4994292" y="1556793"/>
                    <a:pt x="4993740" y="1559964"/>
                    <a:pt x="4993258" y="1563135"/>
                  </a:cubicBezTo>
                  <a:cubicBezTo>
                    <a:pt x="4990845" y="1564720"/>
                    <a:pt x="4985952" y="1567890"/>
                    <a:pt x="4983540" y="1569475"/>
                  </a:cubicBezTo>
                  <a:cubicBezTo>
                    <a:pt x="4981885" y="1573956"/>
                    <a:pt x="4978577" y="1582985"/>
                    <a:pt x="4976923" y="1587465"/>
                  </a:cubicBezTo>
                  <a:cubicBezTo>
                    <a:pt x="5000633" y="1582020"/>
                    <a:pt x="4978026" y="1586569"/>
                    <a:pt x="4978232" y="1596839"/>
                  </a:cubicBezTo>
                  <a:cubicBezTo>
                    <a:pt x="4973270" y="1659560"/>
                    <a:pt x="4970926" y="1722419"/>
                    <a:pt x="4965826" y="1785072"/>
                  </a:cubicBezTo>
                  <a:cubicBezTo>
                    <a:pt x="4969066" y="1787553"/>
                    <a:pt x="4975544" y="1792447"/>
                    <a:pt x="4978784" y="1794928"/>
                  </a:cubicBezTo>
                  <a:lnTo>
                    <a:pt x="4965412" y="1790861"/>
                  </a:lnTo>
                  <a:cubicBezTo>
                    <a:pt x="4964516" y="1813745"/>
                    <a:pt x="4963000" y="1836627"/>
                    <a:pt x="4961552" y="1859441"/>
                  </a:cubicBezTo>
                  <a:cubicBezTo>
                    <a:pt x="4972649" y="1859993"/>
                    <a:pt x="4982988" y="1864197"/>
                    <a:pt x="4992224" y="1870400"/>
                  </a:cubicBezTo>
                  <a:cubicBezTo>
                    <a:pt x="4981679" y="1870745"/>
                    <a:pt x="4971271" y="1870814"/>
                    <a:pt x="4960932" y="1870538"/>
                  </a:cubicBezTo>
                  <a:cubicBezTo>
                    <a:pt x="4960036" y="1883979"/>
                    <a:pt x="4958864" y="1897419"/>
                    <a:pt x="4957417" y="1910790"/>
                  </a:cubicBezTo>
                  <a:cubicBezTo>
                    <a:pt x="4981472" y="1907758"/>
                    <a:pt x="4969823" y="1938705"/>
                    <a:pt x="4977405" y="1952076"/>
                  </a:cubicBezTo>
                  <a:lnTo>
                    <a:pt x="4970857" y="1954006"/>
                  </a:lnTo>
                  <a:cubicBezTo>
                    <a:pt x="4966309" y="1943461"/>
                    <a:pt x="4970926" y="1926298"/>
                    <a:pt x="4957900" y="1920922"/>
                  </a:cubicBezTo>
                  <a:cubicBezTo>
                    <a:pt x="4957624" y="1927332"/>
                    <a:pt x="4956935" y="1940152"/>
                    <a:pt x="4956590" y="1946631"/>
                  </a:cubicBezTo>
                  <a:cubicBezTo>
                    <a:pt x="4962311" y="1953386"/>
                    <a:pt x="4967894" y="1960416"/>
                    <a:pt x="4972925" y="1967791"/>
                  </a:cubicBezTo>
                  <a:cubicBezTo>
                    <a:pt x="4968514" y="1966757"/>
                    <a:pt x="4959829" y="1964827"/>
                    <a:pt x="4955418" y="1963862"/>
                  </a:cubicBezTo>
                  <a:cubicBezTo>
                    <a:pt x="4953006" y="1992190"/>
                    <a:pt x="4951145" y="2020518"/>
                    <a:pt x="4950249" y="2048915"/>
                  </a:cubicBezTo>
                  <a:moveTo>
                    <a:pt x="5219951" y="1015666"/>
                  </a:moveTo>
                  <a:cubicBezTo>
                    <a:pt x="5223742" y="1012151"/>
                    <a:pt x="5223742" y="1012151"/>
                    <a:pt x="5219951" y="1015666"/>
                  </a:cubicBezTo>
                  <a:moveTo>
                    <a:pt x="5239595" y="1036619"/>
                  </a:moveTo>
                  <a:cubicBezTo>
                    <a:pt x="5228773" y="1015873"/>
                    <a:pt x="5262202" y="1035379"/>
                    <a:pt x="5239595" y="1036619"/>
                  </a:cubicBezTo>
                  <a:moveTo>
                    <a:pt x="5254069" y="1050197"/>
                  </a:moveTo>
                  <a:cubicBezTo>
                    <a:pt x="5260617" y="1027383"/>
                    <a:pt x="5264545" y="1003880"/>
                    <a:pt x="5263236" y="979963"/>
                  </a:cubicBezTo>
                  <a:cubicBezTo>
                    <a:pt x="5269853" y="974449"/>
                    <a:pt x="5290323" y="958941"/>
                    <a:pt x="5287911" y="977896"/>
                  </a:cubicBezTo>
                  <a:cubicBezTo>
                    <a:pt x="5283844" y="978654"/>
                    <a:pt x="5275573" y="980239"/>
                    <a:pt x="5271507" y="981066"/>
                  </a:cubicBezTo>
                  <a:cubicBezTo>
                    <a:pt x="5267991" y="996230"/>
                    <a:pt x="5262546" y="1012771"/>
                    <a:pt x="5272334" y="1026832"/>
                  </a:cubicBezTo>
                  <a:cubicBezTo>
                    <a:pt x="5271782" y="1031037"/>
                    <a:pt x="5270679" y="1039583"/>
                    <a:pt x="5270128" y="1043856"/>
                  </a:cubicBezTo>
                  <a:cubicBezTo>
                    <a:pt x="5264752" y="1045993"/>
                    <a:pt x="5259376" y="1048130"/>
                    <a:pt x="5254069" y="1050197"/>
                  </a:cubicBezTo>
                  <a:moveTo>
                    <a:pt x="5226844" y="1077905"/>
                  </a:moveTo>
                  <a:cubicBezTo>
                    <a:pt x="5230290" y="1073976"/>
                    <a:pt x="5230290" y="1073976"/>
                    <a:pt x="5226844" y="1077905"/>
                  </a:cubicBezTo>
                  <a:moveTo>
                    <a:pt x="5233184" y="1099961"/>
                  </a:moveTo>
                  <a:cubicBezTo>
                    <a:pt x="5237320" y="1096032"/>
                    <a:pt x="5237320" y="1096032"/>
                    <a:pt x="5233184" y="1099961"/>
                  </a:cubicBezTo>
                  <a:moveTo>
                    <a:pt x="5219124" y="1128082"/>
                  </a:moveTo>
                  <a:cubicBezTo>
                    <a:pt x="5208027" y="1107474"/>
                    <a:pt x="5241593" y="1125808"/>
                    <a:pt x="5219124" y="1128082"/>
                  </a:cubicBezTo>
                  <a:moveTo>
                    <a:pt x="5241042" y="1119329"/>
                  </a:moveTo>
                  <a:cubicBezTo>
                    <a:pt x="5243317" y="1113401"/>
                    <a:pt x="5245660" y="1107405"/>
                    <a:pt x="5248072" y="1101340"/>
                  </a:cubicBezTo>
                  <a:cubicBezTo>
                    <a:pt x="5245936" y="1087141"/>
                    <a:pt x="5232151" y="1065981"/>
                    <a:pt x="5245660" y="1054953"/>
                  </a:cubicBezTo>
                  <a:cubicBezTo>
                    <a:pt x="5261719" y="1078043"/>
                    <a:pt x="5247803" y="1112161"/>
                    <a:pt x="5264408" y="1135182"/>
                  </a:cubicBezTo>
                  <a:cubicBezTo>
                    <a:pt x="5255723" y="1131391"/>
                    <a:pt x="5248210" y="1125463"/>
                    <a:pt x="5241042" y="1119329"/>
                  </a:cubicBezTo>
                  <a:moveTo>
                    <a:pt x="5262408" y="1195835"/>
                  </a:moveTo>
                  <a:cubicBezTo>
                    <a:pt x="5254758" y="1196042"/>
                    <a:pt x="5243523" y="1180465"/>
                    <a:pt x="5256068" y="1179086"/>
                  </a:cubicBezTo>
                  <a:cubicBezTo>
                    <a:pt x="5269439" y="1177157"/>
                    <a:pt x="5284878" y="1201763"/>
                    <a:pt x="5262408" y="1195835"/>
                  </a:cubicBezTo>
                  <a:moveTo>
                    <a:pt x="5249244" y="1241188"/>
                  </a:moveTo>
                  <a:cubicBezTo>
                    <a:pt x="5244557" y="1257316"/>
                    <a:pt x="5253448" y="1271514"/>
                    <a:pt x="5258342" y="1286126"/>
                  </a:cubicBezTo>
                  <a:cubicBezTo>
                    <a:pt x="5240835" y="1277924"/>
                    <a:pt x="5239319" y="1256144"/>
                    <a:pt x="5249244" y="1241188"/>
                  </a:cubicBezTo>
                  <a:moveTo>
                    <a:pt x="5331264" y="1368354"/>
                  </a:moveTo>
                  <a:cubicBezTo>
                    <a:pt x="5332298" y="1345884"/>
                    <a:pt x="5352355" y="1379037"/>
                    <a:pt x="5331264" y="1368354"/>
                  </a:cubicBezTo>
                  <a:moveTo>
                    <a:pt x="5371585" y="1381449"/>
                  </a:moveTo>
                  <a:cubicBezTo>
                    <a:pt x="5362763" y="1381449"/>
                    <a:pt x="5358145" y="1364770"/>
                    <a:pt x="5368966" y="1364218"/>
                  </a:cubicBezTo>
                  <a:cubicBezTo>
                    <a:pt x="5377513" y="1364356"/>
                    <a:pt x="5382269" y="1380967"/>
                    <a:pt x="5371585" y="1381449"/>
                  </a:cubicBezTo>
                  <a:moveTo>
                    <a:pt x="5314447" y="1402196"/>
                  </a:moveTo>
                  <a:cubicBezTo>
                    <a:pt x="5303557" y="1381518"/>
                    <a:pt x="5337192" y="1401093"/>
                    <a:pt x="5314447" y="1402196"/>
                  </a:cubicBezTo>
                  <a:moveTo>
                    <a:pt x="5254069" y="1408468"/>
                  </a:moveTo>
                  <a:cubicBezTo>
                    <a:pt x="5257791" y="1405090"/>
                    <a:pt x="5257791" y="1405090"/>
                    <a:pt x="5254069" y="1408468"/>
                  </a:cubicBezTo>
                  <a:moveTo>
                    <a:pt x="5329886" y="1415843"/>
                  </a:moveTo>
                  <a:cubicBezTo>
                    <a:pt x="5333539" y="1412190"/>
                    <a:pt x="5333539" y="1412190"/>
                    <a:pt x="5329886" y="1415843"/>
                  </a:cubicBezTo>
                  <a:moveTo>
                    <a:pt x="5385094" y="1429283"/>
                  </a:moveTo>
                  <a:cubicBezTo>
                    <a:pt x="5389092" y="1426043"/>
                    <a:pt x="5389092" y="1426043"/>
                    <a:pt x="5385094" y="1429283"/>
                  </a:cubicBezTo>
                  <a:moveTo>
                    <a:pt x="5297491" y="1420047"/>
                  </a:moveTo>
                  <a:cubicBezTo>
                    <a:pt x="5294803" y="1420116"/>
                    <a:pt x="5289496" y="1420254"/>
                    <a:pt x="5286808" y="1420254"/>
                  </a:cubicBezTo>
                  <a:cubicBezTo>
                    <a:pt x="5290806" y="1418462"/>
                    <a:pt x="5298732" y="1414878"/>
                    <a:pt x="5302729" y="1413017"/>
                  </a:cubicBezTo>
                  <a:cubicBezTo>
                    <a:pt x="5298043" y="1403988"/>
                    <a:pt x="5296940" y="1394821"/>
                    <a:pt x="5306383" y="1388480"/>
                  </a:cubicBezTo>
                  <a:cubicBezTo>
                    <a:pt x="5304452" y="1407778"/>
                    <a:pt x="5301971" y="1427077"/>
                    <a:pt x="5304039" y="1446445"/>
                  </a:cubicBezTo>
                  <a:cubicBezTo>
                    <a:pt x="5301833" y="1437692"/>
                    <a:pt x="5299559" y="1428869"/>
                    <a:pt x="5297491" y="1420047"/>
                  </a:cubicBezTo>
                  <a:moveTo>
                    <a:pt x="5361247" y="1456439"/>
                  </a:moveTo>
                  <a:cubicBezTo>
                    <a:pt x="5359730" y="1447755"/>
                    <a:pt x="5356146" y="1439760"/>
                    <a:pt x="5351115" y="1432522"/>
                  </a:cubicBezTo>
                  <a:cubicBezTo>
                    <a:pt x="5353941" y="1433832"/>
                    <a:pt x="5359661" y="1436382"/>
                    <a:pt x="5362487" y="1437692"/>
                  </a:cubicBezTo>
                  <a:cubicBezTo>
                    <a:pt x="5374273" y="1436589"/>
                    <a:pt x="5385646" y="1439897"/>
                    <a:pt x="5397156" y="1441965"/>
                  </a:cubicBezTo>
                  <a:cubicBezTo>
                    <a:pt x="5396949" y="1464848"/>
                    <a:pt x="5377037" y="1463194"/>
                    <a:pt x="5361247" y="1456439"/>
                  </a:cubicBezTo>
                  <a:moveTo>
                    <a:pt x="5351115" y="1471189"/>
                  </a:moveTo>
                  <a:cubicBezTo>
                    <a:pt x="5354630" y="1467536"/>
                    <a:pt x="5354630" y="1467536"/>
                    <a:pt x="5351115" y="1471189"/>
                  </a:cubicBezTo>
                  <a:moveTo>
                    <a:pt x="5214230" y="1472016"/>
                  </a:moveTo>
                  <a:cubicBezTo>
                    <a:pt x="5211542" y="1462436"/>
                    <a:pt x="5215057" y="1458920"/>
                    <a:pt x="5224638" y="1461333"/>
                  </a:cubicBezTo>
                  <a:cubicBezTo>
                    <a:pt x="5227257" y="1470982"/>
                    <a:pt x="5223811" y="1474566"/>
                    <a:pt x="5214230" y="1472016"/>
                  </a:cubicBezTo>
                  <a:moveTo>
                    <a:pt x="5171359" y="1470776"/>
                  </a:moveTo>
                  <a:cubicBezTo>
                    <a:pt x="5174943" y="1467260"/>
                    <a:pt x="5174943" y="1467260"/>
                    <a:pt x="5171359" y="1470776"/>
                  </a:cubicBezTo>
                  <a:moveTo>
                    <a:pt x="5235115" y="1462091"/>
                  </a:moveTo>
                  <a:cubicBezTo>
                    <a:pt x="5239939" y="1466020"/>
                    <a:pt x="5245177" y="1469053"/>
                    <a:pt x="5250898" y="1471258"/>
                  </a:cubicBezTo>
                  <a:cubicBezTo>
                    <a:pt x="5253311" y="1461540"/>
                    <a:pt x="5271162" y="1448030"/>
                    <a:pt x="5254896" y="1441345"/>
                  </a:cubicBezTo>
                  <a:cubicBezTo>
                    <a:pt x="5268198" y="1439966"/>
                    <a:pt x="5281914" y="1440793"/>
                    <a:pt x="5293287" y="1448582"/>
                  </a:cubicBezTo>
                  <a:cubicBezTo>
                    <a:pt x="5278537" y="1441207"/>
                    <a:pt x="5261513" y="1444791"/>
                    <a:pt x="5261513" y="1464159"/>
                  </a:cubicBezTo>
                  <a:cubicBezTo>
                    <a:pt x="5280811" y="1462091"/>
                    <a:pt x="5300317" y="1460782"/>
                    <a:pt x="5319754" y="1460299"/>
                  </a:cubicBezTo>
                  <a:cubicBezTo>
                    <a:pt x="5320174" y="1464641"/>
                    <a:pt x="5321063" y="1473257"/>
                    <a:pt x="5321477" y="1477599"/>
                  </a:cubicBezTo>
                  <a:cubicBezTo>
                    <a:pt x="5314309" y="1472705"/>
                    <a:pt x="5306934" y="1468019"/>
                    <a:pt x="5299766" y="1463263"/>
                  </a:cubicBezTo>
                  <a:cubicBezTo>
                    <a:pt x="5295286" y="1467950"/>
                    <a:pt x="5290944" y="1472568"/>
                    <a:pt x="5286601" y="1477185"/>
                  </a:cubicBezTo>
                  <a:cubicBezTo>
                    <a:pt x="5269990" y="1473877"/>
                    <a:pt x="5235735" y="1488834"/>
                    <a:pt x="5235115" y="1462091"/>
                  </a:cubicBezTo>
                  <a:moveTo>
                    <a:pt x="5378615" y="1491384"/>
                  </a:moveTo>
                  <a:cubicBezTo>
                    <a:pt x="5382206" y="1487800"/>
                    <a:pt x="5382206" y="1487800"/>
                    <a:pt x="5378615" y="1491384"/>
                  </a:cubicBezTo>
                  <a:moveTo>
                    <a:pt x="5350150" y="1498828"/>
                  </a:moveTo>
                  <a:cubicBezTo>
                    <a:pt x="5339811" y="1477806"/>
                    <a:pt x="5372688" y="1497932"/>
                    <a:pt x="5350150" y="1498828"/>
                  </a:cubicBezTo>
                  <a:moveTo>
                    <a:pt x="5269508" y="1498345"/>
                  </a:moveTo>
                  <a:cubicBezTo>
                    <a:pt x="5269646" y="1488145"/>
                    <a:pt x="5294734" y="1471809"/>
                    <a:pt x="5300869" y="1485388"/>
                  </a:cubicBezTo>
                  <a:cubicBezTo>
                    <a:pt x="5294527" y="1494555"/>
                    <a:pt x="5280191" y="1499241"/>
                    <a:pt x="5269508" y="1498345"/>
                  </a:cubicBezTo>
                  <a:moveTo>
                    <a:pt x="5294803" y="1514198"/>
                  </a:moveTo>
                  <a:cubicBezTo>
                    <a:pt x="5292253" y="1502894"/>
                    <a:pt x="5296389" y="1499310"/>
                    <a:pt x="5307278" y="1503446"/>
                  </a:cubicBezTo>
                  <a:cubicBezTo>
                    <a:pt x="5309760" y="1514956"/>
                    <a:pt x="5305624" y="1518540"/>
                    <a:pt x="5294803" y="1514198"/>
                  </a:cubicBezTo>
                  <a:moveTo>
                    <a:pt x="5240215" y="1524606"/>
                  </a:moveTo>
                  <a:cubicBezTo>
                    <a:pt x="5234287" y="1518058"/>
                    <a:pt x="5243454" y="1504204"/>
                    <a:pt x="5251725" y="1508822"/>
                  </a:cubicBezTo>
                  <a:cubicBezTo>
                    <a:pt x="5257032" y="1515508"/>
                    <a:pt x="5248417" y="1529017"/>
                    <a:pt x="5240215" y="1524606"/>
                  </a:cubicBezTo>
                  <a:moveTo>
                    <a:pt x="5199480" y="1540252"/>
                  </a:moveTo>
                  <a:cubicBezTo>
                    <a:pt x="5193346" y="1531636"/>
                    <a:pt x="5194725" y="1526329"/>
                    <a:pt x="5203547" y="1524261"/>
                  </a:cubicBezTo>
                  <a:cubicBezTo>
                    <a:pt x="5209543" y="1532945"/>
                    <a:pt x="5208165" y="1538253"/>
                    <a:pt x="5199480" y="1540252"/>
                  </a:cubicBezTo>
                  <a:moveTo>
                    <a:pt x="5192312" y="1587465"/>
                  </a:moveTo>
                  <a:cubicBezTo>
                    <a:pt x="5200859" y="1577402"/>
                    <a:pt x="5202444" y="1564168"/>
                    <a:pt x="5206718" y="1552107"/>
                  </a:cubicBezTo>
                  <a:cubicBezTo>
                    <a:pt x="5216574" y="1551348"/>
                    <a:pt x="5226361" y="1552865"/>
                    <a:pt x="5235183" y="1557621"/>
                  </a:cubicBezTo>
                  <a:lnTo>
                    <a:pt x="5234977" y="1550315"/>
                  </a:lnTo>
                  <a:cubicBezTo>
                    <a:pt x="5235183" y="1555622"/>
                    <a:pt x="5235597" y="1560929"/>
                    <a:pt x="5236079" y="1566236"/>
                  </a:cubicBezTo>
                  <a:cubicBezTo>
                    <a:pt x="5228153" y="1560171"/>
                    <a:pt x="5218573" y="1557000"/>
                    <a:pt x="5207407" y="1556862"/>
                  </a:cubicBezTo>
                  <a:cubicBezTo>
                    <a:pt x="5198860" y="1578987"/>
                    <a:pt x="5221261" y="1596425"/>
                    <a:pt x="5216918" y="1618757"/>
                  </a:cubicBezTo>
                  <a:cubicBezTo>
                    <a:pt x="5209750" y="1606281"/>
                    <a:pt x="5213610" y="1573887"/>
                    <a:pt x="5192312" y="1587465"/>
                  </a:cubicBezTo>
                  <a:moveTo>
                    <a:pt x="5179699" y="1630612"/>
                  </a:moveTo>
                  <a:cubicBezTo>
                    <a:pt x="5180388" y="1607798"/>
                    <a:pt x="5200514" y="1640812"/>
                    <a:pt x="5179699" y="1630612"/>
                  </a:cubicBezTo>
                  <a:moveTo>
                    <a:pt x="5218848" y="1651634"/>
                  </a:moveTo>
                  <a:cubicBezTo>
                    <a:pt x="5219675" y="1628751"/>
                    <a:pt x="5239595" y="1662179"/>
                    <a:pt x="5218848" y="1651634"/>
                  </a:cubicBezTo>
                  <a:moveTo>
                    <a:pt x="5219951" y="1719042"/>
                  </a:moveTo>
                  <a:cubicBezTo>
                    <a:pt x="5223535" y="1715182"/>
                    <a:pt x="5223535" y="1715182"/>
                    <a:pt x="5219951" y="1719042"/>
                  </a:cubicBezTo>
                  <a:moveTo>
                    <a:pt x="5171635" y="1802372"/>
                  </a:moveTo>
                  <a:cubicBezTo>
                    <a:pt x="5174874" y="1798512"/>
                    <a:pt x="5174874" y="1798512"/>
                    <a:pt x="5171635" y="1802372"/>
                  </a:cubicBezTo>
                  <a:moveTo>
                    <a:pt x="5180664" y="1843933"/>
                  </a:moveTo>
                  <a:cubicBezTo>
                    <a:pt x="5186040" y="1833801"/>
                    <a:pt x="5186316" y="1822016"/>
                    <a:pt x="5177907" y="1813469"/>
                  </a:cubicBezTo>
                  <a:cubicBezTo>
                    <a:pt x="5190865" y="1812228"/>
                    <a:pt x="5203685" y="1809058"/>
                    <a:pt x="5216712" y="1808024"/>
                  </a:cubicBezTo>
                  <a:cubicBezTo>
                    <a:pt x="5216918" y="1818569"/>
                    <a:pt x="5217263" y="1829046"/>
                    <a:pt x="5217814" y="1839591"/>
                  </a:cubicBezTo>
                  <a:lnTo>
                    <a:pt x="5212300" y="1838833"/>
                  </a:lnTo>
                  <a:cubicBezTo>
                    <a:pt x="5211818" y="1828908"/>
                    <a:pt x="5211267" y="1818983"/>
                    <a:pt x="5210508" y="1809058"/>
                  </a:cubicBezTo>
                  <a:cubicBezTo>
                    <a:pt x="5202306" y="1811125"/>
                    <a:pt x="5194173" y="1813193"/>
                    <a:pt x="5186109" y="1815330"/>
                  </a:cubicBezTo>
                  <a:cubicBezTo>
                    <a:pt x="5187005" y="1824773"/>
                    <a:pt x="5187901" y="1834284"/>
                    <a:pt x="5188866" y="1843727"/>
                  </a:cubicBezTo>
                  <a:cubicBezTo>
                    <a:pt x="5186798" y="1843795"/>
                    <a:pt x="5182663" y="1843864"/>
                    <a:pt x="5180664" y="1843933"/>
                  </a:cubicBezTo>
                  <a:moveTo>
                    <a:pt x="5385232" y="1932571"/>
                  </a:moveTo>
                  <a:cubicBezTo>
                    <a:pt x="5376617" y="1932571"/>
                    <a:pt x="5371241" y="1915960"/>
                    <a:pt x="5382131" y="1915270"/>
                  </a:cubicBezTo>
                  <a:cubicBezTo>
                    <a:pt x="5390608" y="1915339"/>
                    <a:pt x="5395916" y="1931881"/>
                    <a:pt x="5385232" y="1932571"/>
                  </a:cubicBezTo>
                  <a:moveTo>
                    <a:pt x="5357180" y="1932157"/>
                  </a:moveTo>
                  <a:cubicBezTo>
                    <a:pt x="5350081" y="1927057"/>
                    <a:pt x="5355870" y="1910239"/>
                    <a:pt x="5365037" y="1917200"/>
                  </a:cubicBezTo>
                  <a:cubicBezTo>
                    <a:pt x="5372412" y="1922232"/>
                    <a:pt x="5366002" y="1938291"/>
                    <a:pt x="5357180" y="1932157"/>
                  </a:cubicBezTo>
                  <a:moveTo>
                    <a:pt x="5333539" y="1894593"/>
                  </a:moveTo>
                  <a:cubicBezTo>
                    <a:pt x="5332712" y="1908033"/>
                    <a:pt x="5331057" y="1921474"/>
                    <a:pt x="5326853" y="1934225"/>
                  </a:cubicBezTo>
                  <a:cubicBezTo>
                    <a:pt x="5327060" y="1920509"/>
                    <a:pt x="5314309" y="1899280"/>
                    <a:pt x="5333539" y="1894593"/>
                  </a:cubicBezTo>
                  <a:moveTo>
                    <a:pt x="5309415" y="1932777"/>
                  </a:moveTo>
                  <a:cubicBezTo>
                    <a:pt x="5312655" y="1928986"/>
                    <a:pt x="5312655" y="1928986"/>
                    <a:pt x="5309415" y="1932777"/>
                  </a:cubicBezTo>
                  <a:moveTo>
                    <a:pt x="5404944" y="1946218"/>
                  </a:moveTo>
                  <a:cubicBezTo>
                    <a:pt x="5394192" y="1925609"/>
                    <a:pt x="5427690" y="1944908"/>
                    <a:pt x="5404944" y="1946218"/>
                  </a:cubicBezTo>
                  <a:moveTo>
                    <a:pt x="5171221" y="1947872"/>
                  </a:moveTo>
                  <a:cubicBezTo>
                    <a:pt x="5171842" y="1925127"/>
                    <a:pt x="5192105" y="1958142"/>
                    <a:pt x="5171221" y="1947872"/>
                  </a:cubicBezTo>
                  <a:moveTo>
                    <a:pt x="5365451" y="1967378"/>
                  </a:moveTo>
                  <a:cubicBezTo>
                    <a:pt x="5358558" y="1964414"/>
                    <a:pt x="5352217" y="1950146"/>
                    <a:pt x="5362625" y="1947527"/>
                  </a:cubicBezTo>
                  <a:cubicBezTo>
                    <a:pt x="5376479" y="1944701"/>
                    <a:pt x="5382131" y="1974132"/>
                    <a:pt x="5365451" y="1967378"/>
                  </a:cubicBezTo>
                  <a:moveTo>
                    <a:pt x="5384129" y="1964827"/>
                  </a:moveTo>
                  <a:cubicBezTo>
                    <a:pt x="5392607" y="1955385"/>
                    <a:pt x="5402808" y="1962415"/>
                    <a:pt x="5412320" y="1965861"/>
                  </a:cubicBezTo>
                  <a:cubicBezTo>
                    <a:pt x="5405082" y="1976820"/>
                    <a:pt x="5392676" y="1969445"/>
                    <a:pt x="5384129" y="1964827"/>
                  </a:cubicBezTo>
                  <a:moveTo>
                    <a:pt x="5159849" y="2037956"/>
                  </a:moveTo>
                  <a:cubicBezTo>
                    <a:pt x="5155507" y="2026997"/>
                    <a:pt x="5159022" y="2023206"/>
                    <a:pt x="5170263" y="2026653"/>
                  </a:cubicBezTo>
                  <a:cubicBezTo>
                    <a:pt x="5174737" y="2037956"/>
                    <a:pt x="5171290" y="2041678"/>
                    <a:pt x="5159849" y="2037956"/>
                  </a:cubicBezTo>
                  <a:moveTo>
                    <a:pt x="5202927" y="2022448"/>
                  </a:moveTo>
                  <a:cubicBezTo>
                    <a:pt x="5215747" y="2026859"/>
                    <a:pt x="5230083" y="2030650"/>
                    <a:pt x="5238905" y="2041816"/>
                  </a:cubicBezTo>
                  <a:cubicBezTo>
                    <a:pt x="5221957" y="2048433"/>
                    <a:pt x="5212507" y="2033201"/>
                    <a:pt x="5202927" y="2022448"/>
                  </a:cubicBezTo>
                  <a:moveTo>
                    <a:pt x="5122767" y="2058909"/>
                  </a:moveTo>
                  <a:cubicBezTo>
                    <a:pt x="5220709" y="2065595"/>
                    <a:pt x="5318789" y="2072350"/>
                    <a:pt x="5416869" y="2076968"/>
                  </a:cubicBezTo>
                  <a:cubicBezTo>
                    <a:pt x="5417696" y="2051397"/>
                    <a:pt x="5419350" y="2025756"/>
                    <a:pt x="5421624" y="2000254"/>
                  </a:cubicBezTo>
                  <a:cubicBezTo>
                    <a:pt x="5410183" y="1997704"/>
                    <a:pt x="5397501" y="1989295"/>
                    <a:pt x="5388885" y="2001909"/>
                  </a:cubicBezTo>
                  <a:cubicBezTo>
                    <a:pt x="5392676" y="1994947"/>
                    <a:pt x="5399500" y="1990881"/>
                    <a:pt x="5405841" y="1986263"/>
                  </a:cubicBezTo>
                  <a:cubicBezTo>
                    <a:pt x="5409701" y="1989158"/>
                    <a:pt x="5417351" y="1994809"/>
                    <a:pt x="5421211" y="1997635"/>
                  </a:cubicBezTo>
                  <a:cubicBezTo>
                    <a:pt x="5423623" y="1961312"/>
                    <a:pt x="5425966" y="1924920"/>
                    <a:pt x="5428034" y="1888528"/>
                  </a:cubicBezTo>
                  <a:cubicBezTo>
                    <a:pt x="5372895" y="1884944"/>
                    <a:pt x="5317686" y="1881980"/>
                    <a:pt x="5262546" y="1878602"/>
                  </a:cubicBezTo>
                  <a:cubicBezTo>
                    <a:pt x="5266889" y="1890044"/>
                    <a:pt x="5271576" y="1901417"/>
                    <a:pt x="5276607" y="1912513"/>
                  </a:cubicBezTo>
                  <a:cubicBezTo>
                    <a:pt x="5275366" y="1911824"/>
                    <a:pt x="5272816" y="1910446"/>
                    <a:pt x="5271576" y="1909756"/>
                  </a:cubicBezTo>
                  <a:cubicBezTo>
                    <a:pt x="5265648" y="1897143"/>
                    <a:pt x="5267991" y="1872468"/>
                    <a:pt x="5246763" y="1875777"/>
                  </a:cubicBezTo>
                  <a:cubicBezTo>
                    <a:pt x="5247176" y="1879430"/>
                    <a:pt x="5247934" y="1886667"/>
                    <a:pt x="5248348" y="1890320"/>
                  </a:cubicBezTo>
                  <a:cubicBezTo>
                    <a:pt x="5239939" y="1889630"/>
                    <a:pt x="5231737" y="1888941"/>
                    <a:pt x="5223466" y="1888252"/>
                  </a:cubicBezTo>
                  <a:cubicBezTo>
                    <a:pt x="5218366" y="1874674"/>
                    <a:pt x="5212852" y="1859855"/>
                    <a:pt x="5195069" y="1862267"/>
                  </a:cubicBezTo>
                  <a:cubicBezTo>
                    <a:pt x="5198722" y="1859235"/>
                    <a:pt x="5202513" y="1856202"/>
                    <a:pt x="5206304" y="1853169"/>
                  </a:cubicBezTo>
                  <a:cubicBezTo>
                    <a:pt x="5214437" y="1864955"/>
                    <a:pt x="5227126" y="1871779"/>
                    <a:pt x="5239388" y="1878534"/>
                  </a:cubicBezTo>
                  <a:cubicBezTo>
                    <a:pt x="5238698" y="1833526"/>
                    <a:pt x="5246418" y="1788863"/>
                    <a:pt x="5244419" y="1743855"/>
                  </a:cubicBezTo>
                  <a:cubicBezTo>
                    <a:pt x="5234563" y="1747301"/>
                    <a:pt x="5228980" y="1755572"/>
                    <a:pt x="5226706" y="1765290"/>
                  </a:cubicBezTo>
                  <a:cubicBezTo>
                    <a:pt x="5224087" y="1766807"/>
                    <a:pt x="5218779" y="1769908"/>
                    <a:pt x="5216160" y="1771425"/>
                  </a:cubicBezTo>
                  <a:cubicBezTo>
                    <a:pt x="5208372" y="1769426"/>
                    <a:pt x="5200514" y="1767565"/>
                    <a:pt x="5192864" y="1765635"/>
                  </a:cubicBezTo>
                  <a:cubicBezTo>
                    <a:pt x="5193277" y="1753987"/>
                    <a:pt x="5190245" y="1742063"/>
                    <a:pt x="5192312" y="1730552"/>
                  </a:cubicBezTo>
                  <a:cubicBezTo>
                    <a:pt x="5200445" y="1731173"/>
                    <a:pt x="5208579" y="1731862"/>
                    <a:pt x="5216787" y="1732620"/>
                  </a:cubicBezTo>
                  <a:cubicBezTo>
                    <a:pt x="5204581" y="1737652"/>
                    <a:pt x="5189142" y="1751505"/>
                    <a:pt x="5205201" y="1762120"/>
                  </a:cubicBezTo>
                  <a:cubicBezTo>
                    <a:pt x="5220640" y="1770322"/>
                    <a:pt x="5222364" y="1748886"/>
                    <a:pt x="5232295" y="1742270"/>
                  </a:cubicBezTo>
                  <a:cubicBezTo>
                    <a:pt x="5241111" y="1736825"/>
                    <a:pt x="5246694" y="1729036"/>
                    <a:pt x="5246832" y="1718146"/>
                  </a:cubicBezTo>
                  <a:cubicBezTo>
                    <a:pt x="5242903" y="1717939"/>
                    <a:pt x="5234908" y="1717526"/>
                    <a:pt x="5230979" y="1717319"/>
                  </a:cubicBezTo>
                  <a:cubicBezTo>
                    <a:pt x="5236700" y="1714769"/>
                    <a:pt x="5242420" y="1712218"/>
                    <a:pt x="5248279" y="1709668"/>
                  </a:cubicBezTo>
                  <a:cubicBezTo>
                    <a:pt x="5249657" y="1692299"/>
                    <a:pt x="5250760" y="1674930"/>
                    <a:pt x="5251932" y="1657492"/>
                  </a:cubicBezTo>
                  <a:cubicBezTo>
                    <a:pt x="5248762" y="1657010"/>
                    <a:pt x="5242420" y="1656114"/>
                    <a:pt x="5239250" y="1655631"/>
                  </a:cubicBezTo>
                  <a:cubicBezTo>
                    <a:pt x="5242834" y="1655287"/>
                    <a:pt x="5249933" y="1654597"/>
                    <a:pt x="5253517" y="1654253"/>
                  </a:cubicBezTo>
                  <a:cubicBezTo>
                    <a:pt x="5254207" y="1639503"/>
                    <a:pt x="5250002" y="1625994"/>
                    <a:pt x="5240146" y="1615035"/>
                  </a:cubicBezTo>
                  <a:lnTo>
                    <a:pt x="5249037" y="1614001"/>
                  </a:lnTo>
                  <a:cubicBezTo>
                    <a:pt x="5244833" y="1591945"/>
                    <a:pt x="5260892" y="1572439"/>
                    <a:pt x="5255861" y="1549970"/>
                  </a:cubicBezTo>
                  <a:cubicBezTo>
                    <a:pt x="5252483" y="1531636"/>
                    <a:pt x="5274746" y="1536943"/>
                    <a:pt x="5285430" y="1537633"/>
                  </a:cubicBezTo>
                  <a:cubicBezTo>
                    <a:pt x="5284396" y="1533842"/>
                    <a:pt x="5282397" y="1526260"/>
                    <a:pt x="5281363" y="1522469"/>
                  </a:cubicBezTo>
                  <a:lnTo>
                    <a:pt x="5284809" y="1521780"/>
                  </a:lnTo>
                  <a:cubicBezTo>
                    <a:pt x="5287842" y="1527156"/>
                    <a:pt x="5293976" y="1537977"/>
                    <a:pt x="5297009" y="1543353"/>
                  </a:cubicBezTo>
                  <a:cubicBezTo>
                    <a:pt x="5297491" y="1537633"/>
                    <a:pt x="5298456" y="1526329"/>
                    <a:pt x="5298939" y="1520677"/>
                  </a:cubicBezTo>
                  <a:cubicBezTo>
                    <a:pt x="5300800" y="1526949"/>
                    <a:pt x="5302661" y="1533221"/>
                    <a:pt x="5304590" y="1539493"/>
                  </a:cubicBezTo>
                  <a:cubicBezTo>
                    <a:pt x="5335882" y="1540389"/>
                    <a:pt x="5366967" y="1543353"/>
                    <a:pt x="5398259" y="1544387"/>
                  </a:cubicBezTo>
                  <a:cubicBezTo>
                    <a:pt x="5402395" y="1506616"/>
                    <a:pt x="5396949" y="1468363"/>
                    <a:pt x="5404255" y="1430937"/>
                  </a:cubicBezTo>
                  <a:cubicBezTo>
                    <a:pt x="5407701" y="1405917"/>
                    <a:pt x="5406944" y="1380622"/>
                    <a:pt x="5408943" y="1355465"/>
                  </a:cubicBezTo>
                  <a:cubicBezTo>
                    <a:pt x="5364555" y="1354569"/>
                    <a:pt x="5320236" y="1346780"/>
                    <a:pt x="5275918" y="1351467"/>
                  </a:cubicBezTo>
                  <a:cubicBezTo>
                    <a:pt x="5273161" y="1340439"/>
                    <a:pt x="5270542" y="1329273"/>
                    <a:pt x="5268060" y="1318108"/>
                  </a:cubicBezTo>
                  <a:cubicBezTo>
                    <a:pt x="5278606" y="1297706"/>
                    <a:pt x="5276469" y="1273858"/>
                    <a:pt x="5271576" y="1252216"/>
                  </a:cubicBezTo>
                  <a:cubicBezTo>
                    <a:pt x="5284327" y="1215065"/>
                    <a:pt x="5279847" y="1175089"/>
                    <a:pt x="5285223" y="1136560"/>
                  </a:cubicBezTo>
                  <a:lnTo>
                    <a:pt x="5274057" y="1140764"/>
                  </a:lnTo>
                  <a:cubicBezTo>
                    <a:pt x="5274057" y="1135802"/>
                    <a:pt x="5274057" y="1125946"/>
                    <a:pt x="5274126" y="1121052"/>
                  </a:cubicBezTo>
                  <a:lnTo>
                    <a:pt x="5284947" y="1127876"/>
                  </a:lnTo>
                  <a:cubicBezTo>
                    <a:pt x="5291633" y="1024420"/>
                    <a:pt x="5296251" y="921033"/>
                    <a:pt x="5304797" y="817715"/>
                  </a:cubicBezTo>
                  <a:cubicBezTo>
                    <a:pt x="5280122" y="820885"/>
                    <a:pt x="5292529" y="851074"/>
                    <a:pt x="5292873" y="866996"/>
                  </a:cubicBezTo>
                  <a:cubicBezTo>
                    <a:pt x="5287566" y="860999"/>
                    <a:pt x="5282397" y="854934"/>
                    <a:pt x="5277227" y="848869"/>
                  </a:cubicBezTo>
                  <a:cubicBezTo>
                    <a:pt x="5278123" y="838185"/>
                    <a:pt x="5278950" y="827433"/>
                    <a:pt x="5279916" y="816681"/>
                  </a:cubicBezTo>
                  <a:cubicBezTo>
                    <a:pt x="5273712" y="815854"/>
                    <a:pt x="5261444" y="814337"/>
                    <a:pt x="5255240" y="813510"/>
                  </a:cubicBezTo>
                  <a:cubicBezTo>
                    <a:pt x="5254896" y="816061"/>
                    <a:pt x="5254069" y="821230"/>
                    <a:pt x="5253724" y="823780"/>
                  </a:cubicBezTo>
                  <a:cubicBezTo>
                    <a:pt x="5251312" y="821368"/>
                    <a:pt x="5246556" y="816612"/>
                    <a:pt x="5244143" y="814269"/>
                  </a:cubicBezTo>
                  <a:cubicBezTo>
                    <a:pt x="5239870" y="823160"/>
                    <a:pt x="5232151" y="829639"/>
                    <a:pt x="5227050" y="837289"/>
                  </a:cubicBezTo>
                  <a:cubicBezTo>
                    <a:pt x="5231530" y="839357"/>
                    <a:pt x="5240560" y="843562"/>
                    <a:pt x="5245109" y="845629"/>
                  </a:cubicBezTo>
                  <a:cubicBezTo>
                    <a:pt x="5246418" y="842183"/>
                    <a:pt x="5249037" y="835153"/>
                    <a:pt x="5250347" y="831638"/>
                  </a:cubicBezTo>
                  <a:cubicBezTo>
                    <a:pt x="5249795" y="835635"/>
                    <a:pt x="5248831" y="843630"/>
                    <a:pt x="5248279" y="847559"/>
                  </a:cubicBezTo>
                  <a:cubicBezTo>
                    <a:pt x="5237251" y="850799"/>
                    <a:pt x="5226292" y="854107"/>
                    <a:pt x="5215402" y="857346"/>
                  </a:cubicBezTo>
                  <a:cubicBezTo>
                    <a:pt x="5213541" y="852453"/>
                    <a:pt x="5209957" y="842665"/>
                    <a:pt x="5208165" y="837772"/>
                  </a:cubicBezTo>
                  <a:cubicBezTo>
                    <a:pt x="5178734" y="854658"/>
                    <a:pt x="5213334" y="866375"/>
                    <a:pt x="5219951" y="881263"/>
                  </a:cubicBezTo>
                  <a:cubicBezTo>
                    <a:pt x="5221881" y="877748"/>
                    <a:pt x="5224293" y="875680"/>
                    <a:pt x="5227188" y="874991"/>
                  </a:cubicBezTo>
                  <a:lnTo>
                    <a:pt x="5228980" y="881884"/>
                  </a:lnTo>
                  <a:lnTo>
                    <a:pt x="5235941" y="881608"/>
                  </a:lnTo>
                  <a:cubicBezTo>
                    <a:pt x="5255861" y="866100"/>
                    <a:pt x="5242558" y="880436"/>
                    <a:pt x="5237465" y="883400"/>
                  </a:cubicBezTo>
                  <a:cubicBezTo>
                    <a:pt x="5232771" y="885123"/>
                    <a:pt x="5223397" y="888431"/>
                    <a:pt x="5218641" y="890154"/>
                  </a:cubicBezTo>
                  <a:cubicBezTo>
                    <a:pt x="5217814" y="894221"/>
                    <a:pt x="5216091" y="902423"/>
                    <a:pt x="5215195" y="906490"/>
                  </a:cubicBezTo>
                  <a:lnTo>
                    <a:pt x="5213472" y="906283"/>
                  </a:lnTo>
                  <a:cubicBezTo>
                    <a:pt x="5214575" y="893325"/>
                    <a:pt x="5217194" y="872648"/>
                    <a:pt x="5199549" y="870304"/>
                  </a:cubicBezTo>
                  <a:cubicBezTo>
                    <a:pt x="5189762" y="936196"/>
                    <a:pt x="5190727" y="1003329"/>
                    <a:pt x="5184593" y="1069565"/>
                  </a:cubicBezTo>
                  <a:cubicBezTo>
                    <a:pt x="5190107" y="1071633"/>
                    <a:pt x="5206028" y="1065430"/>
                    <a:pt x="5202651" y="1076044"/>
                  </a:cubicBezTo>
                  <a:cubicBezTo>
                    <a:pt x="5195000" y="1077767"/>
                    <a:pt x="5187281" y="1078526"/>
                    <a:pt x="5179423" y="1078388"/>
                  </a:cubicBezTo>
                  <a:cubicBezTo>
                    <a:pt x="5187763" y="1103407"/>
                    <a:pt x="5178665" y="1130219"/>
                    <a:pt x="5179630" y="1156066"/>
                  </a:cubicBezTo>
                  <a:cubicBezTo>
                    <a:pt x="5196034" y="1160063"/>
                    <a:pt x="5185351" y="1168679"/>
                    <a:pt x="5179217" y="1176674"/>
                  </a:cubicBezTo>
                  <a:cubicBezTo>
                    <a:pt x="5175977" y="1190390"/>
                    <a:pt x="5176391" y="1204658"/>
                    <a:pt x="5175495" y="1218580"/>
                  </a:cubicBezTo>
                  <a:cubicBezTo>
                    <a:pt x="5186591" y="1231056"/>
                    <a:pt x="5193897" y="1250630"/>
                    <a:pt x="5175908" y="1261245"/>
                  </a:cubicBezTo>
                  <a:cubicBezTo>
                    <a:pt x="5196861" y="1270481"/>
                    <a:pt x="5185075" y="1288608"/>
                    <a:pt x="5173909" y="1300876"/>
                  </a:cubicBezTo>
                  <a:lnTo>
                    <a:pt x="5170118" y="1305770"/>
                  </a:lnTo>
                  <a:cubicBezTo>
                    <a:pt x="5167499" y="1330859"/>
                    <a:pt x="5165776" y="1356430"/>
                    <a:pt x="5172944" y="1380898"/>
                  </a:cubicBezTo>
                  <a:lnTo>
                    <a:pt x="5165432" y="1378899"/>
                  </a:lnTo>
                  <a:cubicBezTo>
                    <a:pt x="5166190" y="1414188"/>
                    <a:pt x="5154610" y="1451063"/>
                    <a:pt x="5163709" y="1485043"/>
                  </a:cubicBezTo>
                  <a:cubicBezTo>
                    <a:pt x="5166741" y="1485319"/>
                    <a:pt x="5172806" y="1485939"/>
                    <a:pt x="5175839" y="1486215"/>
                  </a:cubicBezTo>
                  <a:cubicBezTo>
                    <a:pt x="5181974" y="1488972"/>
                    <a:pt x="5188246" y="1491729"/>
                    <a:pt x="5194449" y="1494623"/>
                  </a:cubicBezTo>
                  <a:cubicBezTo>
                    <a:pt x="5194794" y="1499310"/>
                    <a:pt x="5195552" y="1508753"/>
                    <a:pt x="5195965" y="1513509"/>
                  </a:cubicBezTo>
                  <a:cubicBezTo>
                    <a:pt x="5194173" y="1496622"/>
                    <a:pt x="5179768" y="1479942"/>
                    <a:pt x="5162744" y="1493383"/>
                  </a:cubicBezTo>
                  <a:lnTo>
                    <a:pt x="5157643" y="1497794"/>
                  </a:lnTo>
                  <a:cubicBezTo>
                    <a:pt x="5154128" y="1561205"/>
                    <a:pt x="5150130" y="1624684"/>
                    <a:pt x="5145926" y="1688026"/>
                  </a:cubicBezTo>
                  <a:cubicBezTo>
                    <a:pt x="5149027" y="1692989"/>
                    <a:pt x="5152129" y="1697951"/>
                    <a:pt x="5155300" y="1702845"/>
                  </a:cubicBezTo>
                  <a:lnTo>
                    <a:pt x="5144479" y="1702155"/>
                  </a:lnTo>
                  <a:cubicBezTo>
                    <a:pt x="5144341" y="1722075"/>
                    <a:pt x="5142824" y="1741994"/>
                    <a:pt x="5142411" y="1761913"/>
                  </a:cubicBezTo>
                  <a:cubicBezTo>
                    <a:pt x="5147856" y="1752057"/>
                    <a:pt x="5153715" y="1741994"/>
                    <a:pt x="5164742" y="1737445"/>
                  </a:cubicBezTo>
                  <a:cubicBezTo>
                    <a:pt x="5165363" y="1738548"/>
                    <a:pt x="5166535" y="1740616"/>
                    <a:pt x="5167155" y="1741649"/>
                  </a:cubicBezTo>
                  <a:cubicBezTo>
                    <a:pt x="5158746" y="1746681"/>
                    <a:pt x="5153508" y="1753987"/>
                    <a:pt x="5151440" y="1763498"/>
                  </a:cubicBezTo>
                  <a:cubicBezTo>
                    <a:pt x="5160952" y="1766255"/>
                    <a:pt x="5170670" y="1767014"/>
                    <a:pt x="5180664" y="1765842"/>
                  </a:cubicBezTo>
                  <a:cubicBezTo>
                    <a:pt x="5181215" y="1770460"/>
                    <a:pt x="5182249" y="1779765"/>
                    <a:pt x="5182801" y="1784452"/>
                  </a:cubicBezTo>
                  <a:cubicBezTo>
                    <a:pt x="5180733" y="1781212"/>
                    <a:pt x="5176666" y="1774802"/>
                    <a:pt x="5174668" y="1771563"/>
                  </a:cubicBezTo>
                  <a:cubicBezTo>
                    <a:pt x="5163295" y="1770873"/>
                    <a:pt x="5152543" y="1766945"/>
                    <a:pt x="5141790" y="1763843"/>
                  </a:cubicBezTo>
                  <a:cubicBezTo>
                    <a:pt x="5139171" y="1807059"/>
                    <a:pt x="5134416" y="1850343"/>
                    <a:pt x="5134347" y="1893628"/>
                  </a:cubicBezTo>
                  <a:cubicBezTo>
                    <a:pt x="5135932" y="1895834"/>
                    <a:pt x="5139171" y="1900176"/>
                    <a:pt x="5140757" y="1902381"/>
                  </a:cubicBezTo>
                  <a:cubicBezTo>
                    <a:pt x="5129729" y="1906517"/>
                    <a:pt x="5132072" y="1918923"/>
                    <a:pt x="5130900" y="1928159"/>
                  </a:cubicBezTo>
                  <a:cubicBezTo>
                    <a:pt x="5128350" y="1971789"/>
                    <a:pt x="5125731" y="2015349"/>
                    <a:pt x="5122767" y="2058909"/>
                  </a:cubicBezTo>
                  <a:moveTo>
                    <a:pt x="5598003" y="932750"/>
                  </a:moveTo>
                  <a:cubicBezTo>
                    <a:pt x="5578359" y="912555"/>
                    <a:pt x="5624883" y="911590"/>
                    <a:pt x="5615096" y="932198"/>
                  </a:cubicBezTo>
                  <a:cubicBezTo>
                    <a:pt x="5610822" y="932336"/>
                    <a:pt x="5602276" y="932612"/>
                    <a:pt x="5598003" y="932750"/>
                  </a:cubicBezTo>
                  <a:moveTo>
                    <a:pt x="5599588" y="1025867"/>
                  </a:moveTo>
                  <a:cubicBezTo>
                    <a:pt x="5599726" y="1019595"/>
                    <a:pt x="5600001" y="1007189"/>
                    <a:pt x="5600208" y="1000916"/>
                  </a:cubicBezTo>
                  <a:lnTo>
                    <a:pt x="5591248" y="998711"/>
                  </a:lnTo>
                  <a:cubicBezTo>
                    <a:pt x="5599243" y="993748"/>
                    <a:pt x="5614475" y="991543"/>
                    <a:pt x="5616336" y="1004294"/>
                  </a:cubicBezTo>
                  <a:cubicBezTo>
                    <a:pt x="5620886" y="1015873"/>
                    <a:pt x="5605791" y="1019733"/>
                    <a:pt x="5599588" y="1025867"/>
                  </a:cubicBezTo>
                  <a:moveTo>
                    <a:pt x="5634257" y="1065981"/>
                  </a:moveTo>
                  <a:cubicBezTo>
                    <a:pt x="5643838" y="1061088"/>
                    <a:pt x="5650247" y="1077423"/>
                    <a:pt x="5644733" y="1084040"/>
                  </a:cubicBezTo>
                  <a:cubicBezTo>
                    <a:pt x="5636531" y="1086383"/>
                    <a:pt x="5630191" y="1072391"/>
                    <a:pt x="5634257" y="1065981"/>
                  </a:cubicBezTo>
                  <a:moveTo>
                    <a:pt x="5603379" y="1210723"/>
                  </a:moveTo>
                  <a:cubicBezTo>
                    <a:pt x="5597520" y="1203279"/>
                    <a:pt x="5591110" y="1196387"/>
                    <a:pt x="5585252" y="1189012"/>
                  </a:cubicBezTo>
                  <a:cubicBezTo>
                    <a:pt x="5583873" y="1180327"/>
                    <a:pt x="5590145" y="1173504"/>
                    <a:pt x="5593729" y="1166129"/>
                  </a:cubicBezTo>
                  <a:lnTo>
                    <a:pt x="5584700" y="1161235"/>
                  </a:lnTo>
                  <a:cubicBezTo>
                    <a:pt x="5598416" y="1156066"/>
                    <a:pt x="5594074" y="1174882"/>
                    <a:pt x="5594005" y="1182671"/>
                  </a:cubicBezTo>
                  <a:cubicBezTo>
                    <a:pt x="5596693" y="1191838"/>
                    <a:pt x="5613993" y="1201832"/>
                    <a:pt x="5603379" y="1210723"/>
                  </a:cubicBezTo>
                  <a:moveTo>
                    <a:pt x="5571329" y="1287574"/>
                  </a:moveTo>
                  <a:cubicBezTo>
                    <a:pt x="5565883" y="1278338"/>
                    <a:pt x="5581185" y="1268757"/>
                    <a:pt x="5588284" y="1275650"/>
                  </a:cubicBezTo>
                  <a:cubicBezTo>
                    <a:pt x="5593798" y="1284817"/>
                    <a:pt x="5578221" y="1295362"/>
                    <a:pt x="5571329" y="1287574"/>
                  </a:cubicBezTo>
                  <a:moveTo>
                    <a:pt x="5570433" y="1317763"/>
                  </a:moveTo>
                  <a:cubicBezTo>
                    <a:pt x="5567951" y="1308045"/>
                    <a:pt x="5571535" y="1304805"/>
                    <a:pt x="5581116" y="1308045"/>
                  </a:cubicBezTo>
                  <a:cubicBezTo>
                    <a:pt x="5583391" y="1317763"/>
                    <a:pt x="5579876" y="1321002"/>
                    <a:pt x="5570433" y="1317763"/>
                  </a:cubicBezTo>
                  <a:moveTo>
                    <a:pt x="5571673" y="1347263"/>
                  </a:moveTo>
                  <a:cubicBezTo>
                    <a:pt x="5564298" y="1340508"/>
                    <a:pt x="5574086" y="1324862"/>
                    <a:pt x="5583184" y="1330859"/>
                  </a:cubicBezTo>
                  <a:cubicBezTo>
                    <a:pt x="5590766" y="1337751"/>
                    <a:pt x="5580910" y="1353948"/>
                    <a:pt x="5571673" y="1347263"/>
                  </a:cubicBezTo>
                  <a:moveTo>
                    <a:pt x="5597382" y="1422046"/>
                  </a:moveTo>
                  <a:cubicBezTo>
                    <a:pt x="5586079" y="1401713"/>
                    <a:pt x="5620059" y="1420323"/>
                    <a:pt x="5597382" y="1422046"/>
                  </a:cubicBezTo>
                  <a:moveTo>
                    <a:pt x="5577670" y="1436382"/>
                  </a:moveTo>
                  <a:cubicBezTo>
                    <a:pt x="5570846" y="1427077"/>
                    <a:pt x="5575740" y="1404194"/>
                    <a:pt x="5587802" y="1403436"/>
                  </a:cubicBezTo>
                  <a:cubicBezTo>
                    <a:pt x="5586148" y="1413361"/>
                    <a:pt x="5588147" y="1432936"/>
                    <a:pt x="5577670" y="1436382"/>
                  </a:cubicBezTo>
                  <a:moveTo>
                    <a:pt x="5558302" y="1485732"/>
                  </a:moveTo>
                  <a:cubicBezTo>
                    <a:pt x="5559612" y="1462849"/>
                    <a:pt x="5578772" y="1496484"/>
                    <a:pt x="5558302" y="1485732"/>
                  </a:cubicBezTo>
                  <a:moveTo>
                    <a:pt x="5556923" y="1507030"/>
                  </a:moveTo>
                  <a:cubicBezTo>
                    <a:pt x="5546309" y="1486008"/>
                    <a:pt x="5579324" y="1505651"/>
                    <a:pt x="5556923" y="1507030"/>
                  </a:cubicBezTo>
                  <a:moveTo>
                    <a:pt x="5549617" y="1556518"/>
                  </a:moveTo>
                  <a:cubicBezTo>
                    <a:pt x="5549893" y="1548522"/>
                    <a:pt x="5550238" y="1540527"/>
                    <a:pt x="5550651" y="1532532"/>
                  </a:cubicBezTo>
                  <a:cubicBezTo>
                    <a:pt x="5553684" y="1537081"/>
                    <a:pt x="5559680" y="1546248"/>
                    <a:pt x="5562645" y="1550866"/>
                  </a:cubicBezTo>
                  <a:cubicBezTo>
                    <a:pt x="5561541" y="1539976"/>
                    <a:pt x="5560369" y="1529086"/>
                    <a:pt x="5559198" y="1518196"/>
                  </a:cubicBezTo>
                  <a:cubicBezTo>
                    <a:pt x="5563134" y="1516886"/>
                    <a:pt x="5571053" y="1514267"/>
                    <a:pt x="5574982" y="1512957"/>
                  </a:cubicBezTo>
                  <a:lnTo>
                    <a:pt x="5580013" y="1524675"/>
                  </a:lnTo>
                  <a:lnTo>
                    <a:pt x="5582495" y="1520126"/>
                  </a:lnTo>
                  <a:cubicBezTo>
                    <a:pt x="5585114" y="1512337"/>
                    <a:pt x="5588353" y="1504618"/>
                    <a:pt x="5593591" y="1498001"/>
                  </a:cubicBezTo>
                  <a:cubicBezTo>
                    <a:pt x="5594763" y="1501723"/>
                    <a:pt x="5597107" y="1509235"/>
                    <a:pt x="5598278" y="1512957"/>
                  </a:cubicBezTo>
                  <a:cubicBezTo>
                    <a:pt x="5601794" y="1510821"/>
                    <a:pt x="5608893" y="1506478"/>
                    <a:pt x="5612408" y="1504342"/>
                  </a:cubicBezTo>
                  <a:cubicBezTo>
                    <a:pt x="5612408" y="1510200"/>
                    <a:pt x="5612339" y="1521986"/>
                    <a:pt x="5612339" y="1527845"/>
                  </a:cubicBezTo>
                  <a:cubicBezTo>
                    <a:pt x="5605722" y="1523296"/>
                    <a:pt x="5598692" y="1521435"/>
                    <a:pt x="5591179" y="1522124"/>
                  </a:cubicBezTo>
                  <a:cubicBezTo>
                    <a:pt x="5592489" y="1525088"/>
                    <a:pt x="5594970" y="1530878"/>
                    <a:pt x="5596280" y="1533842"/>
                  </a:cubicBezTo>
                  <a:cubicBezTo>
                    <a:pt x="5575188" y="1526674"/>
                    <a:pt x="5571535" y="1559895"/>
                    <a:pt x="5549617" y="1556518"/>
                  </a:cubicBezTo>
                  <a:moveTo>
                    <a:pt x="5537004" y="1581951"/>
                  </a:moveTo>
                  <a:cubicBezTo>
                    <a:pt x="5537694" y="1566512"/>
                    <a:pt x="5538314" y="1551073"/>
                    <a:pt x="5538038" y="1535565"/>
                  </a:cubicBezTo>
                  <a:cubicBezTo>
                    <a:pt x="5540589" y="1550866"/>
                    <a:pt x="5543690" y="1566029"/>
                    <a:pt x="5545137" y="1581469"/>
                  </a:cubicBezTo>
                  <a:cubicBezTo>
                    <a:pt x="5543070" y="1581606"/>
                    <a:pt x="5539003" y="1581813"/>
                    <a:pt x="5537004" y="1581951"/>
                  </a:cubicBezTo>
                  <a:moveTo>
                    <a:pt x="5594005" y="1643845"/>
                  </a:moveTo>
                  <a:cubicBezTo>
                    <a:pt x="5593798" y="1634265"/>
                    <a:pt x="5593729" y="1624684"/>
                    <a:pt x="5593729" y="1615104"/>
                  </a:cubicBezTo>
                  <a:cubicBezTo>
                    <a:pt x="5599450" y="1622616"/>
                    <a:pt x="5604826" y="1630405"/>
                    <a:pt x="5610409" y="1638055"/>
                  </a:cubicBezTo>
                  <a:cubicBezTo>
                    <a:pt x="5604895" y="1639986"/>
                    <a:pt x="5599381" y="1641984"/>
                    <a:pt x="5594005" y="1643845"/>
                  </a:cubicBezTo>
                  <a:moveTo>
                    <a:pt x="5530525" y="1649566"/>
                  </a:moveTo>
                  <a:cubicBezTo>
                    <a:pt x="5526252" y="1641640"/>
                    <a:pt x="5531766" y="1631301"/>
                    <a:pt x="5537556" y="1625442"/>
                  </a:cubicBezTo>
                  <a:cubicBezTo>
                    <a:pt x="5548652" y="1627097"/>
                    <a:pt x="5541829" y="1653770"/>
                    <a:pt x="5530525" y="1649566"/>
                  </a:cubicBezTo>
                  <a:moveTo>
                    <a:pt x="5522599" y="2041678"/>
                  </a:moveTo>
                  <a:cubicBezTo>
                    <a:pt x="5516740" y="2033063"/>
                    <a:pt x="5518395" y="2028031"/>
                    <a:pt x="5527630" y="2026722"/>
                  </a:cubicBezTo>
                  <a:cubicBezTo>
                    <a:pt x="5533352" y="2035406"/>
                    <a:pt x="5531697" y="2040369"/>
                    <a:pt x="5522599" y="2041678"/>
                  </a:cubicBezTo>
                  <a:moveTo>
                    <a:pt x="5566366" y="2065802"/>
                  </a:moveTo>
                  <a:cubicBezTo>
                    <a:pt x="5569192" y="2078553"/>
                    <a:pt x="5573879" y="2090408"/>
                    <a:pt x="5589870" y="2087651"/>
                  </a:cubicBezTo>
                  <a:cubicBezTo>
                    <a:pt x="5598071" y="1952559"/>
                    <a:pt x="5607308" y="1817535"/>
                    <a:pt x="5614751" y="1682374"/>
                  </a:cubicBezTo>
                  <a:cubicBezTo>
                    <a:pt x="5611856" y="1677825"/>
                    <a:pt x="5609237" y="1673207"/>
                    <a:pt x="5606825" y="1668382"/>
                  </a:cubicBezTo>
                  <a:cubicBezTo>
                    <a:pt x="5624952" y="1655494"/>
                    <a:pt x="5617577" y="1630267"/>
                    <a:pt x="5615441" y="1611519"/>
                  </a:cubicBezTo>
                  <a:cubicBezTo>
                    <a:pt x="5623780" y="1602628"/>
                    <a:pt x="5618887" y="1592152"/>
                    <a:pt x="5612339" y="1584363"/>
                  </a:cubicBezTo>
                  <a:lnTo>
                    <a:pt x="5621299" y="1585811"/>
                  </a:lnTo>
                  <a:cubicBezTo>
                    <a:pt x="5626606" y="1507099"/>
                    <a:pt x="5630053" y="1428249"/>
                    <a:pt x="5636876" y="1349675"/>
                  </a:cubicBezTo>
                  <a:lnTo>
                    <a:pt x="5623505" y="1354982"/>
                  </a:lnTo>
                  <a:lnTo>
                    <a:pt x="5620610" y="1346229"/>
                  </a:lnTo>
                  <a:cubicBezTo>
                    <a:pt x="5624745" y="1346160"/>
                    <a:pt x="5633085" y="1346091"/>
                    <a:pt x="5637220" y="1346022"/>
                  </a:cubicBezTo>
                  <a:cubicBezTo>
                    <a:pt x="5636256" y="1309147"/>
                    <a:pt x="5642390" y="1272548"/>
                    <a:pt x="5642252" y="1235674"/>
                  </a:cubicBezTo>
                  <a:cubicBezTo>
                    <a:pt x="5631569" y="1243118"/>
                    <a:pt x="5620954" y="1250423"/>
                    <a:pt x="5610203" y="1257523"/>
                  </a:cubicBezTo>
                  <a:cubicBezTo>
                    <a:pt x="5614269" y="1267655"/>
                    <a:pt x="5615854" y="1278545"/>
                    <a:pt x="5616819" y="1289366"/>
                  </a:cubicBezTo>
                  <a:cubicBezTo>
                    <a:pt x="5602138" y="1280475"/>
                    <a:pt x="5609582" y="1261451"/>
                    <a:pt x="5606963" y="1247598"/>
                  </a:cubicBezTo>
                  <a:cubicBezTo>
                    <a:pt x="5601380" y="1248632"/>
                    <a:pt x="5590283" y="1250630"/>
                    <a:pt x="5584769" y="1251664"/>
                  </a:cubicBezTo>
                  <a:cubicBezTo>
                    <a:pt x="5592833" y="1244772"/>
                    <a:pt x="5595521" y="1235743"/>
                    <a:pt x="5593385" y="1225473"/>
                  </a:cubicBezTo>
                  <a:cubicBezTo>
                    <a:pt x="5601035" y="1244082"/>
                    <a:pt x="5627847" y="1228092"/>
                    <a:pt x="5643355" y="1234778"/>
                  </a:cubicBezTo>
                  <a:cubicBezTo>
                    <a:pt x="5643493" y="1228850"/>
                    <a:pt x="5643768" y="1216857"/>
                    <a:pt x="5643976" y="1210930"/>
                  </a:cubicBezTo>
                  <a:lnTo>
                    <a:pt x="5630191" y="1213066"/>
                  </a:lnTo>
                  <a:cubicBezTo>
                    <a:pt x="5635015" y="1211205"/>
                    <a:pt x="5639840" y="1209413"/>
                    <a:pt x="5644802" y="1207621"/>
                  </a:cubicBezTo>
                  <a:cubicBezTo>
                    <a:pt x="5648869" y="1139524"/>
                    <a:pt x="5653073" y="1071495"/>
                    <a:pt x="5657416" y="1003467"/>
                  </a:cubicBezTo>
                  <a:cubicBezTo>
                    <a:pt x="5649971" y="1008912"/>
                    <a:pt x="5643355" y="1016838"/>
                    <a:pt x="5633568" y="1017389"/>
                  </a:cubicBezTo>
                  <a:cubicBezTo>
                    <a:pt x="5629225" y="1007740"/>
                    <a:pt x="5632878" y="998849"/>
                    <a:pt x="5638462" y="990716"/>
                  </a:cubicBezTo>
                  <a:cubicBezTo>
                    <a:pt x="5646525" y="987752"/>
                    <a:pt x="5654659" y="984099"/>
                    <a:pt x="5661275" y="978102"/>
                  </a:cubicBezTo>
                  <a:cubicBezTo>
                    <a:pt x="5656589" y="978309"/>
                    <a:pt x="5647146" y="978723"/>
                    <a:pt x="5642459" y="978929"/>
                  </a:cubicBezTo>
                  <a:lnTo>
                    <a:pt x="5641081" y="972244"/>
                  </a:lnTo>
                  <a:cubicBezTo>
                    <a:pt x="5677404" y="977275"/>
                    <a:pt x="5645843" y="936954"/>
                    <a:pt x="5661827" y="921308"/>
                  </a:cubicBezTo>
                  <a:cubicBezTo>
                    <a:pt x="5663136" y="910212"/>
                    <a:pt x="5664446" y="899115"/>
                    <a:pt x="5665618" y="887880"/>
                  </a:cubicBezTo>
                  <a:cubicBezTo>
                    <a:pt x="5647904" y="895668"/>
                    <a:pt x="5643906" y="881953"/>
                    <a:pt x="5640736" y="868581"/>
                  </a:cubicBezTo>
                  <a:cubicBezTo>
                    <a:pt x="5646388" y="876370"/>
                    <a:pt x="5653349" y="892911"/>
                    <a:pt x="5665480" y="884503"/>
                  </a:cubicBezTo>
                  <a:cubicBezTo>
                    <a:pt x="5666583" y="869684"/>
                    <a:pt x="5666789" y="854796"/>
                    <a:pt x="5667272" y="839908"/>
                  </a:cubicBezTo>
                  <a:cubicBezTo>
                    <a:pt x="5632810" y="838254"/>
                    <a:pt x="5598554" y="834808"/>
                    <a:pt x="5564092" y="834463"/>
                  </a:cubicBezTo>
                  <a:cubicBezTo>
                    <a:pt x="5562437" y="904973"/>
                    <a:pt x="5552306" y="975828"/>
                    <a:pt x="5553891" y="1046062"/>
                  </a:cubicBezTo>
                  <a:cubicBezTo>
                    <a:pt x="5557544" y="1046613"/>
                    <a:pt x="5564781" y="1047785"/>
                    <a:pt x="5568365" y="1048336"/>
                  </a:cubicBezTo>
                  <a:cubicBezTo>
                    <a:pt x="5571811" y="1048474"/>
                    <a:pt x="5578566" y="1048750"/>
                    <a:pt x="5582012" y="1048888"/>
                  </a:cubicBezTo>
                  <a:cubicBezTo>
                    <a:pt x="5592627" y="1043994"/>
                    <a:pt x="5603310" y="1039238"/>
                    <a:pt x="5614200" y="1034483"/>
                  </a:cubicBezTo>
                  <a:cubicBezTo>
                    <a:pt x="5616061" y="1031243"/>
                    <a:pt x="5619852" y="1024695"/>
                    <a:pt x="5621712" y="1021456"/>
                  </a:cubicBezTo>
                  <a:cubicBezTo>
                    <a:pt x="5622954" y="1034758"/>
                    <a:pt x="5627502" y="1046751"/>
                    <a:pt x="5635567" y="1057504"/>
                  </a:cubicBezTo>
                  <a:cubicBezTo>
                    <a:pt x="5623505" y="1060743"/>
                    <a:pt x="5611029" y="1062190"/>
                    <a:pt x="5598623" y="1063017"/>
                  </a:cubicBezTo>
                  <a:cubicBezTo>
                    <a:pt x="5600001" y="1069152"/>
                    <a:pt x="5602758" y="1081352"/>
                    <a:pt x="5604137" y="1087486"/>
                  </a:cubicBezTo>
                  <a:cubicBezTo>
                    <a:pt x="5597244" y="1080731"/>
                    <a:pt x="5590421" y="1073908"/>
                    <a:pt x="5583811" y="1067015"/>
                  </a:cubicBezTo>
                  <a:cubicBezTo>
                    <a:pt x="5577808" y="1071082"/>
                    <a:pt x="5571880" y="1075148"/>
                    <a:pt x="5566091" y="1079146"/>
                  </a:cubicBezTo>
                  <a:cubicBezTo>
                    <a:pt x="5565264" y="1076596"/>
                    <a:pt x="5563609" y="1071633"/>
                    <a:pt x="5562782" y="1069152"/>
                  </a:cubicBezTo>
                  <a:cubicBezTo>
                    <a:pt x="5568158" y="1068256"/>
                    <a:pt x="5578910" y="1066464"/>
                    <a:pt x="5584286" y="1065568"/>
                  </a:cubicBezTo>
                  <a:cubicBezTo>
                    <a:pt x="5579668" y="1062673"/>
                    <a:pt x="5570502" y="1056883"/>
                    <a:pt x="5565883" y="1053988"/>
                  </a:cubicBezTo>
                  <a:cubicBezTo>
                    <a:pt x="5562851" y="1053092"/>
                    <a:pt x="5556717" y="1051300"/>
                    <a:pt x="5553615" y="1050404"/>
                  </a:cubicBezTo>
                  <a:cubicBezTo>
                    <a:pt x="5549893" y="1093758"/>
                    <a:pt x="5544655" y="1139179"/>
                    <a:pt x="5543001" y="1183567"/>
                  </a:cubicBezTo>
                  <a:cubicBezTo>
                    <a:pt x="5540381" y="1197627"/>
                    <a:pt x="5553822" y="1206450"/>
                    <a:pt x="5565677" y="1209344"/>
                  </a:cubicBezTo>
                  <a:cubicBezTo>
                    <a:pt x="5566228" y="1212308"/>
                    <a:pt x="5567262" y="1218374"/>
                    <a:pt x="5567814" y="1221337"/>
                  </a:cubicBezTo>
                  <a:cubicBezTo>
                    <a:pt x="5558646" y="1219339"/>
                    <a:pt x="5549480" y="1217133"/>
                    <a:pt x="5540589" y="1214514"/>
                  </a:cubicBezTo>
                  <a:cubicBezTo>
                    <a:pt x="5538728" y="1256902"/>
                    <a:pt x="5535764" y="1299291"/>
                    <a:pt x="5532731" y="1341611"/>
                  </a:cubicBezTo>
                  <a:cubicBezTo>
                    <a:pt x="5532593" y="1352846"/>
                    <a:pt x="5529216" y="1365390"/>
                    <a:pt x="5535419" y="1375660"/>
                  </a:cubicBezTo>
                  <a:cubicBezTo>
                    <a:pt x="5536315" y="1376969"/>
                    <a:pt x="5538107" y="1379657"/>
                    <a:pt x="5539003" y="1380967"/>
                  </a:cubicBezTo>
                  <a:lnTo>
                    <a:pt x="5535901" y="1383448"/>
                  </a:lnTo>
                  <a:cubicBezTo>
                    <a:pt x="5521290" y="1411156"/>
                    <a:pt x="5530525" y="1446445"/>
                    <a:pt x="5523771" y="1476979"/>
                  </a:cubicBezTo>
                  <a:cubicBezTo>
                    <a:pt x="5526528" y="1477737"/>
                    <a:pt x="5532042" y="1479322"/>
                    <a:pt x="5534799" y="1480080"/>
                  </a:cubicBezTo>
                  <a:cubicBezTo>
                    <a:pt x="5531973" y="1480563"/>
                    <a:pt x="5526252" y="1481528"/>
                    <a:pt x="5523357" y="1482079"/>
                  </a:cubicBezTo>
                  <a:cubicBezTo>
                    <a:pt x="5522392" y="1519505"/>
                    <a:pt x="5519842" y="1556931"/>
                    <a:pt x="5516396" y="1594220"/>
                  </a:cubicBezTo>
                  <a:cubicBezTo>
                    <a:pt x="5521703" y="1593668"/>
                    <a:pt x="5532180" y="1592634"/>
                    <a:pt x="5537487" y="1592083"/>
                  </a:cubicBezTo>
                  <a:cubicBezTo>
                    <a:pt x="5530595" y="1595667"/>
                    <a:pt x="5523495" y="1598493"/>
                    <a:pt x="5516051" y="1600423"/>
                  </a:cubicBezTo>
                  <a:cubicBezTo>
                    <a:pt x="5516051" y="1634885"/>
                    <a:pt x="5515362" y="1669003"/>
                    <a:pt x="5509365" y="1702983"/>
                  </a:cubicBezTo>
                  <a:cubicBezTo>
                    <a:pt x="5516051" y="1704637"/>
                    <a:pt x="5519704" y="1708910"/>
                    <a:pt x="5520393" y="1716009"/>
                  </a:cubicBezTo>
                  <a:cubicBezTo>
                    <a:pt x="5503025" y="1714355"/>
                    <a:pt x="5505712" y="1740685"/>
                    <a:pt x="5520669" y="1739651"/>
                  </a:cubicBezTo>
                  <a:cubicBezTo>
                    <a:pt x="5517430" y="1739168"/>
                    <a:pt x="5511020" y="1738134"/>
                    <a:pt x="5507780" y="1737652"/>
                  </a:cubicBezTo>
                  <a:cubicBezTo>
                    <a:pt x="5506126" y="1777628"/>
                    <a:pt x="5503162" y="1817535"/>
                    <a:pt x="5500543" y="1857512"/>
                  </a:cubicBezTo>
                  <a:cubicBezTo>
                    <a:pt x="5503576" y="1856409"/>
                    <a:pt x="5509710" y="1854203"/>
                    <a:pt x="5512743" y="1853100"/>
                  </a:cubicBezTo>
                  <a:cubicBezTo>
                    <a:pt x="5506195" y="1857580"/>
                    <a:pt x="5499234" y="1862474"/>
                    <a:pt x="5500060" y="1871365"/>
                  </a:cubicBezTo>
                  <a:cubicBezTo>
                    <a:pt x="5494202" y="1940911"/>
                    <a:pt x="5492410" y="2010869"/>
                    <a:pt x="5486827" y="2080345"/>
                  </a:cubicBezTo>
                  <a:cubicBezTo>
                    <a:pt x="5512536" y="2081585"/>
                    <a:pt x="5538176" y="2085032"/>
                    <a:pt x="5563954" y="2083860"/>
                  </a:cubicBezTo>
                  <a:cubicBezTo>
                    <a:pt x="5564574" y="2079311"/>
                    <a:pt x="5565746" y="2070351"/>
                    <a:pt x="5566366" y="2065802"/>
                  </a:cubicBezTo>
                  <a:moveTo>
                    <a:pt x="885281" y="2067111"/>
                  </a:moveTo>
                  <a:cubicBezTo>
                    <a:pt x="898239" y="2075176"/>
                    <a:pt x="912851" y="2084618"/>
                    <a:pt x="928015" y="2075520"/>
                  </a:cubicBezTo>
                  <a:lnTo>
                    <a:pt x="932839" y="2069386"/>
                  </a:lnTo>
                  <a:cubicBezTo>
                    <a:pt x="917056" y="2067800"/>
                    <a:pt x="901134" y="2067111"/>
                    <a:pt x="885281" y="2067111"/>
                  </a:cubicBezTo>
                  <a:moveTo>
                    <a:pt x="5861225" y="871683"/>
                  </a:moveTo>
                  <a:cubicBezTo>
                    <a:pt x="5864948" y="868236"/>
                    <a:pt x="5864948" y="868236"/>
                    <a:pt x="5861225" y="871683"/>
                  </a:cubicBezTo>
                  <a:moveTo>
                    <a:pt x="5819044" y="870787"/>
                  </a:moveTo>
                  <a:cubicBezTo>
                    <a:pt x="5809119" y="849834"/>
                    <a:pt x="5841858" y="870373"/>
                    <a:pt x="5819044" y="870787"/>
                  </a:cubicBezTo>
                  <a:moveTo>
                    <a:pt x="5826143" y="897047"/>
                  </a:moveTo>
                  <a:cubicBezTo>
                    <a:pt x="5814495" y="890982"/>
                    <a:pt x="5823731" y="868995"/>
                    <a:pt x="5835241" y="879885"/>
                  </a:cubicBezTo>
                  <a:cubicBezTo>
                    <a:pt x="5838688" y="886019"/>
                    <a:pt x="5833932" y="898150"/>
                    <a:pt x="5826143" y="897047"/>
                  </a:cubicBezTo>
                  <a:moveTo>
                    <a:pt x="5793817" y="873199"/>
                  </a:moveTo>
                  <a:cubicBezTo>
                    <a:pt x="5808567" y="876370"/>
                    <a:pt x="5806430" y="890292"/>
                    <a:pt x="5801192" y="900907"/>
                  </a:cubicBezTo>
                  <a:cubicBezTo>
                    <a:pt x="5797264" y="892084"/>
                    <a:pt x="5794989" y="882780"/>
                    <a:pt x="5793817" y="873199"/>
                  </a:cubicBezTo>
                  <a:moveTo>
                    <a:pt x="5860261" y="915105"/>
                  </a:moveTo>
                  <a:cubicBezTo>
                    <a:pt x="5860399" y="904560"/>
                    <a:pt x="5860606" y="893945"/>
                    <a:pt x="5860744" y="883262"/>
                  </a:cubicBezTo>
                  <a:cubicBezTo>
                    <a:pt x="5866119" y="885399"/>
                    <a:pt x="5871633" y="887397"/>
                    <a:pt x="5877285" y="889396"/>
                  </a:cubicBezTo>
                  <a:cubicBezTo>
                    <a:pt x="5869910" y="896840"/>
                    <a:pt x="5864672" y="905800"/>
                    <a:pt x="5860261" y="915105"/>
                  </a:cubicBezTo>
                  <a:moveTo>
                    <a:pt x="5943590" y="927443"/>
                  </a:moveTo>
                  <a:cubicBezTo>
                    <a:pt x="5935457" y="926891"/>
                    <a:pt x="5929116" y="910625"/>
                    <a:pt x="5939869" y="909591"/>
                  </a:cubicBezTo>
                  <a:cubicBezTo>
                    <a:pt x="5947864" y="910005"/>
                    <a:pt x="5954412" y="926685"/>
                    <a:pt x="5943590" y="927443"/>
                  </a:cubicBezTo>
                  <a:moveTo>
                    <a:pt x="5798297" y="939987"/>
                  </a:moveTo>
                  <a:cubicBezTo>
                    <a:pt x="5790233" y="934818"/>
                    <a:pt x="5797608" y="917518"/>
                    <a:pt x="5806017" y="926891"/>
                  </a:cubicBezTo>
                  <a:cubicBezTo>
                    <a:pt x="5813461" y="932336"/>
                    <a:pt x="5807051" y="948603"/>
                    <a:pt x="5798297" y="939987"/>
                  </a:cubicBezTo>
                  <a:moveTo>
                    <a:pt x="5956135" y="946810"/>
                  </a:moveTo>
                  <a:cubicBezTo>
                    <a:pt x="5953309" y="937161"/>
                    <a:pt x="5956686" y="933715"/>
                    <a:pt x="5966405" y="936403"/>
                  </a:cubicBezTo>
                  <a:cubicBezTo>
                    <a:pt x="5969092" y="946121"/>
                    <a:pt x="5965646" y="949567"/>
                    <a:pt x="5956135" y="946810"/>
                  </a:cubicBezTo>
                  <a:moveTo>
                    <a:pt x="5935940" y="948327"/>
                  </a:moveTo>
                  <a:cubicBezTo>
                    <a:pt x="5932356" y="937023"/>
                    <a:pt x="5936216" y="933232"/>
                    <a:pt x="5947381" y="936885"/>
                  </a:cubicBezTo>
                  <a:cubicBezTo>
                    <a:pt x="5950835" y="948258"/>
                    <a:pt x="5947037" y="952049"/>
                    <a:pt x="5935940" y="948327"/>
                  </a:cubicBezTo>
                  <a:moveTo>
                    <a:pt x="5821387" y="969487"/>
                  </a:moveTo>
                  <a:cubicBezTo>
                    <a:pt x="5821732" y="949223"/>
                    <a:pt x="5819940" y="928959"/>
                    <a:pt x="5812358" y="910005"/>
                  </a:cubicBezTo>
                  <a:cubicBezTo>
                    <a:pt x="5827522" y="918069"/>
                    <a:pt x="5843719" y="923445"/>
                    <a:pt x="5860881" y="925168"/>
                  </a:cubicBezTo>
                  <a:cubicBezTo>
                    <a:pt x="5849853" y="928614"/>
                    <a:pt x="5838343" y="926547"/>
                    <a:pt x="5827177" y="925788"/>
                  </a:cubicBezTo>
                  <a:cubicBezTo>
                    <a:pt x="5830485" y="940814"/>
                    <a:pt x="5828349" y="955977"/>
                    <a:pt x="5821387" y="969487"/>
                  </a:cubicBezTo>
                  <a:moveTo>
                    <a:pt x="5851507" y="981755"/>
                  </a:moveTo>
                  <a:cubicBezTo>
                    <a:pt x="5854747" y="971348"/>
                    <a:pt x="5858400" y="960871"/>
                    <a:pt x="5861915" y="950464"/>
                  </a:cubicBezTo>
                  <a:cubicBezTo>
                    <a:pt x="5864465" y="955840"/>
                    <a:pt x="5867153" y="961216"/>
                    <a:pt x="5869910" y="966454"/>
                  </a:cubicBezTo>
                  <a:cubicBezTo>
                    <a:pt x="5863638" y="971623"/>
                    <a:pt x="5857573" y="976724"/>
                    <a:pt x="5851507" y="981755"/>
                  </a:cubicBezTo>
                  <a:moveTo>
                    <a:pt x="5991148" y="1003260"/>
                  </a:moveTo>
                  <a:cubicBezTo>
                    <a:pt x="5992734" y="980584"/>
                    <a:pt x="6011619" y="1014288"/>
                    <a:pt x="5991148" y="1003260"/>
                  </a:cubicBezTo>
                  <a:moveTo>
                    <a:pt x="5820767" y="987407"/>
                  </a:moveTo>
                  <a:cubicBezTo>
                    <a:pt x="5828556" y="984788"/>
                    <a:pt x="5836551" y="982100"/>
                    <a:pt x="5844477" y="979274"/>
                  </a:cubicBezTo>
                  <a:cubicBezTo>
                    <a:pt x="5835793" y="988096"/>
                    <a:pt x="5828831" y="998366"/>
                    <a:pt x="5825661" y="1010428"/>
                  </a:cubicBezTo>
                  <a:cubicBezTo>
                    <a:pt x="5823937" y="1002777"/>
                    <a:pt x="5822352" y="995127"/>
                    <a:pt x="5820767" y="987407"/>
                  </a:cubicBezTo>
                  <a:moveTo>
                    <a:pt x="5794024" y="1002502"/>
                  </a:moveTo>
                  <a:cubicBezTo>
                    <a:pt x="5799056" y="992025"/>
                    <a:pt x="5804570" y="991956"/>
                    <a:pt x="5810566" y="1002364"/>
                  </a:cubicBezTo>
                  <a:cubicBezTo>
                    <a:pt x="5805672" y="1012289"/>
                    <a:pt x="5800159" y="1012358"/>
                    <a:pt x="5794024" y="1002502"/>
                  </a:cubicBezTo>
                  <a:moveTo>
                    <a:pt x="5867429" y="1029244"/>
                  </a:moveTo>
                  <a:cubicBezTo>
                    <a:pt x="5861984" y="1024075"/>
                    <a:pt x="5861157" y="1006844"/>
                    <a:pt x="5870944" y="1006982"/>
                  </a:cubicBezTo>
                  <a:cubicBezTo>
                    <a:pt x="5876182" y="1012289"/>
                    <a:pt x="5877147" y="1029589"/>
                    <a:pt x="5867429" y="1029244"/>
                  </a:cubicBezTo>
                  <a:moveTo>
                    <a:pt x="5785753" y="1139662"/>
                  </a:moveTo>
                  <a:cubicBezTo>
                    <a:pt x="5784374" y="1128013"/>
                    <a:pt x="5787201" y="1113953"/>
                    <a:pt x="5792508" y="1103338"/>
                  </a:cubicBezTo>
                  <a:cubicBezTo>
                    <a:pt x="5804983" y="1108508"/>
                    <a:pt x="5798642" y="1137594"/>
                    <a:pt x="5785753" y="1139662"/>
                  </a:cubicBezTo>
                  <a:moveTo>
                    <a:pt x="5734818" y="1137939"/>
                  </a:moveTo>
                  <a:cubicBezTo>
                    <a:pt x="5742744" y="1132149"/>
                    <a:pt x="5750395" y="1125808"/>
                    <a:pt x="5753290" y="1115814"/>
                  </a:cubicBezTo>
                  <a:cubicBezTo>
                    <a:pt x="5755495" y="1123464"/>
                    <a:pt x="5757908" y="1131115"/>
                    <a:pt x="5760389" y="1138697"/>
                  </a:cubicBezTo>
                  <a:cubicBezTo>
                    <a:pt x="5751773" y="1138421"/>
                    <a:pt x="5743296" y="1138145"/>
                    <a:pt x="5734818" y="1137939"/>
                  </a:cubicBezTo>
                  <a:moveTo>
                    <a:pt x="5771486" y="1293570"/>
                  </a:moveTo>
                  <a:cubicBezTo>
                    <a:pt x="5772933" y="1270756"/>
                    <a:pt x="5791956" y="1304598"/>
                    <a:pt x="5771486" y="1293570"/>
                  </a:cubicBezTo>
                  <a:moveTo>
                    <a:pt x="5985290" y="1319624"/>
                  </a:moveTo>
                  <a:cubicBezTo>
                    <a:pt x="5988874" y="1315626"/>
                    <a:pt x="5988874" y="1315626"/>
                    <a:pt x="5985290" y="1319624"/>
                  </a:cubicBezTo>
                  <a:moveTo>
                    <a:pt x="5753221" y="1362840"/>
                  </a:moveTo>
                  <a:cubicBezTo>
                    <a:pt x="5753566" y="1351260"/>
                    <a:pt x="5773967" y="1349813"/>
                    <a:pt x="5774174" y="1362150"/>
                  </a:cubicBezTo>
                  <a:cubicBezTo>
                    <a:pt x="5774243" y="1374143"/>
                    <a:pt x="5753703" y="1375039"/>
                    <a:pt x="5753221" y="1362840"/>
                  </a:cubicBezTo>
                  <a:moveTo>
                    <a:pt x="5948967" y="1394200"/>
                  </a:moveTo>
                  <a:cubicBezTo>
                    <a:pt x="5948553" y="1384482"/>
                    <a:pt x="5947657" y="1374212"/>
                    <a:pt x="5954412" y="1366010"/>
                  </a:cubicBezTo>
                  <a:cubicBezTo>
                    <a:pt x="5953171" y="1358015"/>
                    <a:pt x="5951793" y="1350089"/>
                    <a:pt x="5950552" y="1342024"/>
                  </a:cubicBezTo>
                  <a:cubicBezTo>
                    <a:pt x="5957858" y="1328584"/>
                    <a:pt x="5965784" y="1315488"/>
                    <a:pt x="5975365" y="1303427"/>
                  </a:cubicBezTo>
                  <a:cubicBezTo>
                    <a:pt x="5972953" y="1328791"/>
                    <a:pt x="5970885" y="1354293"/>
                    <a:pt x="5975503" y="1379519"/>
                  </a:cubicBezTo>
                  <a:cubicBezTo>
                    <a:pt x="5964130" y="1380209"/>
                    <a:pt x="5950621" y="1386756"/>
                    <a:pt x="5966818" y="1394821"/>
                  </a:cubicBezTo>
                  <a:cubicBezTo>
                    <a:pt x="5962338" y="1394683"/>
                    <a:pt x="5953447" y="1394338"/>
                    <a:pt x="5948967" y="1394200"/>
                  </a:cubicBezTo>
                  <a:moveTo>
                    <a:pt x="5774518" y="1411500"/>
                  </a:moveTo>
                  <a:cubicBezTo>
                    <a:pt x="5776517" y="1396957"/>
                    <a:pt x="5782789" y="1383448"/>
                    <a:pt x="5795402" y="1375177"/>
                  </a:cubicBezTo>
                  <a:cubicBezTo>
                    <a:pt x="5795954" y="1380691"/>
                    <a:pt x="5797126" y="1391719"/>
                    <a:pt x="5797677" y="1397164"/>
                  </a:cubicBezTo>
                  <a:cubicBezTo>
                    <a:pt x="5794231" y="1397302"/>
                    <a:pt x="5787201" y="1397440"/>
                    <a:pt x="5783755" y="1397509"/>
                  </a:cubicBezTo>
                  <a:cubicBezTo>
                    <a:pt x="5783479" y="1401231"/>
                    <a:pt x="5782927" y="1408605"/>
                    <a:pt x="5782651" y="1412328"/>
                  </a:cubicBezTo>
                  <a:lnTo>
                    <a:pt x="5774518" y="1411500"/>
                  </a:lnTo>
                  <a:moveTo>
                    <a:pt x="5944211" y="1435969"/>
                  </a:moveTo>
                  <a:cubicBezTo>
                    <a:pt x="5936353" y="1429352"/>
                    <a:pt x="5932632" y="1416118"/>
                    <a:pt x="5937250" y="1406676"/>
                  </a:cubicBezTo>
                  <a:cubicBezTo>
                    <a:pt x="5949932" y="1401920"/>
                    <a:pt x="5956617" y="1433901"/>
                    <a:pt x="5944211" y="1435969"/>
                  </a:cubicBezTo>
                  <a:moveTo>
                    <a:pt x="5764249" y="1451063"/>
                  </a:moveTo>
                  <a:cubicBezTo>
                    <a:pt x="5760733" y="1441345"/>
                    <a:pt x="5763904" y="1438174"/>
                    <a:pt x="5773691" y="1441551"/>
                  </a:cubicBezTo>
                  <a:cubicBezTo>
                    <a:pt x="5777137" y="1451339"/>
                    <a:pt x="5773967" y="1454509"/>
                    <a:pt x="5764249" y="1451063"/>
                  </a:cubicBezTo>
                  <a:moveTo>
                    <a:pt x="5957238" y="1472568"/>
                  </a:moveTo>
                  <a:cubicBezTo>
                    <a:pt x="5964268" y="1461057"/>
                    <a:pt x="5969368" y="1448513"/>
                    <a:pt x="5972263" y="1435279"/>
                  </a:cubicBezTo>
                  <a:cubicBezTo>
                    <a:pt x="5975916" y="1445205"/>
                    <a:pt x="5979776" y="1455199"/>
                    <a:pt x="5986806" y="1463263"/>
                  </a:cubicBezTo>
                  <a:cubicBezTo>
                    <a:pt x="5976812" y="1466158"/>
                    <a:pt x="5966956" y="1469259"/>
                    <a:pt x="5957238" y="1472568"/>
                  </a:cubicBezTo>
                  <a:moveTo>
                    <a:pt x="5943108" y="1499035"/>
                  </a:moveTo>
                  <a:cubicBezTo>
                    <a:pt x="5932976" y="1498552"/>
                    <a:pt x="5929943" y="1479874"/>
                    <a:pt x="5941454" y="1479184"/>
                  </a:cubicBezTo>
                  <a:cubicBezTo>
                    <a:pt x="5951310" y="1479805"/>
                    <a:pt x="5954274" y="1498345"/>
                    <a:pt x="5943108" y="1499035"/>
                  </a:cubicBezTo>
                  <a:moveTo>
                    <a:pt x="5732750" y="1498276"/>
                  </a:moveTo>
                  <a:cubicBezTo>
                    <a:pt x="5737299" y="1488558"/>
                    <a:pt x="5745432" y="1482217"/>
                    <a:pt x="5755426" y="1478495"/>
                  </a:cubicBezTo>
                  <a:cubicBezTo>
                    <a:pt x="5755702" y="1484285"/>
                    <a:pt x="5756323" y="1495933"/>
                    <a:pt x="5756598" y="1501723"/>
                  </a:cubicBezTo>
                  <a:cubicBezTo>
                    <a:pt x="5750671" y="1500896"/>
                    <a:pt x="5738678" y="1499173"/>
                    <a:pt x="5732750" y="1498276"/>
                  </a:cubicBezTo>
                  <a:moveTo>
                    <a:pt x="5943522" y="1512544"/>
                  </a:moveTo>
                  <a:cubicBezTo>
                    <a:pt x="5947106" y="1509098"/>
                    <a:pt x="5947106" y="1509098"/>
                    <a:pt x="5943522" y="1512544"/>
                  </a:cubicBezTo>
                  <a:moveTo>
                    <a:pt x="5958754" y="1530878"/>
                  </a:moveTo>
                  <a:cubicBezTo>
                    <a:pt x="5958823" y="1522124"/>
                    <a:pt x="5959030" y="1513371"/>
                    <a:pt x="5959374" y="1504549"/>
                  </a:cubicBezTo>
                  <a:cubicBezTo>
                    <a:pt x="5974744" y="1505445"/>
                    <a:pt x="5974606" y="1490350"/>
                    <a:pt x="5977571" y="1479460"/>
                  </a:cubicBezTo>
                  <a:lnTo>
                    <a:pt x="5980465" y="1481321"/>
                  </a:lnTo>
                  <a:cubicBezTo>
                    <a:pt x="5977984" y="1488903"/>
                    <a:pt x="5977984" y="1496416"/>
                    <a:pt x="5980328" y="1503859"/>
                  </a:cubicBezTo>
                  <a:cubicBezTo>
                    <a:pt x="5972470" y="1504549"/>
                    <a:pt x="5966198" y="1507926"/>
                    <a:pt x="5961511" y="1513991"/>
                  </a:cubicBezTo>
                  <a:cubicBezTo>
                    <a:pt x="5964682" y="1521297"/>
                    <a:pt x="5971230" y="1526122"/>
                    <a:pt x="5976744" y="1531636"/>
                  </a:cubicBezTo>
                  <a:lnTo>
                    <a:pt x="5981017" y="1516610"/>
                  </a:lnTo>
                  <a:cubicBezTo>
                    <a:pt x="5985497" y="1524399"/>
                    <a:pt x="5984187" y="1533152"/>
                    <a:pt x="5983774" y="1541561"/>
                  </a:cubicBezTo>
                  <a:cubicBezTo>
                    <a:pt x="5975365" y="1537977"/>
                    <a:pt x="5967025" y="1534462"/>
                    <a:pt x="5958754" y="1530878"/>
                  </a:cubicBezTo>
                  <a:moveTo>
                    <a:pt x="5722480" y="1540941"/>
                  </a:moveTo>
                  <a:cubicBezTo>
                    <a:pt x="5725031" y="1518127"/>
                    <a:pt x="5742262" y="1552589"/>
                    <a:pt x="5722480" y="1540941"/>
                  </a:cubicBezTo>
                  <a:moveTo>
                    <a:pt x="5729442" y="1567408"/>
                  </a:moveTo>
                  <a:cubicBezTo>
                    <a:pt x="5724617" y="1560447"/>
                    <a:pt x="5733722" y="1547558"/>
                    <a:pt x="5741917" y="1551762"/>
                  </a:cubicBezTo>
                  <a:cubicBezTo>
                    <a:pt x="5747569" y="1558792"/>
                    <a:pt x="5737368" y="1571888"/>
                    <a:pt x="5729442" y="1567408"/>
                  </a:cubicBezTo>
                  <a:moveTo>
                    <a:pt x="5964612" y="1587809"/>
                  </a:moveTo>
                  <a:cubicBezTo>
                    <a:pt x="5958272" y="1578505"/>
                    <a:pt x="5973228" y="1566029"/>
                    <a:pt x="5981913" y="1571819"/>
                  </a:cubicBezTo>
                  <a:cubicBezTo>
                    <a:pt x="5987771" y="1581055"/>
                    <a:pt x="5973297" y="1595391"/>
                    <a:pt x="5964612" y="1587809"/>
                  </a:cubicBezTo>
                  <a:moveTo>
                    <a:pt x="5721653" y="1608349"/>
                  </a:moveTo>
                  <a:cubicBezTo>
                    <a:pt x="5711039" y="1587672"/>
                    <a:pt x="5744468" y="1607591"/>
                    <a:pt x="5721653" y="1608349"/>
                  </a:cubicBezTo>
                  <a:moveTo>
                    <a:pt x="5928910" y="1635712"/>
                  </a:moveTo>
                  <a:cubicBezTo>
                    <a:pt x="5917744" y="1615310"/>
                    <a:pt x="5951586" y="1633920"/>
                    <a:pt x="5928910" y="1635712"/>
                  </a:cubicBezTo>
                  <a:moveTo>
                    <a:pt x="5707317" y="1699330"/>
                  </a:moveTo>
                  <a:cubicBezTo>
                    <a:pt x="5703733" y="1688164"/>
                    <a:pt x="5707662" y="1684235"/>
                    <a:pt x="5718965" y="1687681"/>
                  </a:cubicBezTo>
                  <a:cubicBezTo>
                    <a:pt x="5722274" y="1698847"/>
                    <a:pt x="5718414" y="1702776"/>
                    <a:pt x="5707317" y="1699330"/>
                  </a:cubicBezTo>
                  <a:moveTo>
                    <a:pt x="5728064" y="1723177"/>
                  </a:moveTo>
                  <a:cubicBezTo>
                    <a:pt x="5723584" y="1710909"/>
                    <a:pt x="5751911" y="1708635"/>
                    <a:pt x="5753358" y="1719042"/>
                  </a:cubicBezTo>
                  <a:cubicBezTo>
                    <a:pt x="5746604" y="1724211"/>
                    <a:pt x="5735852" y="1727106"/>
                    <a:pt x="5728064" y="1723177"/>
                  </a:cubicBezTo>
                  <a:moveTo>
                    <a:pt x="5709316" y="1725590"/>
                  </a:moveTo>
                  <a:cubicBezTo>
                    <a:pt x="5712486" y="1721799"/>
                    <a:pt x="5712486" y="1721799"/>
                    <a:pt x="5709316" y="1725590"/>
                  </a:cubicBezTo>
                  <a:moveTo>
                    <a:pt x="5775414" y="1679479"/>
                  </a:moveTo>
                  <a:cubicBezTo>
                    <a:pt x="5777137" y="1700708"/>
                    <a:pt x="5771693" y="1721248"/>
                    <a:pt x="5765420" y="1741236"/>
                  </a:cubicBezTo>
                  <a:cubicBezTo>
                    <a:pt x="5770521" y="1721317"/>
                    <a:pt x="5758390" y="1693884"/>
                    <a:pt x="5775414" y="1679479"/>
                  </a:cubicBezTo>
                  <a:moveTo>
                    <a:pt x="5958823" y="1749507"/>
                  </a:moveTo>
                  <a:cubicBezTo>
                    <a:pt x="5959030" y="1734619"/>
                    <a:pt x="5959650" y="1719662"/>
                    <a:pt x="5960615" y="1704706"/>
                  </a:cubicBezTo>
                  <a:lnTo>
                    <a:pt x="5949036" y="1704981"/>
                  </a:lnTo>
                  <a:cubicBezTo>
                    <a:pt x="5952620" y="1691886"/>
                    <a:pt x="5955790" y="1678652"/>
                    <a:pt x="5958547" y="1665281"/>
                  </a:cubicBezTo>
                  <a:cubicBezTo>
                    <a:pt x="5960546" y="1664316"/>
                    <a:pt x="5964406" y="1662386"/>
                    <a:pt x="5966405" y="1661421"/>
                  </a:cubicBezTo>
                  <a:cubicBezTo>
                    <a:pt x="5960891" y="1675206"/>
                    <a:pt x="5956273" y="1689542"/>
                    <a:pt x="5957720" y="1704637"/>
                  </a:cubicBezTo>
                  <a:cubicBezTo>
                    <a:pt x="5961925" y="1703947"/>
                    <a:pt x="5970334" y="1702707"/>
                    <a:pt x="5974469" y="1702087"/>
                  </a:cubicBezTo>
                  <a:cubicBezTo>
                    <a:pt x="5971574" y="1718560"/>
                    <a:pt x="5968197" y="1735308"/>
                    <a:pt x="5958823" y="1749507"/>
                  </a:cubicBezTo>
                  <a:moveTo>
                    <a:pt x="5984739" y="1752264"/>
                  </a:moveTo>
                  <a:cubicBezTo>
                    <a:pt x="5977019" y="1746888"/>
                    <a:pt x="5984532" y="1730759"/>
                    <a:pt x="5993216" y="1738341"/>
                  </a:cubicBezTo>
                  <a:cubicBezTo>
                    <a:pt x="6000523" y="1743717"/>
                    <a:pt x="5993147" y="1758950"/>
                    <a:pt x="5984739" y="1752264"/>
                  </a:cubicBezTo>
                  <a:moveTo>
                    <a:pt x="5914435" y="1752884"/>
                  </a:moveTo>
                  <a:cubicBezTo>
                    <a:pt x="5908646" y="1744268"/>
                    <a:pt x="5910300" y="1738892"/>
                    <a:pt x="5919260" y="1736756"/>
                  </a:cubicBezTo>
                  <a:cubicBezTo>
                    <a:pt x="5924774" y="1745440"/>
                    <a:pt x="5923189" y="1750816"/>
                    <a:pt x="5914435" y="1752884"/>
                  </a:cubicBezTo>
                  <a:moveTo>
                    <a:pt x="5732681" y="1756950"/>
                  </a:moveTo>
                  <a:cubicBezTo>
                    <a:pt x="5728270" y="1752126"/>
                    <a:pt x="5724548" y="1746956"/>
                    <a:pt x="5721584" y="1741305"/>
                  </a:cubicBezTo>
                  <a:cubicBezTo>
                    <a:pt x="5727443" y="1729450"/>
                    <a:pt x="5735369" y="1748542"/>
                    <a:pt x="5741159" y="1751643"/>
                  </a:cubicBezTo>
                  <a:cubicBezTo>
                    <a:pt x="5744123" y="1749851"/>
                    <a:pt x="5750050" y="1746198"/>
                    <a:pt x="5753014" y="1744406"/>
                  </a:cubicBezTo>
                  <a:cubicBezTo>
                    <a:pt x="5756805" y="1753642"/>
                    <a:pt x="5765490" y="1759570"/>
                    <a:pt x="5775552" y="1760604"/>
                  </a:cubicBezTo>
                  <a:cubicBezTo>
                    <a:pt x="5773898" y="1770184"/>
                    <a:pt x="5762871" y="1770735"/>
                    <a:pt x="5755909" y="1774595"/>
                  </a:cubicBezTo>
                  <a:cubicBezTo>
                    <a:pt x="5749982" y="1766462"/>
                    <a:pt x="5742193" y="1760259"/>
                    <a:pt x="5732681" y="1756950"/>
                  </a:cubicBezTo>
                  <a:moveTo>
                    <a:pt x="5964061" y="1780316"/>
                  </a:moveTo>
                  <a:cubicBezTo>
                    <a:pt x="5957789" y="1771769"/>
                    <a:pt x="5959168" y="1766600"/>
                    <a:pt x="5968128" y="1764877"/>
                  </a:cubicBezTo>
                  <a:cubicBezTo>
                    <a:pt x="5974262" y="1773561"/>
                    <a:pt x="5972883" y="1778731"/>
                    <a:pt x="5964061" y="1780316"/>
                  </a:cubicBezTo>
                  <a:moveTo>
                    <a:pt x="5922706" y="1782935"/>
                  </a:moveTo>
                  <a:cubicBezTo>
                    <a:pt x="5913471" y="1777972"/>
                    <a:pt x="5913195" y="1773148"/>
                    <a:pt x="5921742" y="1768461"/>
                  </a:cubicBezTo>
                  <a:cubicBezTo>
                    <a:pt x="5930839" y="1773492"/>
                    <a:pt x="5931115" y="1778317"/>
                    <a:pt x="5922706" y="1782935"/>
                  </a:cubicBezTo>
                  <a:moveTo>
                    <a:pt x="5701941" y="1795204"/>
                  </a:moveTo>
                  <a:cubicBezTo>
                    <a:pt x="5705043" y="1804646"/>
                    <a:pt x="5708765" y="1813882"/>
                    <a:pt x="5712004" y="1823256"/>
                  </a:cubicBezTo>
                  <a:cubicBezTo>
                    <a:pt x="5698908" y="1821119"/>
                    <a:pt x="5691189" y="1804715"/>
                    <a:pt x="5701941" y="1795204"/>
                  </a:cubicBezTo>
                  <a:moveTo>
                    <a:pt x="5923051" y="1829115"/>
                  </a:moveTo>
                  <a:cubicBezTo>
                    <a:pt x="5917537" y="1823945"/>
                    <a:pt x="5916503" y="1806921"/>
                    <a:pt x="5926084" y="1806576"/>
                  </a:cubicBezTo>
                  <a:cubicBezTo>
                    <a:pt x="5931391" y="1811815"/>
                    <a:pt x="5932976" y="1829253"/>
                    <a:pt x="5923051" y="1829115"/>
                  </a:cubicBezTo>
                  <a:moveTo>
                    <a:pt x="5908991" y="1903967"/>
                  </a:moveTo>
                  <a:cubicBezTo>
                    <a:pt x="5903407" y="1898798"/>
                    <a:pt x="5902856" y="1881635"/>
                    <a:pt x="5912782" y="1882049"/>
                  </a:cubicBezTo>
                  <a:cubicBezTo>
                    <a:pt x="5918226" y="1887287"/>
                    <a:pt x="5918571" y="1904242"/>
                    <a:pt x="5908991" y="1903967"/>
                  </a:cubicBezTo>
                  <a:moveTo>
                    <a:pt x="5775346" y="1906724"/>
                  </a:moveTo>
                  <a:cubicBezTo>
                    <a:pt x="5775139" y="1870125"/>
                    <a:pt x="5785546" y="1832423"/>
                    <a:pt x="5777275" y="1796651"/>
                  </a:cubicBezTo>
                  <a:cubicBezTo>
                    <a:pt x="5767764" y="1802510"/>
                    <a:pt x="5758597" y="1808506"/>
                    <a:pt x="5749230" y="1814365"/>
                  </a:cubicBezTo>
                  <a:cubicBezTo>
                    <a:pt x="5749912" y="1818500"/>
                    <a:pt x="5751291" y="1826702"/>
                    <a:pt x="5751980" y="1830838"/>
                  </a:cubicBezTo>
                  <a:cubicBezTo>
                    <a:pt x="5745639" y="1815812"/>
                    <a:pt x="5748603" y="1796582"/>
                    <a:pt x="5734267" y="1785899"/>
                  </a:cubicBezTo>
                  <a:cubicBezTo>
                    <a:pt x="5729924" y="1788449"/>
                    <a:pt x="5721171" y="1793480"/>
                    <a:pt x="5716760" y="1796031"/>
                  </a:cubicBezTo>
                  <a:cubicBezTo>
                    <a:pt x="5720827" y="1790517"/>
                    <a:pt x="5724824" y="1785003"/>
                    <a:pt x="5729028" y="1779420"/>
                  </a:cubicBezTo>
                  <a:cubicBezTo>
                    <a:pt x="5735507" y="1785554"/>
                    <a:pt x="5744123" y="1785003"/>
                    <a:pt x="5752532" y="1784865"/>
                  </a:cubicBezTo>
                  <a:lnTo>
                    <a:pt x="5748396" y="1798581"/>
                  </a:lnTo>
                  <a:cubicBezTo>
                    <a:pt x="5753634" y="1798788"/>
                    <a:pt x="5764249" y="1799339"/>
                    <a:pt x="5769487" y="1799546"/>
                  </a:cubicBezTo>
                  <a:cubicBezTo>
                    <a:pt x="5772657" y="1797892"/>
                    <a:pt x="5779068" y="1794514"/>
                    <a:pt x="5782238" y="1792791"/>
                  </a:cubicBezTo>
                  <a:cubicBezTo>
                    <a:pt x="5783065" y="1775836"/>
                    <a:pt x="5784168" y="1758812"/>
                    <a:pt x="5785202" y="1741787"/>
                  </a:cubicBezTo>
                  <a:cubicBezTo>
                    <a:pt x="5775759" y="1737790"/>
                    <a:pt x="5779964" y="1727589"/>
                    <a:pt x="5779205" y="1720007"/>
                  </a:cubicBezTo>
                  <a:cubicBezTo>
                    <a:pt x="5786305" y="1713183"/>
                    <a:pt x="5788717" y="1703672"/>
                    <a:pt x="5788373" y="1694022"/>
                  </a:cubicBezTo>
                  <a:cubicBezTo>
                    <a:pt x="5788510" y="1669692"/>
                    <a:pt x="5790854" y="1645431"/>
                    <a:pt x="5793542" y="1621238"/>
                  </a:cubicBezTo>
                  <a:cubicBezTo>
                    <a:pt x="5789682" y="1621721"/>
                    <a:pt x="5781962" y="1622754"/>
                    <a:pt x="5778103" y="1623237"/>
                  </a:cubicBezTo>
                  <a:cubicBezTo>
                    <a:pt x="5778999" y="1639434"/>
                    <a:pt x="5780032" y="1655976"/>
                    <a:pt x="5773967" y="1671484"/>
                  </a:cubicBezTo>
                  <a:cubicBezTo>
                    <a:pt x="5773278" y="1661421"/>
                    <a:pt x="5773002" y="1651358"/>
                    <a:pt x="5773140" y="1641226"/>
                  </a:cubicBezTo>
                  <a:cubicBezTo>
                    <a:pt x="5767695" y="1640399"/>
                    <a:pt x="5756874" y="1638676"/>
                    <a:pt x="5751429" y="1637849"/>
                  </a:cubicBezTo>
                  <a:cubicBezTo>
                    <a:pt x="5753152" y="1646395"/>
                    <a:pt x="5750739" y="1652737"/>
                    <a:pt x="5744261" y="1656872"/>
                  </a:cubicBezTo>
                  <a:cubicBezTo>
                    <a:pt x="5744950" y="1669348"/>
                    <a:pt x="5745639" y="1681685"/>
                    <a:pt x="5746742" y="1694091"/>
                  </a:cubicBezTo>
                  <a:cubicBezTo>
                    <a:pt x="5741228" y="1682374"/>
                    <a:pt x="5734818" y="1670864"/>
                    <a:pt x="5724479" y="1662662"/>
                  </a:cubicBezTo>
                  <a:cubicBezTo>
                    <a:pt x="5730545" y="1653495"/>
                    <a:pt x="5735783" y="1644052"/>
                    <a:pt x="5741573" y="1634541"/>
                  </a:cubicBezTo>
                  <a:cubicBezTo>
                    <a:pt x="5705111" y="1630198"/>
                    <a:pt x="5763422" y="1635505"/>
                    <a:pt x="5749361" y="1612071"/>
                  </a:cubicBezTo>
                  <a:lnTo>
                    <a:pt x="5735645" y="1612416"/>
                  </a:lnTo>
                  <a:cubicBezTo>
                    <a:pt x="5738609" y="1610486"/>
                    <a:pt x="5744398" y="1606626"/>
                    <a:pt x="5747293" y="1604696"/>
                  </a:cubicBezTo>
                  <a:cubicBezTo>
                    <a:pt x="5746329" y="1599734"/>
                    <a:pt x="5744330" y="1589877"/>
                    <a:pt x="5743296" y="1584915"/>
                  </a:cubicBezTo>
                  <a:cubicBezTo>
                    <a:pt x="5752601" y="1582227"/>
                    <a:pt x="5761974" y="1579539"/>
                    <a:pt x="5771417" y="1576989"/>
                  </a:cubicBezTo>
                  <a:cubicBezTo>
                    <a:pt x="5757494" y="1565892"/>
                    <a:pt x="5786305" y="1560378"/>
                    <a:pt x="5776655" y="1575541"/>
                  </a:cubicBezTo>
                  <a:lnTo>
                    <a:pt x="5785271" y="1573060"/>
                  </a:lnTo>
                  <a:cubicBezTo>
                    <a:pt x="5785960" y="1572784"/>
                    <a:pt x="5787269" y="1572301"/>
                    <a:pt x="5787959" y="1572026"/>
                  </a:cubicBezTo>
                  <a:lnTo>
                    <a:pt x="5796574" y="1567546"/>
                  </a:lnTo>
                  <a:lnTo>
                    <a:pt x="5797057" y="1558930"/>
                  </a:lnTo>
                  <a:cubicBezTo>
                    <a:pt x="5793679" y="1558861"/>
                    <a:pt x="5786787" y="1558861"/>
                    <a:pt x="5783341" y="1558792"/>
                  </a:cubicBezTo>
                  <a:lnTo>
                    <a:pt x="5782031" y="1554174"/>
                  </a:lnTo>
                  <a:cubicBezTo>
                    <a:pt x="5785616" y="1551210"/>
                    <a:pt x="5792715" y="1545283"/>
                    <a:pt x="5796230" y="1542388"/>
                  </a:cubicBezTo>
                  <a:cubicBezTo>
                    <a:pt x="5791336" y="1539149"/>
                    <a:pt x="5786512" y="1536047"/>
                    <a:pt x="5781618" y="1533014"/>
                  </a:cubicBezTo>
                  <a:cubicBezTo>
                    <a:pt x="5773485" y="1538873"/>
                    <a:pt x="5764180" y="1539425"/>
                    <a:pt x="5754875" y="1538804"/>
                  </a:cubicBezTo>
                  <a:cubicBezTo>
                    <a:pt x="5753083" y="1535220"/>
                    <a:pt x="5749568" y="1527983"/>
                    <a:pt x="5747776" y="1524399"/>
                  </a:cubicBezTo>
                  <a:cubicBezTo>
                    <a:pt x="5743640" y="1525157"/>
                    <a:pt x="5735301" y="1526742"/>
                    <a:pt x="5731165" y="1527500"/>
                  </a:cubicBezTo>
                  <a:cubicBezTo>
                    <a:pt x="5732406" y="1514060"/>
                    <a:pt x="5745708" y="1512061"/>
                    <a:pt x="5756047" y="1508064"/>
                  </a:cubicBezTo>
                  <a:lnTo>
                    <a:pt x="5761837" y="1508753"/>
                  </a:lnTo>
                  <a:cubicBezTo>
                    <a:pt x="5764594" y="1507581"/>
                    <a:pt x="5770038" y="1505307"/>
                    <a:pt x="5772795" y="1504204"/>
                  </a:cubicBezTo>
                  <a:cubicBezTo>
                    <a:pt x="5767626" y="1498897"/>
                    <a:pt x="5764524" y="1492763"/>
                    <a:pt x="5763490" y="1485939"/>
                  </a:cubicBezTo>
                  <a:cubicBezTo>
                    <a:pt x="5771486" y="1482079"/>
                    <a:pt x="5780308" y="1482079"/>
                    <a:pt x="5788993" y="1480425"/>
                  </a:cubicBezTo>
                  <a:lnTo>
                    <a:pt x="5792577" y="1483733"/>
                  </a:lnTo>
                  <a:cubicBezTo>
                    <a:pt x="5785891" y="1477254"/>
                    <a:pt x="5788786" y="1468087"/>
                    <a:pt x="5789269" y="1460023"/>
                  </a:cubicBezTo>
                  <a:cubicBezTo>
                    <a:pt x="5794162" y="1466089"/>
                    <a:pt x="5799056" y="1472154"/>
                    <a:pt x="5804087" y="1478219"/>
                  </a:cubicBezTo>
                  <a:cubicBezTo>
                    <a:pt x="5800434" y="1444171"/>
                    <a:pt x="5808291" y="1410535"/>
                    <a:pt x="5807740" y="1376487"/>
                  </a:cubicBezTo>
                  <a:cubicBezTo>
                    <a:pt x="5806982" y="1355878"/>
                    <a:pt x="5810153" y="1335408"/>
                    <a:pt x="5812496" y="1314937"/>
                  </a:cubicBezTo>
                  <a:cubicBezTo>
                    <a:pt x="5808429" y="1318314"/>
                    <a:pt x="5800296" y="1325138"/>
                    <a:pt x="5796230" y="1328584"/>
                  </a:cubicBezTo>
                  <a:cubicBezTo>
                    <a:pt x="5798849" y="1320244"/>
                    <a:pt x="5800090" y="1309216"/>
                    <a:pt x="5812152" y="1310733"/>
                  </a:cubicBezTo>
                  <a:cubicBezTo>
                    <a:pt x="5817941" y="1220303"/>
                    <a:pt x="5823869" y="1129805"/>
                    <a:pt x="5830072" y="1039376"/>
                  </a:cubicBezTo>
                  <a:cubicBezTo>
                    <a:pt x="5853506" y="1035310"/>
                    <a:pt x="5878939" y="1038963"/>
                    <a:pt x="5902512" y="1043236"/>
                  </a:cubicBezTo>
                  <a:cubicBezTo>
                    <a:pt x="5936078" y="1062190"/>
                    <a:pt x="5942350" y="1106647"/>
                    <a:pt x="5943039" y="1141798"/>
                  </a:cubicBezTo>
                  <a:cubicBezTo>
                    <a:pt x="5938284" y="1238913"/>
                    <a:pt x="5931115" y="1335959"/>
                    <a:pt x="5926291" y="1433005"/>
                  </a:cubicBezTo>
                  <a:cubicBezTo>
                    <a:pt x="5933252" y="1444515"/>
                    <a:pt x="5927186" y="1460988"/>
                    <a:pt x="5939455" y="1469259"/>
                  </a:cubicBezTo>
                  <a:cubicBezTo>
                    <a:pt x="5936285" y="1469328"/>
                    <a:pt x="5929805" y="1469535"/>
                    <a:pt x="5926567" y="1469673"/>
                  </a:cubicBezTo>
                  <a:cubicBezTo>
                    <a:pt x="5918158" y="1497656"/>
                    <a:pt x="5920708" y="1527294"/>
                    <a:pt x="5917813" y="1556035"/>
                  </a:cubicBezTo>
                  <a:cubicBezTo>
                    <a:pt x="5911058" y="1646878"/>
                    <a:pt x="5908783" y="1738065"/>
                    <a:pt x="5898927" y="1828632"/>
                  </a:cubicBezTo>
                  <a:lnTo>
                    <a:pt x="5901271" y="1831803"/>
                  </a:lnTo>
                  <a:cubicBezTo>
                    <a:pt x="5904166" y="1832561"/>
                    <a:pt x="5910025" y="1834146"/>
                    <a:pt x="5912988" y="1834973"/>
                  </a:cubicBezTo>
                  <a:cubicBezTo>
                    <a:pt x="5912919" y="1836421"/>
                    <a:pt x="5912782" y="1839315"/>
                    <a:pt x="5912712" y="1840763"/>
                  </a:cubicBezTo>
                  <a:cubicBezTo>
                    <a:pt x="5909749" y="1841728"/>
                    <a:pt x="5903821" y="1843658"/>
                    <a:pt x="5900857" y="1844554"/>
                  </a:cubicBezTo>
                  <a:cubicBezTo>
                    <a:pt x="5883489" y="1864817"/>
                    <a:pt x="5879284" y="1897764"/>
                    <a:pt x="5851507" y="1908171"/>
                  </a:cubicBezTo>
                  <a:cubicBezTo>
                    <a:pt x="5826556" y="1913616"/>
                    <a:pt x="5800641" y="1907137"/>
                    <a:pt x="5775346" y="1906724"/>
                  </a:cubicBezTo>
                  <a:moveTo>
                    <a:pt x="5736610" y="1911824"/>
                  </a:moveTo>
                  <a:cubicBezTo>
                    <a:pt x="5740332" y="1908171"/>
                    <a:pt x="5740332" y="1908171"/>
                    <a:pt x="5736610" y="1911824"/>
                  </a:cubicBezTo>
                  <a:moveTo>
                    <a:pt x="5717036" y="1918303"/>
                  </a:moveTo>
                  <a:cubicBezTo>
                    <a:pt x="5714830" y="1915270"/>
                    <a:pt x="5710488" y="1909205"/>
                    <a:pt x="5708351" y="1906172"/>
                  </a:cubicBezTo>
                  <a:cubicBezTo>
                    <a:pt x="5720619" y="1896661"/>
                    <a:pt x="5727305" y="1869918"/>
                    <a:pt x="5746535" y="1881015"/>
                  </a:cubicBezTo>
                  <a:cubicBezTo>
                    <a:pt x="5738058" y="1889424"/>
                    <a:pt x="5729855" y="1898039"/>
                    <a:pt x="5721929" y="1906861"/>
                  </a:cubicBezTo>
                  <a:cubicBezTo>
                    <a:pt x="5722412" y="1919268"/>
                    <a:pt x="5723446" y="1931674"/>
                    <a:pt x="5725237" y="1944012"/>
                  </a:cubicBezTo>
                  <a:cubicBezTo>
                    <a:pt x="5714071" y="1939601"/>
                    <a:pt x="5717104" y="1927746"/>
                    <a:pt x="5717036" y="1918303"/>
                  </a:cubicBezTo>
                  <a:moveTo>
                    <a:pt x="5681884" y="1961312"/>
                  </a:moveTo>
                  <a:cubicBezTo>
                    <a:pt x="5683607" y="1938705"/>
                    <a:pt x="5702286" y="1972685"/>
                    <a:pt x="5681884" y="1961312"/>
                  </a:cubicBezTo>
                  <a:moveTo>
                    <a:pt x="5938146" y="1969101"/>
                  </a:moveTo>
                  <a:cubicBezTo>
                    <a:pt x="5935327" y="1959451"/>
                    <a:pt x="5938628" y="1955522"/>
                    <a:pt x="5948070" y="1957314"/>
                  </a:cubicBezTo>
                  <a:cubicBezTo>
                    <a:pt x="5950835" y="1967171"/>
                    <a:pt x="5947519" y="1971099"/>
                    <a:pt x="5938146" y="1969101"/>
                  </a:cubicBezTo>
                  <a:moveTo>
                    <a:pt x="5894517" y="1988262"/>
                  </a:moveTo>
                  <a:cubicBezTo>
                    <a:pt x="5883695" y="1967653"/>
                    <a:pt x="5917192" y="1987021"/>
                    <a:pt x="5894517" y="1988262"/>
                  </a:cubicBezTo>
                  <a:moveTo>
                    <a:pt x="5723997" y="1959658"/>
                  </a:moveTo>
                  <a:cubicBezTo>
                    <a:pt x="5731234" y="1950353"/>
                    <a:pt x="5737024" y="1940083"/>
                    <a:pt x="5742813" y="1929745"/>
                  </a:cubicBezTo>
                  <a:cubicBezTo>
                    <a:pt x="5747638" y="1929469"/>
                    <a:pt x="5757219" y="1928986"/>
                    <a:pt x="5762043" y="1928780"/>
                  </a:cubicBezTo>
                  <a:cubicBezTo>
                    <a:pt x="5759906" y="1948285"/>
                    <a:pt x="5764800" y="1972891"/>
                    <a:pt x="5744192" y="1983988"/>
                  </a:cubicBezTo>
                  <a:cubicBezTo>
                    <a:pt x="5743985" y="1978474"/>
                    <a:pt x="5743502" y="1967378"/>
                    <a:pt x="5743296" y="1961795"/>
                  </a:cubicBezTo>
                  <a:cubicBezTo>
                    <a:pt x="5713313" y="1962070"/>
                    <a:pt x="5732061" y="1983437"/>
                    <a:pt x="5732957" y="1997084"/>
                  </a:cubicBezTo>
                  <a:cubicBezTo>
                    <a:pt x="5720482" y="1989158"/>
                    <a:pt x="5726685" y="1971789"/>
                    <a:pt x="5723997" y="1959658"/>
                  </a:cubicBezTo>
                  <a:moveTo>
                    <a:pt x="5757287" y="1990054"/>
                  </a:moveTo>
                  <a:cubicBezTo>
                    <a:pt x="5761699" y="1983988"/>
                    <a:pt x="5766868" y="1978405"/>
                    <a:pt x="5771693" y="1972478"/>
                  </a:cubicBezTo>
                  <a:cubicBezTo>
                    <a:pt x="5777896" y="1970066"/>
                    <a:pt x="5784168" y="1967653"/>
                    <a:pt x="5790509" y="1965172"/>
                  </a:cubicBezTo>
                  <a:cubicBezTo>
                    <a:pt x="5786029" y="1978198"/>
                    <a:pt x="5778792" y="1989847"/>
                    <a:pt x="5772589" y="2001977"/>
                  </a:cubicBezTo>
                  <a:cubicBezTo>
                    <a:pt x="5767557" y="1997980"/>
                    <a:pt x="5758804" y="1997153"/>
                    <a:pt x="5757287" y="1990054"/>
                  </a:cubicBezTo>
                  <a:moveTo>
                    <a:pt x="5688707" y="2000048"/>
                  </a:moveTo>
                  <a:cubicBezTo>
                    <a:pt x="5686226" y="1990329"/>
                    <a:pt x="5689672" y="1986676"/>
                    <a:pt x="5699046" y="1989020"/>
                  </a:cubicBezTo>
                  <a:cubicBezTo>
                    <a:pt x="5701390" y="1998738"/>
                    <a:pt x="5697943" y="2002391"/>
                    <a:pt x="5688707" y="2000048"/>
                  </a:cubicBezTo>
                  <a:moveTo>
                    <a:pt x="5924154" y="1987641"/>
                  </a:moveTo>
                  <a:cubicBezTo>
                    <a:pt x="5919605" y="1985298"/>
                    <a:pt x="5910438" y="1980680"/>
                    <a:pt x="5905820" y="1978336"/>
                  </a:cubicBezTo>
                  <a:lnTo>
                    <a:pt x="5918709" y="1981783"/>
                  </a:lnTo>
                  <a:cubicBezTo>
                    <a:pt x="5919949" y="1977027"/>
                    <a:pt x="5922362" y="1967378"/>
                    <a:pt x="5923602" y="1962553"/>
                  </a:cubicBezTo>
                  <a:lnTo>
                    <a:pt x="5924016" y="1982679"/>
                  </a:lnTo>
                  <a:cubicBezTo>
                    <a:pt x="5928082" y="1980887"/>
                    <a:pt x="5936147" y="1977303"/>
                    <a:pt x="5940213" y="1975510"/>
                  </a:cubicBezTo>
                  <a:cubicBezTo>
                    <a:pt x="5929048" y="1984884"/>
                    <a:pt x="5921534" y="1997360"/>
                    <a:pt x="5913264" y="2009077"/>
                  </a:cubicBezTo>
                  <a:cubicBezTo>
                    <a:pt x="5907543" y="1999565"/>
                    <a:pt x="5918364" y="1994189"/>
                    <a:pt x="5924154" y="1987641"/>
                  </a:cubicBezTo>
                  <a:moveTo>
                    <a:pt x="5796712" y="2008870"/>
                  </a:moveTo>
                  <a:cubicBezTo>
                    <a:pt x="5786098" y="1988124"/>
                    <a:pt x="5819319" y="2007560"/>
                    <a:pt x="5796712" y="2008870"/>
                  </a:cubicBezTo>
                  <a:moveTo>
                    <a:pt x="5784582" y="2008870"/>
                  </a:moveTo>
                  <a:cubicBezTo>
                    <a:pt x="5788235" y="2005148"/>
                    <a:pt x="5788235" y="2005148"/>
                    <a:pt x="5784582" y="2008870"/>
                  </a:cubicBezTo>
                  <a:moveTo>
                    <a:pt x="5736472" y="2004045"/>
                  </a:moveTo>
                  <a:cubicBezTo>
                    <a:pt x="5736541" y="1994327"/>
                    <a:pt x="5754186" y="1992190"/>
                    <a:pt x="5754668" y="2002874"/>
                  </a:cubicBezTo>
                  <a:cubicBezTo>
                    <a:pt x="5753221" y="2010938"/>
                    <a:pt x="5738195" y="2012523"/>
                    <a:pt x="5736472" y="2004045"/>
                  </a:cubicBezTo>
                  <a:moveTo>
                    <a:pt x="5827522" y="2013212"/>
                  </a:moveTo>
                  <a:cubicBezTo>
                    <a:pt x="5829658" y="1999841"/>
                    <a:pt x="5832553" y="1986607"/>
                    <a:pt x="5837033" y="1973718"/>
                  </a:cubicBezTo>
                  <a:cubicBezTo>
                    <a:pt x="5837240" y="1986194"/>
                    <a:pt x="5836965" y="1998669"/>
                    <a:pt x="5836620" y="2011076"/>
                  </a:cubicBezTo>
                  <a:cubicBezTo>
                    <a:pt x="5840411" y="2012041"/>
                    <a:pt x="5848061" y="2014039"/>
                    <a:pt x="5851852" y="2015004"/>
                  </a:cubicBezTo>
                  <a:cubicBezTo>
                    <a:pt x="5843650" y="2014453"/>
                    <a:pt x="5835586" y="2013833"/>
                    <a:pt x="5827522" y="2013212"/>
                  </a:cubicBezTo>
                  <a:moveTo>
                    <a:pt x="5881834" y="2027824"/>
                  </a:moveTo>
                  <a:cubicBezTo>
                    <a:pt x="5875562" y="2019485"/>
                    <a:pt x="5876941" y="2014177"/>
                    <a:pt x="5885901" y="2011972"/>
                  </a:cubicBezTo>
                  <a:cubicBezTo>
                    <a:pt x="5892035" y="2020311"/>
                    <a:pt x="5890656" y="2025550"/>
                    <a:pt x="5881834" y="2027824"/>
                  </a:cubicBezTo>
                  <a:moveTo>
                    <a:pt x="5721378" y="2036371"/>
                  </a:moveTo>
                  <a:cubicBezTo>
                    <a:pt x="5717794" y="2025481"/>
                    <a:pt x="5721791" y="2021828"/>
                    <a:pt x="5733440" y="2025412"/>
                  </a:cubicBezTo>
                  <a:cubicBezTo>
                    <a:pt x="5736817" y="2036302"/>
                    <a:pt x="5732819" y="2039955"/>
                    <a:pt x="5721378" y="2036371"/>
                  </a:cubicBezTo>
                  <a:moveTo>
                    <a:pt x="5711177" y="2004666"/>
                  </a:moveTo>
                  <a:cubicBezTo>
                    <a:pt x="5712831" y="2005010"/>
                    <a:pt x="5716139" y="2005768"/>
                    <a:pt x="5717862" y="2006182"/>
                  </a:cubicBezTo>
                  <a:cubicBezTo>
                    <a:pt x="5715519" y="2018933"/>
                    <a:pt x="5713313" y="2031684"/>
                    <a:pt x="5710832" y="2044297"/>
                  </a:cubicBezTo>
                  <a:cubicBezTo>
                    <a:pt x="5702562" y="2032236"/>
                    <a:pt x="5710556" y="2017761"/>
                    <a:pt x="5711177" y="2004666"/>
                  </a:cubicBezTo>
                  <a:moveTo>
                    <a:pt x="5694221" y="2056704"/>
                  </a:moveTo>
                  <a:cubicBezTo>
                    <a:pt x="5683538" y="2036027"/>
                    <a:pt x="5717036" y="2056083"/>
                    <a:pt x="5694221" y="2056704"/>
                  </a:cubicBezTo>
                  <a:moveTo>
                    <a:pt x="5722274" y="2092269"/>
                  </a:moveTo>
                  <a:cubicBezTo>
                    <a:pt x="5736127" y="2101022"/>
                    <a:pt x="5753358" y="2098059"/>
                    <a:pt x="5769004" y="2099851"/>
                  </a:cubicBezTo>
                  <a:cubicBezTo>
                    <a:pt x="5801606" y="2100264"/>
                    <a:pt x="5836275" y="2109776"/>
                    <a:pt x="5867291" y="2095302"/>
                  </a:cubicBezTo>
                  <a:cubicBezTo>
                    <a:pt x="5909197" y="2076416"/>
                    <a:pt x="5935871" y="2036164"/>
                    <a:pt x="5956549" y="1996808"/>
                  </a:cubicBezTo>
                  <a:cubicBezTo>
                    <a:pt x="5994043" y="1922852"/>
                    <a:pt x="6005485" y="1838075"/>
                    <a:pt x="6001901" y="1756055"/>
                  </a:cubicBezTo>
                  <a:cubicBezTo>
                    <a:pt x="6011344" y="1722281"/>
                    <a:pt x="6008862" y="1686716"/>
                    <a:pt x="6011619" y="1652047"/>
                  </a:cubicBezTo>
                  <a:cubicBezTo>
                    <a:pt x="5996732" y="1653495"/>
                    <a:pt x="5998317" y="1669899"/>
                    <a:pt x="5993147" y="1679824"/>
                  </a:cubicBezTo>
                  <a:cubicBezTo>
                    <a:pt x="5992665" y="1674586"/>
                    <a:pt x="5991769" y="1664178"/>
                    <a:pt x="5991286" y="1659009"/>
                  </a:cubicBezTo>
                  <a:cubicBezTo>
                    <a:pt x="5998248" y="1655080"/>
                    <a:pt x="6005278" y="1651082"/>
                    <a:pt x="6012446" y="1647016"/>
                  </a:cubicBezTo>
                  <a:cubicBezTo>
                    <a:pt x="6012929" y="1641157"/>
                    <a:pt x="6013480" y="1635298"/>
                    <a:pt x="6014101" y="1629440"/>
                  </a:cubicBezTo>
                  <a:cubicBezTo>
                    <a:pt x="6005071" y="1624753"/>
                    <a:pt x="5996387" y="1619446"/>
                    <a:pt x="5988116" y="1613725"/>
                  </a:cubicBezTo>
                  <a:cubicBezTo>
                    <a:pt x="5982257" y="1621927"/>
                    <a:pt x="5976537" y="1630060"/>
                    <a:pt x="5970471" y="1637987"/>
                  </a:cubicBezTo>
                  <a:cubicBezTo>
                    <a:pt x="5975985" y="1625511"/>
                    <a:pt x="5982051" y="1613312"/>
                    <a:pt x="5987978" y="1600974"/>
                  </a:cubicBezTo>
                  <a:cubicBezTo>
                    <a:pt x="5979363" y="1600974"/>
                    <a:pt x="5970747" y="1600836"/>
                    <a:pt x="5962269" y="1600630"/>
                  </a:cubicBezTo>
                  <a:cubicBezTo>
                    <a:pt x="5967439" y="1600285"/>
                    <a:pt x="5977708" y="1599527"/>
                    <a:pt x="5982809" y="1599113"/>
                  </a:cubicBezTo>
                  <a:cubicBezTo>
                    <a:pt x="5989288" y="1593806"/>
                    <a:pt x="5995766" y="1588499"/>
                    <a:pt x="6002314" y="1583054"/>
                  </a:cubicBezTo>
                  <a:cubicBezTo>
                    <a:pt x="6001901" y="1588843"/>
                    <a:pt x="6001074" y="1600423"/>
                    <a:pt x="6000591" y="1606213"/>
                  </a:cubicBezTo>
                  <a:cubicBezTo>
                    <a:pt x="6004244" y="1605248"/>
                    <a:pt x="6011412" y="1603180"/>
                    <a:pt x="6014997" y="1602146"/>
                  </a:cubicBezTo>
                  <a:cubicBezTo>
                    <a:pt x="6017684" y="1576713"/>
                    <a:pt x="6017822" y="1551073"/>
                    <a:pt x="6020511" y="1525571"/>
                  </a:cubicBezTo>
                  <a:cubicBezTo>
                    <a:pt x="6013412" y="1522607"/>
                    <a:pt x="6006381" y="1519712"/>
                    <a:pt x="5999419" y="1516748"/>
                  </a:cubicBezTo>
                  <a:cubicBezTo>
                    <a:pt x="5999695" y="1512957"/>
                    <a:pt x="6000316" y="1505445"/>
                    <a:pt x="6000591" y="1501723"/>
                  </a:cubicBezTo>
                  <a:cubicBezTo>
                    <a:pt x="6006105" y="1504824"/>
                    <a:pt x="6017202" y="1511028"/>
                    <a:pt x="6022716" y="1514129"/>
                  </a:cubicBezTo>
                  <a:cubicBezTo>
                    <a:pt x="6020717" y="1507650"/>
                    <a:pt x="6016788" y="1494692"/>
                    <a:pt x="6014790" y="1488213"/>
                  </a:cubicBezTo>
                  <a:cubicBezTo>
                    <a:pt x="6025887" y="1462987"/>
                    <a:pt x="6025749" y="1435279"/>
                    <a:pt x="6026783" y="1408261"/>
                  </a:cubicBezTo>
                  <a:cubicBezTo>
                    <a:pt x="6017960" y="1406745"/>
                    <a:pt x="6014514" y="1399645"/>
                    <a:pt x="6011757" y="1392270"/>
                  </a:cubicBezTo>
                  <a:cubicBezTo>
                    <a:pt x="6015686" y="1394545"/>
                    <a:pt x="6023612" y="1398956"/>
                    <a:pt x="6027541" y="1401231"/>
                  </a:cubicBezTo>
                  <a:cubicBezTo>
                    <a:pt x="6033192" y="1319555"/>
                    <a:pt x="6037948" y="1237810"/>
                    <a:pt x="6043186" y="1156135"/>
                  </a:cubicBezTo>
                  <a:cubicBezTo>
                    <a:pt x="6047185" y="1084660"/>
                    <a:pt x="6037810" y="1011186"/>
                    <a:pt x="6007277" y="945915"/>
                  </a:cubicBezTo>
                  <a:cubicBezTo>
                    <a:pt x="5992527" y="914554"/>
                    <a:pt x="5972125" y="884020"/>
                    <a:pt x="5941247" y="866720"/>
                  </a:cubicBezTo>
                  <a:cubicBezTo>
                    <a:pt x="5921466" y="860241"/>
                    <a:pt x="5901409" y="853073"/>
                    <a:pt x="5880318" y="853142"/>
                  </a:cubicBezTo>
                  <a:cubicBezTo>
                    <a:pt x="5832760" y="851419"/>
                    <a:pt x="5785340" y="845767"/>
                    <a:pt x="5737713" y="845836"/>
                  </a:cubicBezTo>
                  <a:cubicBezTo>
                    <a:pt x="5732406" y="930475"/>
                    <a:pt x="5727650" y="1015253"/>
                    <a:pt x="5721378" y="1099823"/>
                  </a:cubicBezTo>
                  <a:cubicBezTo>
                    <a:pt x="5728132" y="1098720"/>
                    <a:pt x="5741641" y="1096377"/>
                    <a:pt x="5748396" y="1095205"/>
                  </a:cubicBezTo>
                  <a:cubicBezTo>
                    <a:pt x="5742262" y="1104510"/>
                    <a:pt x="5736265" y="1114022"/>
                    <a:pt x="5731716" y="1124154"/>
                  </a:cubicBezTo>
                  <a:cubicBezTo>
                    <a:pt x="5728822" y="1124567"/>
                    <a:pt x="5722963" y="1125463"/>
                    <a:pt x="5720068" y="1125877"/>
                  </a:cubicBezTo>
                  <a:cubicBezTo>
                    <a:pt x="5716415" y="1180603"/>
                    <a:pt x="5714485" y="1235398"/>
                    <a:pt x="5709178" y="1289917"/>
                  </a:cubicBezTo>
                  <a:cubicBezTo>
                    <a:pt x="5717173" y="1290882"/>
                    <a:pt x="5725169" y="1291985"/>
                    <a:pt x="5733164" y="1293157"/>
                  </a:cubicBezTo>
                  <a:cubicBezTo>
                    <a:pt x="5731579" y="1296052"/>
                    <a:pt x="5728408" y="1301910"/>
                    <a:pt x="5726822" y="1304805"/>
                  </a:cubicBezTo>
                  <a:cubicBezTo>
                    <a:pt x="5722412" y="1302668"/>
                    <a:pt x="5713520" y="1298326"/>
                    <a:pt x="5709040" y="1296190"/>
                  </a:cubicBezTo>
                  <a:cubicBezTo>
                    <a:pt x="5697537" y="1317832"/>
                    <a:pt x="5720757" y="1315006"/>
                    <a:pt x="5731716" y="1320520"/>
                  </a:cubicBezTo>
                  <a:cubicBezTo>
                    <a:pt x="5742330" y="1322174"/>
                    <a:pt x="5753152" y="1322450"/>
                    <a:pt x="5764042" y="1322243"/>
                  </a:cubicBezTo>
                  <a:cubicBezTo>
                    <a:pt x="5764456" y="1318176"/>
                    <a:pt x="5765283" y="1309974"/>
                    <a:pt x="5765765" y="1305839"/>
                  </a:cubicBezTo>
                  <a:cubicBezTo>
                    <a:pt x="5765007" y="1318176"/>
                    <a:pt x="5772933" y="1326516"/>
                    <a:pt x="5781204" y="1334305"/>
                  </a:cubicBezTo>
                  <a:cubicBezTo>
                    <a:pt x="5782789" y="1330859"/>
                    <a:pt x="5785960" y="1324104"/>
                    <a:pt x="5787545" y="1320727"/>
                  </a:cubicBezTo>
                  <a:cubicBezTo>
                    <a:pt x="5786167" y="1331824"/>
                    <a:pt x="5785340" y="1342920"/>
                    <a:pt x="5785478" y="1354017"/>
                  </a:cubicBezTo>
                  <a:cubicBezTo>
                    <a:pt x="5783272" y="1349468"/>
                    <a:pt x="5781136" y="1344850"/>
                    <a:pt x="5779068" y="1340232"/>
                  </a:cubicBezTo>
                  <a:cubicBezTo>
                    <a:pt x="5771623" y="1338647"/>
                    <a:pt x="5764249" y="1336855"/>
                    <a:pt x="5757012" y="1334856"/>
                  </a:cubicBezTo>
                  <a:cubicBezTo>
                    <a:pt x="5745432" y="1327481"/>
                    <a:pt x="5730062" y="1322588"/>
                    <a:pt x="5716966" y="1328584"/>
                  </a:cubicBezTo>
                  <a:cubicBezTo>
                    <a:pt x="5713727" y="1324242"/>
                    <a:pt x="5710556" y="1319831"/>
                    <a:pt x="5707524" y="1315419"/>
                  </a:cubicBezTo>
                  <a:cubicBezTo>
                    <a:pt x="5711590" y="1346022"/>
                    <a:pt x="5695531" y="1380278"/>
                    <a:pt x="5709109" y="1408812"/>
                  </a:cubicBezTo>
                  <a:cubicBezTo>
                    <a:pt x="5707593" y="1417497"/>
                    <a:pt x="5709867" y="1424941"/>
                    <a:pt x="5715794" y="1431282"/>
                  </a:cubicBezTo>
                  <a:cubicBezTo>
                    <a:pt x="5712348" y="1432040"/>
                    <a:pt x="5705318" y="1433556"/>
                    <a:pt x="5701803" y="1434314"/>
                  </a:cubicBezTo>
                  <a:cubicBezTo>
                    <a:pt x="5696082" y="1490557"/>
                    <a:pt x="5694359" y="1547144"/>
                    <a:pt x="5691189" y="1603593"/>
                  </a:cubicBezTo>
                  <a:cubicBezTo>
                    <a:pt x="5689534" y="1624547"/>
                    <a:pt x="5708902" y="1639641"/>
                    <a:pt x="5707800" y="1660663"/>
                  </a:cubicBezTo>
                  <a:cubicBezTo>
                    <a:pt x="5701458" y="1649497"/>
                    <a:pt x="5700976" y="1634954"/>
                    <a:pt x="5689396" y="1627235"/>
                  </a:cubicBezTo>
                  <a:cubicBezTo>
                    <a:pt x="5685330" y="1669072"/>
                    <a:pt x="5684710" y="1711185"/>
                    <a:pt x="5680436" y="1752953"/>
                  </a:cubicBezTo>
                  <a:cubicBezTo>
                    <a:pt x="5689190" y="1751781"/>
                    <a:pt x="5696772" y="1754193"/>
                    <a:pt x="5703113" y="1760190"/>
                  </a:cubicBezTo>
                  <a:cubicBezTo>
                    <a:pt x="5697737" y="1759983"/>
                    <a:pt x="5686846" y="1759707"/>
                    <a:pt x="5681470" y="1759501"/>
                  </a:cubicBezTo>
                  <a:cubicBezTo>
                    <a:pt x="5677335" y="1797271"/>
                    <a:pt x="5675474" y="1835249"/>
                    <a:pt x="5674440" y="1873226"/>
                  </a:cubicBezTo>
                  <a:cubicBezTo>
                    <a:pt x="5682159" y="1862957"/>
                    <a:pt x="5692636" y="1857994"/>
                    <a:pt x="5705938" y="1858408"/>
                  </a:cubicBezTo>
                  <a:cubicBezTo>
                    <a:pt x="5698357" y="1853790"/>
                    <a:pt x="5690637" y="1849447"/>
                    <a:pt x="5683193" y="1844829"/>
                  </a:cubicBezTo>
                  <a:cubicBezTo>
                    <a:pt x="5694359" y="1843175"/>
                    <a:pt x="5705594" y="1842072"/>
                    <a:pt x="5716966" y="1840832"/>
                  </a:cubicBezTo>
                  <a:cubicBezTo>
                    <a:pt x="5719999" y="1830769"/>
                    <a:pt x="5723101" y="1820775"/>
                    <a:pt x="5726478" y="1810781"/>
                  </a:cubicBezTo>
                  <a:cubicBezTo>
                    <a:pt x="5725375" y="1816570"/>
                    <a:pt x="5723101" y="1828081"/>
                    <a:pt x="5721929" y="1833801"/>
                  </a:cubicBezTo>
                  <a:cubicBezTo>
                    <a:pt x="5725099" y="1835938"/>
                    <a:pt x="5731372" y="1840281"/>
                    <a:pt x="5734473" y="1842417"/>
                  </a:cubicBezTo>
                  <a:cubicBezTo>
                    <a:pt x="5724755" y="1842900"/>
                    <a:pt x="5715175" y="1843658"/>
                    <a:pt x="5705594" y="1844554"/>
                  </a:cubicBezTo>
                  <a:cubicBezTo>
                    <a:pt x="5706352" y="1849447"/>
                    <a:pt x="5707876" y="1859373"/>
                    <a:pt x="5708627" y="1864266"/>
                  </a:cubicBezTo>
                  <a:cubicBezTo>
                    <a:pt x="5712486" y="1867506"/>
                    <a:pt x="5720206" y="1873985"/>
                    <a:pt x="5724065" y="1877224"/>
                  </a:cubicBezTo>
                  <a:cubicBezTo>
                    <a:pt x="5720344" y="1879843"/>
                    <a:pt x="5716691" y="1882462"/>
                    <a:pt x="5713107" y="1884944"/>
                  </a:cubicBezTo>
                  <a:cubicBezTo>
                    <a:pt x="5711314" y="1882118"/>
                    <a:pt x="5707800" y="1876466"/>
                    <a:pt x="5706008" y="1873640"/>
                  </a:cubicBezTo>
                  <a:cubicBezTo>
                    <a:pt x="5694842" y="1870883"/>
                    <a:pt x="5691464" y="1885633"/>
                    <a:pt x="5684641" y="1891216"/>
                  </a:cubicBezTo>
                  <a:cubicBezTo>
                    <a:pt x="5681539" y="1890044"/>
                    <a:pt x="5675405" y="1887701"/>
                    <a:pt x="5672372" y="1886529"/>
                  </a:cubicBezTo>
                  <a:cubicBezTo>
                    <a:pt x="5671890" y="1899418"/>
                    <a:pt x="5671690" y="1912375"/>
                    <a:pt x="5671890" y="1925196"/>
                  </a:cubicBezTo>
                  <a:cubicBezTo>
                    <a:pt x="5677059" y="1926367"/>
                    <a:pt x="5682297" y="1927470"/>
                    <a:pt x="5687605" y="1928573"/>
                  </a:cubicBezTo>
                  <a:cubicBezTo>
                    <a:pt x="5663274" y="1922439"/>
                    <a:pt x="5664790" y="1959038"/>
                    <a:pt x="5672165" y="1972409"/>
                  </a:cubicBezTo>
                  <a:cubicBezTo>
                    <a:pt x="5683469" y="1983161"/>
                    <a:pt x="5663481" y="1991501"/>
                    <a:pt x="5665549" y="2003218"/>
                  </a:cubicBezTo>
                  <a:cubicBezTo>
                    <a:pt x="5662861" y="2032994"/>
                    <a:pt x="5662103" y="2062907"/>
                    <a:pt x="5659690" y="2092682"/>
                  </a:cubicBezTo>
                  <a:cubicBezTo>
                    <a:pt x="5675198" y="2091442"/>
                    <a:pt x="5695669" y="2100540"/>
                    <a:pt x="5708282" y="2092269"/>
                  </a:cubicBezTo>
                  <a:cubicBezTo>
                    <a:pt x="5711522" y="2080276"/>
                    <a:pt x="5700149" y="2074831"/>
                    <a:pt x="5690500" y="2072557"/>
                  </a:cubicBezTo>
                  <a:cubicBezTo>
                    <a:pt x="5690362" y="2071178"/>
                    <a:pt x="5690155" y="2068421"/>
                    <a:pt x="5690086" y="2067043"/>
                  </a:cubicBezTo>
                  <a:cubicBezTo>
                    <a:pt x="5701665" y="2070351"/>
                    <a:pt x="5713045" y="2074555"/>
                    <a:pt x="5724410" y="2078897"/>
                  </a:cubicBezTo>
                  <a:cubicBezTo>
                    <a:pt x="5723859" y="2082206"/>
                    <a:pt x="5722825" y="2088960"/>
                    <a:pt x="5722274" y="2092269"/>
                  </a:cubicBezTo>
                  <a:moveTo>
                    <a:pt x="935872" y="2103090"/>
                  </a:moveTo>
                  <a:lnTo>
                    <a:pt x="941662" y="2103297"/>
                  </a:lnTo>
                  <a:cubicBezTo>
                    <a:pt x="942351" y="2100816"/>
                    <a:pt x="943592" y="2095991"/>
                    <a:pt x="944212" y="2093579"/>
                  </a:cubicBezTo>
                  <a:cubicBezTo>
                    <a:pt x="941593" y="2094474"/>
                    <a:pt x="936354" y="2096267"/>
                    <a:pt x="933735" y="2097231"/>
                  </a:cubicBezTo>
                  <a:lnTo>
                    <a:pt x="935872" y="2103090"/>
                  </a:lnTo>
                  <a:moveTo>
                    <a:pt x="6254165" y="906283"/>
                  </a:moveTo>
                  <a:cubicBezTo>
                    <a:pt x="6257473" y="902630"/>
                    <a:pt x="6257473" y="902630"/>
                    <a:pt x="6254165" y="906283"/>
                  </a:cubicBezTo>
                  <a:moveTo>
                    <a:pt x="6212052" y="906834"/>
                  </a:moveTo>
                  <a:cubicBezTo>
                    <a:pt x="6210398" y="904835"/>
                    <a:pt x="6207090" y="900769"/>
                    <a:pt x="6205435" y="898770"/>
                  </a:cubicBezTo>
                  <a:cubicBezTo>
                    <a:pt x="6210673" y="878093"/>
                    <a:pt x="6235417" y="912831"/>
                    <a:pt x="6212052" y="906834"/>
                  </a:cubicBezTo>
                  <a:moveTo>
                    <a:pt x="6283044" y="913451"/>
                  </a:moveTo>
                  <a:cubicBezTo>
                    <a:pt x="6281873" y="904077"/>
                    <a:pt x="6297518" y="897667"/>
                    <a:pt x="6304963" y="902423"/>
                  </a:cubicBezTo>
                  <a:cubicBezTo>
                    <a:pt x="6307857" y="912831"/>
                    <a:pt x="6290144" y="919585"/>
                    <a:pt x="6283044" y="913451"/>
                  </a:cubicBezTo>
                  <a:moveTo>
                    <a:pt x="6198130" y="927994"/>
                  </a:moveTo>
                  <a:cubicBezTo>
                    <a:pt x="6194339" y="916690"/>
                    <a:pt x="6197992" y="912831"/>
                    <a:pt x="6209226" y="916553"/>
                  </a:cubicBezTo>
                  <a:cubicBezTo>
                    <a:pt x="6212879" y="927925"/>
                    <a:pt x="6209157" y="931785"/>
                    <a:pt x="6198130" y="927994"/>
                  </a:cubicBezTo>
                  <a:moveTo>
                    <a:pt x="6287180" y="934059"/>
                  </a:moveTo>
                  <a:cubicBezTo>
                    <a:pt x="6276566" y="913313"/>
                    <a:pt x="6309856" y="933095"/>
                    <a:pt x="6287180" y="934059"/>
                  </a:cubicBezTo>
                  <a:moveTo>
                    <a:pt x="6300965" y="954117"/>
                  </a:moveTo>
                  <a:cubicBezTo>
                    <a:pt x="6295244" y="947707"/>
                    <a:pt x="6303377" y="933232"/>
                    <a:pt x="6311924" y="937919"/>
                  </a:cubicBezTo>
                  <a:cubicBezTo>
                    <a:pt x="6317231" y="944398"/>
                    <a:pt x="6309235" y="958666"/>
                    <a:pt x="6300965" y="954117"/>
                  </a:cubicBezTo>
                  <a:moveTo>
                    <a:pt x="6252649" y="968591"/>
                  </a:moveTo>
                  <a:cubicBezTo>
                    <a:pt x="6241759" y="965903"/>
                    <a:pt x="6246377" y="947776"/>
                    <a:pt x="6257335" y="950946"/>
                  </a:cubicBezTo>
                  <a:cubicBezTo>
                    <a:pt x="6268708" y="953152"/>
                    <a:pt x="6262987" y="971279"/>
                    <a:pt x="6252649" y="968591"/>
                  </a:cubicBezTo>
                  <a:moveTo>
                    <a:pt x="6144092" y="944812"/>
                  </a:moveTo>
                  <a:cubicBezTo>
                    <a:pt x="6146505" y="936541"/>
                    <a:pt x="6148986" y="928270"/>
                    <a:pt x="6151605" y="919930"/>
                  </a:cubicBezTo>
                  <a:cubicBezTo>
                    <a:pt x="6153948" y="926754"/>
                    <a:pt x="6158635" y="940332"/>
                    <a:pt x="6160979" y="947155"/>
                  </a:cubicBezTo>
                  <a:cubicBezTo>
                    <a:pt x="6161806" y="938402"/>
                    <a:pt x="6162633" y="929648"/>
                    <a:pt x="6163460" y="920826"/>
                  </a:cubicBezTo>
                  <a:cubicBezTo>
                    <a:pt x="6169112" y="925651"/>
                    <a:pt x="6174970" y="930338"/>
                    <a:pt x="6180829" y="934955"/>
                  </a:cubicBezTo>
                  <a:cubicBezTo>
                    <a:pt x="6174764" y="940538"/>
                    <a:pt x="6168009" y="946535"/>
                    <a:pt x="6169181" y="955564"/>
                  </a:cubicBezTo>
                  <a:cubicBezTo>
                    <a:pt x="6168423" y="962801"/>
                    <a:pt x="6167665" y="969969"/>
                    <a:pt x="6166906" y="977068"/>
                  </a:cubicBezTo>
                  <a:cubicBezTo>
                    <a:pt x="6167803" y="961009"/>
                    <a:pt x="6160566" y="948120"/>
                    <a:pt x="6144092" y="944812"/>
                  </a:cubicBezTo>
                  <a:moveTo>
                    <a:pt x="6143541" y="973829"/>
                  </a:moveTo>
                  <a:cubicBezTo>
                    <a:pt x="6137131" y="965627"/>
                    <a:pt x="6138440" y="960458"/>
                    <a:pt x="6147539" y="958459"/>
                  </a:cubicBezTo>
                  <a:cubicBezTo>
                    <a:pt x="6153742" y="966799"/>
                    <a:pt x="6152439" y="971899"/>
                    <a:pt x="6143541" y="973829"/>
                  </a:cubicBezTo>
                  <a:moveTo>
                    <a:pt x="6267399" y="1024213"/>
                  </a:moveTo>
                  <a:cubicBezTo>
                    <a:pt x="6288007" y="1023248"/>
                    <a:pt x="6271741" y="1000847"/>
                    <a:pt x="6282837" y="990026"/>
                  </a:cubicBezTo>
                  <a:cubicBezTo>
                    <a:pt x="6283803" y="1006224"/>
                    <a:pt x="6282010" y="1022352"/>
                    <a:pt x="6281114" y="1038480"/>
                  </a:cubicBezTo>
                  <a:cubicBezTo>
                    <a:pt x="6276428" y="1033793"/>
                    <a:pt x="6271879" y="1028969"/>
                    <a:pt x="6267399" y="1024213"/>
                  </a:cubicBezTo>
                  <a:moveTo>
                    <a:pt x="6149951" y="1043650"/>
                  </a:moveTo>
                  <a:cubicBezTo>
                    <a:pt x="6144575" y="1034069"/>
                    <a:pt x="6155258" y="1014770"/>
                    <a:pt x="6167044" y="1019802"/>
                  </a:cubicBezTo>
                  <a:cubicBezTo>
                    <a:pt x="6171662" y="1029313"/>
                    <a:pt x="6160221" y="1045924"/>
                    <a:pt x="6149951" y="1043650"/>
                  </a:cubicBezTo>
                  <a:moveTo>
                    <a:pt x="6162013" y="1058055"/>
                  </a:moveTo>
                  <a:cubicBezTo>
                    <a:pt x="6152639" y="1036688"/>
                    <a:pt x="6184620" y="1057779"/>
                    <a:pt x="6162013" y="1058055"/>
                  </a:cubicBezTo>
                  <a:moveTo>
                    <a:pt x="6136304" y="1232158"/>
                  </a:moveTo>
                  <a:cubicBezTo>
                    <a:pt x="6134650" y="1229884"/>
                    <a:pt x="6131203" y="1225473"/>
                    <a:pt x="6129480" y="1223198"/>
                  </a:cubicBezTo>
                  <a:cubicBezTo>
                    <a:pt x="6136993" y="1200591"/>
                    <a:pt x="6162633" y="1238706"/>
                    <a:pt x="6136304" y="1232158"/>
                  </a:cubicBezTo>
                  <a:moveTo>
                    <a:pt x="6300551" y="1435831"/>
                  </a:moveTo>
                  <a:cubicBezTo>
                    <a:pt x="6291453" y="1414257"/>
                    <a:pt x="6323090" y="1436313"/>
                    <a:pt x="6300551" y="1435831"/>
                  </a:cubicBezTo>
                  <a:moveTo>
                    <a:pt x="6185378" y="1479184"/>
                  </a:moveTo>
                  <a:cubicBezTo>
                    <a:pt x="6189927" y="1467260"/>
                    <a:pt x="6190203" y="1452579"/>
                    <a:pt x="6200404" y="1443550"/>
                  </a:cubicBezTo>
                  <a:cubicBezTo>
                    <a:pt x="6199232" y="1449064"/>
                    <a:pt x="6196958" y="1460023"/>
                    <a:pt x="6195854" y="1465537"/>
                  </a:cubicBezTo>
                  <a:lnTo>
                    <a:pt x="6207503" y="1464641"/>
                  </a:lnTo>
                  <a:cubicBezTo>
                    <a:pt x="6205504" y="1468639"/>
                    <a:pt x="6203574" y="1472637"/>
                    <a:pt x="6201782" y="1476565"/>
                  </a:cubicBezTo>
                  <a:cubicBezTo>
                    <a:pt x="6197647" y="1477254"/>
                    <a:pt x="6189445" y="1478564"/>
                    <a:pt x="6185378" y="1479184"/>
                  </a:cubicBezTo>
                  <a:moveTo>
                    <a:pt x="6122519" y="1477737"/>
                  </a:moveTo>
                  <a:cubicBezTo>
                    <a:pt x="6126310" y="1474428"/>
                    <a:pt x="6126310" y="1474428"/>
                    <a:pt x="6122519" y="1477737"/>
                  </a:cubicBezTo>
                  <a:moveTo>
                    <a:pt x="6253062" y="1492556"/>
                  </a:moveTo>
                  <a:cubicBezTo>
                    <a:pt x="6254096" y="1469811"/>
                    <a:pt x="6273739" y="1503239"/>
                    <a:pt x="6253062" y="1492556"/>
                  </a:cubicBezTo>
                  <a:moveTo>
                    <a:pt x="6233556" y="1532739"/>
                  </a:moveTo>
                  <a:cubicBezTo>
                    <a:pt x="6232729" y="1524330"/>
                    <a:pt x="6231971" y="1515921"/>
                    <a:pt x="6231420" y="1507443"/>
                  </a:cubicBezTo>
                  <a:cubicBezTo>
                    <a:pt x="6237417" y="1510752"/>
                    <a:pt x="6243482" y="1514060"/>
                    <a:pt x="6249616" y="1517369"/>
                  </a:cubicBezTo>
                  <a:cubicBezTo>
                    <a:pt x="6249134" y="1520608"/>
                    <a:pt x="6248169" y="1527087"/>
                    <a:pt x="6247686" y="1530326"/>
                  </a:cubicBezTo>
                  <a:cubicBezTo>
                    <a:pt x="6244171" y="1530947"/>
                    <a:pt x="6237072" y="1532188"/>
                    <a:pt x="6233556" y="1532739"/>
                  </a:cubicBezTo>
                  <a:moveTo>
                    <a:pt x="6315577" y="1539356"/>
                  </a:moveTo>
                  <a:cubicBezTo>
                    <a:pt x="6306686" y="1537288"/>
                    <a:pt x="6305031" y="1520470"/>
                    <a:pt x="6314681" y="1518127"/>
                  </a:cubicBezTo>
                  <a:cubicBezTo>
                    <a:pt x="6325295" y="1518816"/>
                    <a:pt x="6326743" y="1538528"/>
                    <a:pt x="6315577" y="1539356"/>
                  </a:cubicBezTo>
                  <a:moveTo>
                    <a:pt x="6136166" y="1560584"/>
                  </a:moveTo>
                  <a:cubicBezTo>
                    <a:pt x="6139681" y="1557000"/>
                    <a:pt x="6139681" y="1557000"/>
                    <a:pt x="6136166" y="1560584"/>
                  </a:cubicBezTo>
                  <a:moveTo>
                    <a:pt x="6306961" y="1568028"/>
                  </a:moveTo>
                  <a:cubicBezTo>
                    <a:pt x="6298897" y="1561480"/>
                    <a:pt x="6309098" y="1546248"/>
                    <a:pt x="6318196" y="1550935"/>
                  </a:cubicBezTo>
                  <a:cubicBezTo>
                    <a:pt x="6325847" y="1557690"/>
                    <a:pt x="6316473" y="1573404"/>
                    <a:pt x="6306961" y="1568028"/>
                  </a:cubicBezTo>
                  <a:moveTo>
                    <a:pt x="6280976" y="1588016"/>
                  </a:moveTo>
                  <a:cubicBezTo>
                    <a:pt x="6284561" y="1584501"/>
                    <a:pt x="6284561" y="1584501"/>
                    <a:pt x="6280976" y="1588016"/>
                  </a:cubicBezTo>
                  <a:moveTo>
                    <a:pt x="6246101" y="1587878"/>
                  </a:moveTo>
                  <a:cubicBezTo>
                    <a:pt x="6250030" y="1584363"/>
                    <a:pt x="6250030" y="1584363"/>
                    <a:pt x="6246101" y="1587878"/>
                  </a:cubicBezTo>
                  <a:moveTo>
                    <a:pt x="6095363" y="1616069"/>
                  </a:moveTo>
                  <a:cubicBezTo>
                    <a:pt x="6098878" y="1612553"/>
                    <a:pt x="6098878" y="1612553"/>
                    <a:pt x="6095363" y="1616069"/>
                  </a:cubicBezTo>
                  <a:moveTo>
                    <a:pt x="6114731" y="1718904"/>
                  </a:moveTo>
                  <a:cubicBezTo>
                    <a:pt x="6103771" y="1698365"/>
                    <a:pt x="6137407" y="1717388"/>
                    <a:pt x="6114731" y="1718904"/>
                  </a:cubicBezTo>
                  <a:moveTo>
                    <a:pt x="6128791" y="1727037"/>
                  </a:moveTo>
                  <a:cubicBezTo>
                    <a:pt x="6117901" y="1706360"/>
                    <a:pt x="6151329" y="1725245"/>
                    <a:pt x="6128791" y="1727037"/>
                  </a:cubicBezTo>
                  <a:moveTo>
                    <a:pt x="6115213" y="1823118"/>
                  </a:moveTo>
                  <a:cubicBezTo>
                    <a:pt x="6118935" y="1819534"/>
                    <a:pt x="6118935" y="1819534"/>
                    <a:pt x="6115213" y="1823118"/>
                  </a:cubicBezTo>
                  <a:moveTo>
                    <a:pt x="6128378" y="1849999"/>
                  </a:moveTo>
                  <a:cubicBezTo>
                    <a:pt x="6129136" y="1845312"/>
                    <a:pt x="6130583" y="1835869"/>
                    <a:pt x="6131341" y="1831182"/>
                  </a:cubicBezTo>
                  <a:cubicBezTo>
                    <a:pt x="6137820" y="1836145"/>
                    <a:pt x="6143886" y="1841659"/>
                    <a:pt x="6148986" y="1848138"/>
                  </a:cubicBezTo>
                  <a:cubicBezTo>
                    <a:pt x="6143816" y="1848620"/>
                    <a:pt x="6133547" y="1849516"/>
                    <a:pt x="6128378" y="1849999"/>
                  </a:cubicBezTo>
                  <a:moveTo>
                    <a:pt x="6114455" y="1848965"/>
                  </a:moveTo>
                  <a:cubicBezTo>
                    <a:pt x="6104874" y="1827736"/>
                    <a:pt x="6137200" y="1849034"/>
                    <a:pt x="6114455" y="1848965"/>
                  </a:cubicBezTo>
                  <a:moveTo>
                    <a:pt x="6131686" y="1941186"/>
                  </a:moveTo>
                  <a:cubicBezTo>
                    <a:pt x="6131273" y="1930296"/>
                    <a:pt x="6130790" y="1919406"/>
                    <a:pt x="6130583" y="1908447"/>
                  </a:cubicBezTo>
                  <a:cubicBezTo>
                    <a:pt x="6142714" y="1911824"/>
                    <a:pt x="6150640" y="1920026"/>
                    <a:pt x="6148986" y="1933466"/>
                  </a:cubicBezTo>
                  <a:cubicBezTo>
                    <a:pt x="6143127" y="1936086"/>
                    <a:pt x="6137407" y="1938636"/>
                    <a:pt x="6131686" y="1941186"/>
                  </a:cubicBezTo>
                  <a:moveTo>
                    <a:pt x="6170284" y="1974063"/>
                  </a:moveTo>
                  <a:cubicBezTo>
                    <a:pt x="6174075" y="1970617"/>
                    <a:pt x="6174075" y="1970617"/>
                    <a:pt x="6170284" y="1974063"/>
                  </a:cubicBezTo>
                  <a:moveTo>
                    <a:pt x="6125551" y="1959865"/>
                  </a:moveTo>
                  <a:cubicBezTo>
                    <a:pt x="6139888" y="1960416"/>
                    <a:pt x="6149330" y="1952214"/>
                    <a:pt x="6155878" y="1940152"/>
                  </a:cubicBezTo>
                  <a:cubicBezTo>
                    <a:pt x="6154086" y="1947527"/>
                    <a:pt x="6150434" y="1962139"/>
                    <a:pt x="6148641" y="1969445"/>
                  </a:cubicBezTo>
                  <a:lnTo>
                    <a:pt x="6165252" y="1961312"/>
                  </a:lnTo>
                  <a:cubicBezTo>
                    <a:pt x="6162151" y="1968894"/>
                    <a:pt x="6158980" y="1976407"/>
                    <a:pt x="6155810" y="1983850"/>
                  </a:cubicBezTo>
                  <a:cubicBezTo>
                    <a:pt x="6155396" y="1980542"/>
                    <a:pt x="6154569" y="1973925"/>
                    <a:pt x="6154155" y="1970548"/>
                  </a:cubicBezTo>
                  <a:cubicBezTo>
                    <a:pt x="6140439" y="1971513"/>
                    <a:pt x="6122864" y="1972271"/>
                    <a:pt x="6122657" y="1990054"/>
                  </a:cubicBezTo>
                  <a:cubicBezTo>
                    <a:pt x="6123622" y="1979991"/>
                    <a:pt x="6124587" y="1969997"/>
                    <a:pt x="6125551" y="1959865"/>
                  </a:cubicBezTo>
                  <a:moveTo>
                    <a:pt x="6080199" y="2001220"/>
                  </a:moveTo>
                  <a:cubicBezTo>
                    <a:pt x="6069998" y="1980335"/>
                    <a:pt x="6102944" y="2000737"/>
                    <a:pt x="6080199" y="2001220"/>
                  </a:cubicBezTo>
                  <a:moveTo>
                    <a:pt x="6170215" y="2008801"/>
                  </a:moveTo>
                  <a:cubicBezTo>
                    <a:pt x="6166424" y="1997566"/>
                    <a:pt x="6170146" y="1993845"/>
                    <a:pt x="6181518" y="1997635"/>
                  </a:cubicBezTo>
                  <a:cubicBezTo>
                    <a:pt x="6185171" y="2008939"/>
                    <a:pt x="6181380" y="2012661"/>
                    <a:pt x="6170215" y="2008801"/>
                  </a:cubicBezTo>
                  <a:moveTo>
                    <a:pt x="6211983" y="2015556"/>
                  </a:moveTo>
                  <a:cubicBezTo>
                    <a:pt x="6212466" y="2007491"/>
                    <a:pt x="6214257" y="1999565"/>
                    <a:pt x="6220805" y="1993913"/>
                  </a:cubicBezTo>
                  <a:cubicBezTo>
                    <a:pt x="6224666" y="1986883"/>
                    <a:pt x="6228732" y="1979784"/>
                    <a:pt x="6232729" y="1972685"/>
                  </a:cubicBezTo>
                  <a:cubicBezTo>
                    <a:pt x="6237003" y="1972616"/>
                    <a:pt x="6245550" y="1972547"/>
                    <a:pt x="6249823" y="1972547"/>
                  </a:cubicBezTo>
                  <a:cubicBezTo>
                    <a:pt x="6250030" y="1981369"/>
                    <a:pt x="6250305" y="1990123"/>
                    <a:pt x="6250719" y="1998876"/>
                  </a:cubicBezTo>
                  <a:cubicBezTo>
                    <a:pt x="6237830" y="2004666"/>
                    <a:pt x="6225010" y="2010524"/>
                    <a:pt x="6211983" y="2015556"/>
                  </a:cubicBezTo>
                  <a:moveTo>
                    <a:pt x="6231558" y="2026997"/>
                  </a:moveTo>
                  <a:cubicBezTo>
                    <a:pt x="6228870" y="2017003"/>
                    <a:pt x="6232316" y="2013557"/>
                    <a:pt x="6241827" y="2016590"/>
                  </a:cubicBezTo>
                  <a:cubicBezTo>
                    <a:pt x="6244102" y="2026515"/>
                    <a:pt x="6240725" y="2030030"/>
                    <a:pt x="6231558" y="2026997"/>
                  </a:cubicBezTo>
                  <a:moveTo>
                    <a:pt x="6212948" y="2036647"/>
                  </a:moveTo>
                  <a:cubicBezTo>
                    <a:pt x="6208950" y="2027066"/>
                    <a:pt x="6211983" y="2024102"/>
                    <a:pt x="6222046" y="2027756"/>
                  </a:cubicBezTo>
                  <a:cubicBezTo>
                    <a:pt x="6226044" y="2037405"/>
                    <a:pt x="6223011" y="2040438"/>
                    <a:pt x="6212948" y="2036647"/>
                  </a:cubicBezTo>
                  <a:moveTo>
                    <a:pt x="6178486" y="2043953"/>
                  </a:moveTo>
                  <a:cubicBezTo>
                    <a:pt x="6175798" y="2034510"/>
                    <a:pt x="6179313" y="2030719"/>
                    <a:pt x="6189100" y="2032580"/>
                  </a:cubicBezTo>
                  <a:cubicBezTo>
                    <a:pt x="6191582" y="2042092"/>
                    <a:pt x="6188066" y="2045883"/>
                    <a:pt x="6178486" y="2043953"/>
                  </a:cubicBezTo>
                  <a:moveTo>
                    <a:pt x="6261815" y="2043608"/>
                  </a:moveTo>
                  <a:cubicBezTo>
                    <a:pt x="6247962" y="2035268"/>
                    <a:pt x="6237623" y="2053464"/>
                    <a:pt x="6223218" y="2050018"/>
                  </a:cubicBezTo>
                  <a:cubicBezTo>
                    <a:pt x="6229766" y="2046227"/>
                    <a:pt x="6236658" y="2042850"/>
                    <a:pt x="6243757" y="2039679"/>
                  </a:cubicBezTo>
                  <a:cubicBezTo>
                    <a:pt x="6250443" y="2030995"/>
                    <a:pt x="6257060" y="2022310"/>
                    <a:pt x="6263745" y="2013419"/>
                  </a:cubicBezTo>
                  <a:lnTo>
                    <a:pt x="6260437" y="2010938"/>
                  </a:lnTo>
                  <a:cubicBezTo>
                    <a:pt x="6264642" y="2009353"/>
                    <a:pt x="6273188" y="2006251"/>
                    <a:pt x="6277393" y="2004666"/>
                  </a:cubicBezTo>
                  <a:cubicBezTo>
                    <a:pt x="6278564" y="2009077"/>
                    <a:pt x="6280908" y="2017899"/>
                    <a:pt x="6282080" y="2022310"/>
                  </a:cubicBezTo>
                  <a:cubicBezTo>
                    <a:pt x="6290970" y="2031615"/>
                    <a:pt x="6295244" y="2043057"/>
                    <a:pt x="6293865" y="2055946"/>
                  </a:cubicBezTo>
                  <a:cubicBezTo>
                    <a:pt x="6282562" y="2055394"/>
                    <a:pt x="6257473" y="2063320"/>
                    <a:pt x="6261815" y="2043608"/>
                  </a:cubicBezTo>
                  <a:moveTo>
                    <a:pt x="6333497" y="2062907"/>
                  </a:moveTo>
                  <a:cubicBezTo>
                    <a:pt x="6328121" y="2059874"/>
                    <a:pt x="6322814" y="2056842"/>
                    <a:pt x="6317644" y="2053809"/>
                  </a:cubicBezTo>
                  <a:cubicBezTo>
                    <a:pt x="6319781" y="2042988"/>
                    <a:pt x="6321918" y="2032236"/>
                    <a:pt x="6324744" y="2021552"/>
                  </a:cubicBezTo>
                  <a:cubicBezTo>
                    <a:pt x="6325915" y="2031546"/>
                    <a:pt x="6326191" y="2041609"/>
                    <a:pt x="6326536" y="2051603"/>
                  </a:cubicBezTo>
                  <a:cubicBezTo>
                    <a:pt x="6328810" y="2055394"/>
                    <a:pt x="6331085" y="2059185"/>
                    <a:pt x="6333497" y="2062907"/>
                  </a:cubicBezTo>
                  <a:moveTo>
                    <a:pt x="6211363" y="2078415"/>
                  </a:moveTo>
                  <a:cubicBezTo>
                    <a:pt x="6211914" y="2056152"/>
                    <a:pt x="6232936" y="2088340"/>
                    <a:pt x="6211363" y="2078415"/>
                  </a:cubicBezTo>
                  <a:moveTo>
                    <a:pt x="6193925" y="2085997"/>
                  </a:moveTo>
                  <a:cubicBezTo>
                    <a:pt x="6197164" y="2070557"/>
                    <a:pt x="6199783" y="2055049"/>
                    <a:pt x="6201989" y="2039404"/>
                  </a:cubicBezTo>
                  <a:cubicBezTo>
                    <a:pt x="6206125" y="2053878"/>
                    <a:pt x="6209639" y="2079035"/>
                    <a:pt x="6193925" y="2085997"/>
                  </a:cubicBezTo>
                  <a:moveTo>
                    <a:pt x="6122519" y="2091579"/>
                  </a:moveTo>
                  <a:cubicBezTo>
                    <a:pt x="6112938" y="2090684"/>
                    <a:pt x="6113421" y="2074762"/>
                    <a:pt x="6122657" y="2073590"/>
                  </a:cubicBezTo>
                  <a:cubicBezTo>
                    <a:pt x="6132237" y="2073935"/>
                    <a:pt x="6131824" y="2091166"/>
                    <a:pt x="6122519" y="2091579"/>
                  </a:cubicBezTo>
                  <a:moveTo>
                    <a:pt x="6267674" y="2107019"/>
                  </a:moveTo>
                  <a:cubicBezTo>
                    <a:pt x="6267881" y="2084136"/>
                    <a:pt x="6288558" y="2117151"/>
                    <a:pt x="6267674" y="2107019"/>
                  </a:cubicBezTo>
                  <a:moveTo>
                    <a:pt x="6143679" y="2123905"/>
                  </a:moveTo>
                  <a:cubicBezTo>
                    <a:pt x="6211501" y="2125766"/>
                    <a:pt x="6279047" y="2132866"/>
                    <a:pt x="6346869" y="2135554"/>
                  </a:cubicBezTo>
                  <a:cubicBezTo>
                    <a:pt x="6350108" y="2072557"/>
                    <a:pt x="6355553" y="2009628"/>
                    <a:pt x="6357827" y="1946631"/>
                  </a:cubicBezTo>
                  <a:cubicBezTo>
                    <a:pt x="6313164" y="1944012"/>
                    <a:pt x="6268570" y="1941186"/>
                    <a:pt x="6223976" y="1938222"/>
                  </a:cubicBezTo>
                  <a:cubicBezTo>
                    <a:pt x="6225768" y="1942702"/>
                    <a:pt x="6229352" y="1951663"/>
                    <a:pt x="6231144" y="1956143"/>
                  </a:cubicBezTo>
                  <a:cubicBezTo>
                    <a:pt x="6225217" y="1953593"/>
                    <a:pt x="6219358" y="1951042"/>
                    <a:pt x="6213568" y="1948492"/>
                  </a:cubicBezTo>
                  <a:cubicBezTo>
                    <a:pt x="6210191" y="1951869"/>
                    <a:pt x="6203436" y="1958555"/>
                    <a:pt x="6200059" y="1961864"/>
                  </a:cubicBezTo>
                  <a:cubicBezTo>
                    <a:pt x="6200335" y="1955660"/>
                    <a:pt x="6200887" y="1943185"/>
                    <a:pt x="6201162" y="1936913"/>
                  </a:cubicBezTo>
                  <a:cubicBezTo>
                    <a:pt x="6188893" y="1937051"/>
                    <a:pt x="6176625" y="1936361"/>
                    <a:pt x="6164632" y="1935534"/>
                  </a:cubicBezTo>
                  <a:cubicBezTo>
                    <a:pt x="6180416" y="1823118"/>
                    <a:pt x="6179313" y="1708841"/>
                    <a:pt x="6190961" y="1595874"/>
                  </a:cubicBezTo>
                  <a:cubicBezTo>
                    <a:pt x="6195648" y="1594357"/>
                    <a:pt x="6204884" y="1591256"/>
                    <a:pt x="6209571" y="1589740"/>
                  </a:cubicBezTo>
                  <a:cubicBezTo>
                    <a:pt x="6212948" y="1585535"/>
                    <a:pt x="6216808" y="1581193"/>
                    <a:pt x="6220254" y="1576713"/>
                  </a:cubicBezTo>
                  <a:cubicBezTo>
                    <a:pt x="6219427" y="1581400"/>
                    <a:pt x="6217773" y="1590704"/>
                    <a:pt x="6216946" y="1595322"/>
                  </a:cubicBezTo>
                  <a:cubicBezTo>
                    <a:pt x="6254303" y="1599389"/>
                    <a:pt x="6291936" y="1600630"/>
                    <a:pt x="6329500" y="1602422"/>
                  </a:cubicBezTo>
                  <a:cubicBezTo>
                    <a:pt x="6328604" y="1593599"/>
                    <a:pt x="6327776" y="1584777"/>
                    <a:pt x="6326881" y="1575955"/>
                  </a:cubicBezTo>
                  <a:cubicBezTo>
                    <a:pt x="6334876" y="1553967"/>
                    <a:pt x="6332533" y="1529913"/>
                    <a:pt x="6333497" y="1506892"/>
                  </a:cubicBezTo>
                  <a:cubicBezTo>
                    <a:pt x="6330120" y="1504135"/>
                    <a:pt x="6323296" y="1498690"/>
                    <a:pt x="6319919" y="1495933"/>
                  </a:cubicBezTo>
                  <a:cubicBezTo>
                    <a:pt x="6323641" y="1498414"/>
                    <a:pt x="6331154" y="1503446"/>
                    <a:pt x="6334876" y="1505927"/>
                  </a:cubicBezTo>
                  <a:cubicBezTo>
                    <a:pt x="6336530" y="1475531"/>
                    <a:pt x="6338598" y="1445136"/>
                    <a:pt x="6339632" y="1414740"/>
                  </a:cubicBezTo>
                  <a:cubicBezTo>
                    <a:pt x="6294486" y="1409433"/>
                    <a:pt x="6248996" y="1409502"/>
                    <a:pt x="6203919" y="1404815"/>
                  </a:cubicBezTo>
                  <a:cubicBezTo>
                    <a:pt x="6206469" y="1292123"/>
                    <a:pt x="6216532" y="1178742"/>
                    <a:pt x="6223562" y="1065912"/>
                  </a:cubicBezTo>
                  <a:cubicBezTo>
                    <a:pt x="6286766" y="1066326"/>
                    <a:pt x="6349832" y="1073701"/>
                    <a:pt x="6413036" y="1076458"/>
                  </a:cubicBezTo>
                  <a:cubicBezTo>
                    <a:pt x="6414208" y="1056125"/>
                    <a:pt x="6415379" y="1035792"/>
                    <a:pt x="6416413" y="1015390"/>
                  </a:cubicBezTo>
                  <a:lnTo>
                    <a:pt x="6405317" y="1015942"/>
                  </a:lnTo>
                  <a:cubicBezTo>
                    <a:pt x="6405179" y="1006224"/>
                    <a:pt x="6405179" y="996505"/>
                    <a:pt x="6405317" y="986718"/>
                  </a:cubicBezTo>
                  <a:cubicBezTo>
                    <a:pt x="6407316" y="990302"/>
                    <a:pt x="6411313" y="997539"/>
                    <a:pt x="6413381" y="1001192"/>
                  </a:cubicBezTo>
                  <a:lnTo>
                    <a:pt x="6418964" y="1001468"/>
                  </a:lnTo>
                  <a:cubicBezTo>
                    <a:pt x="6418344" y="990784"/>
                    <a:pt x="6417034" y="980101"/>
                    <a:pt x="6415035" y="969556"/>
                  </a:cubicBezTo>
                  <a:cubicBezTo>
                    <a:pt x="6419446" y="961147"/>
                    <a:pt x="6421445" y="952187"/>
                    <a:pt x="6421101" y="942675"/>
                  </a:cubicBezTo>
                  <a:cubicBezTo>
                    <a:pt x="6415517" y="928201"/>
                    <a:pt x="6406282" y="915726"/>
                    <a:pt x="6396288" y="904008"/>
                  </a:cubicBezTo>
                  <a:lnTo>
                    <a:pt x="6394151" y="907179"/>
                  </a:lnTo>
                  <a:cubicBezTo>
                    <a:pt x="6391808" y="910832"/>
                    <a:pt x="6387052" y="918138"/>
                    <a:pt x="6384708" y="921791"/>
                  </a:cubicBezTo>
                  <a:cubicBezTo>
                    <a:pt x="6376713" y="925099"/>
                    <a:pt x="6368787" y="928201"/>
                    <a:pt x="6360860" y="931096"/>
                  </a:cubicBezTo>
                  <a:cubicBezTo>
                    <a:pt x="6362377" y="926822"/>
                    <a:pt x="6365409" y="918345"/>
                    <a:pt x="6366926" y="914140"/>
                  </a:cubicBezTo>
                  <a:cubicBezTo>
                    <a:pt x="6368993" y="906696"/>
                    <a:pt x="6372922" y="900355"/>
                    <a:pt x="6378849" y="895048"/>
                  </a:cubicBezTo>
                  <a:lnTo>
                    <a:pt x="6383674" y="889741"/>
                  </a:lnTo>
                  <a:cubicBezTo>
                    <a:pt x="6385742" y="889121"/>
                    <a:pt x="6389877" y="887880"/>
                    <a:pt x="6391945" y="887191"/>
                  </a:cubicBezTo>
                  <a:lnTo>
                    <a:pt x="6396218" y="885950"/>
                  </a:lnTo>
                  <a:cubicBezTo>
                    <a:pt x="6307926" y="879609"/>
                    <a:pt x="6219641" y="874784"/>
                    <a:pt x="6131341" y="869132"/>
                  </a:cubicBezTo>
                  <a:cubicBezTo>
                    <a:pt x="6130101" y="887466"/>
                    <a:pt x="6128998" y="905732"/>
                    <a:pt x="6128033" y="923997"/>
                  </a:cubicBezTo>
                  <a:cubicBezTo>
                    <a:pt x="6131135" y="922273"/>
                    <a:pt x="6137338" y="918758"/>
                    <a:pt x="6140439" y="916966"/>
                  </a:cubicBezTo>
                  <a:cubicBezTo>
                    <a:pt x="6136511" y="929097"/>
                    <a:pt x="6131762" y="941021"/>
                    <a:pt x="6129618" y="953496"/>
                  </a:cubicBezTo>
                  <a:cubicBezTo>
                    <a:pt x="6129067" y="975001"/>
                    <a:pt x="6128171" y="996436"/>
                    <a:pt x="6126723" y="1017872"/>
                  </a:cubicBezTo>
                  <a:cubicBezTo>
                    <a:pt x="6131341" y="1024902"/>
                    <a:pt x="6136097" y="1031864"/>
                    <a:pt x="6140577" y="1039032"/>
                  </a:cubicBezTo>
                  <a:cubicBezTo>
                    <a:pt x="6140646" y="1042409"/>
                    <a:pt x="6140853" y="1049095"/>
                    <a:pt x="6140922" y="1052403"/>
                  </a:cubicBezTo>
                  <a:lnTo>
                    <a:pt x="6141129" y="1065361"/>
                  </a:lnTo>
                  <a:cubicBezTo>
                    <a:pt x="6144230" y="1062053"/>
                    <a:pt x="6150434" y="1055505"/>
                    <a:pt x="6153535" y="1052196"/>
                  </a:cubicBezTo>
                  <a:cubicBezTo>
                    <a:pt x="6152570" y="1060192"/>
                    <a:pt x="6151605" y="1068118"/>
                    <a:pt x="6150847" y="1075975"/>
                  </a:cubicBezTo>
                  <a:cubicBezTo>
                    <a:pt x="6148779" y="1076251"/>
                    <a:pt x="6144713" y="1076802"/>
                    <a:pt x="6142645" y="1077147"/>
                  </a:cubicBezTo>
                  <a:cubicBezTo>
                    <a:pt x="6143472" y="1084040"/>
                    <a:pt x="6145126" y="1097893"/>
                    <a:pt x="6145884" y="1104855"/>
                  </a:cubicBezTo>
                  <a:cubicBezTo>
                    <a:pt x="6149744" y="1102305"/>
                    <a:pt x="6157395" y="1097273"/>
                    <a:pt x="6161186" y="1094723"/>
                  </a:cubicBezTo>
                  <a:cubicBezTo>
                    <a:pt x="6165252" y="1120363"/>
                    <a:pt x="6162081" y="1146072"/>
                    <a:pt x="6158084" y="1171436"/>
                  </a:cubicBezTo>
                  <a:cubicBezTo>
                    <a:pt x="6155603" y="1163785"/>
                    <a:pt x="6153191" y="1156066"/>
                    <a:pt x="6151053" y="1148277"/>
                  </a:cubicBezTo>
                  <a:cubicBezTo>
                    <a:pt x="6148504" y="1145313"/>
                    <a:pt x="6143334" y="1139524"/>
                    <a:pt x="6140715" y="1136560"/>
                  </a:cubicBezTo>
                  <a:cubicBezTo>
                    <a:pt x="6144644" y="1139662"/>
                    <a:pt x="6152501" y="1145796"/>
                    <a:pt x="6156430" y="1148898"/>
                  </a:cubicBezTo>
                  <a:cubicBezTo>
                    <a:pt x="6154569" y="1135457"/>
                    <a:pt x="6168423" y="1104993"/>
                    <a:pt x="6144024" y="1111196"/>
                  </a:cubicBezTo>
                  <a:cubicBezTo>
                    <a:pt x="6139681" y="1105544"/>
                    <a:pt x="6136235" y="1099548"/>
                    <a:pt x="6132307" y="1093758"/>
                  </a:cubicBezTo>
                  <a:cubicBezTo>
                    <a:pt x="6134374" y="1084729"/>
                    <a:pt x="6136373" y="1075700"/>
                    <a:pt x="6138372" y="1066533"/>
                  </a:cubicBezTo>
                  <a:cubicBezTo>
                    <a:pt x="6133892" y="1064465"/>
                    <a:pt x="6124793" y="1060398"/>
                    <a:pt x="6120245" y="1058400"/>
                  </a:cubicBezTo>
                  <a:cubicBezTo>
                    <a:pt x="6114110" y="1129943"/>
                    <a:pt x="6110940" y="1201763"/>
                    <a:pt x="6105977" y="1273444"/>
                  </a:cubicBezTo>
                  <a:cubicBezTo>
                    <a:pt x="6104599" y="1299774"/>
                    <a:pt x="6116867" y="1323484"/>
                    <a:pt x="6122105" y="1348641"/>
                  </a:cubicBezTo>
                  <a:cubicBezTo>
                    <a:pt x="6125551" y="1363598"/>
                    <a:pt x="6110251" y="1370146"/>
                    <a:pt x="6101359" y="1378485"/>
                  </a:cubicBezTo>
                  <a:cubicBezTo>
                    <a:pt x="6100808" y="1384620"/>
                    <a:pt x="6099705" y="1396957"/>
                    <a:pt x="6099223" y="1403160"/>
                  </a:cubicBezTo>
                  <a:lnTo>
                    <a:pt x="6109906" y="1398474"/>
                  </a:lnTo>
                  <a:cubicBezTo>
                    <a:pt x="6111147" y="1394752"/>
                    <a:pt x="6113559" y="1387170"/>
                    <a:pt x="6114799" y="1383448"/>
                  </a:cubicBezTo>
                  <a:cubicBezTo>
                    <a:pt x="6116254" y="1387583"/>
                    <a:pt x="6117556" y="1391788"/>
                    <a:pt x="6118797" y="1395992"/>
                  </a:cubicBezTo>
                  <a:cubicBezTo>
                    <a:pt x="6115557" y="1402402"/>
                    <a:pt x="6099774" y="1400473"/>
                    <a:pt x="6098533" y="1410949"/>
                  </a:cubicBezTo>
                  <a:cubicBezTo>
                    <a:pt x="6092882" y="1457818"/>
                    <a:pt x="6093019" y="1505238"/>
                    <a:pt x="6087919" y="1552176"/>
                  </a:cubicBezTo>
                  <a:cubicBezTo>
                    <a:pt x="6096396" y="1552382"/>
                    <a:pt x="6100746" y="1557207"/>
                    <a:pt x="6100746" y="1566718"/>
                  </a:cubicBezTo>
                  <a:cubicBezTo>
                    <a:pt x="6097500" y="1566374"/>
                    <a:pt x="6091020" y="1565823"/>
                    <a:pt x="6087781" y="1565547"/>
                  </a:cubicBezTo>
                  <a:cubicBezTo>
                    <a:pt x="6087506" y="1570578"/>
                    <a:pt x="6087023" y="1580710"/>
                    <a:pt x="6086747" y="1585742"/>
                  </a:cubicBezTo>
                  <a:cubicBezTo>
                    <a:pt x="6090193" y="1585949"/>
                    <a:pt x="6096948" y="1586362"/>
                    <a:pt x="6100394" y="1586569"/>
                  </a:cubicBezTo>
                  <a:cubicBezTo>
                    <a:pt x="6096948" y="1586707"/>
                    <a:pt x="6090055" y="1587051"/>
                    <a:pt x="6086540" y="1587258"/>
                  </a:cubicBezTo>
                  <a:cubicBezTo>
                    <a:pt x="6085438" y="1602628"/>
                    <a:pt x="6084335" y="1617930"/>
                    <a:pt x="6083163" y="1633300"/>
                  </a:cubicBezTo>
                  <a:cubicBezTo>
                    <a:pt x="6089159" y="1635988"/>
                    <a:pt x="6095294" y="1638676"/>
                    <a:pt x="6101497" y="1641364"/>
                  </a:cubicBezTo>
                  <a:cubicBezTo>
                    <a:pt x="6096396" y="1641226"/>
                    <a:pt x="6086127" y="1641019"/>
                    <a:pt x="6081026" y="1640881"/>
                  </a:cubicBezTo>
                  <a:cubicBezTo>
                    <a:pt x="6081440" y="1657286"/>
                    <a:pt x="6090744" y="1670795"/>
                    <a:pt x="6098602" y="1684373"/>
                  </a:cubicBezTo>
                  <a:cubicBezTo>
                    <a:pt x="6094122" y="1684442"/>
                    <a:pt x="6085093" y="1684511"/>
                    <a:pt x="6080544" y="1684511"/>
                  </a:cubicBezTo>
                  <a:cubicBezTo>
                    <a:pt x="6074272" y="1775767"/>
                    <a:pt x="6069309" y="1867092"/>
                    <a:pt x="6063037" y="1958348"/>
                  </a:cubicBezTo>
                  <a:cubicBezTo>
                    <a:pt x="6067035" y="1958279"/>
                    <a:pt x="6075168" y="1958142"/>
                    <a:pt x="6079165" y="1958142"/>
                  </a:cubicBezTo>
                  <a:cubicBezTo>
                    <a:pt x="6075168" y="1958693"/>
                    <a:pt x="6067103" y="1959865"/>
                    <a:pt x="6063037" y="1960416"/>
                  </a:cubicBezTo>
                  <a:cubicBezTo>
                    <a:pt x="6060349" y="2012799"/>
                    <a:pt x="6055524" y="2065044"/>
                    <a:pt x="6054222" y="2117426"/>
                  </a:cubicBezTo>
                  <a:cubicBezTo>
                    <a:pt x="6080337" y="2119356"/>
                    <a:pt x="6106528" y="2121286"/>
                    <a:pt x="6132858" y="2121838"/>
                  </a:cubicBezTo>
                  <a:cubicBezTo>
                    <a:pt x="6126172" y="2115428"/>
                    <a:pt x="6119900" y="2108949"/>
                    <a:pt x="6113490" y="2102470"/>
                  </a:cubicBezTo>
                  <a:cubicBezTo>
                    <a:pt x="6117418" y="2102470"/>
                    <a:pt x="6125207" y="2102401"/>
                    <a:pt x="6129136" y="2102401"/>
                  </a:cubicBezTo>
                  <a:cubicBezTo>
                    <a:pt x="6133754" y="2109707"/>
                    <a:pt x="6138578" y="2116875"/>
                    <a:pt x="6143679" y="2123905"/>
                  </a:cubicBezTo>
                  <a:moveTo>
                    <a:pt x="6535171" y="920137"/>
                  </a:moveTo>
                  <a:cubicBezTo>
                    <a:pt x="6523791" y="917518"/>
                    <a:pt x="6531655" y="901941"/>
                    <a:pt x="6541098" y="906076"/>
                  </a:cubicBezTo>
                  <a:cubicBezTo>
                    <a:pt x="6552126" y="908626"/>
                    <a:pt x="6544062" y="923997"/>
                    <a:pt x="6535171" y="920137"/>
                  </a:cubicBezTo>
                  <a:moveTo>
                    <a:pt x="6770617" y="933646"/>
                  </a:moveTo>
                  <a:cubicBezTo>
                    <a:pt x="6773995" y="929924"/>
                    <a:pt x="6773995" y="929924"/>
                    <a:pt x="6770617" y="933646"/>
                  </a:cubicBezTo>
                  <a:moveTo>
                    <a:pt x="6745184" y="968384"/>
                  </a:moveTo>
                  <a:cubicBezTo>
                    <a:pt x="6745736" y="955288"/>
                    <a:pt x="6744288" y="942193"/>
                    <a:pt x="6742496" y="929235"/>
                  </a:cubicBezTo>
                  <a:cubicBezTo>
                    <a:pt x="6747389" y="929855"/>
                    <a:pt x="6757108" y="931096"/>
                    <a:pt x="6762002" y="931785"/>
                  </a:cubicBezTo>
                  <a:cubicBezTo>
                    <a:pt x="6749733" y="942882"/>
                    <a:pt x="6746356" y="958459"/>
                    <a:pt x="6763518" y="965972"/>
                  </a:cubicBezTo>
                  <a:cubicBezTo>
                    <a:pt x="6771030" y="960802"/>
                    <a:pt x="6778819" y="955564"/>
                    <a:pt x="6786539" y="950326"/>
                  </a:cubicBezTo>
                  <a:cubicBezTo>
                    <a:pt x="6785023" y="956046"/>
                    <a:pt x="6783644" y="961698"/>
                    <a:pt x="6782334" y="967350"/>
                  </a:cubicBezTo>
                  <a:cubicBezTo>
                    <a:pt x="6769790" y="967626"/>
                    <a:pt x="6757522" y="967764"/>
                    <a:pt x="6745184" y="968384"/>
                  </a:cubicBezTo>
                  <a:moveTo>
                    <a:pt x="6521248" y="973967"/>
                  </a:moveTo>
                  <a:cubicBezTo>
                    <a:pt x="6515389" y="965489"/>
                    <a:pt x="6517113" y="960595"/>
                    <a:pt x="6526555" y="959355"/>
                  </a:cubicBezTo>
                  <a:cubicBezTo>
                    <a:pt x="6532276" y="967901"/>
                    <a:pt x="6530484" y="972795"/>
                    <a:pt x="6521248" y="973967"/>
                  </a:cubicBezTo>
                  <a:moveTo>
                    <a:pt x="6521937" y="996161"/>
                  </a:moveTo>
                  <a:cubicBezTo>
                    <a:pt x="6511116" y="975483"/>
                    <a:pt x="6544468" y="994575"/>
                    <a:pt x="6521937" y="996161"/>
                  </a:cubicBezTo>
                  <a:moveTo>
                    <a:pt x="6533999" y="1002088"/>
                  </a:moveTo>
                  <a:cubicBezTo>
                    <a:pt x="6523791" y="981273"/>
                    <a:pt x="6556744" y="1001261"/>
                    <a:pt x="6533999" y="1002088"/>
                  </a:cubicBezTo>
                  <a:moveTo>
                    <a:pt x="6502087" y="1009532"/>
                  </a:moveTo>
                  <a:cubicBezTo>
                    <a:pt x="6492368" y="1003604"/>
                    <a:pt x="6500226" y="983410"/>
                    <a:pt x="6511254" y="991956"/>
                  </a:cubicBezTo>
                  <a:cubicBezTo>
                    <a:pt x="6520489" y="998091"/>
                    <a:pt x="6513184" y="1018423"/>
                    <a:pt x="6502087" y="1009532"/>
                  </a:cubicBezTo>
                  <a:moveTo>
                    <a:pt x="6550472" y="1002708"/>
                  </a:moveTo>
                  <a:cubicBezTo>
                    <a:pt x="6552126" y="999745"/>
                    <a:pt x="6555434" y="993817"/>
                    <a:pt x="6557096" y="990853"/>
                  </a:cubicBezTo>
                  <a:cubicBezTo>
                    <a:pt x="6557157" y="976172"/>
                    <a:pt x="6558261" y="961423"/>
                    <a:pt x="6562603" y="947293"/>
                  </a:cubicBezTo>
                  <a:cubicBezTo>
                    <a:pt x="6569289" y="962388"/>
                    <a:pt x="6572046" y="978585"/>
                    <a:pt x="6571563" y="995058"/>
                  </a:cubicBezTo>
                  <a:cubicBezTo>
                    <a:pt x="6572735" y="991198"/>
                    <a:pt x="6575078" y="983547"/>
                    <a:pt x="6576250" y="979756"/>
                  </a:cubicBezTo>
                  <a:lnTo>
                    <a:pt x="6584727" y="978171"/>
                  </a:lnTo>
                  <a:cubicBezTo>
                    <a:pt x="6582591" y="991060"/>
                    <a:pt x="6581488" y="1004294"/>
                    <a:pt x="6575767" y="1016149"/>
                  </a:cubicBezTo>
                  <a:cubicBezTo>
                    <a:pt x="6565360" y="1018630"/>
                    <a:pt x="6558743" y="1006982"/>
                    <a:pt x="6550472" y="1002708"/>
                  </a:cubicBezTo>
                  <a:moveTo>
                    <a:pt x="6551024" y="1022007"/>
                  </a:moveTo>
                  <a:cubicBezTo>
                    <a:pt x="6554538" y="1018561"/>
                    <a:pt x="6554538" y="1018561"/>
                    <a:pt x="6551024" y="1022007"/>
                  </a:cubicBezTo>
                  <a:moveTo>
                    <a:pt x="6530346" y="1024282"/>
                  </a:moveTo>
                  <a:cubicBezTo>
                    <a:pt x="6527313" y="1014770"/>
                    <a:pt x="6530691" y="1011048"/>
                    <a:pt x="6540409" y="1013116"/>
                  </a:cubicBezTo>
                  <a:cubicBezTo>
                    <a:pt x="6543235" y="1022697"/>
                    <a:pt x="6539926" y="1026418"/>
                    <a:pt x="6530346" y="1024282"/>
                  </a:cubicBezTo>
                  <a:moveTo>
                    <a:pt x="6764483" y="1038825"/>
                  </a:moveTo>
                  <a:cubicBezTo>
                    <a:pt x="6764621" y="1028211"/>
                    <a:pt x="6764414" y="1017527"/>
                    <a:pt x="6764001" y="1006844"/>
                  </a:cubicBezTo>
                  <a:cubicBezTo>
                    <a:pt x="6772064" y="1006017"/>
                    <a:pt x="6780267" y="1005052"/>
                    <a:pt x="6788538" y="1004018"/>
                  </a:cubicBezTo>
                  <a:cubicBezTo>
                    <a:pt x="6776269" y="1011324"/>
                    <a:pt x="6766068" y="1022283"/>
                    <a:pt x="6772134" y="1037584"/>
                  </a:cubicBezTo>
                  <a:cubicBezTo>
                    <a:pt x="6770204" y="1037860"/>
                    <a:pt x="6766413" y="1038480"/>
                    <a:pt x="6764483" y="1038825"/>
                  </a:cubicBezTo>
                  <a:moveTo>
                    <a:pt x="6735052" y="1048061"/>
                  </a:moveTo>
                  <a:cubicBezTo>
                    <a:pt x="6733605" y="1035723"/>
                    <a:pt x="6732364" y="1023248"/>
                    <a:pt x="6730365" y="1010910"/>
                  </a:cubicBezTo>
                  <a:cubicBezTo>
                    <a:pt x="6734225" y="1011324"/>
                    <a:pt x="6741875" y="1012220"/>
                    <a:pt x="6745666" y="1012633"/>
                  </a:cubicBezTo>
                  <a:cubicBezTo>
                    <a:pt x="6742979" y="1024489"/>
                    <a:pt x="6746838" y="1040341"/>
                    <a:pt x="6735052" y="1048061"/>
                  </a:cubicBezTo>
                  <a:moveTo>
                    <a:pt x="6800393" y="1049922"/>
                  </a:moveTo>
                  <a:cubicBezTo>
                    <a:pt x="6795361" y="1042685"/>
                    <a:pt x="6799221" y="1024695"/>
                    <a:pt x="6810387" y="1027314"/>
                  </a:cubicBezTo>
                  <a:cubicBezTo>
                    <a:pt x="6818726" y="1034000"/>
                    <a:pt x="6811765" y="1054747"/>
                    <a:pt x="6800393" y="1049922"/>
                  </a:cubicBezTo>
                  <a:moveTo>
                    <a:pt x="6536618" y="1098927"/>
                  </a:moveTo>
                  <a:cubicBezTo>
                    <a:pt x="6537239" y="1087003"/>
                    <a:pt x="6548956" y="1090243"/>
                    <a:pt x="6557295" y="1088726"/>
                  </a:cubicBezTo>
                  <a:cubicBezTo>
                    <a:pt x="6554807" y="1084108"/>
                    <a:pt x="6549782" y="1074872"/>
                    <a:pt x="6547301" y="1070255"/>
                  </a:cubicBezTo>
                  <a:cubicBezTo>
                    <a:pt x="6535997" y="1071288"/>
                    <a:pt x="6504086" y="1075217"/>
                    <a:pt x="6520559" y="1055711"/>
                  </a:cubicBezTo>
                  <a:cubicBezTo>
                    <a:pt x="6536273" y="1066739"/>
                    <a:pt x="6555504" y="1069152"/>
                    <a:pt x="6573079" y="1075838"/>
                  </a:cubicBezTo>
                  <a:cubicBezTo>
                    <a:pt x="6574458" y="1082523"/>
                    <a:pt x="6574803" y="1089416"/>
                    <a:pt x="6574044" y="1096308"/>
                  </a:cubicBezTo>
                  <a:cubicBezTo>
                    <a:pt x="6566049" y="1095619"/>
                    <a:pt x="6558123" y="1094861"/>
                    <a:pt x="6550265" y="1093965"/>
                  </a:cubicBezTo>
                  <a:cubicBezTo>
                    <a:pt x="6546888" y="1095205"/>
                    <a:pt x="6540064" y="1097687"/>
                    <a:pt x="6536618" y="1098927"/>
                  </a:cubicBezTo>
                  <a:moveTo>
                    <a:pt x="6825274" y="1113539"/>
                  </a:moveTo>
                  <a:cubicBezTo>
                    <a:pt x="6815969" y="1112299"/>
                    <a:pt x="6816314" y="1096584"/>
                    <a:pt x="6825412" y="1095274"/>
                  </a:cubicBezTo>
                  <a:cubicBezTo>
                    <a:pt x="6834924" y="1095757"/>
                    <a:pt x="6834648" y="1113126"/>
                    <a:pt x="6825274" y="1113539"/>
                  </a:cubicBezTo>
                  <a:moveTo>
                    <a:pt x="6767722" y="1062742"/>
                  </a:moveTo>
                  <a:cubicBezTo>
                    <a:pt x="6754213" y="1067567"/>
                    <a:pt x="6748699" y="1065016"/>
                    <a:pt x="6751180" y="1055022"/>
                  </a:cubicBezTo>
                  <a:cubicBezTo>
                    <a:pt x="6769790" y="1053644"/>
                    <a:pt x="6779371" y="1076113"/>
                    <a:pt x="6797429" y="1079835"/>
                  </a:cubicBezTo>
                  <a:cubicBezTo>
                    <a:pt x="6798325" y="1082247"/>
                    <a:pt x="6800117" y="1087141"/>
                    <a:pt x="6801013" y="1089553"/>
                  </a:cubicBezTo>
                  <a:cubicBezTo>
                    <a:pt x="6796464" y="1089553"/>
                    <a:pt x="6787228" y="1089622"/>
                    <a:pt x="6782610" y="1089622"/>
                  </a:cubicBezTo>
                  <a:cubicBezTo>
                    <a:pt x="6781576" y="1096032"/>
                    <a:pt x="6779577" y="1108715"/>
                    <a:pt x="6778544" y="1115125"/>
                  </a:cubicBezTo>
                  <a:cubicBezTo>
                    <a:pt x="6764965" y="1101408"/>
                    <a:pt x="6776476" y="1079215"/>
                    <a:pt x="6767722" y="1062742"/>
                  </a:cubicBezTo>
                  <a:moveTo>
                    <a:pt x="6736224" y="1120018"/>
                  </a:moveTo>
                  <a:cubicBezTo>
                    <a:pt x="6739394" y="1116089"/>
                    <a:pt x="6739394" y="1116089"/>
                    <a:pt x="6736224" y="1120018"/>
                  </a:cubicBezTo>
                  <a:moveTo>
                    <a:pt x="6536135" y="1118915"/>
                  </a:moveTo>
                  <a:cubicBezTo>
                    <a:pt x="6539996" y="1115262"/>
                    <a:pt x="6539996" y="1115262"/>
                    <a:pt x="6536135" y="1118915"/>
                  </a:cubicBezTo>
                  <a:moveTo>
                    <a:pt x="6550127" y="1133458"/>
                  </a:moveTo>
                  <a:cubicBezTo>
                    <a:pt x="6553781" y="1130081"/>
                    <a:pt x="6553781" y="1130081"/>
                    <a:pt x="6550127" y="1133458"/>
                  </a:cubicBezTo>
                  <a:moveTo>
                    <a:pt x="6524418" y="1156479"/>
                  </a:moveTo>
                  <a:cubicBezTo>
                    <a:pt x="6522213" y="1144349"/>
                    <a:pt x="6525108" y="1130081"/>
                    <a:pt x="6515389" y="1120707"/>
                  </a:cubicBezTo>
                  <a:cubicBezTo>
                    <a:pt x="6511116" y="1124154"/>
                    <a:pt x="6502638" y="1131115"/>
                    <a:pt x="6498434" y="1134630"/>
                  </a:cubicBezTo>
                  <a:cubicBezTo>
                    <a:pt x="6499054" y="1128358"/>
                    <a:pt x="6500364" y="1115745"/>
                    <a:pt x="6500984" y="1109473"/>
                  </a:cubicBezTo>
                  <a:cubicBezTo>
                    <a:pt x="6509324" y="1112299"/>
                    <a:pt x="6525935" y="1108163"/>
                    <a:pt x="6526079" y="1121534"/>
                  </a:cubicBezTo>
                  <a:cubicBezTo>
                    <a:pt x="6526211" y="1132838"/>
                    <a:pt x="6535929" y="1148070"/>
                    <a:pt x="6524418" y="1156479"/>
                  </a:cubicBezTo>
                  <a:moveTo>
                    <a:pt x="6797360" y="1174882"/>
                  </a:moveTo>
                  <a:cubicBezTo>
                    <a:pt x="6786952" y="1154136"/>
                    <a:pt x="6820105" y="1173986"/>
                    <a:pt x="6797360" y="1174882"/>
                  </a:cubicBezTo>
                  <a:moveTo>
                    <a:pt x="6796809" y="1189977"/>
                  </a:moveTo>
                  <a:cubicBezTo>
                    <a:pt x="6799772" y="1178535"/>
                    <a:pt x="6816176" y="1184876"/>
                    <a:pt x="6820656" y="1192044"/>
                  </a:cubicBezTo>
                  <a:cubicBezTo>
                    <a:pt x="6820519" y="1205760"/>
                    <a:pt x="6793914" y="1205829"/>
                    <a:pt x="6796809" y="1189977"/>
                  </a:cubicBezTo>
                  <a:moveTo>
                    <a:pt x="6673640" y="1209551"/>
                  </a:moveTo>
                  <a:cubicBezTo>
                    <a:pt x="6677362" y="1205760"/>
                    <a:pt x="6677362" y="1205760"/>
                    <a:pt x="6673640" y="1209551"/>
                  </a:cubicBezTo>
                  <a:moveTo>
                    <a:pt x="6714720" y="1217615"/>
                  </a:moveTo>
                  <a:cubicBezTo>
                    <a:pt x="6711204" y="1206450"/>
                    <a:pt x="6715064" y="1202659"/>
                    <a:pt x="6726299" y="1206105"/>
                  </a:cubicBezTo>
                  <a:cubicBezTo>
                    <a:pt x="6729745" y="1217340"/>
                    <a:pt x="6725885" y="1221199"/>
                    <a:pt x="6714720" y="1217615"/>
                  </a:cubicBezTo>
                  <a:moveTo>
                    <a:pt x="6508910" y="1186393"/>
                  </a:moveTo>
                  <a:cubicBezTo>
                    <a:pt x="6510633" y="1180396"/>
                    <a:pt x="6512701" y="1174331"/>
                    <a:pt x="6514838" y="1168403"/>
                  </a:cubicBezTo>
                  <a:cubicBezTo>
                    <a:pt x="6518904" y="1182326"/>
                    <a:pt x="6523384" y="1196180"/>
                    <a:pt x="6528209" y="1209896"/>
                  </a:cubicBezTo>
                  <a:cubicBezTo>
                    <a:pt x="6530759" y="1203417"/>
                    <a:pt x="6535791" y="1190390"/>
                    <a:pt x="6538341" y="1183842"/>
                  </a:cubicBezTo>
                  <a:cubicBezTo>
                    <a:pt x="6534964" y="1194664"/>
                    <a:pt x="6534274" y="1206174"/>
                    <a:pt x="6538892" y="1216719"/>
                  </a:cubicBezTo>
                  <a:lnTo>
                    <a:pt x="6533861" y="1218649"/>
                  </a:lnTo>
                  <a:cubicBezTo>
                    <a:pt x="6526762" y="1207001"/>
                    <a:pt x="6517870" y="1196662"/>
                    <a:pt x="6508910" y="1186393"/>
                  </a:cubicBezTo>
                  <a:moveTo>
                    <a:pt x="6494987" y="1208311"/>
                  </a:moveTo>
                  <a:cubicBezTo>
                    <a:pt x="6501467" y="1209758"/>
                    <a:pt x="6515389" y="1214927"/>
                    <a:pt x="6512081" y="1224163"/>
                  </a:cubicBezTo>
                  <a:cubicBezTo>
                    <a:pt x="6502232" y="1234709"/>
                    <a:pt x="6490301" y="1218167"/>
                    <a:pt x="6494987" y="1208311"/>
                  </a:cubicBezTo>
                  <a:moveTo>
                    <a:pt x="6714582" y="1236639"/>
                  </a:moveTo>
                  <a:cubicBezTo>
                    <a:pt x="6711135" y="1226438"/>
                    <a:pt x="6714237" y="1223474"/>
                    <a:pt x="6723817" y="1227747"/>
                  </a:cubicBezTo>
                  <a:cubicBezTo>
                    <a:pt x="6727126" y="1237810"/>
                    <a:pt x="6724024" y="1240774"/>
                    <a:pt x="6714582" y="1236639"/>
                  </a:cubicBezTo>
                  <a:moveTo>
                    <a:pt x="6722025" y="1276959"/>
                  </a:moveTo>
                  <a:cubicBezTo>
                    <a:pt x="6716649" y="1271721"/>
                    <a:pt x="6715891" y="1254352"/>
                    <a:pt x="6725816" y="1254835"/>
                  </a:cubicBezTo>
                  <a:cubicBezTo>
                    <a:pt x="6730986" y="1260142"/>
                    <a:pt x="6731675" y="1277442"/>
                    <a:pt x="6722025" y="1276959"/>
                  </a:cubicBezTo>
                  <a:moveTo>
                    <a:pt x="6478928" y="1304185"/>
                  </a:moveTo>
                  <a:cubicBezTo>
                    <a:pt x="6468314" y="1290744"/>
                    <a:pt x="6494023" y="1291916"/>
                    <a:pt x="6497062" y="1302117"/>
                  </a:cubicBezTo>
                  <a:lnTo>
                    <a:pt x="6496297" y="1304874"/>
                  </a:lnTo>
                  <a:cubicBezTo>
                    <a:pt x="6491955" y="1304667"/>
                    <a:pt x="6483278" y="1304323"/>
                    <a:pt x="6478928" y="1304185"/>
                  </a:cubicBezTo>
                  <a:moveTo>
                    <a:pt x="6688873" y="1313283"/>
                  </a:moveTo>
                  <a:cubicBezTo>
                    <a:pt x="6685840" y="1303564"/>
                    <a:pt x="6689148" y="1300049"/>
                    <a:pt x="6698729" y="1302600"/>
                  </a:cubicBezTo>
                  <a:cubicBezTo>
                    <a:pt x="6701624" y="1312318"/>
                    <a:pt x="6698315" y="1315902"/>
                    <a:pt x="6688873" y="1313283"/>
                  </a:cubicBezTo>
                  <a:moveTo>
                    <a:pt x="6661096" y="1335339"/>
                  </a:moveTo>
                  <a:cubicBezTo>
                    <a:pt x="6659649" y="1322312"/>
                    <a:pt x="6659235" y="1309216"/>
                    <a:pt x="6659166" y="1296052"/>
                  </a:cubicBezTo>
                  <a:cubicBezTo>
                    <a:pt x="6666196" y="1298395"/>
                    <a:pt x="6673227" y="1300670"/>
                    <a:pt x="6680395" y="1302875"/>
                  </a:cubicBezTo>
                  <a:cubicBezTo>
                    <a:pt x="6676604" y="1307700"/>
                    <a:pt x="6672882" y="1312387"/>
                    <a:pt x="6669229" y="1317143"/>
                  </a:cubicBezTo>
                  <a:cubicBezTo>
                    <a:pt x="6666541" y="1323277"/>
                    <a:pt x="6663784" y="1329342"/>
                    <a:pt x="6661096" y="1335339"/>
                  </a:cubicBezTo>
                  <a:moveTo>
                    <a:pt x="6495815" y="1333684"/>
                  </a:moveTo>
                  <a:cubicBezTo>
                    <a:pt x="6499399" y="1329825"/>
                    <a:pt x="6499399" y="1329825"/>
                    <a:pt x="6495815" y="1333684"/>
                  </a:cubicBezTo>
                  <a:moveTo>
                    <a:pt x="6750698" y="1341818"/>
                  </a:moveTo>
                  <a:cubicBezTo>
                    <a:pt x="6748148" y="1332168"/>
                    <a:pt x="6751663" y="1328584"/>
                    <a:pt x="6761174" y="1331065"/>
                  </a:cubicBezTo>
                  <a:cubicBezTo>
                    <a:pt x="6763587" y="1340922"/>
                    <a:pt x="6760141" y="1344437"/>
                    <a:pt x="6750698" y="1341818"/>
                  </a:cubicBezTo>
                  <a:moveTo>
                    <a:pt x="6669091" y="1334581"/>
                  </a:moveTo>
                  <a:cubicBezTo>
                    <a:pt x="6674191" y="1326103"/>
                    <a:pt x="6691423" y="1327550"/>
                    <a:pt x="6696936" y="1334305"/>
                  </a:cubicBezTo>
                  <a:cubicBezTo>
                    <a:pt x="6690320" y="1339543"/>
                    <a:pt x="6672262" y="1345953"/>
                    <a:pt x="6669091" y="1334581"/>
                  </a:cubicBezTo>
                  <a:moveTo>
                    <a:pt x="6556951" y="1351674"/>
                  </a:moveTo>
                  <a:cubicBezTo>
                    <a:pt x="6561224" y="1347814"/>
                    <a:pt x="6561224" y="1347814"/>
                    <a:pt x="6556951" y="1351674"/>
                  </a:cubicBezTo>
                  <a:moveTo>
                    <a:pt x="6535171" y="1367871"/>
                  </a:moveTo>
                  <a:cubicBezTo>
                    <a:pt x="6531380" y="1356981"/>
                    <a:pt x="6535308" y="1353466"/>
                    <a:pt x="6547033" y="1357257"/>
                  </a:cubicBezTo>
                  <a:cubicBezTo>
                    <a:pt x="6550610" y="1368216"/>
                    <a:pt x="6546681" y="1371731"/>
                    <a:pt x="6535171" y="1367871"/>
                  </a:cubicBezTo>
                  <a:moveTo>
                    <a:pt x="6724851" y="1384275"/>
                  </a:moveTo>
                  <a:cubicBezTo>
                    <a:pt x="6724920" y="1372420"/>
                    <a:pt x="6725196" y="1360496"/>
                    <a:pt x="6725610" y="1348572"/>
                  </a:cubicBezTo>
                  <a:cubicBezTo>
                    <a:pt x="6728642" y="1346573"/>
                    <a:pt x="6734708" y="1342576"/>
                    <a:pt x="6737740" y="1340577"/>
                  </a:cubicBezTo>
                  <a:cubicBezTo>
                    <a:pt x="6741807" y="1343954"/>
                    <a:pt x="6749940" y="1350709"/>
                    <a:pt x="6754007" y="1354086"/>
                  </a:cubicBezTo>
                  <a:cubicBezTo>
                    <a:pt x="6750560" y="1356361"/>
                    <a:pt x="6747183" y="1358704"/>
                    <a:pt x="6743943" y="1360979"/>
                  </a:cubicBezTo>
                  <a:cubicBezTo>
                    <a:pt x="6738361" y="1369525"/>
                    <a:pt x="6732019" y="1377245"/>
                    <a:pt x="6724851" y="1384275"/>
                  </a:cubicBezTo>
                  <a:moveTo>
                    <a:pt x="6502362" y="1373592"/>
                  </a:moveTo>
                  <a:cubicBezTo>
                    <a:pt x="6502569" y="1370835"/>
                    <a:pt x="6502845" y="1365252"/>
                    <a:pt x="6503052" y="1362495"/>
                  </a:cubicBezTo>
                  <a:lnTo>
                    <a:pt x="6508910" y="1360152"/>
                  </a:lnTo>
                  <a:cubicBezTo>
                    <a:pt x="6510909" y="1362219"/>
                    <a:pt x="6514838" y="1366424"/>
                    <a:pt x="6516837" y="1368491"/>
                  </a:cubicBezTo>
                  <a:lnTo>
                    <a:pt x="6513942" y="1373868"/>
                  </a:lnTo>
                  <a:cubicBezTo>
                    <a:pt x="6511047" y="1373799"/>
                    <a:pt x="6505257" y="1373661"/>
                    <a:pt x="6502362" y="1373592"/>
                  </a:cubicBezTo>
                  <a:moveTo>
                    <a:pt x="6551575" y="1382207"/>
                  </a:moveTo>
                  <a:cubicBezTo>
                    <a:pt x="6548611" y="1372765"/>
                    <a:pt x="6551926" y="1369043"/>
                    <a:pt x="6561638" y="1371042"/>
                  </a:cubicBezTo>
                  <a:cubicBezTo>
                    <a:pt x="6564464" y="1380622"/>
                    <a:pt x="6561155" y="1384413"/>
                    <a:pt x="6551575" y="1382207"/>
                  </a:cubicBezTo>
                  <a:moveTo>
                    <a:pt x="6653032" y="1388686"/>
                  </a:moveTo>
                  <a:cubicBezTo>
                    <a:pt x="6656616" y="1385240"/>
                    <a:pt x="6656616" y="1385240"/>
                    <a:pt x="6653032" y="1388686"/>
                  </a:cubicBezTo>
                  <a:moveTo>
                    <a:pt x="6640074" y="1386274"/>
                  </a:moveTo>
                  <a:cubicBezTo>
                    <a:pt x="6638971" y="1374626"/>
                    <a:pt x="6641797" y="1361323"/>
                    <a:pt x="6647242" y="1350847"/>
                  </a:cubicBezTo>
                  <a:cubicBezTo>
                    <a:pt x="6659580" y="1355327"/>
                    <a:pt x="6653377" y="1386205"/>
                    <a:pt x="6640074" y="1386274"/>
                  </a:cubicBezTo>
                  <a:moveTo>
                    <a:pt x="6750698" y="1409019"/>
                  </a:moveTo>
                  <a:cubicBezTo>
                    <a:pt x="6754282" y="1405435"/>
                    <a:pt x="6754282" y="1405435"/>
                    <a:pt x="6750698" y="1409019"/>
                  </a:cubicBezTo>
                  <a:moveTo>
                    <a:pt x="6531449" y="1403574"/>
                  </a:moveTo>
                  <a:cubicBezTo>
                    <a:pt x="6537583" y="1390754"/>
                    <a:pt x="6558261" y="1404884"/>
                    <a:pt x="6552202" y="1415912"/>
                  </a:cubicBezTo>
                  <a:cubicBezTo>
                    <a:pt x="6544131" y="1419220"/>
                    <a:pt x="6531449" y="1412879"/>
                    <a:pt x="6531449" y="1403574"/>
                  </a:cubicBezTo>
                  <a:moveTo>
                    <a:pt x="6517526" y="1418255"/>
                  </a:moveTo>
                  <a:cubicBezTo>
                    <a:pt x="6518422" y="1403436"/>
                    <a:pt x="6521661" y="1388962"/>
                    <a:pt x="6525866" y="1374764"/>
                  </a:cubicBezTo>
                  <a:cubicBezTo>
                    <a:pt x="6532138" y="1388480"/>
                    <a:pt x="6528003" y="1407778"/>
                    <a:pt x="6517526" y="1418255"/>
                  </a:cubicBezTo>
                  <a:moveTo>
                    <a:pt x="6508704" y="1429214"/>
                  </a:moveTo>
                  <a:cubicBezTo>
                    <a:pt x="6511805" y="1425285"/>
                    <a:pt x="6511805" y="1425285"/>
                    <a:pt x="6508704" y="1429214"/>
                  </a:cubicBezTo>
                  <a:moveTo>
                    <a:pt x="6758487" y="1464366"/>
                  </a:moveTo>
                  <a:cubicBezTo>
                    <a:pt x="6758900" y="1455405"/>
                    <a:pt x="6759451" y="1446376"/>
                    <a:pt x="6760210" y="1437347"/>
                  </a:cubicBezTo>
                  <a:cubicBezTo>
                    <a:pt x="6765792" y="1445549"/>
                    <a:pt x="6767516" y="1455474"/>
                    <a:pt x="6769583" y="1464986"/>
                  </a:cubicBezTo>
                  <a:cubicBezTo>
                    <a:pt x="6766826" y="1464848"/>
                    <a:pt x="6761244" y="1464503"/>
                    <a:pt x="6758487" y="1464366"/>
                  </a:cubicBezTo>
                  <a:moveTo>
                    <a:pt x="6742909" y="1465055"/>
                  </a:moveTo>
                  <a:cubicBezTo>
                    <a:pt x="6746425" y="1461471"/>
                    <a:pt x="6746425" y="1461471"/>
                    <a:pt x="6742909" y="1465055"/>
                  </a:cubicBezTo>
                  <a:moveTo>
                    <a:pt x="6543304" y="1468294"/>
                  </a:moveTo>
                  <a:cubicBezTo>
                    <a:pt x="6552057" y="1470707"/>
                    <a:pt x="6553505" y="1476152"/>
                    <a:pt x="6547715" y="1484629"/>
                  </a:cubicBezTo>
                  <a:cubicBezTo>
                    <a:pt x="6538892" y="1482424"/>
                    <a:pt x="6537445" y="1476979"/>
                    <a:pt x="6543304" y="1468294"/>
                  </a:cubicBezTo>
                  <a:moveTo>
                    <a:pt x="6750216" y="1504962"/>
                  </a:moveTo>
                  <a:cubicBezTo>
                    <a:pt x="6744908" y="1498276"/>
                    <a:pt x="6741324" y="1490212"/>
                    <a:pt x="6743530" y="1481597"/>
                  </a:cubicBezTo>
                  <a:cubicBezTo>
                    <a:pt x="6747321" y="1487593"/>
                    <a:pt x="6750974" y="1493727"/>
                    <a:pt x="6754833" y="1499724"/>
                  </a:cubicBezTo>
                  <a:cubicBezTo>
                    <a:pt x="6757108" y="1494830"/>
                    <a:pt x="6761726" y="1485043"/>
                    <a:pt x="6764069" y="1480149"/>
                  </a:cubicBezTo>
                  <a:cubicBezTo>
                    <a:pt x="6764138" y="1486077"/>
                    <a:pt x="6764276" y="1492004"/>
                    <a:pt x="6764552" y="1497794"/>
                  </a:cubicBezTo>
                  <a:cubicBezTo>
                    <a:pt x="6759658" y="1500206"/>
                    <a:pt x="6754903" y="1502619"/>
                    <a:pt x="6750216" y="1504962"/>
                  </a:cubicBezTo>
                  <a:moveTo>
                    <a:pt x="6512701" y="1528741"/>
                  </a:moveTo>
                  <a:cubicBezTo>
                    <a:pt x="6510495" y="1521849"/>
                    <a:pt x="6508359" y="1514956"/>
                    <a:pt x="6506360" y="1507995"/>
                  </a:cubicBezTo>
                  <a:cubicBezTo>
                    <a:pt x="6499950" y="1497036"/>
                    <a:pt x="6502362" y="1484216"/>
                    <a:pt x="6512632" y="1476083"/>
                  </a:cubicBezTo>
                  <a:cubicBezTo>
                    <a:pt x="6510771" y="1472085"/>
                    <a:pt x="6507049" y="1464159"/>
                    <a:pt x="6505189" y="1460161"/>
                  </a:cubicBezTo>
                  <a:cubicBezTo>
                    <a:pt x="6500639" y="1464159"/>
                    <a:pt x="6497062" y="1468984"/>
                    <a:pt x="6494367" y="1474635"/>
                  </a:cubicBezTo>
                  <a:cubicBezTo>
                    <a:pt x="6495263" y="1465675"/>
                    <a:pt x="6496504" y="1456715"/>
                    <a:pt x="6498020" y="1447755"/>
                  </a:cubicBezTo>
                  <a:cubicBezTo>
                    <a:pt x="6513322" y="1452717"/>
                    <a:pt x="6519938" y="1468570"/>
                    <a:pt x="6517388" y="1483733"/>
                  </a:cubicBezTo>
                  <a:cubicBezTo>
                    <a:pt x="6514975" y="1486490"/>
                    <a:pt x="6510151" y="1492073"/>
                    <a:pt x="6507738" y="1494830"/>
                  </a:cubicBezTo>
                  <a:cubicBezTo>
                    <a:pt x="6506912" y="1505720"/>
                    <a:pt x="6512977" y="1515370"/>
                    <a:pt x="6516285" y="1525364"/>
                  </a:cubicBezTo>
                  <a:cubicBezTo>
                    <a:pt x="6519594" y="1526811"/>
                    <a:pt x="6526211" y="1529706"/>
                    <a:pt x="6529588" y="1531154"/>
                  </a:cubicBezTo>
                  <a:cubicBezTo>
                    <a:pt x="6525314" y="1530533"/>
                    <a:pt x="6516906" y="1529362"/>
                    <a:pt x="6512701" y="1528741"/>
                  </a:cubicBezTo>
                  <a:moveTo>
                    <a:pt x="6459354" y="1630198"/>
                  </a:moveTo>
                  <a:cubicBezTo>
                    <a:pt x="6448946" y="1609314"/>
                    <a:pt x="6481961" y="1629233"/>
                    <a:pt x="6459354" y="1630198"/>
                  </a:cubicBezTo>
                  <a:moveTo>
                    <a:pt x="6791363" y="1643776"/>
                  </a:moveTo>
                  <a:cubicBezTo>
                    <a:pt x="6795017" y="1640399"/>
                    <a:pt x="6795017" y="1640399"/>
                    <a:pt x="6791363" y="1643776"/>
                  </a:cubicBezTo>
                  <a:moveTo>
                    <a:pt x="6480651" y="1653288"/>
                  </a:moveTo>
                  <a:cubicBezTo>
                    <a:pt x="6477756" y="1637780"/>
                    <a:pt x="6491128" y="1628061"/>
                    <a:pt x="6499950" y="1617516"/>
                  </a:cubicBezTo>
                  <a:cubicBezTo>
                    <a:pt x="6494161" y="1629785"/>
                    <a:pt x="6488164" y="1641984"/>
                    <a:pt x="6480651" y="1653288"/>
                  </a:cubicBezTo>
                  <a:moveTo>
                    <a:pt x="6458940" y="1683201"/>
                  </a:moveTo>
                  <a:cubicBezTo>
                    <a:pt x="6456390" y="1673621"/>
                    <a:pt x="6459974" y="1670174"/>
                    <a:pt x="6469693" y="1672862"/>
                  </a:cubicBezTo>
                  <a:cubicBezTo>
                    <a:pt x="6472036" y="1682443"/>
                    <a:pt x="6468451" y="1685889"/>
                    <a:pt x="6458940" y="1683201"/>
                  </a:cubicBezTo>
                  <a:moveTo>
                    <a:pt x="6479549" y="1719800"/>
                  </a:moveTo>
                  <a:cubicBezTo>
                    <a:pt x="6481754" y="1711598"/>
                    <a:pt x="6476585" y="1698365"/>
                    <a:pt x="6486992" y="1694367"/>
                  </a:cubicBezTo>
                  <a:cubicBezTo>
                    <a:pt x="6494850" y="1688646"/>
                    <a:pt x="6506360" y="1685407"/>
                    <a:pt x="6507601" y="1673759"/>
                  </a:cubicBezTo>
                  <a:cubicBezTo>
                    <a:pt x="6521523" y="1697262"/>
                    <a:pt x="6490645" y="1704637"/>
                    <a:pt x="6479549" y="1719800"/>
                  </a:cubicBezTo>
                  <a:moveTo>
                    <a:pt x="6494505" y="1759501"/>
                  </a:moveTo>
                  <a:cubicBezTo>
                    <a:pt x="6488577" y="1752402"/>
                    <a:pt x="6492368" y="1732345"/>
                    <a:pt x="6503672" y="1735171"/>
                  </a:cubicBezTo>
                  <a:cubicBezTo>
                    <a:pt x="6506912" y="1742683"/>
                    <a:pt x="6503810" y="1759225"/>
                    <a:pt x="6494505" y="1759501"/>
                  </a:cubicBezTo>
                  <a:moveTo>
                    <a:pt x="6451841" y="1786037"/>
                  </a:moveTo>
                  <a:cubicBezTo>
                    <a:pt x="6446465" y="1770804"/>
                    <a:pt x="6447429" y="1752195"/>
                    <a:pt x="6461628" y="1742132"/>
                  </a:cubicBezTo>
                  <a:cubicBezTo>
                    <a:pt x="6461214" y="1757295"/>
                    <a:pt x="6460043" y="1772872"/>
                    <a:pt x="6451841" y="1786037"/>
                  </a:cubicBezTo>
                  <a:moveTo>
                    <a:pt x="6529588" y="1800580"/>
                  </a:moveTo>
                  <a:cubicBezTo>
                    <a:pt x="6522627" y="1790930"/>
                    <a:pt x="6539858" y="1782453"/>
                    <a:pt x="6546406" y="1790172"/>
                  </a:cubicBezTo>
                  <a:cubicBezTo>
                    <a:pt x="6552539" y="1799615"/>
                    <a:pt x="6535791" y="1808024"/>
                    <a:pt x="6529588" y="1800580"/>
                  </a:cubicBezTo>
                  <a:moveTo>
                    <a:pt x="6537583" y="1898108"/>
                  </a:moveTo>
                  <a:cubicBezTo>
                    <a:pt x="6532276" y="1890527"/>
                    <a:pt x="6531449" y="1882738"/>
                    <a:pt x="6535240" y="1874536"/>
                  </a:cubicBezTo>
                  <a:cubicBezTo>
                    <a:pt x="6550816" y="1867161"/>
                    <a:pt x="6551575" y="1902037"/>
                    <a:pt x="6537583" y="1898108"/>
                  </a:cubicBezTo>
                  <a:moveTo>
                    <a:pt x="6487958" y="1895972"/>
                  </a:moveTo>
                  <a:cubicBezTo>
                    <a:pt x="6487820" y="1888459"/>
                    <a:pt x="6487820" y="1880946"/>
                    <a:pt x="6488026" y="1873364"/>
                  </a:cubicBezTo>
                  <a:lnTo>
                    <a:pt x="6483133" y="1873226"/>
                  </a:lnTo>
                  <a:cubicBezTo>
                    <a:pt x="6489198" y="1857856"/>
                    <a:pt x="6466660" y="1842555"/>
                    <a:pt x="6482581" y="1830976"/>
                  </a:cubicBezTo>
                  <a:cubicBezTo>
                    <a:pt x="6494436" y="1839247"/>
                    <a:pt x="6485958" y="1856271"/>
                    <a:pt x="6497124" y="1863922"/>
                  </a:cubicBezTo>
                  <a:cubicBezTo>
                    <a:pt x="6487888" y="1868677"/>
                    <a:pt x="6489681" y="1893835"/>
                    <a:pt x="6503396" y="1891216"/>
                  </a:cubicBezTo>
                  <a:cubicBezTo>
                    <a:pt x="6503672" y="1892250"/>
                    <a:pt x="6504292" y="1894248"/>
                    <a:pt x="6504637" y="1895213"/>
                  </a:cubicBezTo>
                  <a:cubicBezTo>
                    <a:pt x="6500433" y="1895420"/>
                    <a:pt x="6492093" y="1895765"/>
                    <a:pt x="6487958" y="1895972"/>
                  </a:cubicBezTo>
                  <a:moveTo>
                    <a:pt x="6515665" y="1925540"/>
                  </a:moveTo>
                  <a:cubicBezTo>
                    <a:pt x="6519180" y="1921612"/>
                    <a:pt x="6519180" y="1921612"/>
                    <a:pt x="6515665" y="1925540"/>
                  </a:cubicBezTo>
                  <a:moveTo>
                    <a:pt x="6556882" y="1932433"/>
                  </a:moveTo>
                  <a:cubicBezTo>
                    <a:pt x="6560259" y="1928573"/>
                    <a:pt x="6560259" y="1928573"/>
                    <a:pt x="6556882" y="1932433"/>
                  </a:cubicBezTo>
                  <a:moveTo>
                    <a:pt x="6529036" y="1939049"/>
                  </a:moveTo>
                  <a:cubicBezTo>
                    <a:pt x="6523178" y="1932708"/>
                    <a:pt x="6523109" y="1916649"/>
                    <a:pt x="6533585" y="1914995"/>
                  </a:cubicBezTo>
                  <a:cubicBezTo>
                    <a:pt x="6545165" y="1917889"/>
                    <a:pt x="6541167" y="1942771"/>
                    <a:pt x="6529036" y="1939049"/>
                  </a:cubicBezTo>
                  <a:moveTo>
                    <a:pt x="6514424" y="1953386"/>
                  </a:moveTo>
                  <a:cubicBezTo>
                    <a:pt x="6503258" y="1932984"/>
                    <a:pt x="6537101" y="1951525"/>
                    <a:pt x="6514424" y="1953386"/>
                  </a:cubicBezTo>
                  <a:moveTo>
                    <a:pt x="6522833" y="1987986"/>
                  </a:moveTo>
                  <a:cubicBezTo>
                    <a:pt x="6526555" y="1984333"/>
                    <a:pt x="6526555" y="1984333"/>
                    <a:pt x="6522833" y="1987986"/>
                  </a:cubicBezTo>
                  <a:moveTo>
                    <a:pt x="6687632" y="1981162"/>
                  </a:moveTo>
                  <a:cubicBezTo>
                    <a:pt x="6690803" y="1962966"/>
                    <a:pt x="6693008" y="1944563"/>
                    <a:pt x="6697281" y="1926505"/>
                  </a:cubicBezTo>
                  <a:cubicBezTo>
                    <a:pt x="6704863" y="1936775"/>
                    <a:pt x="6709343" y="1948492"/>
                    <a:pt x="6710584" y="1961588"/>
                  </a:cubicBezTo>
                  <a:cubicBezTo>
                    <a:pt x="6713961" y="1953041"/>
                    <a:pt x="6716373" y="1944150"/>
                    <a:pt x="6718028" y="1935052"/>
                  </a:cubicBezTo>
                  <a:cubicBezTo>
                    <a:pt x="6719613" y="1955385"/>
                    <a:pt x="6721474" y="1976958"/>
                    <a:pt x="6709895" y="1995085"/>
                  </a:cubicBezTo>
                  <a:cubicBezTo>
                    <a:pt x="6701761" y="1991639"/>
                    <a:pt x="6694731" y="1986125"/>
                    <a:pt x="6687632" y="1981162"/>
                  </a:cubicBezTo>
                  <a:moveTo>
                    <a:pt x="6687494" y="1994465"/>
                  </a:moveTo>
                  <a:cubicBezTo>
                    <a:pt x="6691285" y="1990881"/>
                    <a:pt x="6691285" y="1990881"/>
                    <a:pt x="6687494" y="1994465"/>
                  </a:cubicBezTo>
                  <a:moveTo>
                    <a:pt x="6523109" y="2009215"/>
                  </a:moveTo>
                  <a:cubicBezTo>
                    <a:pt x="6516699" y="1999703"/>
                    <a:pt x="6533448" y="1991708"/>
                    <a:pt x="6539788" y="1999152"/>
                  </a:cubicBezTo>
                  <a:cubicBezTo>
                    <a:pt x="6546757" y="2008870"/>
                    <a:pt x="6529174" y="2017486"/>
                    <a:pt x="6523109" y="2009215"/>
                  </a:cubicBezTo>
                  <a:moveTo>
                    <a:pt x="6755936" y="2015831"/>
                  </a:moveTo>
                  <a:cubicBezTo>
                    <a:pt x="6754007" y="2006251"/>
                    <a:pt x="6757797" y="2002460"/>
                    <a:pt x="6767378" y="2004321"/>
                  </a:cubicBezTo>
                  <a:cubicBezTo>
                    <a:pt x="6769170" y="2013971"/>
                    <a:pt x="6765379" y="2017830"/>
                    <a:pt x="6755936" y="2015831"/>
                  </a:cubicBezTo>
                  <a:moveTo>
                    <a:pt x="6500915" y="1994120"/>
                  </a:moveTo>
                  <a:cubicBezTo>
                    <a:pt x="6511805" y="1996670"/>
                    <a:pt x="6512701" y="2017761"/>
                    <a:pt x="6501260" y="2019829"/>
                  </a:cubicBezTo>
                  <a:cubicBezTo>
                    <a:pt x="6492575" y="2015556"/>
                    <a:pt x="6490921" y="1997635"/>
                    <a:pt x="6500915" y="1994120"/>
                  </a:cubicBezTo>
                  <a:moveTo>
                    <a:pt x="6516147" y="2036302"/>
                  </a:moveTo>
                  <a:cubicBezTo>
                    <a:pt x="6520008" y="2032718"/>
                    <a:pt x="6520008" y="2032718"/>
                    <a:pt x="6516147" y="2036302"/>
                  </a:cubicBezTo>
                  <a:moveTo>
                    <a:pt x="6735259" y="2057049"/>
                  </a:moveTo>
                  <a:cubicBezTo>
                    <a:pt x="6723817" y="2036784"/>
                    <a:pt x="6757935" y="2054912"/>
                    <a:pt x="6735259" y="2057049"/>
                  </a:cubicBezTo>
                  <a:moveTo>
                    <a:pt x="6501949" y="2056980"/>
                  </a:moveTo>
                  <a:cubicBezTo>
                    <a:pt x="6505464" y="2053120"/>
                    <a:pt x="6505464" y="2053120"/>
                    <a:pt x="6501949" y="2056980"/>
                  </a:cubicBezTo>
                  <a:moveTo>
                    <a:pt x="6488577" y="2085859"/>
                  </a:moveTo>
                  <a:cubicBezTo>
                    <a:pt x="6489887" y="2076692"/>
                    <a:pt x="6494850" y="2074969"/>
                    <a:pt x="6503603" y="2080690"/>
                  </a:cubicBezTo>
                  <a:cubicBezTo>
                    <a:pt x="6502087" y="2089856"/>
                    <a:pt x="6497124" y="2091579"/>
                    <a:pt x="6488577" y="2085859"/>
                  </a:cubicBezTo>
                  <a:moveTo>
                    <a:pt x="6724782" y="2112464"/>
                  </a:moveTo>
                  <a:cubicBezTo>
                    <a:pt x="6725610" y="2105916"/>
                    <a:pt x="6726574" y="2099299"/>
                    <a:pt x="6727746" y="2092751"/>
                  </a:cubicBezTo>
                  <a:cubicBezTo>
                    <a:pt x="6720096" y="2083240"/>
                    <a:pt x="6715271" y="2067594"/>
                    <a:pt x="6700452" y="2068352"/>
                  </a:cubicBezTo>
                  <a:cubicBezTo>
                    <a:pt x="6689631" y="2066009"/>
                    <a:pt x="6688873" y="2051535"/>
                    <a:pt x="6684393" y="2043539"/>
                  </a:cubicBezTo>
                  <a:cubicBezTo>
                    <a:pt x="6696317" y="2045952"/>
                    <a:pt x="6707069" y="2051052"/>
                    <a:pt x="6716718" y="2058772"/>
                  </a:cubicBezTo>
                  <a:cubicBezTo>
                    <a:pt x="6715271" y="2044849"/>
                    <a:pt x="6714099" y="2030650"/>
                    <a:pt x="6716925" y="2016728"/>
                  </a:cubicBezTo>
                  <a:cubicBezTo>
                    <a:pt x="6717683" y="2025136"/>
                    <a:pt x="6717959" y="2033614"/>
                    <a:pt x="6717821" y="2042023"/>
                  </a:cubicBezTo>
                  <a:cubicBezTo>
                    <a:pt x="6720991" y="2048502"/>
                    <a:pt x="6724506" y="2054843"/>
                    <a:pt x="6727815" y="2061322"/>
                  </a:cubicBezTo>
                  <a:lnTo>
                    <a:pt x="6713134" y="2058840"/>
                  </a:lnTo>
                  <a:cubicBezTo>
                    <a:pt x="6717545" y="2074348"/>
                    <a:pt x="6742220" y="2097163"/>
                    <a:pt x="6724782" y="2112464"/>
                  </a:cubicBezTo>
                  <a:moveTo>
                    <a:pt x="6750422" y="2108880"/>
                  </a:moveTo>
                  <a:lnTo>
                    <a:pt x="6759796" y="2111085"/>
                  </a:lnTo>
                  <a:cubicBezTo>
                    <a:pt x="6760141" y="2097369"/>
                    <a:pt x="6759245" y="2083033"/>
                    <a:pt x="6765861" y="2070420"/>
                  </a:cubicBezTo>
                  <a:cubicBezTo>
                    <a:pt x="6766826" y="2089374"/>
                    <a:pt x="6765448" y="2108328"/>
                    <a:pt x="6767033" y="2127145"/>
                  </a:cubicBezTo>
                  <a:cubicBezTo>
                    <a:pt x="6761519" y="2121010"/>
                    <a:pt x="6756074" y="2114876"/>
                    <a:pt x="6750422" y="2108880"/>
                  </a:cubicBezTo>
                  <a:moveTo>
                    <a:pt x="6695213" y="2125560"/>
                  </a:moveTo>
                  <a:cubicBezTo>
                    <a:pt x="6698798" y="2121838"/>
                    <a:pt x="6698798" y="2121838"/>
                    <a:pt x="6695213" y="2125560"/>
                  </a:cubicBezTo>
                  <a:moveTo>
                    <a:pt x="6523109" y="2110189"/>
                  </a:moveTo>
                  <a:cubicBezTo>
                    <a:pt x="6531862" y="2107777"/>
                    <a:pt x="6536618" y="2111499"/>
                    <a:pt x="6537445" y="2121424"/>
                  </a:cubicBezTo>
                  <a:cubicBezTo>
                    <a:pt x="6532551" y="2136932"/>
                    <a:pt x="6513322" y="2119908"/>
                    <a:pt x="6523109" y="2110189"/>
                  </a:cubicBezTo>
                  <a:moveTo>
                    <a:pt x="6500709" y="2126938"/>
                  </a:moveTo>
                  <a:cubicBezTo>
                    <a:pt x="6501191" y="2104331"/>
                    <a:pt x="6521799" y="2137277"/>
                    <a:pt x="6500709" y="2126938"/>
                  </a:cubicBezTo>
                  <a:moveTo>
                    <a:pt x="6735190" y="2147408"/>
                  </a:moveTo>
                  <a:cubicBezTo>
                    <a:pt x="6735121" y="2124457"/>
                    <a:pt x="6756281" y="2157127"/>
                    <a:pt x="6735190" y="2147408"/>
                  </a:cubicBezTo>
                  <a:moveTo>
                    <a:pt x="6715202" y="2146651"/>
                  </a:moveTo>
                  <a:cubicBezTo>
                    <a:pt x="6718648" y="2142860"/>
                    <a:pt x="6718648" y="2142860"/>
                    <a:pt x="6715202" y="2146651"/>
                  </a:cubicBezTo>
                  <a:moveTo>
                    <a:pt x="6668195" y="2154025"/>
                  </a:moveTo>
                  <a:cubicBezTo>
                    <a:pt x="6702658" y="2160229"/>
                    <a:pt x="6738016" y="2160229"/>
                    <a:pt x="6773030" y="2161607"/>
                  </a:cubicBezTo>
                  <a:cubicBezTo>
                    <a:pt x="6772685" y="2127489"/>
                    <a:pt x="6776476" y="2093441"/>
                    <a:pt x="6773236" y="2059254"/>
                  </a:cubicBezTo>
                  <a:lnTo>
                    <a:pt x="6761036" y="2063458"/>
                  </a:lnTo>
                  <a:cubicBezTo>
                    <a:pt x="6764759" y="2060495"/>
                    <a:pt x="6772134" y="2054567"/>
                    <a:pt x="6775787" y="2051603"/>
                  </a:cubicBezTo>
                  <a:cubicBezTo>
                    <a:pt x="6772616" y="2048709"/>
                    <a:pt x="6766344" y="2043057"/>
                    <a:pt x="6763173" y="2040231"/>
                  </a:cubicBezTo>
                  <a:cubicBezTo>
                    <a:pt x="6767378" y="2040507"/>
                    <a:pt x="6775787" y="2041196"/>
                    <a:pt x="6779991" y="2041540"/>
                  </a:cubicBezTo>
                  <a:cubicBezTo>
                    <a:pt x="6781025" y="2019485"/>
                    <a:pt x="6782334" y="1997497"/>
                    <a:pt x="6783506" y="1975441"/>
                  </a:cubicBezTo>
                  <a:lnTo>
                    <a:pt x="6780198" y="1968411"/>
                  </a:lnTo>
                  <a:cubicBezTo>
                    <a:pt x="6775787" y="1959176"/>
                    <a:pt x="6771996" y="1949733"/>
                    <a:pt x="6768411" y="1940152"/>
                  </a:cubicBezTo>
                  <a:cubicBezTo>
                    <a:pt x="6785367" y="1933122"/>
                    <a:pt x="6786401" y="1914375"/>
                    <a:pt x="6788814" y="1898729"/>
                  </a:cubicBezTo>
                  <a:cubicBezTo>
                    <a:pt x="6790950" y="1873295"/>
                    <a:pt x="6791777" y="1847724"/>
                    <a:pt x="6793776" y="1822222"/>
                  </a:cubicBezTo>
                  <a:cubicBezTo>
                    <a:pt x="6786263" y="1820430"/>
                    <a:pt x="6781232" y="1815468"/>
                    <a:pt x="6777510" y="1809265"/>
                  </a:cubicBezTo>
                  <a:cubicBezTo>
                    <a:pt x="6781990" y="1808437"/>
                    <a:pt x="6791088" y="1806714"/>
                    <a:pt x="6795568" y="1805887"/>
                  </a:cubicBezTo>
                  <a:cubicBezTo>
                    <a:pt x="6794120" y="1782039"/>
                    <a:pt x="6794258" y="1758122"/>
                    <a:pt x="6798876" y="1734550"/>
                  </a:cubicBezTo>
                  <a:cubicBezTo>
                    <a:pt x="6814936" y="1494210"/>
                    <a:pt x="6828445" y="1253732"/>
                    <a:pt x="6844780" y="1013392"/>
                  </a:cubicBezTo>
                  <a:cubicBezTo>
                    <a:pt x="6839818" y="1014495"/>
                    <a:pt x="6829892" y="1016769"/>
                    <a:pt x="6824930" y="1017872"/>
                  </a:cubicBezTo>
                  <a:cubicBezTo>
                    <a:pt x="6825274" y="1014908"/>
                    <a:pt x="6826033" y="1008912"/>
                    <a:pt x="6826377" y="1005948"/>
                  </a:cubicBezTo>
                  <a:cubicBezTo>
                    <a:pt x="6833270" y="1005879"/>
                    <a:pt x="6840300" y="1005810"/>
                    <a:pt x="6847399" y="1005810"/>
                  </a:cubicBezTo>
                  <a:cubicBezTo>
                    <a:pt x="6843195" y="975276"/>
                    <a:pt x="6850018" y="944605"/>
                    <a:pt x="6850363" y="913933"/>
                  </a:cubicBezTo>
                  <a:cubicBezTo>
                    <a:pt x="6831822" y="912762"/>
                    <a:pt x="6813350" y="911452"/>
                    <a:pt x="6794879" y="910970"/>
                  </a:cubicBezTo>
                  <a:cubicBezTo>
                    <a:pt x="6804252" y="918207"/>
                    <a:pt x="6815005" y="922825"/>
                    <a:pt x="6827204" y="924755"/>
                  </a:cubicBezTo>
                  <a:cubicBezTo>
                    <a:pt x="6829892" y="925582"/>
                    <a:pt x="6835338" y="927167"/>
                    <a:pt x="6838095" y="927994"/>
                  </a:cubicBezTo>
                  <a:cubicBezTo>
                    <a:pt x="6836509" y="930131"/>
                    <a:pt x="6833339" y="934473"/>
                    <a:pt x="6831753" y="936679"/>
                  </a:cubicBezTo>
                  <a:cubicBezTo>
                    <a:pt x="6831409" y="939849"/>
                    <a:pt x="6830858" y="946259"/>
                    <a:pt x="6830582" y="949430"/>
                  </a:cubicBezTo>
                  <a:lnTo>
                    <a:pt x="6837750" y="953152"/>
                  </a:lnTo>
                  <a:cubicBezTo>
                    <a:pt x="6830995" y="955633"/>
                    <a:pt x="6824240" y="958183"/>
                    <a:pt x="6817693" y="960664"/>
                  </a:cubicBezTo>
                  <a:cubicBezTo>
                    <a:pt x="6816383" y="970796"/>
                    <a:pt x="6811214" y="976793"/>
                    <a:pt x="6802185" y="978516"/>
                  </a:cubicBezTo>
                  <a:cubicBezTo>
                    <a:pt x="6799359" y="968453"/>
                    <a:pt x="6808664" y="961078"/>
                    <a:pt x="6816176" y="956253"/>
                  </a:cubicBezTo>
                  <a:lnTo>
                    <a:pt x="6814246" y="950395"/>
                  </a:lnTo>
                  <a:cubicBezTo>
                    <a:pt x="6811283" y="949567"/>
                    <a:pt x="6805355" y="947982"/>
                    <a:pt x="6802460" y="947155"/>
                  </a:cubicBezTo>
                  <a:cubicBezTo>
                    <a:pt x="6792122" y="942951"/>
                    <a:pt x="6792122" y="939022"/>
                    <a:pt x="6802460" y="935231"/>
                  </a:cubicBezTo>
                  <a:lnTo>
                    <a:pt x="6799841" y="927994"/>
                  </a:lnTo>
                  <a:cubicBezTo>
                    <a:pt x="6795154" y="920137"/>
                    <a:pt x="6788469" y="913658"/>
                    <a:pt x="6783437" y="906214"/>
                  </a:cubicBezTo>
                  <a:cubicBezTo>
                    <a:pt x="6780198" y="909936"/>
                    <a:pt x="6773857" y="917380"/>
                    <a:pt x="6770686" y="921033"/>
                  </a:cubicBezTo>
                  <a:cubicBezTo>
                    <a:pt x="6771444" y="917724"/>
                    <a:pt x="6772823" y="911108"/>
                    <a:pt x="6773512" y="907799"/>
                  </a:cubicBezTo>
                  <a:cubicBezTo>
                    <a:pt x="6762278" y="907730"/>
                    <a:pt x="6751112" y="907868"/>
                    <a:pt x="6740014" y="908213"/>
                  </a:cubicBezTo>
                  <a:cubicBezTo>
                    <a:pt x="6733053" y="931509"/>
                    <a:pt x="6721267" y="958459"/>
                    <a:pt x="6739325" y="979619"/>
                  </a:cubicBezTo>
                  <a:cubicBezTo>
                    <a:pt x="6737327" y="980101"/>
                    <a:pt x="6733191" y="980928"/>
                    <a:pt x="6731124" y="981411"/>
                  </a:cubicBezTo>
                  <a:lnTo>
                    <a:pt x="6729883" y="967005"/>
                  </a:lnTo>
                  <a:cubicBezTo>
                    <a:pt x="6722853" y="976448"/>
                    <a:pt x="6718441" y="987063"/>
                    <a:pt x="6716580" y="998849"/>
                  </a:cubicBezTo>
                  <a:lnTo>
                    <a:pt x="6727953" y="1000365"/>
                  </a:lnTo>
                  <a:cubicBezTo>
                    <a:pt x="6725127" y="1000434"/>
                    <a:pt x="6719475" y="1000710"/>
                    <a:pt x="6716580" y="1000778"/>
                  </a:cubicBezTo>
                  <a:cubicBezTo>
                    <a:pt x="6693077" y="1101271"/>
                    <a:pt x="6668471" y="1201418"/>
                    <a:pt x="6643589" y="1301566"/>
                  </a:cubicBezTo>
                  <a:cubicBezTo>
                    <a:pt x="6644761" y="1303978"/>
                    <a:pt x="6647104" y="1308803"/>
                    <a:pt x="6648276" y="1311284"/>
                  </a:cubicBezTo>
                  <a:cubicBezTo>
                    <a:pt x="6642279" y="1320589"/>
                    <a:pt x="6636627" y="1330376"/>
                    <a:pt x="6634284" y="1341266"/>
                  </a:cubicBezTo>
                  <a:cubicBezTo>
                    <a:pt x="6606715" y="1456508"/>
                    <a:pt x="6578249" y="1571612"/>
                    <a:pt x="6550954" y="1686923"/>
                  </a:cubicBezTo>
                  <a:cubicBezTo>
                    <a:pt x="6550610" y="1674379"/>
                    <a:pt x="6550816" y="1661834"/>
                    <a:pt x="6551230" y="1649221"/>
                  </a:cubicBezTo>
                  <a:cubicBezTo>
                    <a:pt x="6546888" y="1650807"/>
                    <a:pt x="6538273" y="1653908"/>
                    <a:pt x="6533999" y="1655425"/>
                  </a:cubicBezTo>
                  <a:cubicBezTo>
                    <a:pt x="6538824" y="1650255"/>
                    <a:pt x="6545027" y="1647429"/>
                    <a:pt x="6552609" y="1647085"/>
                  </a:cubicBezTo>
                  <a:lnTo>
                    <a:pt x="6552057" y="1636953"/>
                  </a:lnTo>
                  <a:lnTo>
                    <a:pt x="6540892" y="1635230"/>
                  </a:lnTo>
                  <a:cubicBezTo>
                    <a:pt x="6544338" y="1634954"/>
                    <a:pt x="6551230" y="1634472"/>
                    <a:pt x="6554607" y="1634196"/>
                  </a:cubicBezTo>
                  <a:cubicBezTo>
                    <a:pt x="6554056" y="1624684"/>
                    <a:pt x="6551230" y="1616000"/>
                    <a:pt x="6546061" y="1608280"/>
                  </a:cubicBezTo>
                  <a:cubicBezTo>
                    <a:pt x="6553160" y="1601525"/>
                    <a:pt x="6556055" y="1592497"/>
                    <a:pt x="6555917" y="1582709"/>
                  </a:cubicBezTo>
                  <a:cubicBezTo>
                    <a:pt x="6560328" y="1499310"/>
                    <a:pt x="6566187" y="1415912"/>
                    <a:pt x="6571218" y="1332582"/>
                  </a:cubicBezTo>
                  <a:cubicBezTo>
                    <a:pt x="6559501" y="1329136"/>
                    <a:pt x="6545992" y="1345126"/>
                    <a:pt x="6531931" y="1341680"/>
                  </a:cubicBezTo>
                  <a:cubicBezTo>
                    <a:pt x="6535860" y="1336855"/>
                    <a:pt x="6543717" y="1327206"/>
                    <a:pt x="6547646" y="1322450"/>
                  </a:cubicBezTo>
                  <a:cubicBezTo>
                    <a:pt x="6542821" y="1320658"/>
                    <a:pt x="6533103" y="1317143"/>
                    <a:pt x="6528209" y="1315351"/>
                  </a:cubicBezTo>
                  <a:lnTo>
                    <a:pt x="6536418" y="1305563"/>
                  </a:lnTo>
                  <a:cubicBezTo>
                    <a:pt x="6540340" y="1309837"/>
                    <a:pt x="6544406" y="1314041"/>
                    <a:pt x="6548542" y="1318245"/>
                  </a:cubicBezTo>
                  <a:cubicBezTo>
                    <a:pt x="6550679" y="1305357"/>
                    <a:pt x="6558881" y="1300187"/>
                    <a:pt x="6573079" y="1302668"/>
                  </a:cubicBezTo>
                  <a:cubicBezTo>
                    <a:pt x="6581695" y="1167852"/>
                    <a:pt x="6590311" y="1033035"/>
                    <a:pt x="6598450" y="898150"/>
                  </a:cubicBezTo>
                  <a:cubicBezTo>
                    <a:pt x="6567772" y="896633"/>
                    <a:pt x="6537169" y="894704"/>
                    <a:pt x="6506636" y="892429"/>
                  </a:cubicBezTo>
                  <a:cubicBezTo>
                    <a:pt x="6482444" y="937437"/>
                    <a:pt x="6493678" y="990026"/>
                    <a:pt x="6485958" y="1038687"/>
                  </a:cubicBezTo>
                  <a:cubicBezTo>
                    <a:pt x="6482444" y="1053230"/>
                    <a:pt x="6499605" y="1057366"/>
                    <a:pt x="6508359" y="1064396"/>
                  </a:cubicBezTo>
                  <a:cubicBezTo>
                    <a:pt x="6502294" y="1063707"/>
                    <a:pt x="6490232" y="1062259"/>
                    <a:pt x="6484167" y="1061570"/>
                  </a:cubicBezTo>
                  <a:cubicBezTo>
                    <a:pt x="6483477" y="1089967"/>
                    <a:pt x="6478721" y="1118502"/>
                    <a:pt x="6483891" y="1146692"/>
                  </a:cubicBezTo>
                  <a:cubicBezTo>
                    <a:pt x="6473552" y="1173573"/>
                    <a:pt x="6477619" y="1202934"/>
                    <a:pt x="6472863" y="1230849"/>
                  </a:cubicBezTo>
                  <a:cubicBezTo>
                    <a:pt x="6480376" y="1233744"/>
                    <a:pt x="6488164" y="1236639"/>
                    <a:pt x="6495953" y="1239189"/>
                  </a:cubicBezTo>
                  <a:cubicBezTo>
                    <a:pt x="6500501" y="1236983"/>
                    <a:pt x="6509531" y="1232641"/>
                    <a:pt x="6514011" y="1230435"/>
                  </a:cubicBezTo>
                  <a:cubicBezTo>
                    <a:pt x="6526624" y="1241463"/>
                    <a:pt x="6535997" y="1260900"/>
                    <a:pt x="6556262" y="1253180"/>
                  </a:cubicBezTo>
                  <a:cubicBezTo>
                    <a:pt x="6545302" y="1266828"/>
                    <a:pt x="6534964" y="1281026"/>
                    <a:pt x="6525384" y="1295569"/>
                  </a:cubicBezTo>
                  <a:cubicBezTo>
                    <a:pt x="6516630" y="1277718"/>
                    <a:pt x="6528416" y="1266138"/>
                    <a:pt x="6542408" y="1256489"/>
                  </a:cubicBezTo>
                  <a:cubicBezTo>
                    <a:pt x="6537721" y="1256558"/>
                    <a:pt x="6528347" y="1256696"/>
                    <a:pt x="6523660" y="1256765"/>
                  </a:cubicBezTo>
                  <a:cubicBezTo>
                    <a:pt x="6522557" y="1254146"/>
                    <a:pt x="6520352" y="1248838"/>
                    <a:pt x="6519180" y="1246219"/>
                  </a:cubicBezTo>
                  <a:cubicBezTo>
                    <a:pt x="6506705" y="1242773"/>
                    <a:pt x="6503672" y="1261107"/>
                    <a:pt x="6495746" y="1266897"/>
                  </a:cubicBezTo>
                  <a:cubicBezTo>
                    <a:pt x="6487130" y="1262072"/>
                    <a:pt x="6485338" y="1255593"/>
                    <a:pt x="6490439" y="1247322"/>
                  </a:cubicBezTo>
                  <a:cubicBezTo>
                    <a:pt x="6485958" y="1245323"/>
                    <a:pt x="6477067" y="1241325"/>
                    <a:pt x="6472587" y="1239327"/>
                  </a:cubicBezTo>
                  <a:cubicBezTo>
                    <a:pt x="6481202" y="1278614"/>
                    <a:pt x="6465902" y="1316109"/>
                    <a:pt x="6466046" y="1355327"/>
                  </a:cubicBezTo>
                  <a:cubicBezTo>
                    <a:pt x="6462662" y="1396199"/>
                    <a:pt x="6462662" y="1437209"/>
                    <a:pt x="6458389" y="1477944"/>
                  </a:cubicBezTo>
                  <a:cubicBezTo>
                    <a:pt x="6470382" y="1479184"/>
                    <a:pt x="6482444" y="1480563"/>
                    <a:pt x="6494643" y="1482010"/>
                  </a:cubicBezTo>
                  <a:cubicBezTo>
                    <a:pt x="6485821" y="1491660"/>
                    <a:pt x="6476171" y="1501585"/>
                    <a:pt x="6461904" y="1499931"/>
                  </a:cubicBezTo>
                  <a:cubicBezTo>
                    <a:pt x="6462662" y="1504549"/>
                    <a:pt x="6464247" y="1513716"/>
                    <a:pt x="6465005" y="1518334"/>
                  </a:cubicBezTo>
                  <a:cubicBezTo>
                    <a:pt x="6462600" y="1517989"/>
                    <a:pt x="6457631" y="1517369"/>
                    <a:pt x="6455149" y="1517024"/>
                  </a:cubicBezTo>
                  <a:cubicBezTo>
                    <a:pt x="6446603" y="1678445"/>
                    <a:pt x="6436057" y="1839729"/>
                    <a:pt x="6425098" y="2000944"/>
                  </a:cubicBezTo>
                  <a:cubicBezTo>
                    <a:pt x="6429096" y="2002460"/>
                    <a:pt x="6437022" y="2005493"/>
                    <a:pt x="6441020" y="2007009"/>
                  </a:cubicBezTo>
                  <a:cubicBezTo>
                    <a:pt x="6437160" y="2006802"/>
                    <a:pt x="6429440" y="2006458"/>
                    <a:pt x="6425581" y="2006320"/>
                  </a:cubicBezTo>
                  <a:cubicBezTo>
                    <a:pt x="6426063" y="2029203"/>
                    <a:pt x="6422548" y="2051879"/>
                    <a:pt x="6420342" y="2074555"/>
                  </a:cubicBezTo>
                  <a:cubicBezTo>
                    <a:pt x="6426752" y="2077243"/>
                    <a:pt x="6433231" y="2080069"/>
                    <a:pt x="6439779" y="2082964"/>
                  </a:cubicBezTo>
                  <a:cubicBezTo>
                    <a:pt x="6435023" y="2081723"/>
                    <a:pt x="6425581" y="2079242"/>
                    <a:pt x="6420825" y="2078002"/>
                  </a:cubicBezTo>
                  <a:cubicBezTo>
                    <a:pt x="6419929" y="2098403"/>
                    <a:pt x="6417310" y="2118736"/>
                    <a:pt x="6419033" y="2139069"/>
                  </a:cubicBezTo>
                  <a:cubicBezTo>
                    <a:pt x="6423375" y="2140034"/>
                    <a:pt x="6432129" y="2141895"/>
                    <a:pt x="6436471" y="2142791"/>
                  </a:cubicBezTo>
                  <a:cubicBezTo>
                    <a:pt x="6436333" y="2131143"/>
                    <a:pt x="6436333" y="2119425"/>
                    <a:pt x="6436677" y="2107708"/>
                  </a:cubicBezTo>
                  <a:cubicBezTo>
                    <a:pt x="6444190" y="2117909"/>
                    <a:pt x="6448877" y="2130660"/>
                    <a:pt x="6440124" y="2141964"/>
                  </a:cubicBezTo>
                  <a:cubicBezTo>
                    <a:pt x="6471278" y="2143549"/>
                    <a:pt x="6502432" y="2145685"/>
                    <a:pt x="6533654" y="2147615"/>
                  </a:cubicBezTo>
                  <a:cubicBezTo>
                    <a:pt x="6540822" y="2114807"/>
                    <a:pt x="6547233" y="2081861"/>
                    <a:pt x="6555779" y="2049260"/>
                  </a:cubicBezTo>
                  <a:cubicBezTo>
                    <a:pt x="6549782" y="2048088"/>
                    <a:pt x="6537790" y="2045814"/>
                    <a:pt x="6531793" y="2044642"/>
                  </a:cubicBezTo>
                  <a:cubicBezTo>
                    <a:pt x="6531104" y="2059116"/>
                    <a:pt x="6530828" y="2073728"/>
                    <a:pt x="6526279" y="2087582"/>
                  </a:cubicBezTo>
                  <a:cubicBezTo>
                    <a:pt x="6524143" y="2074555"/>
                    <a:pt x="6523040" y="2061322"/>
                    <a:pt x="6522695" y="2048088"/>
                  </a:cubicBezTo>
                  <a:cubicBezTo>
                    <a:pt x="6528140" y="2043677"/>
                    <a:pt x="6540685" y="2024171"/>
                    <a:pt x="6541098" y="2042574"/>
                  </a:cubicBezTo>
                  <a:lnTo>
                    <a:pt x="6556951" y="2042023"/>
                  </a:lnTo>
                  <a:cubicBezTo>
                    <a:pt x="6608989" y="1818776"/>
                    <a:pt x="6658546" y="1594702"/>
                    <a:pt x="6710032" y="1371317"/>
                  </a:cubicBezTo>
                  <a:lnTo>
                    <a:pt x="6718992" y="1359462"/>
                  </a:lnTo>
                  <a:cubicBezTo>
                    <a:pt x="6710997" y="1493245"/>
                    <a:pt x="6699969" y="1626890"/>
                    <a:pt x="6695489" y="1760879"/>
                  </a:cubicBezTo>
                  <a:cubicBezTo>
                    <a:pt x="6682670" y="1891629"/>
                    <a:pt x="6679705" y="2023137"/>
                    <a:pt x="6668195" y="2154025"/>
                  </a:cubicBezTo>
                  <a:moveTo>
                    <a:pt x="7089532" y="1179914"/>
                  </a:moveTo>
                  <a:cubicBezTo>
                    <a:pt x="7093529" y="1168128"/>
                    <a:pt x="7094563" y="1141109"/>
                    <a:pt x="7112345" y="1147450"/>
                  </a:cubicBezTo>
                  <a:cubicBezTo>
                    <a:pt x="7108899" y="1149035"/>
                    <a:pt x="7101938" y="1152206"/>
                    <a:pt x="7098492" y="1153791"/>
                  </a:cubicBezTo>
                  <a:cubicBezTo>
                    <a:pt x="7089256" y="1169299"/>
                    <a:pt x="7110967" y="1181568"/>
                    <a:pt x="7106418" y="1195904"/>
                  </a:cubicBezTo>
                  <a:cubicBezTo>
                    <a:pt x="7097320" y="1196387"/>
                    <a:pt x="7093805" y="1185979"/>
                    <a:pt x="7089532" y="1179914"/>
                  </a:cubicBezTo>
                  <a:moveTo>
                    <a:pt x="7100697" y="1251389"/>
                  </a:moveTo>
                  <a:cubicBezTo>
                    <a:pt x="7089256" y="1230780"/>
                    <a:pt x="7122891" y="1248907"/>
                    <a:pt x="7100697" y="1251389"/>
                  </a:cubicBezTo>
                  <a:moveTo>
                    <a:pt x="7073472" y="1291227"/>
                  </a:moveTo>
                  <a:cubicBezTo>
                    <a:pt x="7063202" y="1270412"/>
                    <a:pt x="7096286" y="1290744"/>
                    <a:pt x="7073472" y="1291227"/>
                  </a:cubicBezTo>
                  <a:moveTo>
                    <a:pt x="7068165" y="1333340"/>
                  </a:moveTo>
                  <a:cubicBezTo>
                    <a:pt x="7066304" y="1331548"/>
                    <a:pt x="7062582" y="1327964"/>
                    <a:pt x="7060721" y="1326172"/>
                  </a:cubicBezTo>
                  <a:cubicBezTo>
                    <a:pt x="7068165" y="1303427"/>
                    <a:pt x="7096699" y="1340439"/>
                    <a:pt x="7068165" y="1333340"/>
                  </a:cubicBezTo>
                  <a:moveTo>
                    <a:pt x="7034874" y="1479184"/>
                  </a:moveTo>
                  <a:cubicBezTo>
                    <a:pt x="7041422" y="1473326"/>
                    <a:pt x="7055345" y="1482493"/>
                    <a:pt x="7051830" y="1490833"/>
                  </a:cubicBezTo>
                  <a:cubicBezTo>
                    <a:pt x="7044937" y="1495313"/>
                    <a:pt x="7031566" y="1487731"/>
                    <a:pt x="7034874" y="1479184"/>
                  </a:cubicBezTo>
                  <a:moveTo>
                    <a:pt x="7073817" y="1519161"/>
                  </a:moveTo>
                  <a:cubicBezTo>
                    <a:pt x="7077332" y="1515508"/>
                    <a:pt x="7077332" y="1515508"/>
                    <a:pt x="7073817" y="1519161"/>
                  </a:cubicBezTo>
                  <a:moveTo>
                    <a:pt x="7044661" y="1510338"/>
                  </a:moveTo>
                  <a:cubicBezTo>
                    <a:pt x="7055276" y="1507306"/>
                    <a:pt x="7066717" y="1521573"/>
                    <a:pt x="7063064" y="1531498"/>
                  </a:cubicBezTo>
                  <a:cubicBezTo>
                    <a:pt x="7052864" y="1537012"/>
                    <a:pt x="7036735" y="1519712"/>
                    <a:pt x="7044661" y="1510338"/>
                  </a:cubicBezTo>
                  <a:moveTo>
                    <a:pt x="7016057" y="1563272"/>
                  </a:moveTo>
                  <a:cubicBezTo>
                    <a:pt x="7013508" y="1559275"/>
                    <a:pt x="7008338" y="1551210"/>
                    <a:pt x="7005788" y="1547144"/>
                  </a:cubicBezTo>
                  <a:cubicBezTo>
                    <a:pt x="7011233" y="1543284"/>
                    <a:pt x="7017023" y="1539700"/>
                    <a:pt x="7023157" y="1536461"/>
                  </a:cubicBezTo>
                  <a:cubicBezTo>
                    <a:pt x="7038389" y="1543422"/>
                    <a:pt x="7054587" y="1545490"/>
                    <a:pt x="7071335" y="1544249"/>
                  </a:cubicBezTo>
                  <a:cubicBezTo>
                    <a:pt x="7065339" y="1551486"/>
                    <a:pt x="7060169" y="1558999"/>
                    <a:pt x="7055620" y="1567063"/>
                  </a:cubicBezTo>
                  <a:cubicBezTo>
                    <a:pt x="7060445" y="1555829"/>
                    <a:pt x="7048452" y="1550453"/>
                    <a:pt x="7042801" y="1543560"/>
                  </a:cubicBezTo>
                  <a:cubicBezTo>
                    <a:pt x="7043007" y="1548936"/>
                    <a:pt x="7043421" y="1559688"/>
                    <a:pt x="7043559" y="1565064"/>
                  </a:cubicBezTo>
                  <a:cubicBezTo>
                    <a:pt x="7034392" y="1564306"/>
                    <a:pt x="7025087" y="1563824"/>
                    <a:pt x="7016057" y="1563272"/>
                  </a:cubicBezTo>
                  <a:moveTo>
                    <a:pt x="7017367" y="1594357"/>
                  </a:moveTo>
                  <a:cubicBezTo>
                    <a:pt x="7006546" y="1573542"/>
                    <a:pt x="7039906" y="1593117"/>
                    <a:pt x="7017367" y="1594357"/>
                  </a:cubicBezTo>
                  <a:moveTo>
                    <a:pt x="6998068" y="1733309"/>
                  </a:moveTo>
                  <a:cubicBezTo>
                    <a:pt x="7001583" y="1729863"/>
                    <a:pt x="7001583" y="1729863"/>
                    <a:pt x="6998068" y="1733309"/>
                  </a:cubicBezTo>
                  <a:moveTo>
                    <a:pt x="7018401" y="1843451"/>
                  </a:moveTo>
                  <a:cubicBezTo>
                    <a:pt x="7015644" y="1833664"/>
                    <a:pt x="7019022" y="1829735"/>
                    <a:pt x="7028464" y="1831527"/>
                  </a:cubicBezTo>
                  <a:cubicBezTo>
                    <a:pt x="7030946" y="1841314"/>
                    <a:pt x="7027637" y="1845312"/>
                    <a:pt x="7018401" y="1843451"/>
                  </a:cubicBezTo>
                  <a:moveTo>
                    <a:pt x="7025983" y="1864060"/>
                  </a:moveTo>
                  <a:cubicBezTo>
                    <a:pt x="7029567" y="1860269"/>
                    <a:pt x="7029567" y="1860269"/>
                    <a:pt x="7025983" y="1864060"/>
                  </a:cubicBezTo>
                  <a:moveTo>
                    <a:pt x="6996345" y="1950077"/>
                  </a:moveTo>
                  <a:cubicBezTo>
                    <a:pt x="6998964" y="1940911"/>
                    <a:pt x="7002273" y="1931881"/>
                    <a:pt x="7006546" y="1923197"/>
                  </a:cubicBezTo>
                  <a:cubicBezTo>
                    <a:pt x="7004340" y="1921267"/>
                    <a:pt x="7000068" y="1917476"/>
                    <a:pt x="6997930" y="1915546"/>
                  </a:cubicBezTo>
                  <a:cubicBezTo>
                    <a:pt x="6999654" y="1912169"/>
                    <a:pt x="7003031" y="1905414"/>
                    <a:pt x="7004754" y="1901968"/>
                  </a:cubicBezTo>
                  <a:cubicBezTo>
                    <a:pt x="7008063" y="1905001"/>
                    <a:pt x="7014679" y="1911135"/>
                    <a:pt x="7017919" y="1914168"/>
                  </a:cubicBezTo>
                  <a:cubicBezTo>
                    <a:pt x="7027430" y="1901761"/>
                    <a:pt x="7030394" y="1886529"/>
                    <a:pt x="7032599" y="1871365"/>
                  </a:cubicBezTo>
                  <a:cubicBezTo>
                    <a:pt x="7035219" y="1872262"/>
                    <a:pt x="7040457" y="1874054"/>
                    <a:pt x="7043076" y="1874881"/>
                  </a:cubicBezTo>
                  <a:cubicBezTo>
                    <a:pt x="7038045" y="1889355"/>
                    <a:pt x="7033633" y="1903967"/>
                    <a:pt x="7029498" y="1918648"/>
                  </a:cubicBezTo>
                  <a:cubicBezTo>
                    <a:pt x="7012405" y="1921749"/>
                    <a:pt x="7006891" y="1938774"/>
                    <a:pt x="6996345" y="1950077"/>
                  </a:cubicBezTo>
                  <a:moveTo>
                    <a:pt x="6999309" y="1993845"/>
                  </a:moveTo>
                  <a:cubicBezTo>
                    <a:pt x="6992348" y="1987297"/>
                    <a:pt x="6994829" y="1972891"/>
                    <a:pt x="7004548" y="1970272"/>
                  </a:cubicBezTo>
                  <a:cubicBezTo>
                    <a:pt x="7020124" y="1970272"/>
                    <a:pt x="7012887" y="2000186"/>
                    <a:pt x="6999309" y="1993845"/>
                  </a:cubicBezTo>
                  <a:moveTo>
                    <a:pt x="6867456" y="1995706"/>
                  </a:moveTo>
                  <a:cubicBezTo>
                    <a:pt x="6856015" y="1974615"/>
                    <a:pt x="6889995" y="1994809"/>
                    <a:pt x="6867456" y="1995706"/>
                  </a:cubicBezTo>
                  <a:moveTo>
                    <a:pt x="7053621" y="2016107"/>
                  </a:moveTo>
                  <a:cubicBezTo>
                    <a:pt x="7057206" y="2012454"/>
                    <a:pt x="7057206" y="2012454"/>
                    <a:pt x="7053621" y="2016107"/>
                  </a:cubicBezTo>
                  <a:moveTo>
                    <a:pt x="6873177" y="2014798"/>
                  </a:moveTo>
                  <a:cubicBezTo>
                    <a:pt x="6877244" y="2010938"/>
                    <a:pt x="6877244" y="2010938"/>
                    <a:pt x="6873177" y="2014798"/>
                  </a:cubicBezTo>
                  <a:moveTo>
                    <a:pt x="7066235" y="2022793"/>
                  </a:moveTo>
                  <a:cubicBezTo>
                    <a:pt x="7056378" y="2001840"/>
                    <a:pt x="7089049" y="2022310"/>
                    <a:pt x="7066235" y="2022793"/>
                  </a:cubicBezTo>
                  <a:moveTo>
                    <a:pt x="6913222" y="2022517"/>
                  </a:moveTo>
                  <a:cubicBezTo>
                    <a:pt x="6902746" y="2001633"/>
                    <a:pt x="6936036" y="2022035"/>
                    <a:pt x="6913222" y="2022517"/>
                  </a:cubicBezTo>
                  <a:moveTo>
                    <a:pt x="6997930" y="2030581"/>
                  </a:moveTo>
                  <a:cubicBezTo>
                    <a:pt x="6999034" y="2007836"/>
                    <a:pt x="7018539" y="2041058"/>
                    <a:pt x="6997930" y="2030581"/>
                  </a:cubicBezTo>
                  <a:moveTo>
                    <a:pt x="6956782" y="2028858"/>
                  </a:moveTo>
                  <a:cubicBezTo>
                    <a:pt x="6960573" y="2025550"/>
                    <a:pt x="6960573" y="2025550"/>
                    <a:pt x="6956782" y="2028858"/>
                  </a:cubicBezTo>
                  <a:moveTo>
                    <a:pt x="7065339" y="2031891"/>
                  </a:moveTo>
                  <a:cubicBezTo>
                    <a:pt x="7068578" y="2034165"/>
                    <a:pt x="7075126" y="2038577"/>
                    <a:pt x="7078366" y="2040782"/>
                  </a:cubicBezTo>
                  <a:cubicBezTo>
                    <a:pt x="7081329" y="2030857"/>
                    <a:pt x="7081950" y="2020794"/>
                    <a:pt x="7080295" y="2010455"/>
                  </a:cubicBezTo>
                  <a:cubicBezTo>
                    <a:pt x="7087257" y="2022517"/>
                    <a:pt x="7101317" y="2024378"/>
                    <a:pt x="7113311" y="2028789"/>
                  </a:cubicBezTo>
                  <a:cubicBezTo>
                    <a:pt x="7106969" y="2027824"/>
                    <a:pt x="7094356" y="2025825"/>
                    <a:pt x="7088015" y="2024861"/>
                  </a:cubicBezTo>
                  <a:cubicBezTo>
                    <a:pt x="7087050" y="2034165"/>
                    <a:pt x="7084156" y="2043539"/>
                    <a:pt x="7076298" y="2049191"/>
                  </a:cubicBezTo>
                  <a:cubicBezTo>
                    <a:pt x="7065615" y="2053809"/>
                    <a:pt x="7068440" y="2037336"/>
                    <a:pt x="7065339" y="2031891"/>
                  </a:cubicBezTo>
                  <a:moveTo>
                    <a:pt x="6911913" y="2062562"/>
                  </a:moveTo>
                  <a:cubicBezTo>
                    <a:pt x="6906950" y="2051672"/>
                    <a:pt x="6901781" y="2039955"/>
                    <a:pt x="6888547" y="2037887"/>
                  </a:cubicBezTo>
                  <a:cubicBezTo>
                    <a:pt x="6882964" y="2032580"/>
                    <a:pt x="6892407" y="2030099"/>
                    <a:pt x="6894888" y="2026239"/>
                  </a:cubicBezTo>
                  <a:cubicBezTo>
                    <a:pt x="6905916" y="2043401"/>
                    <a:pt x="6925353" y="2051535"/>
                    <a:pt x="6941206" y="2063389"/>
                  </a:cubicBezTo>
                  <a:cubicBezTo>
                    <a:pt x="6931350" y="2063183"/>
                    <a:pt x="6921562" y="2062907"/>
                    <a:pt x="6911913" y="2062562"/>
                  </a:cubicBezTo>
                  <a:moveTo>
                    <a:pt x="6955611" y="2084618"/>
                  </a:moveTo>
                  <a:cubicBezTo>
                    <a:pt x="6943894" y="2064561"/>
                    <a:pt x="6978425" y="2082482"/>
                    <a:pt x="6955611" y="2084618"/>
                  </a:cubicBezTo>
                  <a:moveTo>
                    <a:pt x="7089325" y="2107915"/>
                  </a:moveTo>
                  <a:cubicBezTo>
                    <a:pt x="7095803" y="2097025"/>
                    <a:pt x="7099801" y="2085170"/>
                    <a:pt x="7096493" y="2072488"/>
                  </a:cubicBezTo>
                  <a:cubicBezTo>
                    <a:pt x="7102007" y="2076623"/>
                    <a:pt x="7107727" y="2080690"/>
                    <a:pt x="7113517" y="2084687"/>
                  </a:cubicBezTo>
                  <a:cubicBezTo>
                    <a:pt x="7114206" y="2080069"/>
                    <a:pt x="7115654" y="2070833"/>
                    <a:pt x="7116412" y="2066215"/>
                  </a:cubicBezTo>
                  <a:cubicBezTo>
                    <a:pt x="7119031" y="2079449"/>
                    <a:pt x="7122615" y="2092476"/>
                    <a:pt x="7126889" y="2105296"/>
                  </a:cubicBezTo>
                  <a:cubicBezTo>
                    <a:pt x="7120272" y="2099575"/>
                    <a:pt x="7113449" y="2093854"/>
                    <a:pt x="7106969" y="2088065"/>
                  </a:cubicBezTo>
                  <a:cubicBezTo>
                    <a:pt x="7102351" y="2095991"/>
                    <a:pt x="7096631" y="2102676"/>
                    <a:pt x="7089325" y="2107915"/>
                  </a:cubicBezTo>
                  <a:moveTo>
                    <a:pt x="7073472" y="2105916"/>
                  </a:moveTo>
                  <a:cubicBezTo>
                    <a:pt x="7063823" y="2101367"/>
                    <a:pt x="7063409" y="2096749"/>
                    <a:pt x="7072162" y="2091993"/>
                  </a:cubicBezTo>
                  <a:cubicBezTo>
                    <a:pt x="7081536" y="2096542"/>
                    <a:pt x="7081950" y="2101160"/>
                    <a:pt x="7073472" y="2105916"/>
                  </a:cubicBezTo>
                  <a:moveTo>
                    <a:pt x="7014472" y="2108190"/>
                  </a:moveTo>
                  <a:cubicBezTo>
                    <a:pt x="7010544" y="2098334"/>
                    <a:pt x="7014817" y="2080552"/>
                    <a:pt x="6999723" y="2080759"/>
                  </a:cubicBezTo>
                  <a:cubicBezTo>
                    <a:pt x="7000205" y="2077795"/>
                    <a:pt x="7001239" y="2071867"/>
                    <a:pt x="7001721" y="2068834"/>
                  </a:cubicBezTo>
                  <a:cubicBezTo>
                    <a:pt x="6998896" y="2068903"/>
                    <a:pt x="6993312" y="2068903"/>
                    <a:pt x="6990487" y="2068903"/>
                  </a:cubicBezTo>
                  <a:lnTo>
                    <a:pt x="7002135" y="2067249"/>
                  </a:lnTo>
                  <a:cubicBezTo>
                    <a:pt x="6997930" y="2060426"/>
                    <a:pt x="6993795" y="2053533"/>
                    <a:pt x="6989797" y="2046572"/>
                  </a:cubicBezTo>
                  <a:cubicBezTo>
                    <a:pt x="7002204" y="2054636"/>
                    <a:pt x="7013852" y="2063665"/>
                    <a:pt x="7025018" y="2073314"/>
                  </a:cubicBezTo>
                  <a:cubicBezTo>
                    <a:pt x="7023433" y="2085514"/>
                    <a:pt x="7021641" y="2097990"/>
                    <a:pt x="7014472" y="2108190"/>
                  </a:cubicBezTo>
                  <a:moveTo>
                    <a:pt x="7045764" y="2110534"/>
                  </a:moveTo>
                  <a:cubicBezTo>
                    <a:pt x="7040112" y="2104538"/>
                    <a:pt x="7039699" y="2088960"/>
                    <a:pt x="7049762" y="2087375"/>
                  </a:cubicBezTo>
                  <a:cubicBezTo>
                    <a:pt x="7062168" y="2089925"/>
                    <a:pt x="7058860" y="2115703"/>
                    <a:pt x="7045764" y="2110534"/>
                  </a:cubicBezTo>
                  <a:moveTo>
                    <a:pt x="7108279" y="2139689"/>
                  </a:moveTo>
                  <a:cubicBezTo>
                    <a:pt x="7108072" y="2128937"/>
                    <a:pt x="7108003" y="2118185"/>
                    <a:pt x="7108141" y="2107432"/>
                  </a:cubicBezTo>
                  <a:cubicBezTo>
                    <a:pt x="7113311" y="2116048"/>
                    <a:pt x="7118549" y="2124595"/>
                    <a:pt x="7124476" y="2132866"/>
                  </a:cubicBezTo>
                  <a:cubicBezTo>
                    <a:pt x="7119031" y="2135209"/>
                    <a:pt x="7113586" y="2137414"/>
                    <a:pt x="7108279" y="2139689"/>
                  </a:cubicBezTo>
                  <a:moveTo>
                    <a:pt x="7080227" y="2146582"/>
                  </a:moveTo>
                  <a:cubicBezTo>
                    <a:pt x="7067544" y="2137483"/>
                    <a:pt x="7084362" y="2123354"/>
                    <a:pt x="7093736" y="2133348"/>
                  </a:cubicBezTo>
                  <a:cubicBezTo>
                    <a:pt x="7107107" y="2141619"/>
                    <a:pt x="7089462" y="2157334"/>
                    <a:pt x="7080227" y="2146582"/>
                  </a:cubicBezTo>
                  <a:moveTo>
                    <a:pt x="6973876" y="2155404"/>
                  </a:moveTo>
                  <a:cubicBezTo>
                    <a:pt x="6973600" y="2150786"/>
                    <a:pt x="6973532" y="2146099"/>
                    <a:pt x="6973532" y="2141481"/>
                  </a:cubicBezTo>
                  <a:cubicBezTo>
                    <a:pt x="6982767" y="2133968"/>
                    <a:pt x="6980975" y="2121562"/>
                    <a:pt x="6984490" y="2111361"/>
                  </a:cubicBezTo>
                  <a:cubicBezTo>
                    <a:pt x="6989453" y="2127352"/>
                    <a:pt x="6985938" y="2143962"/>
                    <a:pt x="6984628" y="2160160"/>
                  </a:cubicBezTo>
                  <a:cubicBezTo>
                    <a:pt x="6981940" y="2158919"/>
                    <a:pt x="6976564" y="2156576"/>
                    <a:pt x="6973876" y="2155404"/>
                  </a:cubicBezTo>
                  <a:moveTo>
                    <a:pt x="7093736" y="2174082"/>
                  </a:moveTo>
                  <a:cubicBezTo>
                    <a:pt x="7089600" y="2164295"/>
                    <a:pt x="7092633" y="2161262"/>
                    <a:pt x="7102696" y="2164984"/>
                  </a:cubicBezTo>
                  <a:cubicBezTo>
                    <a:pt x="7106625" y="2174634"/>
                    <a:pt x="7103592" y="2177667"/>
                    <a:pt x="7093736" y="2174082"/>
                  </a:cubicBezTo>
                  <a:moveTo>
                    <a:pt x="7083742" y="2181320"/>
                  </a:moveTo>
                  <a:cubicBezTo>
                    <a:pt x="7098492" y="2181182"/>
                    <a:pt x="7113379" y="2181182"/>
                    <a:pt x="7128267" y="2180699"/>
                  </a:cubicBezTo>
                  <a:cubicBezTo>
                    <a:pt x="7124063" y="2179252"/>
                    <a:pt x="7115654" y="2176357"/>
                    <a:pt x="7111449" y="2174910"/>
                  </a:cubicBezTo>
                  <a:cubicBezTo>
                    <a:pt x="7129646" y="2148305"/>
                    <a:pt x="7146256" y="2191314"/>
                    <a:pt x="7166865" y="2183663"/>
                  </a:cubicBezTo>
                  <a:cubicBezTo>
                    <a:pt x="7164039" y="2180424"/>
                    <a:pt x="7158525" y="2173944"/>
                    <a:pt x="7155699" y="2170705"/>
                  </a:cubicBezTo>
                  <a:lnTo>
                    <a:pt x="7166934" y="2174841"/>
                  </a:lnTo>
                  <a:cubicBezTo>
                    <a:pt x="7166107" y="2115359"/>
                    <a:pt x="7178927" y="2055463"/>
                    <a:pt x="7171345" y="1996395"/>
                  </a:cubicBezTo>
                  <a:cubicBezTo>
                    <a:pt x="7157767" y="1995361"/>
                    <a:pt x="7144327" y="1994327"/>
                    <a:pt x="7130955" y="1993431"/>
                  </a:cubicBezTo>
                  <a:cubicBezTo>
                    <a:pt x="7132954" y="1997291"/>
                    <a:pt x="7136883" y="2005079"/>
                    <a:pt x="7138881" y="2008939"/>
                  </a:cubicBezTo>
                  <a:cubicBezTo>
                    <a:pt x="7136124" y="2008457"/>
                    <a:pt x="7130542" y="2007423"/>
                    <a:pt x="7127715" y="2006940"/>
                  </a:cubicBezTo>
                  <a:cubicBezTo>
                    <a:pt x="7123856" y="2009697"/>
                    <a:pt x="7116136" y="2015142"/>
                    <a:pt x="7112277" y="2017899"/>
                  </a:cubicBezTo>
                  <a:cubicBezTo>
                    <a:pt x="7115792" y="2014108"/>
                    <a:pt x="7122684" y="2006596"/>
                    <a:pt x="7126200" y="2002805"/>
                  </a:cubicBezTo>
                  <a:cubicBezTo>
                    <a:pt x="7115792" y="1979577"/>
                    <a:pt x="7105522" y="1997497"/>
                    <a:pt x="7101387" y="2012110"/>
                  </a:cubicBezTo>
                  <a:cubicBezTo>
                    <a:pt x="7105797" y="2000392"/>
                    <a:pt x="7102696" y="1992604"/>
                    <a:pt x="7092151" y="1988744"/>
                  </a:cubicBezTo>
                  <a:cubicBezTo>
                    <a:pt x="7091599" y="1992811"/>
                    <a:pt x="7090496" y="2001013"/>
                    <a:pt x="7089945" y="2005079"/>
                  </a:cubicBezTo>
                  <a:cubicBezTo>
                    <a:pt x="7089187" y="2001495"/>
                    <a:pt x="7087532" y="1994189"/>
                    <a:pt x="7086705" y="1990605"/>
                  </a:cubicBezTo>
                  <a:lnTo>
                    <a:pt x="7075677" y="1989571"/>
                  </a:lnTo>
                  <a:cubicBezTo>
                    <a:pt x="7075885" y="1993569"/>
                    <a:pt x="7076367" y="2001564"/>
                    <a:pt x="7076643" y="2005562"/>
                  </a:cubicBezTo>
                  <a:cubicBezTo>
                    <a:pt x="7072645" y="1996464"/>
                    <a:pt x="7067889" y="1987021"/>
                    <a:pt x="7069474" y="1976682"/>
                  </a:cubicBezTo>
                  <a:cubicBezTo>
                    <a:pt x="7077952" y="1831596"/>
                    <a:pt x="7088360" y="1686647"/>
                    <a:pt x="7096148" y="1541561"/>
                  </a:cubicBezTo>
                  <a:cubicBezTo>
                    <a:pt x="7092495" y="1548247"/>
                    <a:pt x="7089049" y="1555070"/>
                    <a:pt x="7085879" y="1561825"/>
                  </a:cubicBezTo>
                  <a:lnTo>
                    <a:pt x="7079813" y="1561825"/>
                  </a:lnTo>
                  <a:cubicBezTo>
                    <a:pt x="7079675" y="1551486"/>
                    <a:pt x="7079675" y="1541148"/>
                    <a:pt x="7079675" y="1530740"/>
                  </a:cubicBezTo>
                  <a:cubicBezTo>
                    <a:pt x="7085189" y="1531843"/>
                    <a:pt x="7090841" y="1532670"/>
                    <a:pt x="7096631" y="1533290"/>
                  </a:cubicBezTo>
                  <a:cubicBezTo>
                    <a:pt x="7102213" y="1468294"/>
                    <a:pt x="7104764" y="1402954"/>
                    <a:pt x="7109588" y="1337820"/>
                  </a:cubicBezTo>
                  <a:cubicBezTo>
                    <a:pt x="7100421" y="1335821"/>
                    <a:pt x="7089118" y="1338923"/>
                    <a:pt x="7083259" y="1329618"/>
                  </a:cubicBezTo>
                  <a:cubicBezTo>
                    <a:pt x="7089945" y="1329618"/>
                    <a:pt x="7103385" y="1329687"/>
                    <a:pt x="7110071" y="1329687"/>
                  </a:cubicBezTo>
                  <a:cubicBezTo>
                    <a:pt x="7116481" y="1196869"/>
                    <a:pt x="7128474" y="1064327"/>
                    <a:pt x="7133643" y="931371"/>
                  </a:cubicBezTo>
                  <a:cubicBezTo>
                    <a:pt x="7099594" y="929924"/>
                    <a:pt x="7065615" y="927167"/>
                    <a:pt x="7031566" y="925582"/>
                  </a:cubicBezTo>
                  <a:cubicBezTo>
                    <a:pt x="7020193" y="1107956"/>
                    <a:pt x="7008958" y="1290400"/>
                    <a:pt x="6997448" y="1472774"/>
                  </a:cubicBezTo>
                  <a:cubicBezTo>
                    <a:pt x="6992761" y="1526605"/>
                    <a:pt x="6995518" y="1580503"/>
                    <a:pt x="6986765" y="1633920"/>
                  </a:cubicBezTo>
                  <a:cubicBezTo>
                    <a:pt x="6994278" y="1634816"/>
                    <a:pt x="7001928" y="1635712"/>
                    <a:pt x="7009717" y="1636608"/>
                  </a:cubicBezTo>
                  <a:cubicBezTo>
                    <a:pt x="7009096" y="1641984"/>
                    <a:pt x="7007925" y="1652668"/>
                    <a:pt x="7007373" y="1657975"/>
                  </a:cubicBezTo>
                  <a:cubicBezTo>
                    <a:pt x="7001515" y="1651565"/>
                    <a:pt x="6999860" y="1631301"/>
                    <a:pt x="6987385" y="1642812"/>
                  </a:cubicBezTo>
                  <a:cubicBezTo>
                    <a:pt x="6982905" y="1690438"/>
                    <a:pt x="6981182" y="1738341"/>
                    <a:pt x="6977942" y="1786106"/>
                  </a:cubicBezTo>
                  <a:cubicBezTo>
                    <a:pt x="6983526" y="1781626"/>
                    <a:pt x="6994691" y="1772665"/>
                    <a:pt x="7000274" y="1768116"/>
                  </a:cubicBezTo>
                  <a:cubicBezTo>
                    <a:pt x="6991727" y="1783211"/>
                    <a:pt x="6977391" y="1795342"/>
                    <a:pt x="6975461" y="1813538"/>
                  </a:cubicBezTo>
                  <a:cubicBezTo>
                    <a:pt x="6981733" y="1806576"/>
                    <a:pt x="6988143" y="1799753"/>
                    <a:pt x="6994691" y="1792860"/>
                  </a:cubicBezTo>
                  <a:cubicBezTo>
                    <a:pt x="6997035" y="1797685"/>
                    <a:pt x="7001583" y="1807403"/>
                    <a:pt x="7003927" y="1812228"/>
                  </a:cubicBezTo>
                  <a:cubicBezTo>
                    <a:pt x="7001997" y="1815812"/>
                    <a:pt x="6998206" y="1822980"/>
                    <a:pt x="6996345" y="1826564"/>
                  </a:cubicBezTo>
                  <a:cubicBezTo>
                    <a:pt x="6994209" y="1832147"/>
                    <a:pt x="6989935" y="1834491"/>
                    <a:pt x="6983526" y="1833664"/>
                  </a:cubicBezTo>
                  <a:cubicBezTo>
                    <a:pt x="6981044" y="1838006"/>
                    <a:pt x="6976081" y="1846552"/>
                    <a:pt x="6973600" y="1850895"/>
                  </a:cubicBezTo>
                  <a:cubicBezTo>
                    <a:pt x="6973049" y="1894800"/>
                    <a:pt x="6967880" y="1938498"/>
                    <a:pt x="6965881" y="1982334"/>
                  </a:cubicBezTo>
                  <a:cubicBezTo>
                    <a:pt x="6947271" y="1981921"/>
                    <a:pt x="6928661" y="1980887"/>
                    <a:pt x="6910258" y="1979370"/>
                  </a:cubicBezTo>
                  <a:cubicBezTo>
                    <a:pt x="6907915" y="1992328"/>
                    <a:pt x="6905916" y="2005355"/>
                    <a:pt x="6902952" y="2018175"/>
                  </a:cubicBezTo>
                  <a:cubicBezTo>
                    <a:pt x="6899575" y="2005493"/>
                    <a:pt x="6906054" y="1989089"/>
                    <a:pt x="6894613" y="1979853"/>
                  </a:cubicBezTo>
                  <a:cubicBezTo>
                    <a:pt x="6881724" y="1977234"/>
                    <a:pt x="6868421" y="1977647"/>
                    <a:pt x="6855532" y="1977234"/>
                  </a:cubicBezTo>
                  <a:cubicBezTo>
                    <a:pt x="6854567" y="1997773"/>
                    <a:pt x="6853189" y="2018313"/>
                    <a:pt x="6851397" y="2038783"/>
                  </a:cubicBezTo>
                  <a:cubicBezTo>
                    <a:pt x="6855326" y="2044849"/>
                    <a:pt x="6857324" y="2052706"/>
                    <a:pt x="6863045" y="2057531"/>
                  </a:cubicBezTo>
                  <a:cubicBezTo>
                    <a:pt x="6865527" y="2053947"/>
                    <a:pt x="6870489" y="2046916"/>
                    <a:pt x="6872970" y="2043401"/>
                  </a:cubicBezTo>
                  <a:lnTo>
                    <a:pt x="6864286" y="2067043"/>
                  </a:lnTo>
                  <a:cubicBezTo>
                    <a:pt x="6869593" y="2064699"/>
                    <a:pt x="6880207" y="2060012"/>
                    <a:pt x="6885515" y="2057669"/>
                  </a:cubicBezTo>
                  <a:cubicBezTo>
                    <a:pt x="6879380" y="2062631"/>
                    <a:pt x="6873177" y="2067456"/>
                    <a:pt x="6867043" y="2072281"/>
                  </a:cubicBezTo>
                  <a:cubicBezTo>
                    <a:pt x="6870007" y="2081585"/>
                    <a:pt x="6872694" y="2090959"/>
                    <a:pt x="6875383" y="2100402"/>
                  </a:cubicBezTo>
                  <a:cubicBezTo>
                    <a:pt x="6867456" y="2086962"/>
                    <a:pt x="6860908" y="2072557"/>
                    <a:pt x="6850914" y="2060563"/>
                  </a:cubicBezTo>
                  <a:cubicBezTo>
                    <a:pt x="6850018" y="2095715"/>
                    <a:pt x="6845400" y="2130522"/>
                    <a:pt x="6843884" y="2165536"/>
                  </a:cubicBezTo>
                  <a:lnTo>
                    <a:pt x="6853258" y="2165260"/>
                  </a:lnTo>
                  <a:cubicBezTo>
                    <a:pt x="6856360" y="2154163"/>
                    <a:pt x="6862976" y="2144652"/>
                    <a:pt x="6869937" y="2135623"/>
                  </a:cubicBezTo>
                  <a:cubicBezTo>
                    <a:pt x="6866078" y="2145754"/>
                    <a:pt x="6861391" y="2155886"/>
                    <a:pt x="6857531" y="2165880"/>
                  </a:cubicBezTo>
                  <a:cubicBezTo>
                    <a:pt x="6931763" y="2171119"/>
                    <a:pt x="7006133" y="2174978"/>
                    <a:pt x="7080433" y="2180148"/>
                  </a:cubicBezTo>
                  <a:cubicBezTo>
                    <a:pt x="7080778" y="2175185"/>
                    <a:pt x="7081536" y="2165260"/>
                    <a:pt x="7081881" y="2160298"/>
                  </a:cubicBezTo>
                  <a:cubicBezTo>
                    <a:pt x="7082846" y="2167259"/>
                    <a:pt x="7083466" y="2174289"/>
                    <a:pt x="7083742" y="2181320"/>
                  </a:cubicBezTo>
                  <a:moveTo>
                    <a:pt x="7363645" y="1100099"/>
                  </a:moveTo>
                  <a:cubicBezTo>
                    <a:pt x="7359716" y="1088795"/>
                    <a:pt x="7363438" y="1085073"/>
                    <a:pt x="7374673" y="1088864"/>
                  </a:cubicBezTo>
                  <a:cubicBezTo>
                    <a:pt x="7378394" y="1100237"/>
                    <a:pt x="7374741" y="1103959"/>
                    <a:pt x="7363645" y="1100099"/>
                  </a:cubicBezTo>
                  <a:moveTo>
                    <a:pt x="7355649" y="1360910"/>
                  </a:moveTo>
                  <a:cubicBezTo>
                    <a:pt x="7352410" y="1350916"/>
                    <a:pt x="7355581" y="1348090"/>
                    <a:pt x="7365299" y="1352432"/>
                  </a:cubicBezTo>
                  <a:cubicBezTo>
                    <a:pt x="7368400" y="1362426"/>
                    <a:pt x="7365161" y="1365252"/>
                    <a:pt x="7355649" y="1360910"/>
                  </a:cubicBezTo>
                  <a:moveTo>
                    <a:pt x="7328562" y="1338716"/>
                  </a:moveTo>
                  <a:cubicBezTo>
                    <a:pt x="7338832" y="1340439"/>
                    <a:pt x="7346551" y="1364080"/>
                    <a:pt x="7332904" y="1367527"/>
                  </a:cubicBezTo>
                  <a:cubicBezTo>
                    <a:pt x="7321394" y="1364563"/>
                    <a:pt x="7322841" y="1346504"/>
                    <a:pt x="7328562" y="1338716"/>
                  </a:cubicBezTo>
                  <a:moveTo>
                    <a:pt x="7342692" y="1401713"/>
                  </a:moveTo>
                  <a:cubicBezTo>
                    <a:pt x="7334489" y="1401162"/>
                    <a:pt x="7328286" y="1384413"/>
                    <a:pt x="7339383" y="1383793"/>
                  </a:cubicBezTo>
                  <a:cubicBezTo>
                    <a:pt x="7347240" y="1384551"/>
                    <a:pt x="7353444" y="1401093"/>
                    <a:pt x="7342692" y="1401713"/>
                  </a:cubicBezTo>
                  <a:moveTo>
                    <a:pt x="7346069" y="1521022"/>
                  </a:moveTo>
                  <a:cubicBezTo>
                    <a:pt x="7348826" y="1503653"/>
                    <a:pt x="7339245" y="1486559"/>
                    <a:pt x="7346000" y="1469190"/>
                  </a:cubicBezTo>
                  <a:cubicBezTo>
                    <a:pt x="7344897" y="1467054"/>
                    <a:pt x="7342692" y="1462711"/>
                    <a:pt x="7341589" y="1460575"/>
                  </a:cubicBezTo>
                  <a:cubicBezTo>
                    <a:pt x="7349929" y="1459334"/>
                    <a:pt x="7358820" y="1457335"/>
                    <a:pt x="7367504" y="1458783"/>
                  </a:cubicBezTo>
                  <a:cubicBezTo>
                    <a:pt x="7361784" y="1466847"/>
                    <a:pt x="7355856" y="1474842"/>
                    <a:pt x="7349997" y="1482562"/>
                  </a:cubicBezTo>
                  <a:cubicBezTo>
                    <a:pt x="7355925" y="1487249"/>
                    <a:pt x="7361852" y="1492004"/>
                    <a:pt x="7367780" y="1496898"/>
                  </a:cubicBezTo>
                  <a:cubicBezTo>
                    <a:pt x="7360681" y="1505169"/>
                    <a:pt x="7353513" y="1513233"/>
                    <a:pt x="7346069" y="1521022"/>
                  </a:cubicBezTo>
                  <a:moveTo>
                    <a:pt x="7287690" y="1594357"/>
                  </a:moveTo>
                  <a:cubicBezTo>
                    <a:pt x="7291274" y="1590842"/>
                    <a:pt x="7291274" y="1590842"/>
                    <a:pt x="7287690" y="1594357"/>
                  </a:cubicBezTo>
                  <a:moveTo>
                    <a:pt x="7349515" y="1691127"/>
                  </a:moveTo>
                  <a:cubicBezTo>
                    <a:pt x="7353237" y="1687681"/>
                    <a:pt x="7353237" y="1687681"/>
                    <a:pt x="7349515" y="1691127"/>
                  </a:cubicBezTo>
                  <a:moveTo>
                    <a:pt x="7301130" y="1766945"/>
                  </a:moveTo>
                  <a:cubicBezTo>
                    <a:pt x="7297477" y="1757019"/>
                    <a:pt x="7300579" y="1754056"/>
                    <a:pt x="7310366" y="1757984"/>
                  </a:cubicBezTo>
                  <a:cubicBezTo>
                    <a:pt x="7313881" y="1767978"/>
                    <a:pt x="7310780" y="1770942"/>
                    <a:pt x="7301130" y="1766945"/>
                  </a:cubicBezTo>
                  <a:moveTo>
                    <a:pt x="7301130" y="1788036"/>
                  </a:moveTo>
                  <a:cubicBezTo>
                    <a:pt x="7305128" y="1784727"/>
                    <a:pt x="7305128" y="1784727"/>
                    <a:pt x="7301130" y="1788036"/>
                  </a:cubicBezTo>
                  <a:moveTo>
                    <a:pt x="7328907" y="1876535"/>
                  </a:moveTo>
                  <a:cubicBezTo>
                    <a:pt x="7322565" y="1868195"/>
                    <a:pt x="7323944" y="1863026"/>
                    <a:pt x="7333042" y="1860958"/>
                  </a:cubicBezTo>
                  <a:cubicBezTo>
                    <a:pt x="7339107" y="1869367"/>
                    <a:pt x="7337729" y="1874605"/>
                    <a:pt x="7328907" y="1876535"/>
                  </a:cubicBezTo>
                  <a:moveTo>
                    <a:pt x="7300992" y="1913134"/>
                  </a:moveTo>
                  <a:cubicBezTo>
                    <a:pt x="7297063" y="1903415"/>
                    <a:pt x="7300027" y="1900038"/>
                    <a:pt x="7309814" y="1903140"/>
                  </a:cubicBezTo>
                  <a:cubicBezTo>
                    <a:pt x="7313605" y="1912858"/>
                    <a:pt x="7310642" y="1916235"/>
                    <a:pt x="7300992" y="1913134"/>
                  </a:cubicBezTo>
                  <a:moveTo>
                    <a:pt x="7322221" y="1973856"/>
                  </a:moveTo>
                  <a:cubicBezTo>
                    <a:pt x="7325943" y="1970548"/>
                    <a:pt x="7325943" y="1970548"/>
                    <a:pt x="7322221" y="1973856"/>
                  </a:cubicBezTo>
                  <a:moveTo>
                    <a:pt x="7309401" y="2117702"/>
                  </a:moveTo>
                  <a:cubicBezTo>
                    <a:pt x="7310228" y="2112257"/>
                    <a:pt x="7311882" y="2101298"/>
                    <a:pt x="7312709" y="2095853"/>
                  </a:cubicBezTo>
                  <a:lnTo>
                    <a:pt x="7301199" y="2099161"/>
                  </a:lnTo>
                  <a:cubicBezTo>
                    <a:pt x="7306919" y="2095095"/>
                    <a:pt x="7312571" y="2090890"/>
                    <a:pt x="7318499" y="2086548"/>
                  </a:cubicBezTo>
                  <a:cubicBezTo>
                    <a:pt x="7316845" y="2098679"/>
                    <a:pt x="7322152" y="2109362"/>
                    <a:pt x="7327459" y="2119770"/>
                  </a:cubicBezTo>
                  <a:cubicBezTo>
                    <a:pt x="7322910" y="2119287"/>
                    <a:pt x="7313881" y="2118254"/>
                    <a:pt x="7309401" y="2117702"/>
                  </a:cubicBezTo>
                  <a:moveTo>
                    <a:pt x="7286311" y="2176219"/>
                  </a:moveTo>
                  <a:cubicBezTo>
                    <a:pt x="7285208" y="2166432"/>
                    <a:pt x="7289344" y="2162296"/>
                    <a:pt x="7298648" y="2163813"/>
                  </a:cubicBezTo>
                  <a:cubicBezTo>
                    <a:pt x="7299545" y="2173807"/>
                    <a:pt x="7295410" y="2177873"/>
                    <a:pt x="7286311" y="2176219"/>
                  </a:cubicBezTo>
                  <a:moveTo>
                    <a:pt x="7307264" y="2185386"/>
                  </a:moveTo>
                  <a:cubicBezTo>
                    <a:pt x="7307402" y="2174151"/>
                    <a:pt x="7307747" y="2162917"/>
                    <a:pt x="7308091" y="2151613"/>
                  </a:cubicBezTo>
                  <a:cubicBezTo>
                    <a:pt x="7314708" y="2153543"/>
                    <a:pt x="7321394" y="2155473"/>
                    <a:pt x="7328217" y="2157334"/>
                  </a:cubicBezTo>
                  <a:cubicBezTo>
                    <a:pt x="7322703" y="2166156"/>
                    <a:pt x="7317810" y="2175323"/>
                    <a:pt x="7314364" y="2185041"/>
                  </a:cubicBezTo>
                  <a:lnTo>
                    <a:pt x="7307264" y="2185386"/>
                  </a:lnTo>
                  <a:moveTo>
                    <a:pt x="7241441" y="2184008"/>
                  </a:moveTo>
                  <a:cubicBezTo>
                    <a:pt x="7240545" y="2178632"/>
                    <a:pt x="7238684" y="2167879"/>
                    <a:pt x="7237788" y="2162503"/>
                  </a:cubicBezTo>
                  <a:cubicBezTo>
                    <a:pt x="7247989" y="2163744"/>
                    <a:pt x="7258879" y="2163950"/>
                    <a:pt x="7269149" y="2166363"/>
                  </a:cubicBezTo>
                  <a:cubicBezTo>
                    <a:pt x="7270114" y="2171119"/>
                    <a:pt x="7271975" y="2180768"/>
                    <a:pt x="7272871" y="2185524"/>
                  </a:cubicBezTo>
                  <a:cubicBezTo>
                    <a:pt x="7262326" y="2185317"/>
                    <a:pt x="7251780" y="2184835"/>
                    <a:pt x="7241441" y="2184008"/>
                  </a:cubicBezTo>
                  <a:moveTo>
                    <a:pt x="7233308" y="2188488"/>
                  </a:moveTo>
                  <a:cubicBezTo>
                    <a:pt x="7263635" y="2191245"/>
                    <a:pt x="7294238" y="2196000"/>
                    <a:pt x="7324702" y="2192278"/>
                  </a:cubicBezTo>
                  <a:cubicBezTo>
                    <a:pt x="7327804" y="2193243"/>
                    <a:pt x="7334145" y="2195173"/>
                    <a:pt x="7337246" y="2196138"/>
                  </a:cubicBezTo>
                  <a:cubicBezTo>
                    <a:pt x="7339383" y="2154508"/>
                    <a:pt x="7342209" y="2112878"/>
                    <a:pt x="7345035" y="2071316"/>
                  </a:cubicBezTo>
                  <a:cubicBezTo>
                    <a:pt x="7339866" y="2073039"/>
                    <a:pt x="7329458" y="2076554"/>
                    <a:pt x="7324289" y="2078277"/>
                  </a:cubicBezTo>
                  <a:cubicBezTo>
                    <a:pt x="7329734" y="2070213"/>
                    <a:pt x="7337867" y="2064699"/>
                    <a:pt x="7345724" y="2058978"/>
                  </a:cubicBezTo>
                  <a:cubicBezTo>
                    <a:pt x="7346827" y="2041678"/>
                    <a:pt x="7347240" y="2024378"/>
                    <a:pt x="7347240" y="2007009"/>
                  </a:cubicBezTo>
                  <a:cubicBezTo>
                    <a:pt x="7341451" y="2012248"/>
                    <a:pt x="7336144" y="2017486"/>
                    <a:pt x="7330492" y="2022586"/>
                  </a:cubicBezTo>
                  <a:cubicBezTo>
                    <a:pt x="7332146" y="2012179"/>
                    <a:pt x="7336282" y="2003701"/>
                    <a:pt x="7348757" y="2005286"/>
                  </a:cubicBezTo>
                  <a:cubicBezTo>
                    <a:pt x="7349653" y="1993431"/>
                    <a:pt x="7350894" y="1981576"/>
                    <a:pt x="7352341" y="1969652"/>
                  </a:cubicBezTo>
                  <a:cubicBezTo>
                    <a:pt x="7331595" y="1950215"/>
                    <a:pt x="7296443" y="1961795"/>
                    <a:pt x="7277626" y="1937947"/>
                  </a:cubicBezTo>
                  <a:cubicBezTo>
                    <a:pt x="7288241" y="1943668"/>
                    <a:pt x="7300372" y="1945322"/>
                    <a:pt x="7311193" y="1950767"/>
                  </a:cubicBezTo>
                  <a:cubicBezTo>
                    <a:pt x="7323944" y="1947596"/>
                    <a:pt x="7334076" y="1950560"/>
                    <a:pt x="7341589" y="1959727"/>
                  </a:cubicBezTo>
                  <a:cubicBezTo>
                    <a:pt x="7346758" y="1952145"/>
                    <a:pt x="7355374" y="1945873"/>
                    <a:pt x="7353306" y="1935121"/>
                  </a:cubicBezTo>
                  <a:cubicBezTo>
                    <a:pt x="7355787" y="1899073"/>
                    <a:pt x="7357993" y="1862957"/>
                    <a:pt x="7359785" y="1826909"/>
                  </a:cubicBezTo>
                  <a:lnTo>
                    <a:pt x="7355719" y="1822429"/>
                  </a:lnTo>
                  <a:cubicBezTo>
                    <a:pt x="7352617" y="1824083"/>
                    <a:pt x="7346414" y="1827254"/>
                    <a:pt x="7343312" y="1828839"/>
                  </a:cubicBezTo>
                  <a:cubicBezTo>
                    <a:pt x="7346482" y="1815330"/>
                    <a:pt x="7341244" y="1811194"/>
                    <a:pt x="7327597" y="1816570"/>
                  </a:cubicBezTo>
                  <a:cubicBezTo>
                    <a:pt x="7311951" y="1806783"/>
                    <a:pt x="7320291" y="1792791"/>
                    <a:pt x="7326081" y="1779765"/>
                  </a:cubicBezTo>
                  <a:cubicBezTo>
                    <a:pt x="7328286" y="1775422"/>
                    <a:pt x="7332766" y="1766738"/>
                    <a:pt x="7334972" y="1762396"/>
                  </a:cubicBezTo>
                  <a:cubicBezTo>
                    <a:pt x="7336557" y="1772252"/>
                    <a:pt x="7327597" y="1780040"/>
                    <a:pt x="7328217" y="1789828"/>
                  </a:cubicBezTo>
                  <a:cubicBezTo>
                    <a:pt x="7326494" y="1803337"/>
                    <a:pt x="7339659" y="1820223"/>
                    <a:pt x="7353995" y="1810919"/>
                  </a:cubicBezTo>
                  <a:cubicBezTo>
                    <a:pt x="7366126" y="1797547"/>
                    <a:pt x="7361095" y="1776801"/>
                    <a:pt x="7364334" y="1760121"/>
                  </a:cubicBezTo>
                  <a:cubicBezTo>
                    <a:pt x="7361508" y="1758881"/>
                    <a:pt x="7355719" y="1756330"/>
                    <a:pt x="7352892" y="1755021"/>
                  </a:cubicBezTo>
                  <a:cubicBezTo>
                    <a:pt x="7351720" y="1750954"/>
                    <a:pt x="7350687" y="1746750"/>
                    <a:pt x="7349722" y="1742614"/>
                  </a:cubicBezTo>
                  <a:cubicBezTo>
                    <a:pt x="7353237" y="1745991"/>
                    <a:pt x="7360267" y="1752746"/>
                    <a:pt x="7363714" y="1756193"/>
                  </a:cubicBezTo>
                  <a:cubicBezTo>
                    <a:pt x="7368745" y="1698503"/>
                    <a:pt x="7371364" y="1640744"/>
                    <a:pt x="7375569" y="1582985"/>
                  </a:cubicBezTo>
                  <a:cubicBezTo>
                    <a:pt x="7375913" y="1570165"/>
                    <a:pt x="7378877" y="1556380"/>
                    <a:pt x="7372398" y="1544456"/>
                  </a:cubicBezTo>
                  <a:cubicBezTo>
                    <a:pt x="7373984" y="1542526"/>
                    <a:pt x="7377085" y="1538597"/>
                    <a:pt x="7378670" y="1536668"/>
                  </a:cubicBezTo>
                  <a:cubicBezTo>
                    <a:pt x="7379979" y="1501378"/>
                    <a:pt x="7383219" y="1466227"/>
                    <a:pt x="7384391" y="1430937"/>
                  </a:cubicBezTo>
                  <a:cubicBezTo>
                    <a:pt x="7378464" y="1431902"/>
                    <a:pt x="7372674" y="1432798"/>
                    <a:pt x="7366953" y="1433694"/>
                  </a:cubicBezTo>
                  <a:cubicBezTo>
                    <a:pt x="7366884" y="1431144"/>
                    <a:pt x="7366815" y="1425906"/>
                    <a:pt x="7366747" y="1423286"/>
                  </a:cubicBezTo>
                  <a:cubicBezTo>
                    <a:pt x="7379566" y="1423907"/>
                    <a:pt x="7389492" y="1420943"/>
                    <a:pt x="7387424" y="1405435"/>
                  </a:cubicBezTo>
                  <a:cubicBezTo>
                    <a:pt x="7380462" y="1404539"/>
                    <a:pt x="7366471" y="1402678"/>
                    <a:pt x="7359509" y="1401782"/>
                  </a:cubicBezTo>
                  <a:cubicBezTo>
                    <a:pt x="7364058" y="1388342"/>
                    <a:pt x="7377636" y="1395854"/>
                    <a:pt x="7387769" y="1395441"/>
                  </a:cubicBezTo>
                  <a:cubicBezTo>
                    <a:pt x="7395419" y="1246564"/>
                    <a:pt x="7406378" y="1097893"/>
                    <a:pt x="7414924" y="949016"/>
                  </a:cubicBezTo>
                  <a:cubicBezTo>
                    <a:pt x="7401829" y="948465"/>
                    <a:pt x="7388940" y="947913"/>
                    <a:pt x="7376051" y="947362"/>
                  </a:cubicBezTo>
                  <a:cubicBezTo>
                    <a:pt x="7377498" y="953427"/>
                    <a:pt x="7380324" y="965420"/>
                    <a:pt x="7381772" y="971486"/>
                  </a:cubicBezTo>
                  <a:cubicBezTo>
                    <a:pt x="7384942" y="969625"/>
                    <a:pt x="7391283" y="965903"/>
                    <a:pt x="7394454" y="964042"/>
                  </a:cubicBezTo>
                  <a:cubicBezTo>
                    <a:pt x="7389009" y="988786"/>
                    <a:pt x="7399623" y="1018768"/>
                    <a:pt x="7384253" y="1040410"/>
                  </a:cubicBezTo>
                  <a:cubicBezTo>
                    <a:pt x="7383978" y="1028486"/>
                    <a:pt x="7384942" y="1016700"/>
                    <a:pt x="7387286" y="1004983"/>
                  </a:cubicBezTo>
                  <a:lnTo>
                    <a:pt x="7376120" y="1004845"/>
                  </a:lnTo>
                  <a:cubicBezTo>
                    <a:pt x="7379084" y="1004225"/>
                    <a:pt x="7385012" y="1002915"/>
                    <a:pt x="7387975" y="1002295"/>
                  </a:cubicBezTo>
                  <a:cubicBezTo>
                    <a:pt x="7387699" y="995885"/>
                    <a:pt x="7387010" y="983203"/>
                    <a:pt x="7386735" y="976793"/>
                  </a:cubicBezTo>
                  <a:cubicBezTo>
                    <a:pt x="7383012" y="977620"/>
                    <a:pt x="7375499" y="979343"/>
                    <a:pt x="7371778" y="980170"/>
                  </a:cubicBezTo>
                  <a:cubicBezTo>
                    <a:pt x="7369985" y="977000"/>
                    <a:pt x="7366471" y="970658"/>
                    <a:pt x="7364679" y="967488"/>
                  </a:cubicBezTo>
                  <a:cubicBezTo>
                    <a:pt x="7364541" y="962457"/>
                    <a:pt x="7364334" y="952393"/>
                    <a:pt x="7364196" y="947362"/>
                  </a:cubicBezTo>
                  <a:cubicBezTo>
                    <a:pt x="7358889" y="946397"/>
                    <a:pt x="7348206" y="944467"/>
                    <a:pt x="7342830" y="943571"/>
                  </a:cubicBezTo>
                  <a:cubicBezTo>
                    <a:pt x="7340624" y="950188"/>
                    <a:pt x="7338349" y="956805"/>
                    <a:pt x="7336006" y="963284"/>
                  </a:cubicBezTo>
                  <a:cubicBezTo>
                    <a:pt x="7335523" y="954944"/>
                    <a:pt x="7335248" y="946466"/>
                    <a:pt x="7335248" y="938057"/>
                  </a:cubicBezTo>
                  <a:cubicBezTo>
                    <a:pt x="7324082" y="941366"/>
                    <a:pt x="7315190" y="947362"/>
                    <a:pt x="7308574" y="956046"/>
                  </a:cubicBezTo>
                  <a:cubicBezTo>
                    <a:pt x="7313812" y="956736"/>
                    <a:pt x="7324358" y="958114"/>
                    <a:pt x="7329665" y="958803"/>
                  </a:cubicBezTo>
                  <a:cubicBezTo>
                    <a:pt x="7318292" y="969349"/>
                    <a:pt x="7306161" y="979963"/>
                    <a:pt x="7306782" y="997057"/>
                  </a:cubicBezTo>
                  <a:cubicBezTo>
                    <a:pt x="7318844" y="999055"/>
                    <a:pt x="7327597" y="995058"/>
                    <a:pt x="7332904" y="985133"/>
                  </a:cubicBezTo>
                  <a:cubicBezTo>
                    <a:pt x="7332215" y="988579"/>
                    <a:pt x="7330836" y="995334"/>
                    <a:pt x="7330147" y="998711"/>
                  </a:cubicBezTo>
                  <a:cubicBezTo>
                    <a:pt x="7324978" y="998573"/>
                    <a:pt x="7314501" y="998159"/>
                    <a:pt x="7309332" y="998022"/>
                  </a:cubicBezTo>
                  <a:cubicBezTo>
                    <a:pt x="7306989" y="1025867"/>
                    <a:pt x="7303680" y="1053782"/>
                    <a:pt x="7303611" y="1081765"/>
                  </a:cubicBezTo>
                  <a:cubicBezTo>
                    <a:pt x="7305266" y="1083557"/>
                    <a:pt x="7308574" y="1087141"/>
                    <a:pt x="7310297" y="1088933"/>
                  </a:cubicBezTo>
                  <a:cubicBezTo>
                    <a:pt x="7292032" y="1096101"/>
                    <a:pt x="7305266" y="1115262"/>
                    <a:pt x="7318292" y="1118640"/>
                  </a:cubicBezTo>
                  <a:cubicBezTo>
                    <a:pt x="7313812" y="1120156"/>
                    <a:pt x="7304852" y="1123327"/>
                    <a:pt x="7300372" y="1124843"/>
                  </a:cubicBezTo>
                  <a:cubicBezTo>
                    <a:pt x="7307333" y="1127186"/>
                    <a:pt x="7321256" y="1131735"/>
                    <a:pt x="7328217" y="1134010"/>
                  </a:cubicBezTo>
                  <a:cubicBezTo>
                    <a:pt x="7315466" y="1146416"/>
                    <a:pt x="7323944" y="1171160"/>
                    <a:pt x="7306575" y="1178259"/>
                  </a:cubicBezTo>
                  <a:cubicBezTo>
                    <a:pt x="7310297" y="1166611"/>
                    <a:pt x="7314846" y="1155445"/>
                    <a:pt x="7319602" y="1144073"/>
                  </a:cubicBezTo>
                  <a:cubicBezTo>
                    <a:pt x="7313743" y="1138421"/>
                    <a:pt x="7307816" y="1132769"/>
                    <a:pt x="7301888" y="1127324"/>
                  </a:cubicBezTo>
                  <a:cubicBezTo>
                    <a:pt x="7294238" y="1193078"/>
                    <a:pt x="7293134" y="1259522"/>
                    <a:pt x="7287690" y="1325551"/>
                  </a:cubicBezTo>
                  <a:lnTo>
                    <a:pt x="7292515" y="1328722"/>
                  </a:lnTo>
                  <a:cubicBezTo>
                    <a:pt x="7296857" y="1329549"/>
                    <a:pt x="7305610" y="1331203"/>
                    <a:pt x="7309952" y="1332030"/>
                  </a:cubicBezTo>
                  <a:cubicBezTo>
                    <a:pt x="7307195" y="1342369"/>
                    <a:pt x="7304852" y="1352846"/>
                    <a:pt x="7302577" y="1363253"/>
                  </a:cubicBezTo>
                  <a:cubicBezTo>
                    <a:pt x="7303818" y="1352639"/>
                    <a:pt x="7300441" y="1344919"/>
                    <a:pt x="7292445" y="1340094"/>
                  </a:cubicBezTo>
                  <a:cubicBezTo>
                    <a:pt x="7290791" y="1341335"/>
                    <a:pt x="7287483" y="1343885"/>
                    <a:pt x="7285829" y="1345126"/>
                  </a:cubicBezTo>
                  <a:cubicBezTo>
                    <a:pt x="7282796" y="1421770"/>
                    <a:pt x="7276937" y="1498207"/>
                    <a:pt x="7271975" y="1574714"/>
                  </a:cubicBezTo>
                  <a:cubicBezTo>
                    <a:pt x="7277145" y="1572853"/>
                    <a:pt x="7287483" y="1569200"/>
                    <a:pt x="7292721" y="1567339"/>
                  </a:cubicBezTo>
                  <a:cubicBezTo>
                    <a:pt x="7283899" y="1575679"/>
                    <a:pt x="7269907" y="1582916"/>
                    <a:pt x="7271010" y="1596908"/>
                  </a:cubicBezTo>
                  <a:cubicBezTo>
                    <a:pt x="7263152" y="1716561"/>
                    <a:pt x="7256467" y="1836352"/>
                    <a:pt x="7248265" y="1956005"/>
                  </a:cubicBezTo>
                  <a:cubicBezTo>
                    <a:pt x="7248471" y="1966895"/>
                    <a:pt x="7244267" y="1979715"/>
                    <a:pt x="7251366" y="1989295"/>
                  </a:cubicBezTo>
                  <a:cubicBezTo>
                    <a:pt x="7252332" y="1990536"/>
                    <a:pt x="7254261" y="1993086"/>
                    <a:pt x="7255226" y="1994327"/>
                  </a:cubicBezTo>
                  <a:lnTo>
                    <a:pt x="7251987" y="1996601"/>
                  </a:lnTo>
                  <a:cubicBezTo>
                    <a:pt x="7242820" y="2002529"/>
                    <a:pt x="7245714" y="2015004"/>
                    <a:pt x="7244267" y="2024033"/>
                  </a:cubicBezTo>
                  <a:cubicBezTo>
                    <a:pt x="7240200" y="2078828"/>
                    <a:pt x="7238615" y="2133831"/>
                    <a:pt x="7233308" y="2188488"/>
                  </a:cubicBezTo>
                  <a:moveTo>
                    <a:pt x="29374" y="1709668"/>
                  </a:moveTo>
                  <a:cubicBezTo>
                    <a:pt x="29170" y="1705395"/>
                    <a:pt x="28685" y="1696848"/>
                    <a:pt x="28481" y="1692575"/>
                  </a:cubicBezTo>
                  <a:cubicBezTo>
                    <a:pt x="33372" y="1699123"/>
                    <a:pt x="38267" y="1705533"/>
                    <a:pt x="43369" y="1711805"/>
                  </a:cubicBezTo>
                  <a:cubicBezTo>
                    <a:pt x="58877" y="1702431"/>
                    <a:pt x="60186" y="1715940"/>
                    <a:pt x="62665" y="1726762"/>
                  </a:cubicBezTo>
                  <a:cubicBezTo>
                    <a:pt x="53980" y="1717181"/>
                    <a:pt x="42747" y="1709668"/>
                    <a:pt x="29374" y="1709668"/>
                  </a:cubicBezTo>
                  <a:moveTo>
                    <a:pt x="58048" y="1813813"/>
                  </a:moveTo>
                  <a:cubicBezTo>
                    <a:pt x="53638" y="1805680"/>
                    <a:pt x="64461" y="1792309"/>
                    <a:pt x="72867" y="1799822"/>
                  </a:cubicBezTo>
                  <a:cubicBezTo>
                    <a:pt x="81482" y="1808506"/>
                    <a:pt x="65770" y="1818914"/>
                    <a:pt x="58048" y="1813813"/>
                  </a:cubicBezTo>
                  <a:moveTo>
                    <a:pt x="86377" y="1810298"/>
                  </a:moveTo>
                  <a:lnTo>
                    <a:pt x="83824" y="1805336"/>
                  </a:lnTo>
                  <a:cubicBezTo>
                    <a:pt x="95404" y="1802785"/>
                    <a:pt x="108226" y="1799684"/>
                    <a:pt x="117531" y="1809402"/>
                  </a:cubicBezTo>
                  <a:cubicBezTo>
                    <a:pt x="113669" y="1818776"/>
                    <a:pt x="110156" y="1828287"/>
                    <a:pt x="106914" y="1837799"/>
                  </a:cubicBezTo>
                  <a:cubicBezTo>
                    <a:pt x="106021" y="1833457"/>
                    <a:pt x="104365" y="1824841"/>
                    <a:pt x="103468" y="1820499"/>
                  </a:cubicBezTo>
                  <a:cubicBezTo>
                    <a:pt x="100711" y="1822911"/>
                    <a:pt x="95267" y="1827736"/>
                    <a:pt x="92578" y="1830149"/>
                  </a:cubicBezTo>
                  <a:cubicBezTo>
                    <a:pt x="91684" y="1832975"/>
                    <a:pt x="89961" y="1838626"/>
                    <a:pt x="89132" y="1841452"/>
                  </a:cubicBezTo>
                  <a:cubicBezTo>
                    <a:pt x="74727" y="1844829"/>
                    <a:pt x="75072" y="1814503"/>
                    <a:pt x="86377" y="1810298"/>
                  </a:cubicBezTo>
                  <a:moveTo>
                    <a:pt x="56944" y="1973512"/>
                  </a:moveTo>
                  <a:cubicBezTo>
                    <a:pt x="51570" y="1965310"/>
                    <a:pt x="65078" y="1955316"/>
                    <a:pt x="71900" y="1961864"/>
                  </a:cubicBezTo>
                  <a:cubicBezTo>
                    <a:pt x="76587" y="1969721"/>
                    <a:pt x="63425" y="1978750"/>
                    <a:pt x="56944" y="1973512"/>
                  </a:cubicBezTo>
                  <a:moveTo>
                    <a:pt x="64870" y="1994327"/>
                  </a:moveTo>
                  <a:cubicBezTo>
                    <a:pt x="68731" y="1990743"/>
                    <a:pt x="68731" y="1990743"/>
                    <a:pt x="64870" y="1994327"/>
                  </a:cubicBezTo>
                  <a:moveTo>
                    <a:pt x="29584" y="2035544"/>
                  </a:moveTo>
                  <a:cubicBezTo>
                    <a:pt x="23653" y="2026790"/>
                    <a:pt x="24961" y="2021276"/>
                    <a:pt x="33577" y="2019002"/>
                  </a:cubicBezTo>
                  <a:cubicBezTo>
                    <a:pt x="39438" y="2027756"/>
                    <a:pt x="38130" y="2033270"/>
                    <a:pt x="29584" y="2035544"/>
                  </a:cubicBezTo>
                  <a:moveTo>
                    <a:pt x="33717" y="2044642"/>
                  </a:moveTo>
                  <a:cubicBezTo>
                    <a:pt x="42540" y="2043953"/>
                    <a:pt x="56669" y="2034717"/>
                    <a:pt x="55221" y="2053602"/>
                  </a:cubicBezTo>
                  <a:cubicBezTo>
                    <a:pt x="72934" y="2039059"/>
                    <a:pt x="67145" y="2013074"/>
                    <a:pt x="80656" y="1996326"/>
                  </a:cubicBezTo>
                  <a:cubicBezTo>
                    <a:pt x="78036" y="2017417"/>
                    <a:pt x="69902" y="2037336"/>
                    <a:pt x="65632" y="2058082"/>
                  </a:cubicBezTo>
                  <a:cubicBezTo>
                    <a:pt x="55977" y="2069800"/>
                    <a:pt x="43711" y="2048640"/>
                    <a:pt x="33717" y="2044642"/>
                  </a:cubicBezTo>
                  <a:moveTo>
                    <a:pt x="48606" y="2146582"/>
                  </a:moveTo>
                  <a:cubicBezTo>
                    <a:pt x="55636" y="2167879"/>
                    <a:pt x="54946" y="2195035"/>
                    <a:pt x="79140" y="2204961"/>
                  </a:cubicBezTo>
                  <a:lnTo>
                    <a:pt x="77347" y="2194760"/>
                  </a:lnTo>
                  <a:cubicBezTo>
                    <a:pt x="76313" y="2193106"/>
                    <a:pt x="74248" y="2189866"/>
                    <a:pt x="73209" y="2188281"/>
                  </a:cubicBezTo>
                  <a:cubicBezTo>
                    <a:pt x="70869" y="2185869"/>
                    <a:pt x="66316" y="2181113"/>
                    <a:pt x="64046" y="2178701"/>
                  </a:cubicBezTo>
                  <a:cubicBezTo>
                    <a:pt x="67765" y="2166432"/>
                    <a:pt x="75072" y="2155817"/>
                    <a:pt x="80863" y="2144514"/>
                  </a:cubicBezTo>
                  <a:cubicBezTo>
                    <a:pt x="83824" y="2132383"/>
                    <a:pt x="79485" y="2119908"/>
                    <a:pt x="78451" y="2107777"/>
                  </a:cubicBezTo>
                  <a:cubicBezTo>
                    <a:pt x="71076" y="2106398"/>
                    <a:pt x="61771" y="2123009"/>
                    <a:pt x="54123" y="2115359"/>
                  </a:cubicBezTo>
                  <a:cubicBezTo>
                    <a:pt x="46263" y="2109431"/>
                    <a:pt x="40747" y="2100816"/>
                    <a:pt x="37648" y="2091511"/>
                  </a:cubicBezTo>
                  <a:lnTo>
                    <a:pt x="29999" y="2091442"/>
                  </a:lnTo>
                  <a:cubicBezTo>
                    <a:pt x="30960" y="2088891"/>
                    <a:pt x="32820" y="2083653"/>
                    <a:pt x="33717" y="2081034"/>
                  </a:cubicBezTo>
                  <a:cubicBezTo>
                    <a:pt x="31649" y="2073039"/>
                    <a:pt x="27447" y="2064837"/>
                    <a:pt x="31580" y="2056635"/>
                  </a:cubicBezTo>
                  <a:cubicBezTo>
                    <a:pt x="33924" y="2065388"/>
                    <a:pt x="36062" y="2074142"/>
                    <a:pt x="37923" y="2082964"/>
                  </a:cubicBezTo>
                  <a:cubicBezTo>
                    <a:pt x="46538" y="2089994"/>
                    <a:pt x="57426" y="2095233"/>
                    <a:pt x="62186" y="2105985"/>
                  </a:cubicBezTo>
                  <a:cubicBezTo>
                    <a:pt x="77139" y="2110603"/>
                    <a:pt x="80793" y="2091717"/>
                    <a:pt x="74316" y="2082964"/>
                  </a:cubicBezTo>
                  <a:cubicBezTo>
                    <a:pt x="79070" y="2075107"/>
                    <a:pt x="82449" y="2066629"/>
                    <a:pt x="82379" y="2057186"/>
                  </a:cubicBezTo>
                  <a:cubicBezTo>
                    <a:pt x="85343" y="2049949"/>
                    <a:pt x="86170" y="2042298"/>
                    <a:pt x="84791" y="2034372"/>
                  </a:cubicBezTo>
                  <a:cubicBezTo>
                    <a:pt x="90372" y="2034579"/>
                    <a:pt x="95957" y="2034717"/>
                    <a:pt x="101541" y="2034786"/>
                  </a:cubicBezTo>
                  <a:lnTo>
                    <a:pt x="97887" y="2045814"/>
                  </a:lnTo>
                  <a:cubicBezTo>
                    <a:pt x="103746" y="2042643"/>
                    <a:pt x="115463" y="2036371"/>
                    <a:pt x="121324" y="2033270"/>
                  </a:cubicBezTo>
                  <a:cubicBezTo>
                    <a:pt x="119665" y="2025963"/>
                    <a:pt x="105538" y="2015280"/>
                    <a:pt x="120148" y="2011214"/>
                  </a:cubicBezTo>
                  <a:cubicBezTo>
                    <a:pt x="120699" y="2004252"/>
                    <a:pt x="121871" y="1990329"/>
                    <a:pt x="122495" y="1983368"/>
                  </a:cubicBezTo>
                  <a:cubicBezTo>
                    <a:pt x="115603" y="1984540"/>
                    <a:pt x="101818" y="1986814"/>
                    <a:pt x="94925" y="1987986"/>
                  </a:cubicBezTo>
                  <a:cubicBezTo>
                    <a:pt x="101333" y="1984471"/>
                    <a:pt x="107881" y="1981093"/>
                    <a:pt x="114496" y="1977923"/>
                  </a:cubicBezTo>
                  <a:cubicBezTo>
                    <a:pt x="112084" y="1974890"/>
                    <a:pt x="107262" y="1968825"/>
                    <a:pt x="104849" y="1965861"/>
                  </a:cubicBezTo>
                  <a:cubicBezTo>
                    <a:pt x="98299" y="1965999"/>
                    <a:pt x="91753" y="1966275"/>
                    <a:pt x="85270" y="1966688"/>
                  </a:cubicBezTo>
                  <a:cubicBezTo>
                    <a:pt x="103883" y="1960554"/>
                    <a:pt x="85618" y="1940497"/>
                    <a:pt x="84861" y="1928090"/>
                  </a:cubicBezTo>
                  <a:cubicBezTo>
                    <a:pt x="90030" y="1939187"/>
                    <a:pt x="95404" y="1950146"/>
                    <a:pt x="101608" y="1960761"/>
                  </a:cubicBezTo>
                  <a:cubicBezTo>
                    <a:pt x="104298" y="1950146"/>
                    <a:pt x="106987" y="1939463"/>
                    <a:pt x="109534" y="1928849"/>
                  </a:cubicBezTo>
                  <a:cubicBezTo>
                    <a:pt x="114774" y="1930916"/>
                    <a:pt x="119943" y="1932984"/>
                    <a:pt x="125179" y="1935052"/>
                  </a:cubicBezTo>
                  <a:cubicBezTo>
                    <a:pt x="127939" y="1864749"/>
                    <a:pt x="133795" y="1794721"/>
                    <a:pt x="137726" y="1724487"/>
                  </a:cubicBezTo>
                  <a:lnTo>
                    <a:pt x="128144" y="1724280"/>
                  </a:lnTo>
                  <a:cubicBezTo>
                    <a:pt x="128625" y="1728140"/>
                    <a:pt x="129455" y="1735928"/>
                    <a:pt x="129934" y="1739788"/>
                  </a:cubicBezTo>
                  <a:lnTo>
                    <a:pt x="119458" y="1738685"/>
                  </a:lnTo>
                  <a:cubicBezTo>
                    <a:pt x="120357" y="1744544"/>
                    <a:pt x="122218" y="1756193"/>
                    <a:pt x="123111" y="1762051"/>
                  </a:cubicBezTo>
                  <a:cubicBezTo>
                    <a:pt x="120148" y="1758536"/>
                    <a:pt x="114222" y="1751436"/>
                    <a:pt x="111257" y="1747853"/>
                  </a:cubicBezTo>
                  <a:cubicBezTo>
                    <a:pt x="110912" y="1752608"/>
                    <a:pt x="110156" y="1762051"/>
                    <a:pt x="109741" y="1766738"/>
                  </a:cubicBezTo>
                  <a:cubicBezTo>
                    <a:pt x="105948" y="1767151"/>
                    <a:pt x="98232" y="1768047"/>
                    <a:pt x="94441" y="1768461"/>
                  </a:cubicBezTo>
                  <a:cubicBezTo>
                    <a:pt x="83343" y="1777972"/>
                    <a:pt x="111117" y="1778455"/>
                    <a:pt x="116564" y="1781557"/>
                  </a:cubicBezTo>
                  <a:cubicBezTo>
                    <a:pt x="118083" y="1778110"/>
                    <a:pt x="121182" y="1771287"/>
                    <a:pt x="122770" y="1767841"/>
                  </a:cubicBezTo>
                  <a:cubicBezTo>
                    <a:pt x="121388" y="1779834"/>
                    <a:pt x="120148" y="1791757"/>
                    <a:pt x="119254" y="1803682"/>
                  </a:cubicBezTo>
                  <a:cubicBezTo>
                    <a:pt x="118150" y="1798650"/>
                    <a:pt x="115877" y="1788518"/>
                    <a:pt x="114774" y="1783486"/>
                  </a:cubicBezTo>
                  <a:cubicBezTo>
                    <a:pt x="98439" y="1791964"/>
                    <a:pt x="81757" y="1788932"/>
                    <a:pt x="69631" y="1775560"/>
                  </a:cubicBezTo>
                  <a:cubicBezTo>
                    <a:pt x="81278" y="1768047"/>
                    <a:pt x="93959" y="1762464"/>
                    <a:pt x="106847" y="1757364"/>
                  </a:cubicBezTo>
                  <a:cubicBezTo>
                    <a:pt x="105264" y="1750334"/>
                    <a:pt x="102160" y="1736204"/>
                    <a:pt x="100574" y="1729105"/>
                  </a:cubicBezTo>
                  <a:cubicBezTo>
                    <a:pt x="92031" y="1732414"/>
                    <a:pt x="83410" y="1735515"/>
                    <a:pt x="74864" y="1738617"/>
                  </a:cubicBezTo>
                  <a:cubicBezTo>
                    <a:pt x="79622" y="1733516"/>
                    <a:pt x="84376" y="1728347"/>
                    <a:pt x="89201" y="1723246"/>
                  </a:cubicBezTo>
                  <a:cubicBezTo>
                    <a:pt x="86310" y="1713528"/>
                    <a:pt x="83480" y="1703810"/>
                    <a:pt x="80656" y="1694022"/>
                  </a:cubicBezTo>
                  <a:cubicBezTo>
                    <a:pt x="65493" y="1686992"/>
                    <a:pt x="49362" y="1682443"/>
                    <a:pt x="32546" y="1682925"/>
                  </a:cubicBezTo>
                  <a:cubicBezTo>
                    <a:pt x="31994" y="1670312"/>
                    <a:pt x="39509" y="1653081"/>
                    <a:pt x="26132" y="1644879"/>
                  </a:cubicBezTo>
                  <a:cubicBezTo>
                    <a:pt x="20554" y="1663282"/>
                    <a:pt x="17522" y="1682236"/>
                    <a:pt x="15107" y="1701259"/>
                  </a:cubicBezTo>
                  <a:cubicBezTo>
                    <a:pt x="14418" y="1707394"/>
                    <a:pt x="12973" y="1719662"/>
                    <a:pt x="12283" y="1725797"/>
                  </a:cubicBezTo>
                  <a:cubicBezTo>
                    <a:pt x="16486" y="1725038"/>
                    <a:pt x="24894" y="1723522"/>
                    <a:pt x="29100" y="1722764"/>
                  </a:cubicBezTo>
                  <a:cubicBezTo>
                    <a:pt x="25861" y="1724074"/>
                    <a:pt x="19383" y="1726555"/>
                    <a:pt x="16209" y="1727864"/>
                  </a:cubicBezTo>
                  <a:cubicBezTo>
                    <a:pt x="13592" y="1742614"/>
                    <a:pt x="5598" y="1760948"/>
                    <a:pt x="20207" y="1772045"/>
                  </a:cubicBezTo>
                  <a:cubicBezTo>
                    <a:pt x="28133" y="1767978"/>
                    <a:pt x="36749" y="1765566"/>
                    <a:pt x="45712" y="1764601"/>
                  </a:cubicBezTo>
                  <a:cubicBezTo>
                    <a:pt x="48261" y="1773699"/>
                    <a:pt x="50881" y="1782797"/>
                    <a:pt x="53498" y="1791826"/>
                  </a:cubicBezTo>
                  <a:cubicBezTo>
                    <a:pt x="46054" y="1783762"/>
                    <a:pt x="40265" y="1769357"/>
                    <a:pt x="27032" y="1771632"/>
                  </a:cubicBezTo>
                  <a:cubicBezTo>
                    <a:pt x="18624" y="1777697"/>
                    <a:pt x="7251" y="1784589"/>
                    <a:pt x="8770" y="1796720"/>
                  </a:cubicBezTo>
                  <a:cubicBezTo>
                    <a:pt x="3390" y="1867712"/>
                    <a:pt x="1393" y="1938911"/>
                    <a:pt x="-5570" y="2009835"/>
                  </a:cubicBezTo>
                  <a:lnTo>
                    <a:pt x="7526" y="2005148"/>
                  </a:lnTo>
                  <a:lnTo>
                    <a:pt x="7321" y="2011558"/>
                  </a:lnTo>
                  <a:cubicBezTo>
                    <a:pt x="4079" y="2011558"/>
                    <a:pt x="-2469" y="2011558"/>
                    <a:pt x="-5707" y="2011558"/>
                  </a:cubicBezTo>
                  <a:cubicBezTo>
                    <a:pt x="-4536" y="2061184"/>
                    <a:pt x="3185" y="2111706"/>
                    <a:pt x="31030" y="2154025"/>
                  </a:cubicBezTo>
                  <a:cubicBezTo>
                    <a:pt x="45712" y="2155611"/>
                    <a:pt x="47294" y="2133417"/>
                    <a:pt x="62870" y="2137552"/>
                  </a:cubicBezTo>
                  <a:cubicBezTo>
                    <a:pt x="58185" y="2140723"/>
                    <a:pt x="53431" y="2143687"/>
                    <a:pt x="48606" y="2146582"/>
                  </a:cubicBezTo>
                  <a:moveTo>
                    <a:pt x="7554979" y="987614"/>
                  </a:moveTo>
                  <a:cubicBezTo>
                    <a:pt x="7544847" y="966730"/>
                    <a:pt x="7577725" y="987200"/>
                    <a:pt x="7554979" y="987614"/>
                  </a:cubicBezTo>
                  <a:moveTo>
                    <a:pt x="7516658" y="961836"/>
                  </a:moveTo>
                  <a:cubicBezTo>
                    <a:pt x="7518243" y="973829"/>
                    <a:pt x="7519828" y="985753"/>
                    <a:pt x="7522516" y="997539"/>
                  </a:cubicBezTo>
                  <a:lnTo>
                    <a:pt x="7517347" y="992852"/>
                  </a:lnTo>
                  <a:cubicBezTo>
                    <a:pt x="7516726" y="999538"/>
                    <a:pt x="7515554" y="1012840"/>
                    <a:pt x="7514934" y="1019457"/>
                  </a:cubicBezTo>
                  <a:cubicBezTo>
                    <a:pt x="7504182" y="1001261"/>
                    <a:pt x="7514520" y="980722"/>
                    <a:pt x="7516658" y="961836"/>
                  </a:cubicBezTo>
                  <a:moveTo>
                    <a:pt x="7534853" y="1040686"/>
                  </a:moveTo>
                  <a:cubicBezTo>
                    <a:pt x="7535060" y="1031243"/>
                    <a:pt x="7535336" y="1021732"/>
                    <a:pt x="7535749" y="1012220"/>
                  </a:cubicBezTo>
                  <a:cubicBezTo>
                    <a:pt x="7538920" y="1015390"/>
                    <a:pt x="7545261" y="1021663"/>
                    <a:pt x="7548432" y="1024833"/>
                  </a:cubicBezTo>
                  <a:cubicBezTo>
                    <a:pt x="7550844" y="1019802"/>
                    <a:pt x="7555807" y="1009808"/>
                    <a:pt x="7558219" y="1004776"/>
                  </a:cubicBezTo>
                  <a:cubicBezTo>
                    <a:pt x="7559184" y="1016218"/>
                    <a:pt x="7560217" y="1027590"/>
                    <a:pt x="7561596" y="1038894"/>
                  </a:cubicBezTo>
                  <a:cubicBezTo>
                    <a:pt x="7552567" y="1039514"/>
                    <a:pt x="7543675" y="1040135"/>
                    <a:pt x="7534853" y="1040686"/>
                  </a:cubicBezTo>
                  <a:moveTo>
                    <a:pt x="7543745" y="1107129"/>
                  </a:moveTo>
                  <a:cubicBezTo>
                    <a:pt x="7540712" y="1097618"/>
                    <a:pt x="7544020" y="1093965"/>
                    <a:pt x="7553739" y="1096170"/>
                  </a:cubicBezTo>
                  <a:cubicBezTo>
                    <a:pt x="7556634" y="1105820"/>
                    <a:pt x="7553325" y="1109473"/>
                    <a:pt x="7543745" y="1107129"/>
                  </a:cubicBezTo>
                  <a:moveTo>
                    <a:pt x="7514934" y="1256420"/>
                  </a:moveTo>
                  <a:cubicBezTo>
                    <a:pt x="7507421" y="1250217"/>
                    <a:pt x="7515141" y="1232021"/>
                    <a:pt x="7524997" y="1239602"/>
                  </a:cubicBezTo>
                  <a:cubicBezTo>
                    <a:pt x="7532096" y="1245875"/>
                    <a:pt x="7524377" y="1263313"/>
                    <a:pt x="7514934" y="1256420"/>
                  </a:cubicBezTo>
                  <a:moveTo>
                    <a:pt x="7528788" y="1278062"/>
                  </a:moveTo>
                  <a:cubicBezTo>
                    <a:pt x="7532096" y="1274202"/>
                    <a:pt x="7532096" y="1274202"/>
                    <a:pt x="7528788" y="1278062"/>
                  </a:cubicBezTo>
                  <a:moveTo>
                    <a:pt x="7672427" y="1285782"/>
                  </a:moveTo>
                  <a:cubicBezTo>
                    <a:pt x="7662226" y="1264760"/>
                    <a:pt x="7694965" y="1285093"/>
                    <a:pt x="7672427" y="1285782"/>
                  </a:cubicBezTo>
                  <a:moveTo>
                    <a:pt x="7559115" y="1286333"/>
                  </a:moveTo>
                  <a:cubicBezTo>
                    <a:pt x="7551740" y="1275995"/>
                    <a:pt x="7568971" y="1258832"/>
                    <a:pt x="7575725" y="1272617"/>
                  </a:cubicBezTo>
                  <a:cubicBezTo>
                    <a:pt x="7579586" y="1281991"/>
                    <a:pt x="7566283" y="1300394"/>
                    <a:pt x="7559115" y="1286333"/>
                  </a:cubicBezTo>
                  <a:moveTo>
                    <a:pt x="7528512" y="1305563"/>
                  </a:moveTo>
                  <a:cubicBezTo>
                    <a:pt x="7517691" y="1285024"/>
                    <a:pt x="7551189" y="1304116"/>
                    <a:pt x="7528512" y="1305563"/>
                  </a:cubicBezTo>
                  <a:moveTo>
                    <a:pt x="7686281" y="1327137"/>
                  </a:moveTo>
                  <a:cubicBezTo>
                    <a:pt x="7680629" y="1317694"/>
                    <a:pt x="7674426" y="1308527"/>
                    <a:pt x="7668429" y="1299291"/>
                  </a:cubicBezTo>
                  <a:cubicBezTo>
                    <a:pt x="7682214" y="1298119"/>
                    <a:pt x="7697929" y="1315695"/>
                    <a:pt x="7686281" y="1327137"/>
                  </a:cubicBezTo>
                  <a:moveTo>
                    <a:pt x="7721156" y="1340301"/>
                  </a:moveTo>
                  <a:cubicBezTo>
                    <a:pt x="7710473" y="1319624"/>
                    <a:pt x="7743833" y="1338923"/>
                    <a:pt x="7721156" y="1340301"/>
                  </a:cubicBezTo>
                  <a:moveTo>
                    <a:pt x="7577518" y="1354706"/>
                  </a:moveTo>
                  <a:cubicBezTo>
                    <a:pt x="7578827" y="1331893"/>
                    <a:pt x="7597851" y="1365803"/>
                    <a:pt x="7577518" y="1354706"/>
                  </a:cubicBezTo>
                  <a:moveTo>
                    <a:pt x="7772437" y="1316384"/>
                  </a:moveTo>
                  <a:cubicBezTo>
                    <a:pt x="7767061" y="1332651"/>
                    <a:pt x="7777193" y="1346987"/>
                    <a:pt x="7781328" y="1362081"/>
                  </a:cubicBezTo>
                  <a:cubicBezTo>
                    <a:pt x="7765889" y="1352363"/>
                    <a:pt x="7760788" y="1330996"/>
                    <a:pt x="7772437" y="1316384"/>
                  </a:cubicBezTo>
                  <a:moveTo>
                    <a:pt x="7607017" y="1372007"/>
                  </a:moveTo>
                  <a:cubicBezTo>
                    <a:pt x="7605708" y="1352432"/>
                    <a:pt x="7605915" y="1332857"/>
                    <a:pt x="7604950" y="1313214"/>
                  </a:cubicBezTo>
                  <a:cubicBezTo>
                    <a:pt x="7610050" y="1319693"/>
                    <a:pt x="7615150" y="1326103"/>
                    <a:pt x="7620596" y="1332306"/>
                  </a:cubicBezTo>
                  <a:cubicBezTo>
                    <a:pt x="7617701" y="1331755"/>
                    <a:pt x="7611842" y="1330652"/>
                    <a:pt x="7608947" y="1330100"/>
                  </a:cubicBezTo>
                  <a:cubicBezTo>
                    <a:pt x="7615288" y="1343954"/>
                    <a:pt x="7620113" y="1358497"/>
                    <a:pt x="7621698" y="1373799"/>
                  </a:cubicBezTo>
                  <a:cubicBezTo>
                    <a:pt x="7618045" y="1373385"/>
                    <a:pt x="7610670" y="1372420"/>
                    <a:pt x="7607017" y="1372007"/>
                  </a:cubicBezTo>
                  <a:moveTo>
                    <a:pt x="7550155" y="1358015"/>
                  </a:moveTo>
                  <a:cubicBezTo>
                    <a:pt x="7559459" y="1351674"/>
                    <a:pt x="7570487" y="1367113"/>
                    <a:pt x="7566145" y="1375522"/>
                  </a:cubicBezTo>
                  <a:cubicBezTo>
                    <a:pt x="7556771" y="1381518"/>
                    <a:pt x="7542160" y="1367044"/>
                    <a:pt x="7550155" y="1358015"/>
                  </a:cubicBezTo>
                  <a:moveTo>
                    <a:pt x="7738388" y="1362771"/>
                  </a:moveTo>
                  <a:lnTo>
                    <a:pt x="7723983" y="1366561"/>
                  </a:lnTo>
                  <a:cubicBezTo>
                    <a:pt x="7732047" y="1360289"/>
                    <a:pt x="7739904" y="1353673"/>
                    <a:pt x="7748037" y="1347194"/>
                  </a:cubicBezTo>
                  <a:cubicBezTo>
                    <a:pt x="7740180" y="1363598"/>
                    <a:pt x="7738939" y="1380691"/>
                    <a:pt x="7745969" y="1397578"/>
                  </a:cubicBezTo>
                  <a:cubicBezTo>
                    <a:pt x="7735562" y="1388686"/>
                    <a:pt x="7736734" y="1375108"/>
                    <a:pt x="7738388" y="1362771"/>
                  </a:cubicBezTo>
                  <a:moveTo>
                    <a:pt x="7704890" y="1403712"/>
                  </a:moveTo>
                  <a:cubicBezTo>
                    <a:pt x="7698619" y="1392408"/>
                    <a:pt x="7717779" y="1385998"/>
                    <a:pt x="7724879" y="1392891"/>
                  </a:cubicBezTo>
                  <a:cubicBezTo>
                    <a:pt x="7730117" y="1403505"/>
                    <a:pt x="7711576" y="1412534"/>
                    <a:pt x="7704890" y="1403712"/>
                  </a:cubicBezTo>
                  <a:moveTo>
                    <a:pt x="7694620" y="1366355"/>
                  </a:moveTo>
                  <a:cubicBezTo>
                    <a:pt x="7689520" y="1366768"/>
                    <a:pt x="7679388" y="1367733"/>
                    <a:pt x="7674357" y="1368147"/>
                  </a:cubicBezTo>
                  <a:cubicBezTo>
                    <a:pt x="7674081" y="1357739"/>
                    <a:pt x="7673736" y="1347332"/>
                    <a:pt x="7674288" y="1336855"/>
                  </a:cubicBezTo>
                  <a:cubicBezTo>
                    <a:pt x="7677665" y="1342576"/>
                    <a:pt x="7680973" y="1348296"/>
                    <a:pt x="7684558" y="1353948"/>
                  </a:cubicBezTo>
                  <a:cubicBezTo>
                    <a:pt x="7696895" y="1344230"/>
                    <a:pt x="7712472" y="1350916"/>
                    <a:pt x="7726464" y="1351260"/>
                  </a:cubicBezTo>
                  <a:cubicBezTo>
                    <a:pt x="7718262" y="1360014"/>
                    <a:pt x="7708819" y="1367389"/>
                    <a:pt x="7697653" y="1371524"/>
                  </a:cubicBezTo>
                  <a:cubicBezTo>
                    <a:pt x="7698894" y="1374005"/>
                    <a:pt x="7701444" y="1378968"/>
                    <a:pt x="7702685" y="1381449"/>
                  </a:cubicBezTo>
                  <a:cubicBezTo>
                    <a:pt x="7700204" y="1389445"/>
                    <a:pt x="7697653" y="1397371"/>
                    <a:pt x="7695172" y="1405228"/>
                  </a:cubicBezTo>
                  <a:cubicBezTo>
                    <a:pt x="7694690" y="1392339"/>
                    <a:pt x="7695586" y="1379313"/>
                    <a:pt x="7694620" y="1366355"/>
                  </a:cubicBezTo>
                  <a:moveTo>
                    <a:pt x="7754378" y="1407503"/>
                  </a:moveTo>
                  <a:cubicBezTo>
                    <a:pt x="7744039" y="1386550"/>
                    <a:pt x="7777123" y="1407020"/>
                    <a:pt x="7754378" y="1407503"/>
                  </a:cubicBezTo>
                  <a:moveTo>
                    <a:pt x="7552636" y="1395096"/>
                  </a:moveTo>
                  <a:cubicBezTo>
                    <a:pt x="7550844" y="1398887"/>
                    <a:pt x="7547122" y="1406538"/>
                    <a:pt x="7545330" y="1410329"/>
                  </a:cubicBezTo>
                  <a:cubicBezTo>
                    <a:pt x="7543951" y="1405228"/>
                    <a:pt x="7541263" y="1395165"/>
                    <a:pt x="7539954" y="1390065"/>
                  </a:cubicBezTo>
                  <a:cubicBezTo>
                    <a:pt x="7547674" y="1393166"/>
                    <a:pt x="7555531" y="1396268"/>
                    <a:pt x="7563388" y="1399439"/>
                  </a:cubicBezTo>
                  <a:cubicBezTo>
                    <a:pt x="7567317" y="1398474"/>
                    <a:pt x="7575106" y="1396613"/>
                    <a:pt x="7579034" y="1395648"/>
                  </a:cubicBezTo>
                  <a:cubicBezTo>
                    <a:pt x="7579930" y="1389031"/>
                    <a:pt x="7581998" y="1382690"/>
                    <a:pt x="7585100" y="1376694"/>
                  </a:cubicBezTo>
                  <a:cubicBezTo>
                    <a:pt x="7584479" y="1380829"/>
                    <a:pt x="7583307" y="1389169"/>
                    <a:pt x="7582687" y="1393304"/>
                  </a:cubicBezTo>
                  <a:cubicBezTo>
                    <a:pt x="7586271" y="1393925"/>
                    <a:pt x="7593439" y="1395096"/>
                    <a:pt x="7597023" y="1395717"/>
                  </a:cubicBezTo>
                  <a:lnTo>
                    <a:pt x="7587581" y="1398543"/>
                  </a:lnTo>
                  <a:lnTo>
                    <a:pt x="7586823" y="1404470"/>
                  </a:lnTo>
                  <a:cubicBezTo>
                    <a:pt x="7586547" y="1407296"/>
                    <a:pt x="7585995" y="1413017"/>
                    <a:pt x="7585719" y="1415912"/>
                  </a:cubicBezTo>
                  <a:cubicBezTo>
                    <a:pt x="7574899" y="1421081"/>
                    <a:pt x="7563664" y="1399094"/>
                    <a:pt x="7552636" y="1395096"/>
                  </a:cubicBezTo>
                  <a:moveTo>
                    <a:pt x="7611704" y="1424183"/>
                  </a:moveTo>
                  <a:cubicBezTo>
                    <a:pt x="7603020" y="1420736"/>
                    <a:pt x="7599780" y="1408192"/>
                    <a:pt x="7604467" y="1400473"/>
                  </a:cubicBezTo>
                  <a:cubicBezTo>
                    <a:pt x="7613703" y="1398543"/>
                    <a:pt x="7622801" y="1421563"/>
                    <a:pt x="7611704" y="1424183"/>
                  </a:cubicBezTo>
                  <a:moveTo>
                    <a:pt x="7534026" y="1423493"/>
                  </a:moveTo>
                  <a:cubicBezTo>
                    <a:pt x="7536094" y="1401024"/>
                    <a:pt x="7554635" y="1434659"/>
                    <a:pt x="7534026" y="1423493"/>
                  </a:cubicBezTo>
                  <a:moveTo>
                    <a:pt x="7576759" y="1437416"/>
                  </a:moveTo>
                  <a:cubicBezTo>
                    <a:pt x="7574692" y="1435279"/>
                    <a:pt x="7570625" y="1431006"/>
                    <a:pt x="7568558" y="1428800"/>
                  </a:cubicBezTo>
                  <a:cubicBezTo>
                    <a:pt x="7572624" y="1405642"/>
                    <a:pt x="7603020" y="1442379"/>
                    <a:pt x="7576759" y="1437416"/>
                  </a:cubicBezTo>
                  <a:moveTo>
                    <a:pt x="7528099" y="1471465"/>
                  </a:moveTo>
                  <a:cubicBezTo>
                    <a:pt x="7524653" y="1461264"/>
                    <a:pt x="7527686" y="1458231"/>
                    <a:pt x="7537266" y="1462505"/>
                  </a:cubicBezTo>
                  <a:cubicBezTo>
                    <a:pt x="7540505" y="1472774"/>
                    <a:pt x="7537404" y="1475738"/>
                    <a:pt x="7528099" y="1471465"/>
                  </a:cubicBezTo>
                  <a:moveTo>
                    <a:pt x="7569040" y="1453820"/>
                  </a:moveTo>
                  <a:lnTo>
                    <a:pt x="7575036" y="1452648"/>
                  </a:lnTo>
                  <a:lnTo>
                    <a:pt x="7576622" y="1461677"/>
                  </a:lnTo>
                  <a:cubicBezTo>
                    <a:pt x="7580964" y="1461540"/>
                    <a:pt x="7589580" y="1461126"/>
                    <a:pt x="7593853" y="1460988"/>
                  </a:cubicBezTo>
                  <a:cubicBezTo>
                    <a:pt x="7594198" y="1466020"/>
                    <a:pt x="7594887" y="1476152"/>
                    <a:pt x="7595232" y="1481183"/>
                  </a:cubicBezTo>
                  <a:cubicBezTo>
                    <a:pt x="7581584" y="1477323"/>
                    <a:pt x="7570901" y="1468501"/>
                    <a:pt x="7569040" y="1453820"/>
                  </a:cubicBezTo>
                  <a:moveTo>
                    <a:pt x="7749278" y="1506410"/>
                  </a:moveTo>
                  <a:cubicBezTo>
                    <a:pt x="7744591" y="1497932"/>
                    <a:pt x="7758928" y="1490006"/>
                    <a:pt x="7765613" y="1495175"/>
                  </a:cubicBezTo>
                  <a:cubicBezTo>
                    <a:pt x="7769818" y="1503515"/>
                    <a:pt x="7755688" y="1511924"/>
                    <a:pt x="7749278" y="1506410"/>
                  </a:cubicBezTo>
                  <a:moveTo>
                    <a:pt x="7709853" y="1505376"/>
                  </a:moveTo>
                  <a:cubicBezTo>
                    <a:pt x="7711507" y="1494899"/>
                    <a:pt x="7711232" y="1484285"/>
                    <a:pt x="7711025" y="1473739"/>
                  </a:cubicBezTo>
                  <a:cubicBezTo>
                    <a:pt x="7715987" y="1478495"/>
                    <a:pt x="7721088" y="1483320"/>
                    <a:pt x="7726257" y="1488007"/>
                  </a:cubicBezTo>
                  <a:cubicBezTo>
                    <a:pt x="7723224" y="1492280"/>
                    <a:pt x="7717090" y="1500689"/>
                    <a:pt x="7714057" y="1504893"/>
                  </a:cubicBezTo>
                  <a:cubicBezTo>
                    <a:pt x="7712955" y="1505031"/>
                    <a:pt x="7710887" y="1505238"/>
                    <a:pt x="7709853" y="1505376"/>
                  </a:cubicBezTo>
                  <a:moveTo>
                    <a:pt x="7556427" y="1507512"/>
                  </a:moveTo>
                  <a:cubicBezTo>
                    <a:pt x="7556496" y="1498690"/>
                    <a:pt x="7556565" y="1489868"/>
                    <a:pt x="7556496" y="1480976"/>
                  </a:cubicBezTo>
                  <a:cubicBezTo>
                    <a:pt x="7566835" y="1485388"/>
                    <a:pt x="7577518" y="1488558"/>
                    <a:pt x="7588614" y="1491108"/>
                  </a:cubicBezTo>
                  <a:cubicBezTo>
                    <a:pt x="7586271" y="1496140"/>
                    <a:pt x="7583996" y="1501171"/>
                    <a:pt x="7581860" y="1506134"/>
                  </a:cubicBezTo>
                  <a:cubicBezTo>
                    <a:pt x="7578552" y="1502481"/>
                    <a:pt x="7571866" y="1495244"/>
                    <a:pt x="7568558" y="1491660"/>
                  </a:cubicBezTo>
                  <a:cubicBezTo>
                    <a:pt x="7565525" y="1495588"/>
                    <a:pt x="7559459" y="1503515"/>
                    <a:pt x="7556427" y="1507512"/>
                  </a:cubicBezTo>
                  <a:moveTo>
                    <a:pt x="7729910" y="1538597"/>
                  </a:moveTo>
                  <a:cubicBezTo>
                    <a:pt x="7727429" y="1526191"/>
                    <a:pt x="7756239" y="1519919"/>
                    <a:pt x="7758169" y="1532394"/>
                  </a:cubicBezTo>
                  <a:cubicBezTo>
                    <a:pt x="7750794" y="1538528"/>
                    <a:pt x="7738870" y="1541699"/>
                    <a:pt x="7729910" y="1538597"/>
                  </a:cubicBezTo>
                  <a:moveTo>
                    <a:pt x="7688142" y="1553830"/>
                  </a:moveTo>
                  <a:cubicBezTo>
                    <a:pt x="7691519" y="1550177"/>
                    <a:pt x="7691519" y="1550177"/>
                    <a:pt x="7688142" y="1553830"/>
                  </a:cubicBezTo>
                  <a:moveTo>
                    <a:pt x="7578138" y="1567684"/>
                  </a:moveTo>
                  <a:cubicBezTo>
                    <a:pt x="7573244" y="1560515"/>
                    <a:pt x="7570211" y="1550177"/>
                    <a:pt x="7573106" y="1541699"/>
                  </a:cubicBezTo>
                  <a:cubicBezTo>
                    <a:pt x="7585100" y="1538046"/>
                    <a:pt x="7589235" y="1566512"/>
                    <a:pt x="7578138" y="1567684"/>
                  </a:cubicBezTo>
                  <a:moveTo>
                    <a:pt x="7555669" y="1574507"/>
                  </a:moveTo>
                  <a:cubicBezTo>
                    <a:pt x="7559322" y="1570992"/>
                    <a:pt x="7559322" y="1570992"/>
                    <a:pt x="7555669" y="1574507"/>
                  </a:cubicBezTo>
                  <a:moveTo>
                    <a:pt x="7698894" y="1595529"/>
                  </a:moveTo>
                  <a:cubicBezTo>
                    <a:pt x="7688349" y="1574714"/>
                    <a:pt x="7721708" y="1594909"/>
                    <a:pt x="7698894" y="1595529"/>
                  </a:cubicBezTo>
                  <a:moveTo>
                    <a:pt x="7543400" y="1603180"/>
                  </a:moveTo>
                  <a:cubicBezTo>
                    <a:pt x="7544020" y="1580435"/>
                    <a:pt x="7564284" y="1613450"/>
                    <a:pt x="7543400" y="1603180"/>
                  </a:cubicBezTo>
                  <a:moveTo>
                    <a:pt x="7707509" y="1609383"/>
                  </a:moveTo>
                  <a:cubicBezTo>
                    <a:pt x="7711025" y="1605454"/>
                    <a:pt x="7711025" y="1605454"/>
                    <a:pt x="7707509" y="1609383"/>
                  </a:cubicBezTo>
                  <a:moveTo>
                    <a:pt x="7583928" y="1623650"/>
                  </a:moveTo>
                  <a:cubicBezTo>
                    <a:pt x="7587787" y="1619928"/>
                    <a:pt x="7587787" y="1619928"/>
                    <a:pt x="7583928" y="1623650"/>
                  </a:cubicBezTo>
                  <a:moveTo>
                    <a:pt x="7744177" y="1589671"/>
                  </a:moveTo>
                  <a:cubicBezTo>
                    <a:pt x="7744177" y="1606557"/>
                    <a:pt x="7744798" y="1623375"/>
                    <a:pt x="7744109" y="1640261"/>
                  </a:cubicBezTo>
                  <a:cubicBezTo>
                    <a:pt x="7731082" y="1626890"/>
                    <a:pt x="7744935" y="1605799"/>
                    <a:pt x="7744177" y="1589671"/>
                  </a:cubicBezTo>
                  <a:moveTo>
                    <a:pt x="7542435" y="1636884"/>
                  </a:moveTo>
                  <a:cubicBezTo>
                    <a:pt x="7538369" y="1627097"/>
                    <a:pt x="7541263" y="1623926"/>
                    <a:pt x="7551189" y="1627510"/>
                  </a:cubicBezTo>
                  <a:cubicBezTo>
                    <a:pt x="7555186" y="1637298"/>
                    <a:pt x="7552291" y="1640399"/>
                    <a:pt x="7542435" y="1636884"/>
                  </a:cubicBezTo>
                  <a:moveTo>
                    <a:pt x="7563250" y="1649911"/>
                  </a:moveTo>
                  <a:cubicBezTo>
                    <a:pt x="7566835" y="1646326"/>
                    <a:pt x="7566835" y="1646326"/>
                    <a:pt x="7563250" y="1649911"/>
                  </a:cubicBezTo>
                  <a:moveTo>
                    <a:pt x="7701100" y="1693471"/>
                  </a:moveTo>
                  <a:cubicBezTo>
                    <a:pt x="7699583" y="1677136"/>
                    <a:pt x="7686143" y="1638952"/>
                    <a:pt x="7718607" y="1649842"/>
                  </a:cubicBezTo>
                  <a:lnTo>
                    <a:pt x="7708613" y="1636264"/>
                  </a:lnTo>
                  <a:cubicBezTo>
                    <a:pt x="7715780" y="1647085"/>
                    <a:pt x="7728256" y="1648739"/>
                    <a:pt x="7740249" y="1649842"/>
                  </a:cubicBezTo>
                  <a:cubicBezTo>
                    <a:pt x="7729635" y="1650876"/>
                    <a:pt x="7719158" y="1651358"/>
                    <a:pt x="7708681" y="1652047"/>
                  </a:cubicBezTo>
                  <a:cubicBezTo>
                    <a:pt x="7708475" y="1666246"/>
                    <a:pt x="7704752" y="1679893"/>
                    <a:pt x="7701100" y="1693471"/>
                  </a:cubicBezTo>
                  <a:moveTo>
                    <a:pt x="7572279" y="1708221"/>
                  </a:moveTo>
                  <a:cubicBezTo>
                    <a:pt x="7577311" y="1695539"/>
                    <a:pt x="7578345" y="1681823"/>
                    <a:pt x="7580619" y="1668382"/>
                  </a:cubicBezTo>
                  <a:cubicBezTo>
                    <a:pt x="7571590" y="1666591"/>
                    <a:pt x="7562699" y="1664798"/>
                    <a:pt x="7553946" y="1662937"/>
                  </a:cubicBezTo>
                  <a:cubicBezTo>
                    <a:pt x="7564629" y="1663144"/>
                    <a:pt x="7575381" y="1663420"/>
                    <a:pt x="7586202" y="1663282"/>
                  </a:cubicBezTo>
                  <a:cubicBezTo>
                    <a:pt x="7584962" y="1672173"/>
                    <a:pt x="7584824" y="1681202"/>
                    <a:pt x="7585582" y="1690094"/>
                  </a:cubicBezTo>
                  <a:cubicBezTo>
                    <a:pt x="7580895" y="1696159"/>
                    <a:pt x="7576622" y="1702155"/>
                    <a:pt x="7572279" y="1708221"/>
                  </a:cubicBezTo>
                  <a:moveTo>
                    <a:pt x="7714402" y="1713183"/>
                  </a:moveTo>
                  <a:cubicBezTo>
                    <a:pt x="7703857" y="1692437"/>
                    <a:pt x="7737147" y="1712149"/>
                    <a:pt x="7714402" y="1713183"/>
                  </a:cubicBezTo>
                  <a:moveTo>
                    <a:pt x="7575519" y="1747163"/>
                  </a:moveTo>
                  <a:cubicBezTo>
                    <a:pt x="7563733" y="1727106"/>
                    <a:pt x="7598195" y="1744820"/>
                    <a:pt x="7575519" y="1747163"/>
                  </a:cubicBezTo>
                  <a:moveTo>
                    <a:pt x="7568833" y="1773217"/>
                  </a:moveTo>
                  <a:cubicBezTo>
                    <a:pt x="7558632" y="1752264"/>
                    <a:pt x="7591716" y="1773079"/>
                    <a:pt x="7568833" y="1773217"/>
                  </a:cubicBezTo>
                  <a:moveTo>
                    <a:pt x="7654231" y="1789138"/>
                  </a:moveTo>
                  <a:cubicBezTo>
                    <a:pt x="7653818" y="1777146"/>
                    <a:pt x="7653680" y="1765015"/>
                    <a:pt x="7653610" y="1752953"/>
                  </a:cubicBezTo>
                  <a:cubicBezTo>
                    <a:pt x="7657953" y="1751505"/>
                    <a:pt x="7666706" y="1748748"/>
                    <a:pt x="7671117" y="1747370"/>
                  </a:cubicBezTo>
                  <a:lnTo>
                    <a:pt x="7671462" y="1754607"/>
                  </a:lnTo>
                  <a:cubicBezTo>
                    <a:pt x="7667809" y="1754469"/>
                    <a:pt x="7660503" y="1754193"/>
                    <a:pt x="7656850" y="1754056"/>
                  </a:cubicBezTo>
                  <a:cubicBezTo>
                    <a:pt x="7655954" y="1765773"/>
                    <a:pt x="7655196" y="1777490"/>
                    <a:pt x="7654231" y="1789138"/>
                  </a:cubicBezTo>
                  <a:moveTo>
                    <a:pt x="7666086" y="1800994"/>
                  </a:moveTo>
                  <a:cubicBezTo>
                    <a:pt x="7660021" y="1794583"/>
                    <a:pt x="7668429" y="1780316"/>
                    <a:pt x="7677045" y="1784520"/>
                  </a:cubicBezTo>
                  <a:cubicBezTo>
                    <a:pt x="7682352" y="1790999"/>
                    <a:pt x="7674426" y="1804853"/>
                    <a:pt x="7666086" y="1800994"/>
                  </a:cubicBezTo>
                  <a:moveTo>
                    <a:pt x="7569040" y="1865162"/>
                  </a:moveTo>
                  <a:cubicBezTo>
                    <a:pt x="7558150" y="1844416"/>
                    <a:pt x="7591578" y="1863715"/>
                    <a:pt x="7569040" y="1865162"/>
                  </a:cubicBezTo>
                  <a:moveTo>
                    <a:pt x="7644995" y="1857167"/>
                  </a:moveTo>
                  <a:cubicBezTo>
                    <a:pt x="7644168" y="1854617"/>
                    <a:pt x="7642445" y="1849516"/>
                    <a:pt x="7641548" y="1846966"/>
                  </a:cubicBezTo>
                  <a:cubicBezTo>
                    <a:pt x="7646167" y="1842348"/>
                    <a:pt x="7650991" y="1837592"/>
                    <a:pt x="7655816" y="1832837"/>
                  </a:cubicBezTo>
                  <a:cubicBezTo>
                    <a:pt x="7647614" y="1849861"/>
                    <a:pt x="7645822" y="1868608"/>
                    <a:pt x="7645822" y="1887218"/>
                  </a:cubicBezTo>
                  <a:cubicBezTo>
                    <a:pt x="7638034" y="1877913"/>
                    <a:pt x="7638654" y="1867161"/>
                    <a:pt x="7644995" y="1857167"/>
                  </a:cubicBezTo>
                  <a:moveTo>
                    <a:pt x="7672772" y="1925678"/>
                  </a:moveTo>
                  <a:cubicBezTo>
                    <a:pt x="7661123" y="1905483"/>
                    <a:pt x="7695241" y="1923197"/>
                    <a:pt x="7672772" y="1925678"/>
                  </a:cubicBezTo>
                  <a:moveTo>
                    <a:pt x="7604812" y="1925471"/>
                  </a:moveTo>
                  <a:cubicBezTo>
                    <a:pt x="7609430" y="1908171"/>
                    <a:pt x="7613634" y="1890458"/>
                    <a:pt x="7612531" y="1872331"/>
                  </a:cubicBezTo>
                  <a:cubicBezTo>
                    <a:pt x="7611360" y="1819534"/>
                    <a:pt x="7611084" y="1766807"/>
                    <a:pt x="7609981" y="1714011"/>
                  </a:cubicBezTo>
                  <a:cubicBezTo>
                    <a:pt x="7607362" y="1677756"/>
                    <a:pt x="7613772" y="1639917"/>
                    <a:pt x="7598678" y="1605592"/>
                  </a:cubicBezTo>
                  <a:cubicBezTo>
                    <a:pt x="7594266" y="1606488"/>
                    <a:pt x="7585444" y="1608349"/>
                    <a:pt x="7581033" y="1609245"/>
                  </a:cubicBezTo>
                  <a:cubicBezTo>
                    <a:pt x="7582549" y="1605179"/>
                    <a:pt x="7585582" y="1597045"/>
                    <a:pt x="7587098" y="1592979"/>
                  </a:cubicBezTo>
                  <a:cubicBezTo>
                    <a:pt x="7585100" y="1579814"/>
                    <a:pt x="7587995" y="1566856"/>
                    <a:pt x="7593301" y="1554726"/>
                  </a:cubicBezTo>
                  <a:cubicBezTo>
                    <a:pt x="7594198" y="1570509"/>
                    <a:pt x="7594404" y="1586362"/>
                    <a:pt x="7597919" y="1601801"/>
                  </a:cubicBezTo>
                  <a:lnTo>
                    <a:pt x="7608672" y="1601250"/>
                  </a:lnTo>
                  <a:cubicBezTo>
                    <a:pt x="7607500" y="1545490"/>
                    <a:pt x="7606122" y="1489730"/>
                    <a:pt x="7605915" y="1433970"/>
                  </a:cubicBezTo>
                  <a:cubicBezTo>
                    <a:pt x="7611842" y="1434590"/>
                    <a:pt x="7623697" y="1435969"/>
                    <a:pt x="7629556" y="1436589"/>
                  </a:cubicBezTo>
                  <a:cubicBezTo>
                    <a:pt x="7634932" y="1430248"/>
                    <a:pt x="7639963" y="1423631"/>
                    <a:pt x="7645271" y="1417014"/>
                  </a:cubicBezTo>
                  <a:cubicBezTo>
                    <a:pt x="7643961" y="1422184"/>
                    <a:pt x="7641342" y="1432522"/>
                    <a:pt x="7639963" y="1437692"/>
                  </a:cubicBezTo>
                  <a:cubicBezTo>
                    <a:pt x="7657056" y="1436589"/>
                    <a:pt x="7674012" y="1439346"/>
                    <a:pt x="7690968" y="1442103"/>
                  </a:cubicBezTo>
                  <a:cubicBezTo>
                    <a:pt x="7688349" y="1442930"/>
                    <a:pt x="7683041" y="1444722"/>
                    <a:pt x="7680422" y="1445618"/>
                  </a:cubicBezTo>
                  <a:cubicBezTo>
                    <a:pt x="7678561" y="1461402"/>
                    <a:pt x="7674426" y="1477185"/>
                    <a:pt x="7675666" y="1493176"/>
                  </a:cubicBezTo>
                  <a:cubicBezTo>
                    <a:pt x="7679320" y="1504549"/>
                    <a:pt x="7691174" y="1509994"/>
                    <a:pt x="7698619" y="1518678"/>
                  </a:cubicBezTo>
                  <a:cubicBezTo>
                    <a:pt x="7706407" y="1519092"/>
                    <a:pt x="7714195" y="1520539"/>
                    <a:pt x="7719227" y="1527500"/>
                  </a:cubicBezTo>
                  <a:cubicBezTo>
                    <a:pt x="7714195" y="1534255"/>
                    <a:pt x="7709784" y="1540941"/>
                    <a:pt x="7704959" y="1547558"/>
                  </a:cubicBezTo>
                  <a:cubicBezTo>
                    <a:pt x="7704890" y="1541148"/>
                    <a:pt x="7704822" y="1528259"/>
                    <a:pt x="7704822" y="1521780"/>
                  </a:cubicBezTo>
                  <a:cubicBezTo>
                    <a:pt x="7699790" y="1522400"/>
                    <a:pt x="7689796" y="1523641"/>
                    <a:pt x="7684764" y="1524261"/>
                  </a:cubicBezTo>
                  <a:cubicBezTo>
                    <a:pt x="7681801" y="1519643"/>
                    <a:pt x="7675804" y="1510338"/>
                    <a:pt x="7672840" y="1505651"/>
                  </a:cubicBezTo>
                  <a:cubicBezTo>
                    <a:pt x="7666844" y="1539907"/>
                    <a:pt x="7662226" y="1574369"/>
                    <a:pt x="7658090" y="1608832"/>
                  </a:cubicBezTo>
                  <a:cubicBezTo>
                    <a:pt x="7661881" y="1611657"/>
                    <a:pt x="7669463" y="1617378"/>
                    <a:pt x="7673254" y="1620273"/>
                  </a:cubicBezTo>
                  <a:cubicBezTo>
                    <a:pt x="7674081" y="1615035"/>
                    <a:pt x="7675597" y="1604558"/>
                    <a:pt x="7676355" y="1599320"/>
                  </a:cubicBezTo>
                  <a:cubicBezTo>
                    <a:pt x="7673598" y="1598837"/>
                    <a:pt x="7668016" y="1597804"/>
                    <a:pt x="7665259" y="1597252"/>
                  </a:cubicBezTo>
                  <a:cubicBezTo>
                    <a:pt x="7667602" y="1587465"/>
                    <a:pt x="7669601" y="1577609"/>
                    <a:pt x="7671875" y="1567684"/>
                  </a:cubicBezTo>
                  <a:cubicBezTo>
                    <a:pt x="7677597" y="1571268"/>
                    <a:pt x="7683111" y="1575127"/>
                    <a:pt x="7688487" y="1579401"/>
                  </a:cubicBezTo>
                  <a:cubicBezTo>
                    <a:pt x="7694276" y="1585328"/>
                    <a:pt x="7696275" y="1608763"/>
                    <a:pt x="7680009" y="1600492"/>
                  </a:cubicBezTo>
                  <a:cubicBezTo>
                    <a:pt x="7680905" y="1605385"/>
                    <a:pt x="7682697" y="1615242"/>
                    <a:pt x="7683592" y="1620135"/>
                  </a:cubicBezTo>
                  <a:lnTo>
                    <a:pt x="7675322" y="1618550"/>
                  </a:lnTo>
                  <a:cubicBezTo>
                    <a:pt x="7677597" y="1633162"/>
                    <a:pt x="7681525" y="1647360"/>
                    <a:pt x="7683524" y="1661972"/>
                  </a:cubicBezTo>
                  <a:cubicBezTo>
                    <a:pt x="7673116" y="1657906"/>
                    <a:pt x="7666637" y="1664936"/>
                    <a:pt x="7660021" y="1671002"/>
                  </a:cubicBezTo>
                  <a:cubicBezTo>
                    <a:pt x="7665672" y="1661972"/>
                    <a:pt x="7670979" y="1652668"/>
                    <a:pt x="7676287" y="1643225"/>
                  </a:cubicBezTo>
                  <a:cubicBezTo>
                    <a:pt x="7674840" y="1637918"/>
                    <a:pt x="7673598" y="1632473"/>
                    <a:pt x="7672565" y="1627028"/>
                  </a:cubicBezTo>
                  <a:cubicBezTo>
                    <a:pt x="7668360" y="1626063"/>
                    <a:pt x="7659883" y="1624202"/>
                    <a:pt x="7655678" y="1623306"/>
                  </a:cubicBezTo>
                  <a:cubicBezTo>
                    <a:pt x="7652714" y="1648739"/>
                    <a:pt x="7646305" y="1673965"/>
                    <a:pt x="7646511" y="1699674"/>
                  </a:cubicBezTo>
                  <a:cubicBezTo>
                    <a:pt x="7655678" y="1716974"/>
                    <a:pt x="7669118" y="1696710"/>
                    <a:pt x="7673598" y="1686716"/>
                  </a:cubicBezTo>
                  <a:cubicBezTo>
                    <a:pt x="7671531" y="1703603"/>
                    <a:pt x="7678975" y="1719111"/>
                    <a:pt x="7683937" y="1734757"/>
                  </a:cubicBezTo>
                  <a:cubicBezTo>
                    <a:pt x="7680422" y="1731586"/>
                    <a:pt x="7673392" y="1725245"/>
                    <a:pt x="7669877" y="1722075"/>
                  </a:cubicBezTo>
                  <a:cubicBezTo>
                    <a:pt x="7667395" y="1724487"/>
                    <a:pt x="7662295" y="1729243"/>
                    <a:pt x="7659745" y="1731655"/>
                  </a:cubicBezTo>
                  <a:cubicBezTo>
                    <a:pt x="7653610" y="1728002"/>
                    <a:pt x="7647614" y="1724211"/>
                    <a:pt x="7641686" y="1720558"/>
                  </a:cubicBezTo>
                  <a:cubicBezTo>
                    <a:pt x="7630658" y="1789207"/>
                    <a:pt x="7626523" y="1859235"/>
                    <a:pt x="7608120" y="1926436"/>
                  </a:cubicBezTo>
                  <a:lnTo>
                    <a:pt x="7604812" y="1925471"/>
                  </a:lnTo>
                  <a:moveTo>
                    <a:pt x="7687383" y="1939739"/>
                  </a:moveTo>
                  <a:cubicBezTo>
                    <a:pt x="7679733" y="1933191"/>
                    <a:pt x="7688693" y="1916649"/>
                    <a:pt x="7698136" y="1923059"/>
                  </a:cubicBezTo>
                  <a:cubicBezTo>
                    <a:pt x="7705511" y="1929607"/>
                    <a:pt x="7696826" y="1946562"/>
                    <a:pt x="7687383" y="1939739"/>
                  </a:cubicBezTo>
                  <a:moveTo>
                    <a:pt x="7566973" y="1935397"/>
                  </a:moveTo>
                  <a:cubicBezTo>
                    <a:pt x="7567041" y="1928366"/>
                    <a:pt x="7567179" y="1921336"/>
                    <a:pt x="7567386" y="1914237"/>
                  </a:cubicBezTo>
                  <a:cubicBezTo>
                    <a:pt x="7571245" y="1924644"/>
                    <a:pt x="7576001" y="1934983"/>
                    <a:pt x="7587029" y="1939532"/>
                  </a:cubicBezTo>
                  <a:cubicBezTo>
                    <a:pt x="7580275" y="1938085"/>
                    <a:pt x="7573589" y="1936706"/>
                    <a:pt x="7566973" y="1935397"/>
                  </a:cubicBezTo>
                  <a:moveTo>
                    <a:pt x="7610946" y="1953110"/>
                  </a:moveTo>
                  <a:cubicBezTo>
                    <a:pt x="7614323" y="1949319"/>
                    <a:pt x="7614323" y="1949319"/>
                    <a:pt x="7610946" y="1953110"/>
                  </a:cubicBezTo>
                  <a:moveTo>
                    <a:pt x="7687039" y="1961105"/>
                  </a:moveTo>
                  <a:cubicBezTo>
                    <a:pt x="7689451" y="1938360"/>
                    <a:pt x="7706958" y="1972891"/>
                    <a:pt x="7687039" y="1961105"/>
                  </a:cubicBezTo>
                  <a:moveTo>
                    <a:pt x="7641756" y="1940911"/>
                  </a:moveTo>
                  <a:cubicBezTo>
                    <a:pt x="7643203" y="1929124"/>
                    <a:pt x="7645064" y="1917545"/>
                    <a:pt x="7647821" y="1905966"/>
                  </a:cubicBezTo>
                  <a:cubicBezTo>
                    <a:pt x="7650509" y="1916304"/>
                    <a:pt x="7646925" y="1926781"/>
                    <a:pt x="7645339" y="1936913"/>
                  </a:cubicBezTo>
                  <a:cubicBezTo>
                    <a:pt x="7661468" y="1936499"/>
                    <a:pt x="7659262" y="1951594"/>
                    <a:pt x="7657608" y="1962484"/>
                  </a:cubicBezTo>
                  <a:cubicBezTo>
                    <a:pt x="7652990" y="1954764"/>
                    <a:pt x="7649406" y="1946080"/>
                    <a:pt x="7641756" y="1940911"/>
                  </a:cubicBezTo>
                  <a:moveTo>
                    <a:pt x="7559942" y="1990123"/>
                  </a:moveTo>
                  <a:lnTo>
                    <a:pt x="7558494" y="1976958"/>
                  </a:lnTo>
                  <a:cubicBezTo>
                    <a:pt x="7553946" y="1977854"/>
                    <a:pt x="7544985" y="1979715"/>
                    <a:pt x="7540505" y="1980611"/>
                  </a:cubicBezTo>
                  <a:cubicBezTo>
                    <a:pt x="7546088" y="1977234"/>
                    <a:pt x="7551740" y="1973787"/>
                    <a:pt x="7557460" y="1970272"/>
                  </a:cubicBezTo>
                  <a:cubicBezTo>
                    <a:pt x="7557185" y="1965034"/>
                    <a:pt x="7556565" y="1954557"/>
                    <a:pt x="7556220" y="1949319"/>
                  </a:cubicBezTo>
                  <a:cubicBezTo>
                    <a:pt x="7576829" y="1951800"/>
                    <a:pt x="7592750" y="1968825"/>
                    <a:pt x="7594335" y="1989502"/>
                  </a:cubicBezTo>
                  <a:cubicBezTo>
                    <a:pt x="7584617" y="1979922"/>
                    <a:pt x="7579930" y="1949595"/>
                    <a:pt x="7563250" y="1962966"/>
                  </a:cubicBezTo>
                  <a:cubicBezTo>
                    <a:pt x="7561114" y="1972133"/>
                    <a:pt x="7570143" y="1983712"/>
                    <a:pt x="7559942" y="1990123"/>
                  </a:cubicBezTo>
                  <a:moveTo>
                    <a:pt x="7652370" y="1994672"/>
                  </a:moveTo>
                  <a:cubicBezTo>
                    <a:pt x="7640997" y="1974339"/>
                    <a:pt x="7674977" y="1992811"/>
                    <a:pt x="7652370" y="1994672"/>
                  </a:cubicBezTo>
                  <a:moveTo>
                    <a:pt x="7610602" y="2001771"/>
                  </a:moveTo>
                  <a:cubicBezTo>
                    <a:pt x="7599091" y="1981438"/>
                    <a:pt x="7633071" y="1999565"/>
                    <a:pt x="7610602" y="2001771"/>
                  </a:cubicBezTo>
                  <a:moveTo>
                    <a:pt x="7569522" y="2022724"/>
                  </a:moveTo>
                  <a:cubicBezTo>
                    <a:pt x="7561459" y="2021690"/>
                    <a:pt x="7555945" y="2004734"/>
                    <a:pt x="7566835" y="2004321"/>
                  </a:cubicBezTo>
                  <a:cubicBezTo>
                    <a:pt x="7574485" y="2005562"/>
                    <a:pt x="7580068" y="2022173"/>
                    <a:pt x="7569522" y="2022724"/>
                  </a:cubicBezTo>
                  <a:moveTo>
                    <a:pt x="7589166" y="2024033"/>
                  </a:moveTo>
                  <a:cubicBezTo>
                    <a:pt x="7591992" y="2018175"/>
                    <a:pt x="7594749" y="2012248"/>
                    <a:pt x="7597575" y="2006251"/>
                  </a:cubicBezTo>
                  <a:cubicBezTo>
                    <a:pt x="7598057" y="2015280"/>
                    <a:pt x="7607293" y="2016865"/>
                    <a:pt x="7613634" y="2020725"/>
                  </a:cubicBezTo>
                  <a:cubicBezTo>
                    <a:pt x="7612118" y="2022517"/>
                    <a:pt x="7609085" y="2025963"/>
                    <a:pt x="7607500" y="2027687"/>
                  </a:cubicBezTo>
                  <a:cubicBezTo>
                    <a:pt x="7601297" y="2026515"/>
                    <a:pt x="7595232" y="2025274"/>
                    <a:pt x="7589166" y="2024033"/>
                  </a:cubicBezTo>
                  <a:moveTo>
                    <a:pt x="7579724" y="2062493"/>
                  </a:moveTo>
                  <a:cubicBezTo>
                    <a:pt x="7576415" y="2060839"/>
                    <a:pt x="7569730" y="2057531"/>
                    <a:pt x="7566421" y="2055877"/>
                  </a:cubicBezTo>
                  <a:lnTo>
                    <a:pt x="7583376" y="2057186"/>
                  </a:lnTo>
                  <a:cubicBezTo>
                    <a:pt x="7583721" y="2053326"/>
                    <a:pt x="7584272" y="2045676"/>
                    <a:pt x="7584617" y="2041816"/>
                  </a:cubicBezTo>
                  <a:cubicBezTo>
                    <a:pt x="7596472" y="2043332"/>
                    <a:pt x="7609636" y="2042367"/>
                    <a:pt x="7619631" y="2050501"/>
                  </a:cubicBezTo>
                  <a:cubicBezTo>
                    <a:pt x="7627626" y="2049122"/>
                    <a:pt x="7635483" y="2047537"/>
                    <a:pt x="7643823" y="2046503"/>
                  </a:cubicBezTo>
                  <a:cubicBezTo>
                    <a:pt x="7654162" y="2050018"/>
                    <a:pt x="7658918" y="2060563"/>
                    <a:pt x="7664570" y="2069110"/>
                  </a:cubicBezTo>
                  <a:cubicBezTo>
                    <a:pt x="7642100" y="2061873"/>
                    <a:pt x="7620113" y="2051535"/>
                    <a:pt x="7595990" y="2052637"/>
                  </a:cubicBezTo>
                  <a:cubicBezTo>
                    <a:pt x="7591233" y="2059737"/>
                    <a:pt x="7586823" y="2066974"/>
                    <a:pt x="7582481" y="2074142"/>
                  </a:cubicBezTo>
                  <a:cubicBezTo>
                    <a:pt x="7581791" y="2071247"/>
                    <a:pt x="7580413" y="2065388"/>
                    <a:pt x="7579724" y="2062493"/>
                  </a:cubicBezTo>
                  <a:moveTo>
                    <a:pt x="7562837" y="2105502"/>
                  </a:moveTo>
                  <a:cubicBezTo>
                    <a:pt x="7557392" y="2098955"/>
                    <a:pt x="7564905" y="2084411"/>
                    <a:pt x="7573658" y="2087996"/>
                  </a:cubicBezTo>
                  <a:cubicBezTo>
                    <a:pt x="7578276" y="2094543"/>
                    <a:pt x="7571521" y="2109224"/>
                    <a:pt x="7562837" y="2105502"/>
                  </a:cubicBezTo>
                  <a:moveTo>
                    <a:pt x="7541263" y="2125215"/>
                  </a:moveTo>
                  <a:cubicBezTo>
                    <a:pt x="7531545" y="2104055"/>
                    <a:pt x="7563940" y="2125008"/>
                    <a:pt x="7541263" y="2125215"/>
                  </a:cubicBezTo>
                  <a:moveTo>
                    <a:pt x="7582411" y="2166501"/>
                  </a:moveTo>
                  <a:cubicBezTo>
                    <a:pt x="7572968" y="2145203"/>
                    <a:pt x="7605088" y="2166707"/>
                    <a:pt x="7582411" y="2166501"/>
                  </a:cubicBezTo>
                  <a:moveTo>
                    <a:pt x="7524584" y="2207856"/>
                  </a:moveTo>
                  <a:cubicBezTo>
                    <a:pt x="7572004" y="2210750"/>
                    <a:pt x="7619355" y="2214059"/>
                    <a:pt x="7666775" y="2216126"/>
                  </a:cubicBezTo>
                  <a:cubicBezTo>
                    <a:pt x="7673806" y="2172015"/>
                    <a:pt x="7680078" y="2127834"/>
                    <a:pt x="7687659" y="2083860"/>
                  </a:cubicBezTo>
                  <a:cubicBezTo>
                    <a:pt x="7686349" y="2081999"/>
                    <a:pt x="7683730" y="2078346"/>
                    <a:pt x="7682421" y="2076554"/>
                  </a:cubicBezTo>
                  <a:cubicBezTo>
                    <a:pt x="7696964" y="2059461"/>
                    <a:pt x="7692622" y="2034510"/>
                    <a:pt x="7698687" y="2013971"/>
                  </a:cubicBezTo>
                  <a:cubicBezTo>
                    <a:pt x="7691381" y="2012316"/>
                    <a:pt x="7684351" y="2010248"/>
                    <a:pt x="7677527" y="2007767"/>
                  </a:cubicBezTo>
                  <a:cubicBezTo>
                    <a:pt x="7682903" y="2008043"/>
                    <a:pt x="7693794" y="2008663"/>
                    <a:pt x="7699170" y="2009008"/>
                  </a:cubicBezTo>
                  <a:cubicBezTo>
                    <a:pt x="7709922" y="1931537"/>
                    <a:pt x="7724327" y="1854617"/>
                    <a:pt x="7733907" y="1777077"/>
                  </a:cubicBezTo>
                  <a:cubicBezTo>
                    <a:pt x="7725292" y="1765428"/>
                    <a:pt x="7736045" y="1754952"/>
                    <a:pt x="7741903" y="1745096"/>
                  </a:cubicBezTo>
                  <a:cubicBezTo>
                    <a:pt x="7732116" y="1743648"/>
                    <a:pt x="7722466" y="1741718"/>
                    <a:pt x="7712955" y="1739444"/>
                  </a:cubicBezTo>
                  <a:cubicBezTo>
                    <a:pt x="7719985" y="1739719"/>
                    <a:pt x="7734045" y="1740202"/>
                    <a:pt x="7741007" y="1740478"/>
                  </a:cubicBezTo>
                  <a:cubicBezTo>
                    <a:pt x="7739353" y="1734343"/>
                    <a:pt x="7736045" y="1722213"/>
                    <a:pt x="7734390" y="1716078"/>
                  </a:cubicBezTo>
                  <a:lnTo>
                    <a:pt x="7745211" y="1718353"/>
                  </a:lnTo>
                  <a:lnTo>
                    <a:pt x="7746658" y="1702087"/>
                  </a:lnTo>
                  <a:cubicBezTo>
                    <a:pt x="7724189" y="1715044"/>
                    <a:pt x="7737768" y="1690714"/>
                    <a:pt x="7737009" y="1681547"/>
                  </a:cubicBezTo>
                  <a:cubicBezTo>
                    <a:pt x="7740249" y="1682030"/>
                    <a:pt x="7746658" y="1682856"/>
                    <a:pt x="7749898" y="1683270"/>
                  </a:cubicBezTo>
                  <a:cubicBezTo>
                    <a:pt x="7755274" y="1642605"/>
                    <a:pt x="7761822" y="1602146"/>
                    <a:pt x="7768370" y="1561618"/>
                  </a:cubicBezTo>
                  <a:cubicBezTo>
                    <a:pt x="7763063" y="1562928"/>
                    <a:pt x="7752448" y="1565547"/>
                    <a:pt x="7747210" y="1566925"/>
                  </a:cubicBezTo>
                  <a:cubicBezTo>
                    <a:pt x="7750725" y="1558379"/>
                    <a:pt x="7754310" y="1549901"/>
                    <a:pt x="7758169" y="1541354"/>
                  </a:cubicBezTo>
                  <a:cubicBezTo>
                    <a:pt x="7758238" y="1546110"/>
                    <a:pt x="7758376" y="1555622"/>
                    <a:pt x="7758514" y="1560378"/>
                  </a:cubicBezTo>
                  <a:lnTo>
                    <a:pt x="7768232" y="1561274"/>
                  </a:lnTo>
                  <a:cubicBezTo>
                    <a:pt x="7776365" y="1510269"/>
                    <a:pt x="7782844" y="1458989"/>
                    <a:pt x="7792425" y="1408192"/>
                  </a:cubicBezTo>
                  <a:lnTo>
                    <a:pt x="7781948" y="1407985"/>
                  </a:lnTo>
                  <a:cubicBezTo>
                    <a:pt x="7784774" y="1407365"/>
                    <a:pt x="7790357" y="1406193"/>
                    <a:pt x="7793183" y="1405573"/>
                  </a:cubicBezTo>
                  <a:lnTo>
                    <a:pt x="7792976" y="1395648"/>
                  </a:lnTo>
                  <a:cubicBezTo>
                    <a:pt x="7790219" y="1395096"/>
                    <a:pt x="7784774" y="1393993"/>
                    <a:pt x="7782017" y="1393442"/>
                  </a:cubicBezTo>
                  <a:cubicBezTo>
                    <a:pt x="7785188" y="1393511"/>
                    <a:pt x="7791597" y="1393718"/>
                    <a:pt x="7794768" y="1393856"/>
                  </a:cubicBezTo>
                  <a:cubicBezTo>
                    <a:pt x="7797456" y="1374143"/>
                    <a:pt x="7800351" y="1354500"/>
                    <a:pt x="7802487" y="1334718"/>
                  </a:cubicBezTo>
                  <a:cubicBezTo>
                    <a:pt x="7798077" y="1333478"/>
                    <a:pt x="7789323" y="1330927"/>
                    <a:pt x="7784912" y="1329687"/>
                  </a:cubicBezTo>
                  <a:cubicBezTo>
                    <a:pt x="7789392" y="1324724"/>
                    <a:pt x="7793735" y="1319762"/>
                    <a:pt x="7798421" y="1314592"/>
                  </a:cubicBezTo>
                  <a:cubicBezTo>
                    <a:pt x="7800420" y="1315626"/>
                    <a:pt x="7804487" y="1317625"/>
                    <a:pt x="7806554" y="1318590"/>
                  </a:cubicBezTo>
                  <a:cubicBezTo>
                    <a:pt x="7808209" y="1304874"/>
                    <a:pt x="7810138" y="1291089"/>
                    <a:pt x="7812482" y="1277373"/>
                  </a:cubicBezTo>
                  <a:cubicBezTo>
                    <a:pt x="7810345" y="1274823"/>
                    <a:pt x="7806003" y="1269722"/>
                    <a:pt x="7803866" y="1267172"/>
                  </a:cubicBezTo>
                  <a:cubicBezTo>
                    <a:pt x="7804142" y="1260969"/>
                    <a:pt x="7804693" y="1248494"/>
                    <a:pt x="7804969" y="1242222"/>
                  </a:cubicBezTo>
                  <a:cubicBezTo>
                    <a:pt x="7797111" y="1246702"/>
                    <a:pt x="7789254" y="1251044"/>
                    <a:pt x="7781535" y="1255317"/>
                  </a:cubicBezTo>
                  <a:cubicBezTo>
                    <a:pt x="7788772" y="1259384"/>
                    <a:pt x="7796078" y="1263381"/>
                    <a:pt x="7803521" y="1267379"/>
                  </a:cubicBezTo>
                  <a:cubicBezTo>
                    <a:pt x="7797181" y="1269309"/>
                    <a:pt x="7784430" y="1273238"/>
                    <a:pt x="7778019" y="1275168"/>
                  </a:cubicBezTo>
                  <a:cubicBezTo>
                    <a:pt x="7778433" y="1279648"/>
                    <a:pt x="7779122" y="1288608"/>
                    <a:pt x="7779467" y="1293088"/>
                  </a:cubicBezTo>
                  <a:cubicBezTo>
                    <a:pt x="7778227" y="1289435"/>
                    <a:pt x="7775814" y="1282060"/>
                    <a:pt x="7774642" y="1278338"/>
                  </a:cubicBezTo>
                  <a:cubicBezTo>
                    <a:pt x="7765544" y="1281095"/>
                    <a:pt x="7756584" y="1283852"/>
                    <a:pt x="7747762" y="1286609"/>
                  </a:cubicBezTo>
                  <a:cubicBezTo>
                    <a:pt x="7747003" y="1269654"/>
                    <a:pt x="7745969" y="1252698"/>
                    <a:pt x="7743902" y="1235743"/>
                  </a:cubicBezTo>
                  <a:cubicBezTo>
                    <a:pt x="7735631" y="1243807"/>
                    <a:pt x="7728049" y="1252147"/>
                    <a:pt x="7720605" y="1260693"/>
                  </a:cubicBezTo>
                  <a:cubicBezTo>
                    <a:pt x="7720123" y="1256144"/>
                    <a:pt x="7719089" y="1247046"/>
                    <a:pt x="7718607" y="1242428"/>
                  </a:cubicBezTo>
                  <a:cubicBezTo>
                    <a:pt x="7716125" y="1246357"/>
                    <a:pt x="7711232" y="1254077"/>
                    <a:pt x="7708750" y="1257936"/>
                  </a:cubicBezTo>
                  <a:cubicBezTo>
                    <a:pt x="7691381" y="1256696"/>
                    <a:pt x="7674150" y="1255042"/>
                    <a:pt x="7656988" y="1253180"/>
                  </a:cubicBezTo>
                  <a:cubicBezTo>
                    <a:pt x="7639067" y="1249665"/>
                    <a:pt x="7618252" y="1254283"/>
                    <a:pt x="7602124" y="1246564"/>
                  </a:cubicBezTo>
                  <a:cubicBezTo>
                    <a:pt x="7599160" y="1180465"/>
                    <a:pt x="7598678" y="1114160"/>
                    <a:pt x="7596817" y="1047992"/>
                  </a:cubicBezTo>
                  <a:cubicBezTo>
                    <a:pt x="7592130" y="1047096"/>
                    <a:pt x="7587650" y="1046062"/>
                    <a:pt x="7583238" y="1045028"/>
                  </a:cubicBezTo>
                  <a:cubicBezTo>
                    <a:pt x="7586891" y="1044752"/>
                    <a:pt x="7594198" y="1044132"/>
                    <a:pt x="7597851" y="1043788"/>
                  </a:cubicBezTo>
                  <a:cubicBezTo>
                    <a:pt x="7596610" y="1038205"/>
                    <a:pt x="7594128" y="1026970"/>
                    <a:pt x="7592888" y="1021387"/>
                  </a:cubicBezTo>
                  <a:cubicBezTo>
                    <a:pt x="7596610" y="1001123"/>
                    <a:pt x="7595300" y="980515"/>
                    <a:pt x="7594266" y="960044"/>
                  </a:cubicBezTo>
                  <a:cubicBezTo>
                    <a:pt x="7582963" y="959700"/>
                    <a:pt x="7571659" y="959355"/>
                    <a:pt x="7560562" y="958941"/>
                  </a:cubicBezTo>
                  <a:cubicBezTo>
                    <a:pt x="7559115" y="960871"/>
                    <a:pt x="7556289" y="964869"/>
                    <a:pt x="7554911" y="966799"/>
                  </a:cubicBezTo>
                  <a:lnTo>
                    <a:pt x="7550223" y="958459"/>
                  </a:lnTo>
                  <a:cubicBezTo>
                    <a:pt x="7529201" y="955426"/>
                    <a:pt x="7507835" y="955633"/>
                    <a:pt x="7486813" y="953979"/>
                  </a:cubicBezTo>
                  <a:cubicBezTo>
                    <a:pt x="7487433" y="977965"/>
                    <a:pt x="7488054" y="1001950"/>
                    <a:pt x="7489501" y="1025867"/>
                  </a:cubicBezTo>
                  <a:cubicBezTo>
                    <a:pt x="7497565" y="1025798"/>
                    <a:pt x="7505560" y="1026694"/>
                    <a:pt x="7513556" y="1028555"/>
                  </a:cubicBezTo>
                  <a:cubicBezTo>
                    <a:pt x="7507490" y="1028900"/>
                    <a:pt x="7495360" y="1029520"/>
                    <a:pt x="7489294" y="1029796"/>
                  </a:cubicBezTo>
                  <a:cubicBezTo>
                    <a:pt x="7489639" y="1046545"/>
                    <a:pt x="7489984" y="1063224"/>
                    <a:pt x="7490604" y="1079835"/>
                  </a:cubicBezTo>
                  <a:cubicBezTo>
                    <a:pt x="7507421" y="1081145"/>
                    <a:pt x="7509696" y="1067911"/>
                    <a:pt x="7511074" y="1054402"/>
                  </a:cubicBezTo>
                  <a:cubicBezTo>
                    <a:pt x="7513142" y="1057228"/>
                    <a:pt x="7515279" y="1060054"/>
                    <a:pt x="7517622" y="1062811"/>
                  </a:cubicBezTo>
                  <a:cubicBezTo>
                    <a:pt x="7513625" y="1074804"/>
                    <a:pt x="7509558" y="1088106"/>
                    <a:pt x="7493016" y="1080869"/>
                  </a:cubicBezTo>
                  <a:cubicBezTo>
                    <a:pt x="7491431" y="1193285"/>
                    <a:pt x="7498255" y="1305839"/>
                    <a:pt x="7501356" y="1418324"/>
                  </a:cubicBezTo>
                  <a:cubicBezTo>
                    <a:pt x="7500322" y="1438863"/>
                    <a:pt x="7521758" y="1464366"/>
                    <a:pt x="7500116" y="1480011"/>
                  </a:cubicBezTo>
                  <a:cubicBezTo>
                    <a:pt x="7514245" y="1484078"/>
                    <a:pt x="7514452" y="1495037"/>
                    <a:pt x="7500529" y="1500000"/>
                  </a:cubicBezTo>
                  <a:cubicBezTo>
                    <a:pt x="7504733" y="1512957"/>
                    <a:pt x="7531890" y="1517369"/>
                    <a:pt x="7519966" y="1532877"/>
                  </a:cubicBezTo>
                  <a:cubicBezTo>
                    <a:pt x="7516106" y="1529982"/>
                    <a:pt x="7508317" y="1524192"/>
                    <a:pt x="7504458" y="1521228"/>
                  </a:cubicBezTo>
                  <a:cubicBezTo>
                    <a:pt x="7504802" y="1568097"/>
                    <a:pt x="7507283" y="1614828"/>
                    <a:pt x="7508042" y="1661628"/>
                  </a:cubicBezTo>
                  <a:cubicBezTo>
                    <a:pt x="7507490" y="1670933"/>
                    <a:pt x="7509627" y="1679548"/>
                    <a:pt x="7514452" y="1687544"/>
                  </a:cubicBezTo>
                  <a:cubicBezTo>
                    <a:pt x="7519828" y="1686441"/>
                    <a:pt x="7525342" y="1685338"/>
                    <a:pt x="7530924" y="1684028"/>
                  </a:cubicBezTo>
                  <a:cubicBezTo>
                    <a:pt x="7533889" y="1696435"/>
                    <a:pt x="7538782" y="1698916"/>
                    <a:pt x="7545743" y="1691610"/>
                  </a:cubicBezTo>
                  <a:cubicBezTo>
                    <a:pt x="7546777" y="1685545"/>
                    <a:pt x="7548845" y="1673414"/>
                    <a:pt x="7549879" y="1667348"/>
                  </a:cubicBezTo>
                  <a:cubicBezTo>
                    <a:pt x="7556771" y="1682030"/>
                    <a:pt x="7558494" y="1698227"/>
                    <a:pt x="7559666" y="1714149"/>
                  </a:cubicBezTo>
                  <a:cubicBezTo>
                    <a:pt x="7557668" y="1710702"/>
                    <a:pt x="7553670" y="1703878"/>
                    <a:pt x="7551671" y="1700432"/>
                  </a:cubicBezTo>
                  <a:cubicBezTo>
                    <a:pt x="7532855" y="1714838"/>
                    <a:pt x="7544296" y="1743993"/>
                    <a:pt x="7554703" y="1760948"/>
                  </a:cubicBezTo>
                  <a:cubicBezTo>
                    <a:pt x="7551946" y="1772941"/>
                    <a:pt x="7549189" y="1784865"/>
                    <a:pt x="7546570" y="1796789"/>
                  </a:cubicBezTo>
                  <a:cubicBezTo>
                    <a:pt x="7541470" y="1801062"/>
                    <a:pt x="7536438" y="1805405"/>
                    <a:pt x="7531476" y="1809609"/>
                  </a:cubicBezTo>
                  <a:cubicBezTo>
                    <a:pt x="7533268" y="1813813"/>
                    <a:pt x="7536852" y="1822222"/>
                    <a:pt x="7538575" y="1826496"/>
                  </a:cubicBezTo>
                  <a:cubicBezTo>
                    <a:pt x="7533681" y="1820499"/>
                    <a:pt x="7528788" y="1814571"/>
                    <a:pt x="7524032" y="1808506"/>
                  </a:cubicBezTo>
                  <a:cubicBezTo>
                    <a:pt x="7521344" y="1810574"/>
                    <a:pt x="7515968" y="1814571"/>
                    <a:pt x="7513280" y="1816570"/>
                  </a:cubicBezTo>
                  <a:cubicBezTo>
                    <a:pt x="7513487" y="1820016"/>
                    <a:pt x="7513763" y="1826978"/>
                    <a:pt x="7513969" y="1830424"/>
                  </a:cubicBezTo>
                  <a:cubicBezTo>
                    <a:pt x="7514590" y="1845450"/>
                    <a:pt x="7514865" y="1860475"/>
                    <a:pt x="7515761" y="1875432"/>
                  </a:cubicBezTo>
                  <a:cubicBezTo>
                    <a:pt x="7520310" y="1871503"/>
                    <a:pt x="7529339" y="1863577"/>
                    <a:pt x="7533819" y="1859579"/>
                  </a:cubicBezTo>
                  <a:cubicBezTo>
                    <a:pt x="7533337" y="1862129"/>
                    <a:pt x="7532441" y="1867299"/>
                    <a:pt x="7531958" y="1869849"/>
                  </a:cubicBezTo>
                  <a:cubicBezTo>
                    <a:pt x="7532096" y="1875432"/>
                    <a:pt x="7532441" y="1886598"/>
                    <a:pt x="7532579" y="1892181"/>
                  </a:cubicBezTo>
                  <a:cubicBezTo>
                    <a:pt x="7533544" y="1895213"/>
                    <a:pt x="7535405" y="1901417"/>
                    <a:pt x="7536301" y="1904449"/>
                  </a:cubicBezTo>
                  <a:cubicBezTo>
                    <a:pt x="7542918" y="1919613"/>
                    <a:pt x="7539333" y="1935741"/>
                    <a:pt x="7535956" y="1951180"/>
                  </a:cubicBezTo>
                  <a:cubicBezTo>
                    <a:pt x="7538299" y="1974477"/>
                    <a:pt x="7527478" y="1996326"/>
                    <a:pt x="7521758" y="2018313"/>
                  </a:cubicBezTo>
                  <a:cubicBezTo>
                    <a:pt x="7516933" y="2056359"/>
                    <a:pt x="7524721" y="2095233"/>
                    <a:pt x="7521482" y="2133693"/>
                  </a:cubicBezTo>
                  <a:lnTo>
                    <a:pt x="7536714" y="2129764"/>
                  </a:lnTo>
                  <a:cubicBezTo>
                    <a:pt x="7535612" y="2131625"/>
                    <a:pt x="7533337" y="2135278"/>
                    <a:pt x="7532234" y="2137070"/>
                  </a:cubicBezTo>
                  <a:lnTo>
                    <a:pt x="7522309" y="2136519"/>
                  </a:lnTo>
                  <a:cubicBezTo>
                    <a:pt x="7524791" y="2160229"/>
                    <a:pt x="7523687" y="2184077"/>
                    <a:pt x="7524584" y="2207856"/>
                  </a:cubicBezTo>
                  <a:moveTo>
                    <a:pt x="2773678" y="2207787"/>
                  </a:moveTo>
                  <a:cubicBezTo>
                    <a:pt x="2777262" y="2203996"/>
                    <a:pt x="2777262" y="2203996"/>
                    <a:pt x="2773678" y="2207787"/>
                  </a:cubicBezTo>
                  <a:moveTo>
                    <a:pt x="2708751" y="2226534"/>
                  </a:moveTo>
                  <a:cubicBezTo>
                    <a:pt x="2737837" y="2227016"/>
                    <a:pt x="2766648" y="2231566"/>
                    <a:pt x="2795665" y="2232944"/>
                  </a:cubicBezTo>
                  <a:cubicBezTo>
                    <a:pt x="2794149" y="2217091"/>
                    <a:pt x="2792701" y="2200963"/>
                    <a:pt x="2798491" y="2185662"/>
                  </a:cubicBezTo>
                  <a:cubicBezTo>
                    <a:pt x="2768095" y="2183181"/>
                    <a:pt x="2737699" y="2180217"/>
                    <a:pt x="2707235" y="2179665"/>
                  </a:cubicBezTo>
                  <a:cubicBezTo>
                    <a:pt x="2705374" y="2192830"/>
                    <a:pt x="2709992" y="2204892"/>
                    <a:pt x="2715368" y="2216471"/>
                  </a:cubicBezTo>
                  <a:cubicBezTo>
                    <a:pt x="2710199" y="2210957"/>
                    <a:pt x="2705029" y="2205512"/>
                    <a:pt x="2699722" y="2200205"/>
                  </a:cubicBezTo>
                  <a:cubicBezTo>
                    <a:pt x="2700894" y="2193726"/>
                    <a:pt x="2702135" y="2187247"/>
                    <a:pt x="2703444" y="2180768"/>
                  </a:cubicBezTo>
                  <a:cubicBezTo>
                    <a:pt x="2696896" y="2179803"/>
                    <a:pt x="2683732" y="2177942"/>
                    <a:pt x="2677115" y="2176977"/>
                  </a:cubicBezTo>
                  <a:cubicBezTo>
                    <a:pt x="2679320" y="2192209"/>
                    <a:pt x="2681113" y="2207442"/>
                    <a:pt x="2682284" y="2222812"/>
                  </a:cubicBezTo>
                  <a:cubicBezTo>
                    <a:pt x="2691313" y="2221778"/>
                    <a:pt x="2700963" y="2220124"/>
                    <a:pt x="2708751" y="2226534"/>
                  </a:cubicBezTo>
                  <a:moveTo>
                    <a:pt x="8184330" y="1018147"/>
                  </a:moveTo>
                  <a:cubicBezTo>
                    <a:pt x="8185157" y="995196"/>
                    <a:pt x="8204870" y="1028624"/>
                    <a:pt x="8184330" y="1018147"/>
                  </a:cubicBezTo>
                  <a:moveTo>
                    <a:pt x="8066331" y="1022834"/>
                  </a:moveTo>
                  <a:cubicBezTo>
                    <a:pt x="8069846" y="1019113"/>
                    <a:pt x="8069846" y="1019113"/>
                    <a:pt x="8066331" y="1022834"/>
                  </a:cubicBezTo>
                  <a:moveTo>
                    <a:pt x="7941095" y="1037033"/>
                  </a:moveTo>
                  <a:cubicBezTo>
                    <a:pt x="7929929" y="1016562"/>
                    <a:pt x="7963771" y="1035517"/>
                    <a:pt x="7941095" y="1037033"/>
                  </a:cubicBezTo>
                  <a:moveTo>
                    <a:pt x="8031662" y="1043305"/>
                  </a:moveTo>
                  <a:cubicBezTo>
                    <a:pt x="8034901" y="1039445"/>
                    <a:pt x="8034901" y="1039445"/>
                    <a:pt x="8031662" y="1043305"/>
                  </a:cubicBezTo>
                  <a:moveTo>
                    <a:pt x="7949090" y="1062673"/>
                  </a:moveTo>
                  <a:cubicBezTo>
                    <a:pt x="7944679" y="1055367"/>
                    <a:pt x="7950124" y="1044752"/>
                    <a:pt x="7957223" y="1041031"/>
                  </a:cubicBezTo>
                  <a:cubicBezTo>
                    <a:pt x="7969906" y="1042685"/>
                    <a:pt x="7959774" y="1066946"/>
                    <a:pt x="7949090" y="1062673"/>
                  </a:cubicBezTo>
                  <a:moveTo>
                    <a:pt x="8154417" y="1070392"/>
                  </a:moveTo>
                  <a:cubicBezTo>
                    <a:pt x="8144974" y="1049026"/>
                    <a:pt x="8177024" y="1070599"/>
                    <a:pt x="8154417" y="1070392"/>
                  </a:cubicBezTo>
                  <a:moveTo>
                    <a:pt x="8031662" y="1070392"/>
                  </a:moveTo>
                  <a:cubicBezTo>
                    <a:pt x="8025735" y="1061777"/>
                    <a:pt x="8027320" y="1056676"/>
                    <a:pt x="8036487" y="1055091"/>
                  </a:cubicBezTo>
                  <a:cubicBezTo>
                    <a:pt x="8042208" y="1063776"/>
                    <a:pt x="8040622" y="1068876"/>
                    <a:pt x="8031662" y="1070392"/>
                  </a:cubicBezTo>
                  <a:moveTo>
                    <a:pt x="8176404" y="1076871"/>
                  </a:moveTo>
                  <a:cubicBezTo>
                    <a:pt x="8172337" y="1069910"/>
                    <a:pt x="8172751" y="1063017"/>
                    <a:pt x="8177507" y="1056263"/>
                  </a:cubicBezTo>
                  <a:cubicBezTo>
                    <a:pt x="8191981" y="1049439"/>
                    <a:pt x="8189844" y="1081558"/>
                    <a:pt x="8176404" y="1076871"/>
                  </a:cubicBezTo>
                  <a:moveTo>
                    <a:pt x="8034763" y="1086245"/>
                  </a:moveTo>
                  <a:cubicBezTo>
                    <a:pt x="8040691" y="1081903"/>
                    <a:pt x="8046688" y="1077492"/>
                    <a:pt x="8052891" y="1073149"/>
                  </a:cubicBezTo>
                  <a:cubicBezTo>
                    <a:pt x="8048824" y="1066326"/>
                    <a:pt x="8043793" y="1059227"/>
                    <a:pt x="8046825" y="1050887"/>
                  </a:cubicBezTo>
                  <a:cubicBezTo>
                    <a:pt x="8050341" y="1056332"/>
                    <a:pt x="8057440" y="1067291"/>
                    <a:pt x="8060955" y="1072805"/>
                  </a:cubicBezTo>
                  <a:cubicBezTo>
                    <a:pt x="8064332" y="1063707"/>
                    <a:pt x="8067089" y="1054195"/>
                    <a:pt x="8068812" y="1044477"/>
                  </a:cubicBezTo>
                  <a:cubicBezTo>
                    <a:pt x="8068536" y="1058813"/>
                    <a:pt x="8072397" y="1072598"/>
                    <a:pt x="8078186" y="1085556"/>
                  </a:cubicBezTo>
                  <a:cubicBezTo>
                    <a:pt x="8065366" y="1071288"/>
                    <a:pt x="8049307" y="1080938"/>
                    <a:pt x="8034763" y="1086245"/>
                  </a:cubicBezTo>
                  <a:moveTo>
                    <a:pt x="8005264" y="1085556"/>
                  </a:moveTo>
                  <a:cubicBezTo>
                    <a:pt x="8007125" y="1076665"/>
                    <a:pt x="8012294" y="1075148"/>
                    <a:pt x="8020841" y="1081145"/>
                  </a:cubicBezTo>
                  <a:cubicBezTo>
                    <a:pt x="8018704" y="1090243"/>
                    <a:pt x="8013535" y="1091690"/>
                    <a:pt x="8005264" y="1085556"/>
                  </a:cubicBezTo>
                  <a:moveTo>
                    <a:pt x="7948884" y="1084315"/>
                  </a:moveTo>
                  <a:cubicBezTo>
                    <a:pt x="7952674" y="1080111"/>
                    <a:pt x="7952674" y="1080111"/>
                    <a:pt x="7948884" y="1084315"/>
                  </a:cubicBezTo>
                  <a:moveTo>
                    <a:pt x="8183779" y="1092379"/>
                  </a:moveTo>
                  <a:cubicBezTo>
                    <a:pt x="8187294" y="1088520"/>
                    <a:pt x="8187294" y="1088520"/>
                    <a:pt x="8183779" y="1092379"/>
                  </a:cubicBezTo>
                  <a:moveTo>
                    <a:pt x="8155037" y="1091759"/>
                  </a:moveTo>
                  <a:cubicBezTo>
                    <a:pt x="8144147" y="1071151"/>
                    <a:pt x="8177713" y="1090381"/>
                    <a:pt x="8155037" y="1091759"/>
                  </a:cubicBezTo>
                  <a:moveTo>
                    <a:pt x="7995546" y="1106440"/>
                  </a:moveTo>
                  <a:cubicBezTo>
                    <a:pt x="7989825" y="1088933"/>
                    <a:pt x="8017395" y="1094723"/>
                    <a:pt x="8019945" y="1104993"/>
                  </a:cubicBezTo>
                  <a:cubicBezTo>
                    <a:pt x="8014845" y="1112574"/>
                    <a:pt x="7998923" y="1118846"/>
                    <a:pt x="7995546" y="1106440"/>
                  </a:cubicBezTo>
                  <a:moveTo>
                    <a:pt x="8056061" y="1116020"/>
                  </a:moveTo>
                  <a:cubicBezTo>
                    <a:pt x="8055855" y="1108301"/>
                    <a:pt x="8055785" y="1100581"/>
                    <a:pt x="8055855" y="1092793"/>
                  </a:cubicBezTo>
                  <a:cubicBezTo>
                    <a:pt x="8068261" y="1099548"/>
                    <a:pt x="8068881" y="1114366"/>
                    <a:pt x="8070122" y="1126911"/>
                  </a:cubicBezTo>
                  <a:cubicBezTo>
                    <a:pt x="8065298" y="1123327"/>
                    <a:pt x="8060610" y="1119673"/>
                    <a:pt x="8056061" y="1116020"/>
                  </a:cubicBezTo>
                  <a:moveTo>
                    <a:pt x="8087422" y="1147726"/>
                  </a:moveTo>
                  <a:lnTo>
                    <a:pt x="8089972" y="1142832"/>
                  </a:lnTo>
                  <a:cubicBezTo>
                    <a:pt x="8092936" y="1143659"/>
                    <a:pt x="8098933" y="1145451"/>
                    <a:pt x="8101896" y="1146278"/>
                  </a:cubicBezTo>
                  <a:cubicBezTo>
                    <a:pt x="8103275" y="1142763"/>
                    <a:pt x="8106100" y="1135664"/>
                    <a:pt x="8107479" y="1132080"/>
                  </a:cubicBezTo>
                  <a:cubicBezTo>
                    <a:pt x="8095762" y="1134837"/>
                    <a:pt x="8087146" y="1126911"/>
                    <a:pt x="8077635" y="1122430"/>
                  </a:cubicBezTo>
                  <a:cubicBezTo>
                    <a:pt x="8089834" y="1123671"/>
                    <a:pt x="8102241" y="1125325"/>
                    <a:pt x="8114579" y="1127048"/>
                  </a:cubicBezTo>
                  <a:cubicBezTo>
                    <a:pt x="8120230" y="1131735"/>
                    <a:pt x="8126158" y="1136147"/>
                    <a:pt x="8132292" y="1140489"/>
                  </a:cubicBezTo>
                  <a:lnTo>
                    <a:pt x="8121195" y="1138076"/>
                  </a:lnTo>
                  <a:cubicBezTo>
                    <a:pt x="8122505" y="1144486"/>
                    <a:pt x="8125055" y="1157237"/>
                    <a:pt x="8126296" y="1163647"/>
                  </a:cubicBezTo>
                  <a:cubicBezTo>
                    <a:pt x="8124021" y="1160408"/>
                    <a:pt x="8119334" y="1153929"/>
                    <a:pt x="8117060" y="1150690"/>
                  </a:cubicBezTo>
                  <a:cubicBezTo>
                    <a:pt x="8107272" y="1163165"/>
                    <a:pt x="8095624" y="1159374"/>
                    <a:pt x="8087422" y="1147726"/>
                  </a:cubicBezTo>
                  <a:moveTo>
                    <a:pt x="8039519" y="1168955"/>
                  </a:moveTo>
                  <a:cubicBezTo>
                    <a:pt x="8038692" y="1156341"/>
                    <a:pt x="8042690" y="1136905"/>
                    <a:pt x="8023598" y="1145245"/>
                  </a:cubicBezTo>
                  <a:cubicBezTo>
                    <a:pt x="8030215" y="1141936"/>
                    <a:pt x="8036969" y="1138421"/>
                    <a:pt x="8043862" y="1134975"/>
                  </a:cubicBezTo>
                  <a:cubicBezTo>
                    <a:pt x="8048962" y="1135871"/>
                    <a:pt x="8059163" y="1137525"/>
                    <a:pt x="8064264" y="1138352"/>
                  </a:cubicBezTo>
                  <a:cubicBezTo>
                    <a:pt x="8056061" y="1143177"/>
                    <a:pt x="8048135" y="1148415"/>
                    <a:pt x="8040485" y="1153653"/>
                  </a:cubicBezTo>
                  <a:cubicBezTo>
                    <a:pt x="8042759" y="1157169"/>
                    <a:pt x="8047239" y="1164337"/>
                    <a:pt x="8049514" y="1167921"/>
                  </a:cubicBezTo>
                  <a:cubicBezTo>
                    <a:pt x="8047033" y="1168128"/>
                    <a:pt x="8042070" y="1168679"/>
                    <a:pt x="8039519" y="1168955"/>
                  </a:cubicBezTo>
                  <a:moveTo>
                    <a:pt x="7989962" y="1171918"/>
                  </a:moveTo>
                  <a:cubicBezTo>
                    <a:pt x="7993409" y="1162545"/>
                    <a:pt x="7997269" y="1153240"/>
                    <a:pt x="8000922" y="1143797"/>
                  </a:cubicBezTo>
                  <a:cubicBezTo>
                    <a:pt x="8006436" y="1146072"/>
                    <a:pt x="8012156" y="1148553"/>
                    <a:pt x="8017395" y="1151723"/>
                  </a:cubicBezTo>
                  <a:cubicBezTo>
                    <a:pt x="8013397" y="1150207"/>
                    <a:pt x="8005540" y="1147243"/>
                    <a:pt x="8001611" y="1145727"/>
                  </a:cubicBezTo>
                  <a:cubicBezTo>
                    <a:pt x="7998371" y="1154894"/>
                    <a:pt x="8002921" y="1169506"/>
                    <a:pt x="7989962" y="1171918"/>
                  </a:cubicBezTo>
                  <a:moveTo>
                    <a:pt x="7961221" y="1150345"/>
                  </a:moveTo>
                  <a:cubicBezTo>
                    <a:pt x="7966046" y="1139662"/>
                    <a:pt x="7969216" y="1128358"/>
                    <a:pt x="7972869" y="1117192"/>
                  </a:cubicBezTo>
                  <a:cubicBezTo>
                    <a:pt x="7980106" y="1119742"/>
                    <a:pt x="7987550" y="1122086"/>
                    <a:pt x="7995201" y="1123947"/>
                  </a:cubicBezTo>
                  <a:cubicBezTo>
                    <a:pt x="7990170" y="1124912"/>
                    <a:pt x="7980176" y="1126704"/>
                    <a:pt x="7975213" y="1127600"/>
                  </a:cubicBezTo>
                  <a:cubicBezTo>
                    <a:pt x="7964323" y="1141523"/>
                    <a:pt x="7980727" y="1155307"/>
                    <a:pt x="7980313" y="1170126"/>
                  </a:cubicBezTo>
                  <a:cubicBezTo>
                    <a:pt x="7971697" y="1165784"/>
                    <a:pt x="7965288" y="1158961"/>
                    <a:pt x="7961221" y="1150345"/>
                  </a:cubicBezTo>
                  <a:moveTo>
                    <a:pt x="7928619" y="1187220"/>
                  </a:moveTo>
                  <a:cubicBezTo>
                    <a:pt x="7922554" y="1178742"/>
                    <a:pt x="7924002" y="1173435"/>
                    <a:pt x="7932962" y="1171298"/>
                  </a:cubicBezTo>
                  <a:cubicBezTo>
                    <a:pt x="7938821" y="1179845"/>
                    <a:pt x="7937373" y="1185152"/>
                    <a:pt x="7928619" y="1187220"/>
                  </a:cubicBezTo>
                  <a:moveTo>
                    <a:pt x="7975006" y="1195077"/>
                  </a:moveTo>
                  <a:cubicBezTo>
                    <a:pt x="7963978" y="1174331"/>
                    <a:pt x="7997613" y="1193216"/>
                    <a:pt x="7975006" y="1195077"/>
                  </a:cubicBezTo>
                  <a:moveTo>
                    <a:pt x="7935788" y="1215479"/>
                  </a:moveTo>
                  <a:cubicBezTo>
                    <a:pt x="7929929" y="1211964"/>
                    <a:pt x="7924760" y="1198385"/>
                    <a:pt x="7934341" y="1196387"/>
                  </a:cubicBezTo>
                  <a:cubicBezTo>
                    <a:pt x="7946816" y="1194801"/>
                    <a:pt x="7949917" y="1220717"/>
                    <a:pt x="7935788" y="1215479"/>
                  </a:cubicBezTo>
                  <a:moveTo>
                    <a:pt x="7921452" y="1270618"/>
                  </a:moveTo>
                  <a:cubicBezTo>
                    <a:pt x="7913525" y="1264415"/>
                    <a:pt x="7921658" y="1246702"/>
                    <a:pt x="7931446" y="1254146"/>
                  </a:cubicBezTo>
                  <a:cubicBezTo>
                    <a:pt x="7939028" y="1260418"/>
                    <a:pt x="7930895" y="1277580"/>
                    <a:pt x="7921452" y="1270618"/>
                  </a:cubicBezTo>
                  <a:moveTo>
                    <a:pt x="7967631" y="1271514"/>
                  </a:moveTo>
                  <a:lnTo>
                    <a:pt x="7961497" y="1270756"/>
                  </a:lnTo>
                  <a:cubicBezTo>
                    <a:pt x="7957017" y="1269309"/>
                    <a:pt x="7952881" y="1267448"/>
                    <a:pt x="7948952" y="1265173"/>
                  </a:cubicBezTo>
                  <a:cubicBezTo>
                    <a:pt x="7949779" y="1259177"/>
                    <a:pt x="7951365" y="1247184"/>
                    <a:pt x="7952123" y="1241119"/>
                  </a:cubicBezTo>
                  <a:cubicBezTo>
                    <a:pt x="7954329" y="1241808"/>
                    <a:pt x="7958809" y="1243255"/>
                    <a:pt x="7961083" y="1243945"/>
                  </a:cubicBezTo>
                  <a:lnTo>
                    <a:pt x="7961703" y="1226300"/>
                  </a:lnTo>
                  <a:cubicBezTo>
                    <a:pt x="7958533" y="1226713"/>
                    <a:pt x="7952192" y="1227610"/>
                    <a:pt x="7949022" y="1228092"/>
                  </a:cubicBezTo>
                  <a:cubicBezTo>
                    <a:pt x="7949090" y="1226300"/>
                    <a:pt x="7949366" y="1222716"/>
                    <a:pt x="7949435" y="1220855"/>
                  </a:cubicBezTo>
                  <a:cubicBezTo>
                    <a:pt x="7953019" y="1221406"/>
                    <a:pt x="7960050" y="1222440"/>
                    <a:pt x="7963564" y="1222992"/>
                  </a:cubicBezTo>
                  <a:lnTo>
                    <a:pt x="7961635" y="1212722"/>
                  </a:lnTo>
                  <a:cubicBezTo>
                    <a:pt x="7974937" y="1221268"/>
                    <a:pt x="7980796" y="1207759"/>
                    <a:pt x="7988171" y="1199488"/>
                  </a:cubicBezTo>
                  <a:cubicBezTo>
                    <a:pt x="7984380" y="1209689"/>
                    <a:pt x="7981072" y="1219959"/>
                    <a:pt x="7979072" y="1230504"/>
                  </a:cubicBezTo>
                  <a:cubicBezTo>
                    <a:pt x="7976177" y="1227058"/>
                    <a:pt x="7970457" y="1220166"/>
                    <a:pt x="7967562" y="1216719"/>
                  </a:cubicBezTo>
                  <a:cubicBezTo>
                    <a:pt x="7967425" y="1230987"/>
                    <a:pt x="7964254" y="1244496"/>
                    <a:pt x="7955776" y="1256144"/>
                  </a:cubicBezTo>
                  <a:cubicBezTo>
                    <a:pt x="7962737" y="1259590"/>
                    <a:pt x="7969768" y="1263175"/>
                    <a:pt x="7976867" y="1266759"/>
                  </a:cubicBezTo>
                  <a:cubicBezTo>
                    <a:pt x="7977143" y="1257385"/>
                    <a:pt x="7977763" y="1247873"/>
                    <a:pt x="7978521" y="1238362"/>
                  </a:cubicBezTo>
                  <a:cubicBezTo>
                    <a:pt x="7977832" y="1254766"/>
                    <a:pt x="7978245" y="1271445"/>
                    <a:pt x="7987895" y="1285437"/>
                  </a:cubicBezTo>
                  <a:cubicBezTo>
                    <a:pt x="7982725" y="1278545"/>
                    <a:pt x="7976660" y="1272342"/>
                    <a:pt x="7967631" y="1271514"/>
                  </a:cubicBezTo>
                  <a:moveTo>
                    <a:pt x="7990583" y="1340301"/>
                  </a:moveTo>
                  <a:cubicBezTo>
                    <a:pt x="7990307" y="1332995"/>
                    <a:pt x="7989894" y="1318383"/>
                    <a:pt x="7989618" y="1311008"/>
                  </a:cubicBezTo>
                  <a:cubicBezTo>
                    <a:pt x="7970733" y="1305908"/>
                    <a:pt x="7948470" y="1308045"/>
                    <a:pt x="7932893" y="1294742"/>
                  </a:cubicBezTo>
                  <a:cubicBezTo>
                    <a:pt x="7942749" y="1293364"/>
                    <a:pt x="7951365" y="1296190"/>
                    <a:pt x="7958602" y="1303220"/>
                  </a:cubicBezTo>
                  <a:cubicBezTo>
                    <a:pt x="7963909" y="1298809"/>
                    <a:pt x="7968872" y="1293984"/>
                    <a:pt x="7973490" y="1288608"/>
                  </a:cubicBezTo>
                  <a:cubicBezTo>
                    <a:pt x="7972525" y="1291296"/>
                    <a:pt x="7970595" y="1296810"/>
                    <a:pt x="7969699" y="1299498"/>
                  </a:cubicBezTo>
                  <a:cubicBezTo>
                    <a:pt x="7988860" y="1297981"/>
                    <a:pt x="8010916" y="1326792"/>
                    <a:pt x="7990583" y="1340301"/>
                  </a:cubicBezTo>
                  <a:moveTo>
                    <a:pt x="7979348" y="1385860"/>
                  </a:moveTo>
                  <a:cubicBezTo>
                    <a:pt x="7972456" y="1379175"/>
                    <a:pt x="7965839" y="1372282"/>
                    <a:pt x="7959636" y="1365114"/>
                  </a:cubicBezTo>
                  <a:cubicBezTo>
                    <a:pt x="7990583" y="1363598"/>
                    <a:pt x="7955018" y="1335408"/>
                    <a:pt x="7973834" y="1325482"/>
                  </a:cubicBezTo>
                  <a:cubicBezTo>
                    <a:pt x="7975420" y="1330031"/>
                    <a:pt x="7978590" y="1339198"/>
                    <a:pt x="7980176" y="1343748"/>
                  </a:cubicBezTo>
                  <a:cubicBezTo>
                    <a:pt x="7981347" y="1348503"/>
                    <a:pt x="7983691" y="1357946"/>
                    <a:pt x="7984862" y="1362702"/>
                  </a:cubicBezTo>
                  <a:cubicBezTo>
                    <a:pt x="7989756" y="1342438"/>
                    <a:pt x="8006436" y="1370904"/>
                    <a:pt x="7987895" y="1371800"/>
                  </a:cubicBezTo>
                  <a:cubicBezTo>
                    <a:pt x="7991755" y="1385309"/>
                    <a:pt x="7987964" y="1399645"/>
                    <a:pt x="7986586" y="1413155"/>
                  </a:cubicBezTo>
                  <a:cubicBezTo>
                    <a:pt x="7983484" y="1404263"/>
                    <a:pt x="7981278" y="1395096"/>
                    <a:pt x="7979348" y="1385860"/>
                  </a:cubicBezTo>
                  <a:moveTo>
                    <a:pt x="7953364" y="1418738"/>
                  </a:moveTo>
                  <a:cubicBezTo>
                    <a:pt x="7958878" y="1414740"/>
                    <a:pt x="7965081" y="1412328"/>
                    <a:pt x="7971835" y="1410329"/>
                  </a:cubicBezTo>
                  <a:cubicBezTo>
                    <a:pt x="7971905" y="1421908"/>
                    <a:pt x="7972111" y="1433487"/>
                    <a:pt x="7972387" y="1444998"/>
                  </a:cubicBezTo>
                  <a:cubicBezTo>
                    <a:pt x="7972318" y="1431557"/>
                    <a:pt x="7969148" y="1419909"/>
                    <a:pt x="7953364" y="1418738"/>
                  </a:cubicBezTo>
                  <a:moveTo>
                    <a:pt x="7989894" y="1451132"/>
                  </a:moveTo>
                  <a:cubicBezTo>
                    <a:pt x="7979968" y="1450236"/>
                    <a:pt x="7982105" y="1434383"/>
                    <a:pt x="7990928" y="1433281"/>
                  </a:cubicBezTo>
                  <a:cubicBezTo>
                    <a:pt x="8000784" y="1433694"/>
                    <a:pt x="7999267" y="1451063"/>
                    <a:pt x="7989894" y="1451132"/>
                  </a:cubicBezTo>
                  <a:moveTo>
                    <a:pt x="7975833" y="1463676"/>
                  </a:moveTo>
                  <a:cubicBezTo>
                    <a:pt x="7965632" y="1442654"/>
                    <a:pt x="7998441" y="1463056"/>
                    <a:pt x="7975833" y="1463676"/>
                  </a:cubicBezTo>
                  <a:moveTo>
                    <a:pt x="7937304" y="1483527"/>
                  </a:moveTo>
                  <a:cubicBezTo>
                    <a:pt x="7930550" y="1475256"/>
                    <a:pt x="7942336" y="1462505"/>
                    <a:pt x="7951296" y="1467260"/>
                  </a:cubicBezTo>
                  <a:cubicBezTo>
                    <a:pt x="7955983" y="1474566"/>
                    <a:pt x="7945506" y="1490764"/>
                    <a:pt x="7937304" y="1483527"/>
                  </a:cubicBezTo>
                  <a:moveTo>
                    <a:pt x="7969354" y="1541699"/>
                  </a:moveTo>
                  <a:cubicBezTo>
                    <a:pt x="7973283" y="1537908"/>
                    <a:pt x="7973283" y="1537908"/>
                    <a:pt x="7969354" y="1541699"/>
                  </a:cubicBezTo>
                  <a:moveTo>
                    <a:pt x="7950469" y="1555691"/>
                  </a:moveTo>
                  <a:cubicBezTo>
                    <a:pt x="7951227" y="1541079"/>
                    <a:pt x="7951503" y="1526536"/>
                    <a:pt x="7951847" y="1511855"/>
                  </a:cubicBezTo>
                  <a:cubicBezTo>
                    <a:pt x="7941026" y="1516473"/>
                    <a:pt x="7934754" y="1525915"/>
                    <a:pt x="7926828" y="1533635"/>
                  </a:cubicBezTo>
                  <a:cubicBezTo>
                    <a:pt x="7931859" y="1524399"/>
                    <a:pt x="7934547" y="1510821"/>
                    <a:pt x="7947781" y="1510890"/>
                  </a:cubicBezTo>
                  <a:cubicBezTo>
                    <a:pt x="7952881" y="1499310"/>
                    <a:pt x="7964392" y="1505789"/>
                    <a:pt x="7973558" y="1506547"/>
                  </a:cubicBezTo>
                  <a:cubicBezTo>
                    <a:pt x="7963082" y="1521573"/>
                    <a:pt x="7956397" y="1538597"/>
                    <a:pt x="7950469" y="1555691"/>
                  </a:cubicBezTo>
                  <a:moveTo>
                    <a:pt x="7950469" y="1574232"/>
                  </a:moveTo>
                  <a:cubicBezTo>
                    <a:pt x="7945161" y="1560860"/>
                    <a:pt x="7971560" y="1557345"/>
                    <a:pt x="7974041" y="1570234"/>
                  </a:cubicBezTo>
                  <a:cubicBezTo>
                    <a:pt x="7971422" y="1579677"/>
                    <a:pt x="7956741" y="1579125"/>
                    <a:pt x="7950469" y="1574232"/>
                  </a:cubicBezTo>
                  <a:moveTo>
                    <a:pt x="7929791" y="1622547"/>
                  </a:moveTo>
                  <a:cubicBezTo>
                    <a:pt x="7925518" y="1614208"/>
                    <a:pt x="7937924" y="1602491"/>
                    <a:pt x="7946195" y="1606764"/>
                  </a:cubicBezTo>
                  <a:cubicBezTo>
                    <a:pt x="7951572" y="1615448"/>
                    <a:pt x="7938132" y="1628613"/>
                    <a:pt x="7929791" y="1622547"/>
                  </a:cubicBezTo>
                  <a:moveTo>
                    <a:pt x="7920556" y="1664040"/>
                  </a:moveTo>
                  <a:cubicBezTo>
                    <a:pt x="7908631" y="1661972"/>
                    <a:pt x="7915800" y="1645844"/>
                    <a:pt x="7925863" y="1650600"/>
                  </a:cubicBezTo>
                  <a:cubicBezTo>
                    <a:pt x="7937304" y="1652806"/>
                    <a:pt x="7929791" y="1668314"/>
                    <a:pt x="7920556" y="1664040"/>
                  </a:cubicBezTo>
                  <a:moveTo>
                    <a:pt x="7896225" y="1764188"/>
                  </a:moveTo>
                  <a:cubicBezTo>
                    <a:pt x="7899602" y="1756330"/>
                    <a:pt x="7903049" y="1748473"/>
                    <a:pt x="7906564" y="1740547"/>
                  </a:cubicBezTo>
                  <a:cubicBezTo>
                    <a:pt x="7916006" y="1741925"/>
                    <a:pt x="7925518" y="1743441"/>
                    <a:pt x="7935099" y="1745027"/>
                  </a:cubicBezTo>
                  <a:cubicBezTo>
                    <a:pt x="7925656" y="1756950"/>
                    <a:pt x="7909321" y="1758536"/>
                    <a:pt x="7896225" y="1764188"/>
                  </a:cubicBezTo>
                  <a:moveTo>
                    <a:pt x="7942474" y="1774182"/>
                  </a:moveTo>
                  <a:cubicBezTo>
                    <a:pt x="7945989" y="1770735"/>
                    <a:pt x="7945989" y="1770735"/>
                    <a:pt x="7942474" y="1774182"/>
                  </a:cubicBezTo>
                  <a:moveTo>
                    <a:pt x="7932755" y="1816502"/>
                  </a:moveTo>
                  <a:cubicBezTo>
                    <a:pt x="7938683" y="1805198"/>
                    <a:pt x="7952261" y="1803475"/>
                    <a:pt x="7962462" y="1797478"/>
                  </a:cubicBezTo>
                  <a:cubicBezTo>
                    <a:pt x="7966735" y="1790448"/>
                    <a:pt x="7969423" y="1782384"/>
                    <a:pt x="7972869" y="1774802"/>
                  </a:cubicBezTo>
                  <a:cubicBezTo>
                    <a:pt x="7972801" y="1783693"/>
                    <a:pt x="7973007" y="1792516"/>
                    <a:pt x="7973420" y="1801407"/>
                  </a:cubicBezTo>
                  <a:cubicBezTo>
                    <a:pt x="7958188" y="1801062"/>
                    <a:pt x="7946195" y="1811263"/>
                    <a:pt x="7932755" y="1816502"/>
                  </a:cubicBezTo>
                  <a:moveTo>
                    <a:pt x="7921658" y="1848827"/>
                  </a:moveTo>
                  <a:cubicBezTo>
                    <a:pt x="7918074" y="1840763"/>
                    <a:pt x="7928551" y="1827047"/>
                    <a:pt x="7936960" y="1835042"/>
                  </a:cubicBezTo>
                  <a:cubicBezTo>
                    <a:pt x="7945437" y="1843933"/>
                    <a:pt x="7929171" y="1853928"/>
                    <a:pt x="7921658" y="1848827"/>
                  </a:cubicBezTo>
                  <a:moveTo>
                    <a:pt x="7956052" y="1890596"/>
                  </a:moveTo>
                  <a:cubicBezTo>
                    <a:pt x="7959636" y="1887149"/>
                    <a:pt x="7959636" y="1887149"/>
                    <a:pt x="7956052" y="1890596"/>
                  </a:cubicBezTo>
                  <a:moveTo>
                    <a:pt x="7905323" y="1942978"/>
                  </a:moveTo>
                  <a:cubicBezTo>
                    <a:pt x="7900085" y="1930985"/>
                    <a:pt x="7930481" y="1927470"/>
                    <a:pt x="7930343" y="1939325"/>
                  </a:cubicBezTo>
                  <a:cubicBezTo>
                    <a:pt x="7923450" y="1944494"/>
                    <a:pt x="7913181" y="1945459"/>
                    <a:pt x="7905323" y="1942978"/>
                  </a:cubicBezTo>
                  <a:moveTo>
                    <a:pt x="7955431" y="1953937"/>
                  </a:moveTo>
                  <a:cubicBezTo>
                    <a:pt x="7959016" y="1950491"/>
                    <a:pt x="7959016" y="1950491"/>
                    <a:pt x="7955431" y="1953937"/>
                  </a:cubicBezTo>
                  <a:moveTo>
                    <a:pt x="7899809" y="1967033"/>
                  </a:moveTo>
                  <a:cubicBezTo>
                    <a:pt x="7889677" y="1945873"/>
                    <a:pt x="7922554" y="1967033"/>
                    <a:pt x="7899809" y="1967033"/>
                  </a:cubicBezTo>
                  <a:moveTo>
                    <a:pt x="7955845" y="1987848"/>
                  </a:moveTo>
                  <a:cubicBezTo>
                    <a:pt x="7959222" y="1983988"/>
                    <a:pt x="7959222" y="1983988"/>
                    <a:pt x="7955845" y="1987848"/>
                  </a:cubicBezTo>
                  <a:moveTo>
                    <a:pt x="7878994" y="2015969"/>
                  </a:moveTo>
                  <a:cubicBezTo>
                    <a:pt x="7889126" y="2018588"/>
                    <a:pt x="7891745" y="2033476"/>
                    <a:pt x="7888161" y="2041885"/>
                  </a:cubicBezTo>
                  <a:cubicBezTo>
                    <a:pt x="7875479" y="2046916"/>
                    <a:pt x="7865691" y="2020380"/>
                    <a:pt x="7878994" y="2015969"/>
                  </a:cubicBezTo>
                  <a:moveTo>
                    <a:pt x="7892434" y="2140171"/>
                  </a:moveTo>
                  <a:cubicBezTo>
                    <a:pt x="7892089" y="2131900"/>
                    <a:pt x="7882647" y="2120804"/>
                    <a:pt x="7893331" y="2114945"/>
                  </a:cubicBezTo>
                  <a:cubicBezTo>
                    <a:pt x="7888299" y="2106467"/>
                    <a:pt x="7887196" y="2096818"/>
                    <a:pt x="7887541" y="2087099"/>
                  </a:cubicBezTo>
                  <a:cubicBezTo>
                    <a:pt x="7890436" y="2088478"/>
                    <a:pt x="7896156" y="2091166"/>
                    <a:pt x="7898982" y="2092545"/>
                  </a:cubicBezTo>
                  <a:cubicBezTo>
                    <a:pt x="7898569" y="2098196"/>
                    <a:pt x="7897673" y="2109362"/>
                    <a:pt x="7897190" y="2114945"/>
                  </a:cubicBezTo>
                  <a:cubicBezTo>
                    <a:pt x="7901257" y="2109293"/>
                    <a:pt x="7909390" y="2097921"/>
                    <a:pt x="7913456" y="2092200"/>
                  </a:cubicBezTo>
                  <a:cubicBezTo>
                    <a:pt x="7923726" y="2105089"/>
                    <a:pt x="7908218" y="2115290"/>
                    <a:pt x="7903738" y="2126455"/>
                  </a:cubicBezTo>
                  <a:cubicBezTo>
                    <a:pt x="7907322" y="2125284"/>
                    <a:pt x="7914559" y="2123009"/>
                    <a:pt x="7918143" y="2121838"/>
                  </a:cubicBezTo>
                  <a:cubicBezTo>
                    <a:pt x="7920969" y="2129281"/>
                    <a:pt x="7923933" y="2136657"/>
                    <a:pt x="7926896" y="2144031"/>
                  </a:cubicBezTo>
                  <a:cubicBezTo>
                    <a:pt x="7916213" y="2142308"/>
                    <a:pt x="7905737" y="2139965"/>
                    <a:pt x="7895536" y="2137070"/>
                  </a:cubicBezTo>
                  <a:cubicBezTo>
                    <a:pt x="7898569" y="2146030"/>
                    <a:pt x="7901532" y="2155059"/>
                    <a:pt x="7904427" y="2164157"/>
                  </a:cubicBezTo>
                  <a:cubicBezTo>
                    <a:pt x="7894640" y="2159815"/>
                    <a:pt x="7894227" y="2149270"/>
                    <a:pt x="7892434" y="2140171"/>
                  </a:cubicBezTo>
                  <a:moveTo>
                    <a:pt x="7867277" y="2215920"/>
                  </a:moveTo>
                  <a:cubicBezTo>
                    <a:pt x="7869482" y="2193243"/>
                    <a:pt x="7887609" y="2226948"/>
                    <a:pt x="7867277" y="2215920"/>
                  </a:cubicBezTo>
                  <a:moveTo>
                    <a:pt x="7901739" y="2231497"/>
                  </a:moveTo>
                  <a:cubicBezTo>
                    <a:pt x="7919659" y="2228947"/>
                    <a:pt x="7948608" y="2245144"/>
                    <a:pt x="7957912" y="2224191"/>
                  </a:cubicBezTo>
                  <a:cubicBezTo>
                    <a:pt x="7951641" y="2220055"/>
                    <a:pt x="7945713" y="2215437"/>
                    <a:pt x="7940130" y="2210544"/>
                  </a:cubicBezTo>
                  <a:cubicBezTo>
                    <a:pt x="7942542" y="2199998"/>
                    <a:pt x="7949022" y="2191589"/>
                    <a:pt x="7957706" y="2185179"/>
                  </a:cubicBezTo>
                  <a:cubicBezTo>
                    <a:pt x="7964598" y="2080690"/>
                    <a:pt x="7970664" y="1976131"/>
                    <a:pt x="7977556" y="1871641"/>
                  </a:cubicBezTo>
                  <a:cubicBezTo>
                    <a:pt x="7979486" y="1850895"/>
                    <a:pt x="7977832" y="1828356"/>
                    <a:pt x="7961773" y="1812986"/>
                  </a:cubicBezTo>
                  <a:cubicBezTo>
                    <a:pt x="7966183" y="1812711"/>
                    <a:pt x="7975144" y="1812090"/>
                    <a:pt x="7979555" y="1811815"/>
                  </a:cubicBezTo>
                  <a:cubicBezTo>
                    <a:pt x="7979555" y="1785072"/>
                    <a:pt x="7984862" y="1758674"/>
                    <a:pt x="7985620" y="1731931"/>
                  </a:cubicBezTo>
                  <a:cubicBezTo>
                    <a:pt x="7974248" y="1741442"/>
                    <a:pt x="7978728" y="1756813"/>
                    <a:pt x="7976522" y="1769357"/>
                  </a:cubicBezTo>
                  <a:cubicBezTo>
                    <a:pt x="7964530" y="1769908"/>
                    <a:pt x="7957912" y="1764601"/>
                    <a:pt x="7956741" y="1753298"/>
                  </a:cubicBezTo>
                  <a:cubicBezTo>
                    <a:pt x="7954674" y="1753849"/>
                    <a:pt x="7950607" y="1754883"/>
                    <a:pt x="7948539" y="1755365"/>
                  </a:cubicBezTo>
                  <a:cubicBezTo>
                    <a:pt x="7959154" y="1740133"/>
                    <a:pt x="7941302" y="1726141"/>
                    <a:pt x="7930274" y="1718008"/>
                  </a:cubicBezTo>
                  <a:cubicBezTo>
                    <a:pt x="7936477" y="1709944"/>
                    <a:pt x="7937994" y="1699950"/>
                    <a:pt x="7940475" y="1690163"/>
                  </a:cubicBezTo>
                  <a:cubicBezTo>
                    <a:pt x="7937166" y="1690438"/>
                    <a:pt x="7930619" y="1691059"/>
                    <a:pt x="7927310" y="1691334"/>
                  </a:cubicBezTo>
                  <a:cubicBezTo>
                    <a:pt x="7952950" y="1689267"/>
                    <a:pt x="7944403" y="1659836"/>
                    <a:pt x="7943783" y="1642674"/>
                  </a:cubicBezTo>
                  <a:cubicBezTo>
                    <a:pt x="7948263" y="1642467"/>
                    <a:pt x="7957223" y="1642053"/>
                    <a:pt x="7961703" y="1641846"/>
                  </a:cubicBezTo>
                  <a:cubicBezTo>
                    <a:pt x="7964116" y="1635850"/>
                    <a:pt x="7968940" y="1623719"/>
                    <a:pt x="7971353" y="1617654"/>
                  </a:cubicBezTo>
                  <a:cubicBezTo>
                    <a:pt x="7970939" y="1626132"/>
                    <a:pt x="7975282" y="1637573"/>
                    <a:pt x="7964943" y="1641984"/>
                  </a:cubicBezTo>
                  <a:cubicBezTo>
                    <a:pt x="7952192" y="1652668"/>
                    <a:pt x="7955500" y="1673138"/>
                    <a:pt x="7948126" y="1686992"/>
                  </a:cubicBezTo>
                  <a:cubicBezTo>
                    <a:pt x="7969768" y="1688646"/>
                    <a:pt x="7974868" y="1665763"/>
                    <a:pt x="7974179" y="1649566"/>
                  </a:cubicBezTo>
                  <a:cubicBezTo>
                    <a:pt x="7978108" y="1649497"/>
                    <a:pt x="7985965" y="1649428"/>
                    <a:pt x="7989894" y="1649359"/>
                  </a:cubicBezTo>
                  <a:cubicBezTo>
                    <a:pt x="7989342" y="1636195"/>
                    <a:pt x="7997269" y="1619722"/>
                    <a:pt x="7984931" y="1609659"/>
                  </a:cubicBezTo>
                  <a:cubicBezTo>
                    <a:pt x="7989205" y="1602559"/>
                    <a:pt x="7993478" y="1595391"/>
                    <a:pt x="7997889" y="1588223"/>
                  </a:cubicBezTo>
                  <a:cubicBezTo>
                    <a:pt x="7992789" y="1588016"/>
                    <a:pt x="7982519" y="1587603"/>
                    <a:pt x="7977349" y="1587465"/>
                  </a:cubicBezTo>
                  <a:cubicBezTo>
                    <a:pt x="7972525" y="1596149"/>
                    <a:pt x="7962807" y="1593737"/>
                    <a:pt x="7955018" y="1595185"/>
                  </a:cubicBezTo>
                  <a:cubicBezTo>
                    <a:pt x="7964116" y="1590497"/>
                    <a:pt x="7973490" y="1585742"/>
                    <a:pt x="7981899" y="1579539"/>
                  </a:cubicBezTo>
                  <a:cubicBezTo>
                    <a:pt x="7986172" y="1581400"/>
                    <a:pt x="7990514" y="1583260"/>
                    <a:pt x="7994994" y="1585121"/>
                  </a:cubicBezTo>
                  <a:cubicBezTo>
                    <a:pt x="7993961" y="1561756"/>
                    <a:pt x="7997475" y="1538597"/>
                    <a:pt x="8000784" y="1515508"/>
                  </a:cubicBezTo>
                  <a:cubicBezTo>
                    <a:pt x="7996510" y="1516542"/>
                    <a:pt x="7987964" y="1518471"/>
                    <a:pt x="7983691" y="1519436"/>
                  </a:cubicBezTo>
                  <a:cubicBezTo>
                    <a:pt x="7983415" y="1516266"/>
                    <a:pt x="7982863" y="1509925"/>
                    <a:pt x="7982588" y="1506754"/>
                  </a:cubicBezTo>
                  <a:cubicBezTo>
                    <a:pt x="7988309" y="1509098"/>
                    <a:pt x="7994167" y="1511441"/>
                    <a:pt x="8000164" y="1513716"/>
                  </a:cubicBezTo>
                  <a:cubicBezTo>
                    <a:pt x="8001887" y="1468777"/>
                    <a:pt x="8005470" y="1423907"/>
                    <a:pt x="8008159" y="1379037"/>
                  </a:cubicBezTo>
                  <a:cubicBezTo>
                    <a:pt x="8005815" y="1379106"/>
                    <a:pt x="8001128" y="1379313"/>
                    <a:pt x="7998854" y="1379450"/>
                  </a:cubicBezTo>
                  <a:cubicBezTo>
                    <a:pt x="8002645" y="1371800"/>
                    <a:pt x="8008297" y="1364494"/>
                    <a:pt x="8008779" y="1355465"/>
                  </a:cubicBezTo>
                  <a:cubicBezTo>
                    <a:pt x="8015120" y="1297223"/>
                    <a:pt x="8015396" y="1238431"/>
                    <a:pt x="8021323" y="1180120"/>
                  </a:cubicBezTo>
                  <a:cubicBezTo>
                    <a:pt x="8018153" y="1177570"/>
                    <a:pt x="8011743" y="1172539"/>
                    <a:pt x="8008503" y="1169988"/>
                  </a:cubicBezTo>
                  <a:cubicBezTo>
                    <a:pt x="8070191" y="1186393"/>
                    <a:pt x="8135118" y="1181568"/>
                    <a:pt x="8198322" y="1187978"/>
                  </a:cubicBezTo>
                  <a:cubicBezTo>
                    <a:pt x="8198184" y="1163234"/>
                    <a:pt x="8203767" y="1137663"/>
                    <a:pt x="8200527" y="1113539"/>
                  </a:cubicBezTo>
                  <a:cubicBezTo>
                    <a:pt x="8185708" y="1117468"/>
                    <a:pt x="8192463" y="1137111"/>
                    <a:pt x="8185778" y="1147450"/>
                  </a:cubicBezTo>
                  <a:cubicBezTo>
                    <a:pt x="8175094" y="1153309"/>
                    <a:pt x="8161654" y="1156273"/>
                    <a:pt x="8151660" y="1147381"/>
                  </a:cubicBezTo>
                  <a:cubicBezTo>
                    <a:pt x="8158070" y="1144073"/>
                    <a:pt x="8164686" y="1139731"/>
                    <a:pt x="8172406" y="1139524"/>
                  </a:cubicBezTo>
                  <a:lnTo>
                    <a:pt x="8176266" y="1140902"/>
                  </a:lnTo>
                  <a:cubicBezTo>
                    <a:pt x="8191774" y="1138559"/>
                    <a:pt x="8186398" y="1115814"/>
                    <a:pt x="8191774" y="1104786"/>
                  </a:cubicBezTo>
                  <a:cubicBezTo>
                    <a:pt x="8194187" y="1105062"/>
                    <a:pt x="8198942" y="1105751"/>
                    <a:pt x="8201286" y="1106026"/>
                  </a:cubicBezTo>
                  <a:cubicBezTo>
                    <a:pt x="8207972" y="1071013"/>
                    <a:pt x="8206248" y="1034827"/>
                    <a:pt x="8209487" y="999262"/>
                  </a:cubicBezTo>
                  <a:cubicBezTo>
                    <a:pt x="8171097" y="996643"/>
                    <a:pt x="8132774" y="993610"/>
                    <a:pt x="8094383" y="992577"/>
                  </a:cubicBezTo>
                  <a:cubicBezTo>
                    <a:pt x="8088180" y="999745"/>
                    <a:pt x="8078944" y="1005259"/>
                    <a:pt x="8074326" y="993197"/>
                  </a:cubicBezTo>
                  <a:cubicBezTo>
                    <a:pt x="8071914" y="996230"/>
                    <a:pt x="8067021" y="1002295"/>
                    <a:pt x="8064539" y="1005328"/>
                  </a:cubicBezTo>
                  <a:cubicBezTo>
                    <a:pt x="8064608" y="1001881"/>
                    <a:pt x="8064677" y="995058"/>
                    <a:pt x="8064677" y="991680"/>
                  </a:cubicBezTo>
                  <a:cubicBezTo>
                    <a:pt x="8054270" y="991749"/>
                    <a:pt x="8044000" y="991749"/>
                    <a:pt x="8033868" y="991818"/>
                  </a:cubicBezTo>
                  <a:cubicBezTo>
                    <a:pt x="8034971" y="993955"/>
                    <a:pt x="8037314" y="998091"/>
                    <a:pt x="8038486" y="1000227"/>
                  </a:cubicBezTo>
                  <a:cubicBezTo>
                    <a:pt x="8047101" y="1003398"/>
                    <a:pt x="8055579" y="1007395"/>
                    <a:pt x="8061299" y="1015115"/>
                  </a:cubicBezTo>
                  <a:cubicBezTo>
                    <a:pt x="8054545" y="1014012"/>
                    <a:pt x="8047928" y="1012840"/>
                    <a:pt x="8041449" y="1011531"/>
                  </a:cubicBezTo>
                  <a:cubicBezTo>
                    <a:pt x="8035315" y="1022352"/>
                    <a:pt x="8026837" y="1043029"/>
                    <a:pt x="8011812" y="1030278"/>
                  </a:cubicBezTo>
                  <a:cubicBezTo>
                    <a:pt x="8012088" y="1014839"/>
                    <a:pt x="8013259" y="999400"/>
                    <a:pt x="8011536" y="983892"/>
                  </a:cubicBezTo>
                  <a:cubicBezTo>
                    <a:pt x="8010640" y="988648"/>
                    <a:pt x="8008710" y="998228"/>
                    <a:pt x="8007814" y="1002984"/>
                  </a:cubicBezTo>
                  <a:cubicBezTo>
                    <a:pt x="8003610" y="996781"/>
                    <a:pt x="7999405" y="990647"/>
                    <a:pt x="7994856" y="984788"/>
                  </a:cubicBezTo>
                  <a:cubicBezTo>
                    <a:pt x="7972869" y="984650"/>
                    <a:pt x="7950883" y="982996"/>
                    <a:pt x="7929033" y="981411"/>
                  </a:cubicBezTo>
                  <a:cubicBezTo>
                    <a:pt x="7928619" y="990371"/>
                    <a:pt x="7927793" y="1008222"/>
                    <a:pt x="7927379" y="1017183"/>
                  </a:cubicBezTo>
                  <a:cubicBezTo>
                    <a:pt x="7935650" y="1013461"/>
                    <a:pt x="7944335" y="1009739"/>
                    <a:pt x="7952398" y="1005121"/>
                  </a:cubicBezTo>
                  <a:lnTo>
                    <a:pt x="7958326" y="1014288"/>
                  </a:lnTo>
                  <a:cubicBezTo>
                    <a:pt x="7947298" y="1015942"/>
                    <a:pt x="7936546" y="1018285"/>
                    <a:pt x="7926552" y="1022972"/>
                  </a:cubicBezTo>
                  <a:cubicBezTo>
                    <a:pt x="7925311" y="1051162"/>
                    <a:pt x="7921176" y="1079353"/>
                    <a:pt x="7923588" y="1107612"/>
                  </a:cubicBezTo>
                  <a:cubicBezTo>
                    <a:pt x="7927379" y="1104786"/>
                    <a:pt x="7934961" y="1099065"/>
                    <a:pt x="7938752" y="1096239"/>
                  </a:cubicBezTo>
                  <a:cubicBezTo>
                    <a:pt x="7938200" y="1099134"/>
                    <a:pt x="7937028" y="1104924"/>
                    <a:pt x="7936477" y="1107818"/>
                  </a:cubicBezTo>
                  <a:cubicBezTo>
                    <a:pt x="7935926" y="1109473"/>
                    <a:pt x="7934892" y="1112781"/>
                    <a:pt x="7934409" y="1114435"/>
                  </a:cubicBezTo>
                  <a:lnTo>
                    <a:pt x="7920142" y="1116158"/>
                  </a:lnTo>
                  <a:cubicBezTo>
                    <a:pt x="7923726" y="1121879"/>
                    <a:pt x="7930963" y="1133252"/>
                    <a:pt x="7934616" y="1138972"/>
                  </a:cubicBezTo>
                  <a:cubicBezTo>
                    <a:pt x="7930825" y="1138490"/>
                    <a:pt x="7923175" y="1137456"/>
                    <a:pt x="7919384" y="1136974"/>
                  </a:cubicBezTo>
                  <a:cubicBezTo>
                    <a:pt x="7915868" y="1194526"/>
                    <a:pt x="7912285" y="1252078"/>
                    <a:pt x="7908631" y="1309561"/>
                  </a:cubicBezTo>
                  <a:cubicBezTo>
                    <a:pt x="7911458" y="1310112"/>
                    <a:pt x="7917110" y="1311215"/>
                    <a:pt x="7919935" y="1311698"/>
                  </a:cubicBezTo>
                  <a:lnTo>
                    <a:pt x="7907391" y="1311077"/>
                  </a:lnTo>
                  <a:cubicBezTo>
                    <a:pt x="7908839" y="1322105"/>
                    <a:pt x="7902773" y="1339267"/>
                    <a:pt x="7919315" y="1339681"/>
                  </a:cubicBezTo>
                  <a:cubicBezTo>
                    <a:pt x="7916144" y="1338992"/>
                    <a:pt x="7909803" y="1337682"/>
                    <a:pt x="7906633" y="1336993"/>
                  </a:cubicBezTo>
                  <a:cubicBezTo>
                    <a:pt x="7904289" y="1396061"/>
                    <a:pt x="7898155" y="1454923"/>
                    <a:pt x="7896914" y="1513991"/>
                  </a:cubicBezTo>
                  <a:cubicBezTo>
                    <a:pt x="7902153" y="1514543"/>
                    <a:pt x="7912630" y="1515645"/>
                    <a:pt x="7917799" y="1516197"/>
                  </a:cubicBezTo>
                  <a:cubicBezTo>
                    <a:pt x="7917316" y="1520126"/>
                    <a:pt x="7916351" y="1527914"/>
                    <a:pt x="7915868" y="1531843"/>
                  </a:cubicBezTo>
                  <a:cubicBezTo>
                    <a:pt x="7908494" y="1533428"/>
                    <a:pt x="7901326" y="1535013"/>
                    <a:pt x="7894295" y="1536530"/>
                  </a:cubicBezTo>
                  <a:cubicBezTo>
                    <a:pt x="7893055" y="1561411"/>
                    <a:pt x="7890918" y="1586224"/>
                    <a:pt x="7890298" y="1611106"/>
                  </a:cubicBezTo>
                  <a:cubicBezTo>
                    <a:pt x="7895122" y="1618274"/>
                    <a:pt x="7899189" y="1625856"/>
                    <a:pt x="7902566" y="1633920"/>
                  </a:cubicBezTo>
                  <a:cubicBezTo>
                    <a:pt x="7898775" y="1634403"/>
                    <a:pt x="7891332" y="1635367"/>
                    <a:pt x="7887609" y="1635850"/>
                  </a:cubicBezTo>
                  <a:cubicBezTo>
                    <a:pt x="7888299" y="1640055"/>
                    <a:pt x="7889195" y="1644259"/>
                    <a:pt x="7890229" y="1648463"/>
                  </a:cubicBezTo>
                  <a:cubicBezTo>
                    <a:pt x="7888368" y="1657148"/>
                    <a:pt x="7886851" y="1665832"/>
                    <a:pt x="7885542" y="1674448"/>
                  </a:cubicBezTo>
                  <a:cubicBezTo>
                    <a:pt x="7887954" y="1672656"/>
                    <a:pt x="7892848" y="1669072"/>
                    <a:pt x="7895329" y="1667280"/>
                  </a:cubicBezTo>
                  <a:cubicBezTo>
                    <a:pt x="7898637" y="1683063"/>
                    <a:pt x="7914008" y="1699536"/>
                    <a:pt x="7904359" y="1715596"/>
                  </a:cubicBezTo>
                  <a:cubicBezTo>
                    <a:pt x="7903945" y="1699812"/>
                    <a:pt x="7897259" y="1685476"/>
                    <a:pt x="7890229" y="1671691"/>
                  </a:cubicBezTo>
                  <a:cubicBezTo>
                    <a:pt x="7880786" y="1703121"/>
                    <a:pt x="7882992" y="1736273"/>
                    <a:pt x="7879959" y="1768599"/>
                  </a:cubicBezTo>
                  <a:cubicBezTo>
                    <a:pt x="7876651" y="1835318"/>
                    <a:pt x="7869965" y="1901899"/>
                    <a:pt x="7868655" y="1968618"/>
                  </a:cubicBezTo>
                  <a:cubicBezTo>
                    <a:pt x="7871205" y="1971513"/>
                    <a:pt x="7876375" y="1977372"/>
                    <a:pt x="7878994" y="1980266"/>
                  </a:cubicBezTo>
                  <a:cubicBezTo>
                    <a:pt x="7875824" y="1979853"/>
                    <a:pt x="7869552" y="1979095"/>
                    <a:pt x="7866450" y="1978681"/>
                  </a:cubicBezTo>
                  <a:cubicBezTo>
                    <a:pt x="7860384" y="2006802"/>
                    <a:pt x="7872998" y="2036716"/>
                    <a:pt x="7860591" y="2063183"/>
                  </a:cubicBezTo>
                  <a:cubicBezTo>
                    <a:pt x="7871826" y="2062080"/>
                    <a:pt x="7883129" y="2060839"/>
                    <a:pt x="7894571" y="2059599"/>
                  </a:cubicBezTo>
                  <a:cubicBezTo>
                    <a:pt x="7897466" y="2050156"/>
                    <a:pt x="7900360" y="2040713"/>
                    <a:pt x="7903600" y="2031270"/>
                  </a:cubicBezTo>
                  <a:cubicBezTo>
                    <a:pt x="7902153" y="2038508"/>
                    <a:pt x="7900843" y="2045745"/>
                    <a:pt x="7899534" y="2052913"/>
                  </a:cubicBezTo>
                  <a:cubicBezTo>
                    <a:pt x="7902635" y="2055325"/>
                    <a:pt x="7908907" y="2060150"/>
                    <a:pt x="7912009" y="2062562"/>
                  </a:cubicBezTo>
                  <a:cubicBezTo>
                    <a:pt x="7892297" y="2060219"/>
                    <a:pt x="7871688" y="2065044"/>
                    <a:pt x="7856593" y="2078208"/>
                  </a:cubicBezTo>
                  <a:cubicBezTo>
                    <a:pt x="7864244" y="2077519"/>
                    <a:pt x="7879408" y="2076278"/>
                    <a:pt x="7886989" y="2075658"/>
                  </a:cubicBezTo>
                  <a:cubicBezTo>
                    <a:pt x="7880097" y="2090132"/>
                    <a:pt x="7870034" y="2102470"/>
                    <a:pt x="7858248" y="2113222"/>
                  </a:cubicBezTo>
                  <a:cubicBezTo>
                    <a:pt x="7859213" y="2134313"/>
                    <a:pt x="7859144" y="2155404"/>
                    <a:pt x="7854181" y="2176012"/>
                  </a:cubicBezTo>
                  <a:cubicBezTo>
                    <a:pt x="7858661" y="2176977"/>
                    <a:pt x="7867691" y="2178838"/>
                    <a:pt x="7872239" y="2179734"/>
                  </a:cubicBezTo>
                  <a:cubicBezTo>
                    <a:pt x="7867621" y="2179458"/>
                    <a:pt x="7858386" y="2178907"/>
                    <a:pt x="7853836" y="2178632"/>
                  </a:cubicBezTo>
                  <a:cubicBezTo>
                    <a:pt x="7853354" y="2195035"/>
                    <a:pt x="7852596" y="2211302"/>
                    <a:pt x="7851838" y="2227637"/>
                  </a:cubicBezTo>
                  <a:cubicBezTo>
                    <a:pt x="7864382" y="2225776"/>
                    <a:pt x="7883337" y="2235287"/>
                    <a:pt x="7891883" y="2223295"/>
                  </a:cubicBezTo>
                  <a:cubicBezTo>
                    <a:pt x="7894778" y="2212474"/>
                    <a:pt x="7897741" y="2201514"/>
                    <a:pt x="7900636" y="2190555"/>
                  </a:cubicBezTo>
                  <a:cubicBezTo>
                    <a:pt x="7902084" y="2174841"/>
                    <a:pt x="7912905" y="2162641"/>
                    <a:pt x="7920349" y="2149408"/>
                  </a:cubicBezTo>
                  <a:cubicBezTo>
                    <a:pt x="7925381" y="2149614"/>
                    <a:pt x="7935512" y="2150028"/>
                    <a:pt x="7940544" y="2150234"/>
                  </a:cubicBezTo>
                  <a:cubicBezTo>
                    <a:pt x="7946058" y="2175323"/>
                    <a:pt x="7923519" y="2180561"/>
                    <a:pt x="7906219" y="2189039"/>
                  </a:cubicBezTo>
                  <a:cubicBezTo>
                    <a:pt x="7907942" y="2192623"/>
                    <a:pt x="7911388" y="2199860"/>
                    <a:pt x="7913181" y="2203444"/>
                  </a:cubicBezTo>
                  <a:cubicBezTo>
                    <a:pt x="7916282" y="2199791"/>
                    <a:pt x="7922554" y="2192416"/>
                    <a:pt x="7925725" y="2188695"/>
                  </a:cubicBezTo>
                  <a:cubicBezTo>
                    <a:pt x="7921865" y="2201721"/>
                    <a:pt x="7919453" y="2215231"/>
                    <a:pt x="7929929" y="2226190"/>
                  </a:cubicBezTo>
                  <a:cubicBezTo>
                    <a:pt x="7919659" y="2221158"/>
                    <a:pt x="7909735" y="2220745"/>
                    <a:pt x="7900085" y="2224880"/>
                  </a:cubicBezTo>
                  <a:cubicBezTo>
                    <a:pt x="7900498" y="2226534"/>
                    <a:pt x="7901326" y="2229842"/>
                    <a:pt x="7901739" y="2231497"/>
                  </a:cubicBezTo>
                  <a:moveTo>
                    <a:pt x="2841431" y="2234874"/>
                  </a:moveTo>
                  <a:cubicBezTo>
                    <a:pt x="2866588" y="2238320"/>
                    <a:pt x="2892091" y="2238458"/>
                    <a:pt x="2917455" y="2240250"/>
                  </a:cubicBezTo>
                  <a:cubicBezTo>
                    <a:pt x="2917593" y="2231083"/>
                    <a:pt x="2916283" y="2222123"/>
                    <a:pt x="2913526" y="2213438"/>
                  </a:cubicBezTo>
                  <a:cubicBezTo>
                    <a:pt x="2915180" y="2207994"/>
                    <a:pt x="2916146" y="2202342"/>
                    <a:pt x="2916421" y="2196621"/>
                  </a:cubicBezTo>
                  <a:lnTo>
                    <a:pt x="2913526" y="2192072"/>
                  </a:lnTo>
                  <a:cubicBezTo>
                    <a:pt x="2886025" y="2190004"/>
                    <a:pt x="2858455" y="2189177"/>
                    <a:pt x="2831024" y="2186075"/>
                  </a:cubicBezTo>
                  <a:cubicBezTo>
                    <a:pt x="2829852" y="2208889"/>
                    <a:pt x="2812759" y="2180079"/>
                    <a:pt x="2801731" y="2182836"/>
                  </a:cubicBezTo>
                  <a:cubicBezTo>
                    <a:pt x="2802213" y="2199585"/>
                    <a:pt x="2802006" y="2216333"/>
                    <a:pt x="2800628" y="2233082"/>
                  </a:cubicBezTo>
                  <a:cubicBezTo>
                    <a:pt x="2807727" y="2233633"/>
                    <a:pt x="2821787" y="2234736"/>
                    <a:pt x="2828818" y="2235287"/>
                  </a:cubicBezTo>
                  <a:cubicBezTo>
                    <a:pt x="2830541" y="2232324"/>
                    <a:pt x="2833918" y="2226396"/>
                    <a:pt x="2835641" y="2223433"/>
                  </a:cubicBezTo>
                  <a:cubicBezTo>
                    <a:pt x="2837089" y="2226259"/>
                    <a:pt x="2839984" y="2232048"/>
                    <a:pt x="2841431" y="2234874"/>
                  </a:cubicBezTo>
                  <a:moveTo>
                    <a:pt x="1759315" y="2241008"/>
                  </a:moveTo>
                  <a:cubicBezTo>
                    <a:pt x="1764897" y="2257550"/>
                    <a:pt x="1770963" y="2273885"/>
                    <a:pt x="1777786" y="2289945"/>
                  </a:cubicBezTo>
                  <a:cubicBezTo>
                    <a:pt x="1790399" y="2275333"/>
                    <a:pt x="1786333" y="2256723"/>
                    <a:pt x="1794535" y="2241215"/>
                  </a:cubicBezTo>
                  <a:cubicBezTo>
                    <a:pt x="1798119" y="2250589"/>
                    <a:pt x="1802323" y="2259687"/>
                    <a:pt x="1809354" y="2266993"/>
                  </a:cubicBezTo>
                  <a:cubicBezTo>
                    <a:pt x="1828239" y="2233564"/>
                    <a:pt x="1794397" y="2236321"/>
                    <a:pt x="1775167" y="2237769"/>
                  </a:cubicBezTo>
                  <a:cubicBezTo>
                    <a:pt x="1771170" y="2238596"/>
                    <a:pt x="1763243" y="2240181"/>
                    <a:pt x="1759315" y="2241008"/>
                  </a:cubicBezTo>
                  <a:moveTo>
                    <a:pt x="5638392" y="2410563"/>
                  </a:moveTo>
                  <a:cubicBezTo>
                    <a:pt x="5649352" y="2411183"/>
                    <a:pt x="5660380" y="2411803"/>
                    <a:pt x="5671476" y="2412424"/>
                  </a:cubicBezTo>
                  <a:cubicBezTo>
                    <a:pt x="5670718" y="2409253"/>
                    <a:pt x="5669202" y="2403050"/>
                    <a:pt x="5668374" y="2399880"/>
                  </a:cubicBezTo>
                  <a:cubicBezTo>
                    <a:pt x="5673750" y="2397398"/>
                    <a:pt x="5679127" y="2394917"/>
                    <a:pt x="5684641" y="2392298"/>
                  </a:cubicBezTo>
                  <a:cubicBezTo>
                    <a:pt x="5683952" y="2397536"/>
                    <a:pt x="5682642" y="2408013"/>
                    <a:pt x="5681953" y="2413251"/>
                  </a:cubicBezTo>
                  <a:lnTo>
                    <a:pt x="5698288" y="2415043"/>
                  </a:lnTo>
                  <a:cubicBezTo>
                    <a:pt x="5693739" y="2398225"/>
                    <a:pt x="5701183" y="2382441"/>
                    <a:pt x="5706214" y="2366727"/>
                  </a:cubicBezTo>
                  <a:cubicBezTo>
                    <a:pt x="5689121" y="2365831"/>
                    <a:pt x="5672165" y="2365004"/>
                    <a:pt x="5655279" y="2363694"/>
                  </a:cubicBezTo>
                  <a:cubicBezTo>
                    <a:pt x="5653900" y="2367278"/>
                    <a:pt x="5651075" y="2374377"/>
                    <a:pt x="5649696" y="2377961"/>
                  </a:cubicBezTo>
                  <a:cubicBezTo>
                    <a:pt x="5649558" y="2374170"/>
                    <a:pt x="5649214" y="2366589"/>
                    <a:pt x="5649076" y="2362798"/>
                  </a:cubicBezTo>
                  <a:cubicBezTo>
                    <a:pt x="5629915" y="2363556"/>
                    <a:pt x="5610960" y="2361213"/>
                    <a:pt x="5592075" y="2358938"/>
                  </a:cubicBezTo>
                  <a:cubicBezTo>
                    <a:pt x="5588147" y="2379822"/>
                    <a:pt x="5610547" y="2378995"/>
                    <a:pt x="5623987" y="2384647"/>
                  </a:cubicBezTo>
                  <a:cubicBezTo>
                    <a:pt x="5630053" y="2381890"/>
                    <a:pt x="5636325" y="2379409"/>
                    <a:pt x="5642734" y="2377134"/>
                  </a:cubicBezTo>
                  <a:cubicBezTo>
                    <a:pt x="5645974" y="2388369"/>
                    <a:pt x="5640115" y="2399604"/>
                    <a:pt x="5638392" y="2410563"/>
                  </a:cubicBezTo>
                  <a:moveTo>
                    <a:pt x="3717670" y="2388231"/>
                  </a:moveTo>
                  <a:cubicBezTo>
                    <a:pt x="3721323" y="2384647"/>
                    <a:pt x="3721323" y="2384647"/>
                    <a:pt x="3717670" y="2388231"/>
                  </a:cubicBezTo>
                  <a:moveTo>
                    <a:pt x="3386349" y="2401809"/>
                  </a:moveTo>
                  <a:cubicBezTo>
                    <a:pt x="3389864" y="2398087"/>
                    <a:pt x="3389864" y="2398087"/>
                    <a:pt x="3386349" y="2401809"/>
                  </a:cubicBezTo>
                  <a:moveTo>
                    <a:pt x="3980686" y="2409874"/>
                  </a:moveTo>
                  <a:cubicBezTo>
                    <a:pt x="3982409" y="2387335"/>
                    <a:pt x="4001295" y="2421039"/>
                    <a:pt x="3980686" y="2409874"/>
                  </a:cubicBezTo>
                  <a:moveTo>
                    <a:pt x="3840080" y="2408357"/>
                  </a:moveTo>
                  <a:cubicBezTo>
                    <a:pt x="3828432" y="2405463"/>
                    <a:pt x="3834428" y="2385061"/>
                    <a:pt x="3844973" y="2385474"/>
                  </a:cubicBezTo>
                  <a:cubicBezTo>
                    <a:pt x="3854830" y="2389817"/>
                    <a:pt x="3850694" y="2408151"/>
                    <a:pt x="3840080" y="2408357"/>
                  </a:cubicBezTo>
                  <a:moveTo>
                    <a:pt x="3308602" y="2387198"/>
                  </a:moveTo>
                  <a:cubicBezTo>
                    <a:pt x="3321078" y="2390230"/>
                    <a:pt x="3332657" y="2403739"/>
                    <a:pt x="3329831" y="2416835"/>
                  </a:cubicBezTo>
                  <a:cubicBezTo>
                    <a:pt x="3311428" y="2425864"/>
                    <a:pt x="3313496" y="2397329"/>
                    <a:pt x="3308602" y="2387198"/>
                  </a:cubicBezTo>
                  <a:moveTo>
                    <a:pt x="3909073" y="2420350"/>
                  </a:moveTo>
                  <a:cubicBezTo>
                    <a:pt x="3907006" y="2410632"/>
                    <a:pt x="3910728" y="2407461"/>
                    <a:pt x="3920308" y="2410770"/>
                  </a:cubicBezTo>
                  <a:cubicBezTo>
                    <a:pt x="3922169" y="2420488"/>
                    <a:pt x="3918447" y="2423659"/>
                    <a:pt x="3909073" y="2420350"/>
                  </a:cubicBezTo>
                  <a:moveTo>
                    <a:pt x="3841527" y="2423728"/>
                  </a:moveTo>
                  <a:cubicBezTo>
                    <a:pt x="3841872" y="2400913"/>
                    <a:pt x="3862481" y="2433722"/>
                    <a:pt x="3841527" y="2423728"/>
                  </a:cubicBezTo>
                  <a:moveTo>
                    <a:pt x="4475496" y="2442819"/>
                  </a:moveTo>
                  <a:cubicBezTo>
                    <a:pt x="4479149" y="2439236"/>
                    <a:pt x="4479149" y="2439236"/>
                    <a:pt x="4475496" y="2442819"/>
                  </a:cubicBezTo>
                  <a:moveTo>
                    <a:pt x="4398025" y="2447369"/>
                  </a:moveTo>
                  <a:cubicBezTo>
                    <a:pt x="4396302" y="2434135"/>
                    <a:pt x="4396026" y="2420764"/>
                    <a:pt x="4397473" y="2407461"/>
                  </a:cubicBezTo>
                  <a:cubicBezTo>
                    <a:pt x="4412981" y="2412355"/>
                    <a:pt x="4415463" y="2444267"/>
                    <a:pt x="4398025" y="2447369"/>
                  </a:cubicBezTo>
                  <a:moveTo>
                    <a:pt x="3599326" y="2442337"/>
                  </a:moveTo>
                  <a:cubicBezTo>
                    <a:pt x="3593123" y="2433722"/>
                    <a:pt x="3594432" y="2428552"/>
                    <a:pt x="3603324" y="2426622"/>
                  </a:cubicBezTo>
                  <a:cubicBezTo>
                    <a:pt x="3609458" y="2435238"/>
                    <a:pt x="3608149" y="2440476"/>
                    <a:pt x="3599326" y="2442337"/>
                  </a:cubicBezTo>
                  <a:moveTo>
                    <a:pt x="4620100" y="2449988"/>
                  </a:moveTo>
                  <a:cubicBezTo>
                    <a:pt x="4623546" y="2446335"/>
                    <a:pt x="4623546" y="2446335"/>
                    <a:pt x="4620100" y="2449988"/>
                  </a:cubicBezTo>
                  <a:moveTo>
                    <a:pt x="4489488" y="2449712"/>
                  </a:moveTo>
                  <a:cubicBezTo>
                    <a:pt x="4492934" y="2445714"/>
                    <a:pt x="4492934" y="2445714"/>
                    <a:pt x="4489488" y="2449712"/>
                  </a:cubicBezTo>
                  <a:moveTo>
                    <a:pt x="4247562" y="2456053"/>
                  </a:moveTo>
                  <a:cubicBezTo>
                    <a:pt x="4251078" y="2452469"/>
                    <a:pt x="4251078" y="2452469"/>
                    <a:pt x="4247562" y="2456053"/>
                  </a:cubicBezTo>
                  <a:moveTo>
                    <a:pt x="4633540" y="2463566"/>
                  </a:moveTo>
                  <a:cubicBezTo>
                    <a:pt x="4630714" y="2454054"/>
                    <a:pt x="4634161" y="2450264"/>
                    <a:pt x="4643810" y="2452262"/>
                  </a:cubicBezTo>
                  <a:cubicBezTo>
                    <a:pt x="4646498" y="2461843"/>
                    <a:pt x="4643052" y="2465565"/>
                    <a:pt x="4633540" y="2463566"/>
                  </a:cubicBezTo>
                  <a:moveTo>
                    <a:pt x="4349226" y="2463428"/>
                  </a:moveTo>
                  <a:cubicBezTo>
                    <a:pt x="4338543" y="2442888"/>
                    <a:pt x="4371971" y="2461981"/>
                    <a:pt x="4349226" y="2463428"/>
                  </a:cubicBezTo>
                  <a:moveTo>
                    <a:pt x="4149620" y="2452952"/>
                  </a:moveTo>
                  <a:cubicBezTo>
                    <a:pt x="4156651" y="2449712"/>
                    <a:pt x="4170298" y="2456742"/>
                    <a:pt x="4168161" y="2465289"/>
                  </a:cubicBezTo>
                  <a:cubicBezTo>
                    <a:pt x="4160855" y="2469907"/>
                    <a:pt x="4146174" y="2461912"/>
                    <a:pt x="4149620" y="2452952"/>
                  </a:cubicBezTo>
                  <a:moveTo>
                    <a:pt x="4770838" y="2481211"/>
                  </a:moveTo>
                  <a:cubicBezTo>
                    <a:pt x="4783796" y="2470596"/>
                    <a:pt x="4782693" y="2455502"/>
                    <a:pt x="4778558" y="2441027"/>
                  </a:cubicBezTo>
                  <a:cubicBezTo>
                    <a:pt x="4783865" y="2442544"/>
                    <a:pt x="4789241" y="2443922"/>
                    <a:pt x="4794686" y="2445370"/>
                  </a:cubicBezTo>
                  <a:cubicBezTo>
                    <a:pt x="4793170" y="2448402"/>
                    <a:pt x="4790068" y="2454468"/>
                    <a:pt x="4788552" y="2457569"/>
                  </a:cubicBezTo>
                  <a:cubicBezTo>
                    <a:pt x="4790482" y="2464255"/>
                    <a:pt x="4794410" y="2477557"/>
                    <a:pt x="4796340" y="2484243"/>
                  </a:cubicBezTo>
                  <a:cubicBezTo>
                    <a:pt x="4789999" y="2483485"/>
                    <a:pt x="4777248" y="2481969"/>
                    <a:pt x="4770838" y="2481211"/>
                  </a:cubicBezTo>
                  <a:moveTo>
                    <a:pt x="3840011" y="2480521"/>
                  </a:moveTo>
                  <a:cubicBezTo>
                    <a:pt x="3845732" y="2464806"/>
                    <a:pt x="3851453" y="2449023"/>
                    <a:pt x="3853934" y="2432412"/>
                  </a:cubicBezTo>
                  <a:cubicBezTo>
                    <a:pt x="3860137" y="2446541"/>
                    <a:pt x="3850350" y="2461774"/>
                    <a:pt x="3848282" y="2475903"/>
                  </a:cubicBezTo>
                  <a:cubicBezTo>
                    <a:pt x="3846214" y="2477075"/>
                    <a:pt x="3842079" y="2479350"/>
                    <a:pt x="3840011" y="2480521"/>
                  </a:cubicBezTo>
                  <a:moveTo>
                    <a:pt x="5155851" y="2483899"/>
                  </a:moveTo>
                  <a:cubicBezTo>
                    <a:pt x="5146270" y="2462532"/>
                    <a:pt x="5178665" y="2484519"/>
                    <a:pt x="5155851" y="2483899"/>
                  </a:cubicBezTo>
                  <a:moveTo>
                    <a:pt x="4868849" y="2483761"/>
                  </a:moveTo>
                  <a:cubicBezTo>
                    <a:pt x="4872433" y="2480177"/>
                    <a:pt x="4872433" y="2480177"/>
                    <a:pt x="4868849" y="2483761"/>
                  </a:cubicBezTo>
                  <a:moveTo>
                    <a:pt x="4494451" y="2484174"/>
                  </a:moveTo>
                  <a:cubicBezTo>
                    <a:pt x="4483905" y="2463428"/>
                    <a:pt x="4517127" y="2482865"/>
                    <a:pt x="4494451" y="2484174"/>
                  </a:cubicBezTo>
                  <a:moveTo>
                    <a:pt x="5260341" y="2488792"/>
                  </a:moveTo>
                  <a:cubicBezTo>
                    <a:pt x="5263029" y="2479557"/>
                    <a:pt x="5270679" y="2474387"/>
                    <a:pt x="5279019" y="2470320"/>
                  </a:cubicBezTo>
                  <a:cubicBezTo>
                    <a:pt x="5278744" y="2475352"/>
                    <a:pt x="5278192" y="2485484"/>
                    <a:pt x="5277917" y="2490515"/>
                  </a:cubicBezTo>
                  <a:cubicBezTo>
                    <a:pt x="5273505" y="2490102"/>
                    <a:pt x="5264752" y="2489206"/>
                    <a:pt x="5260341" y="2488792"/>
                  </a:cubicBezTo>
                  <a:moveTo>
                    <a:pt x="5136966" y="2492514"/>
                  </a:moveTo>
                  <a:cubicBezTo>
                    <a:pt x="5138896" y="2483416"/>
                    <a:pt x="5138138" y="2474663"/>
                    <a:pt x="5134622" y="2466254"/>
                  </a:cubicBezTo>
                  <a:cubicBezTo>
                    <a:pt x="5131865" y="2466667"/>
                    <a:pt x="5126351" y="2467495"/>
                    <a:pt x="5123594" y="2467908"/>
                  </a:cubicBezTo>
                  <a:cubicBezTo>
                    <a:pt x="5124146" y="2466461"/>
                    <a:pt x="5125180" y="2463566"/>
                    <a:pt x="5125662" y="2462118"/>
                  </a:cubicBezTo>
                  <a:cubicBezTo>
                    <a:pt x="5128971" y="2461774"/>
                    <a:pt x="5135656" y="2461222"/>
                    <a:pt x="5138965" y="2460947"/>
                  </a:cubicBezTo>
                  <a:cubicBezTo>
                    <a:pt x="5139309" y="2471630"/>
                    <a:pt x="5139861" y="2482313"/>
                    <a:pt x="5140688" y="2492928"/>
                  </a:cubicBezTo>
                  <a:lnTo>
                    <a:pt x="5136966" y="2492514"/>
                  </a:lnTo>
                  <a:moveTo>
                    <a:pt x="4923575" y="2494513"/>
                  </a:moveTo>
                  <a:cubicBezTo>
                    <a:pt x="4923575" y="2483140"/>
                    <a:pt x="4924196" y="2471837"/>
                    <a:pt x="4924816" y="2460464"/>
                  </a:cubicBezTo>
                  <a:cubicBezTo>
                    <a:pt x="4927090" y="2460602"/>
                    <a:pt x="4931639" y="2460809"/>
                    <a:pt x="4933845" y="2460878"/>
                  </a:cubicBezTo>
                  <a:cubicBezTo>
                    <a:pt x="4931502" y="2472388"/>
                    <a:pt x="4928331" y="2483761"/>
                    <a:pt x="4923575" y="2494513"/>
                  </a:cubicBezTo>
                  <a:moveTo>
                    <a:pt x="4529671" y="2490377"/>
                  </a:moveTo>
                  <a:cubicBezTo>
                    <a:pt x="4523881" y="2481969"/>
                    <a:pt x="4525604" y="2476868"/>
                    <a:pt x="4534840" y="2475283"/>
                  </a:cubicBezTo>
                  <a:cubicBezTo>
                    <a:pt x="4540492" y="2483761"/>
                    <a:pt x="4538769" y="2488792"/>
                    <a:pt x="4529671" y="2490377"/>
                  </a:cubicBezTo>
                  <a:moveTo>
                    <a:pt x="4419323" y="2492790"/>
                  </a:moveTo>
                  <a:cubicBezTo>
                    <a:pt x="4420701" y="2486725"/>
                    <a:pt x="4423458" y="2474732"/>
                    <a:pt x="4424837" y="2468735"/>
                  </a:cubicBezTo>
                  <a:cubicBezTo>
                    <a:pt x="4421459" y="2466254"/>
                    <a:pt x="4414774" y="2461291"/>
                    <a:pt x="4411396" y="2458741"/>
                  </a:cubicBezTo>
                  <a:cubicBezTo>
                    <a:pt x="4417262" y="2457018"/>
                    <a:pt x="4423183" y="2455226"/>
                    <a:pt x="4429179" y="2453434"/>
                  </a:cubicBezTo>
                  <a:cubicBezTo>
                    <a:pt x="4428214" y="2457983"/>
                    <a:pt x="4426215" y="2467150"/>
                    <a:pt x="4425181" y="2471699"/>
                  </a:cubicBezTo>
                  <a:cubicBezTo>
                    <a:pt x="4439931" y="2457156"/>
                    <a:pt x="4448547" y="2482727"/>
                    <a:pt x="4463786" y="2475697"/>
                  </a:cubicBezTo>
                  <a:cubicBezTo>
                    <a:pt x="4464124" y="2479970"/>
                    <a:pt x="4464744" y="2488448"/>
                    <a:pt x="4465020" y="2492721"/>
                  </a:cubicBezTo>
                  <a:cubicBezTo>
                    <a:pt x="4451028" y="2490240"/>
                    <a:pt x="4435313" y="2486656"/>
                    <a:pt x="4432005" y="2470114"/>
                  </a:cubicBezTo>
                  <a:cubicBezTo>
                    <a:pt x="4427387" y="2477489"/>
                    <a:pt x="4423114" y="2485070"/>
                    <a:pt x="4419323" y="2492790"/>
                  </a:cubicBezTo>
                  <a:moveTo>
                    <a:pt x="5357938" y="2498304"/>
                  </a:moveTo>
                  <a:cubicBezTo>
                    <a:pt x="5361591" y="2494375"/>
                    <a:pt x="5361591" y="2494375"/>
                    <a:pt x="5357938" y="2498304"/>
                  </a:cubicBezTo>
                  <a:moveTo>
                    <a:pt x="4508373" y="2497546"/>
                  </a:moveTo>
                  <a:cubicBezTo>
                    <a:pt x="4497759" y="2476455"/>
                    <a:pt x="4530912" y="2496167"/>
                    <a:pt x="4508373" y="2497546"/>
                  </a:cubicBezTo>
                  <a:moveTo>
                    <a:pt x="5666721" y="2505817"/>
                  </a:moveTo>
                  <a:cubicBezTo>
                    <a:pt x="5664584" y="2496236"/>
                    <a:pt x="5668306" y="2492376"/>
                    <a:pt x="5677817" y="2494168"/>
                  </a:cubicBezTo>
                  <a:cubicBezTo>
                    <a:pt x="5679816" y="2503749"/>
                    <a:pt x="5676094" y="2507678"/>
                    <a:pt x="5666721" y="2505817"/>
                  </a:cubicBezTo>
                  <a:moveTo>
                    <a:pt x="4721833" y="2506644"/>
                  </a:moveTo>
                  <a:cubicBezTo>
                    <a:pt x="4721695" y="2502715"/>
                    <a:pt x="4721282" y="2494858"/>
                    <a:pt x="4721075" y="2490929"/>
                  </a:cubicBezTo>
                  <a:cubicBezTo>
                    <a:pt x="4733136" y="2492445"/>
                    <a:pt x="4745198" y="2493893"/>
                    <a:pt x="4757329" y="2495754"/>
                  </a:cubicBezTo>
                  <a:cubicBezTo>
                    <a:pt x="4746439" y="2502164"/>
                    <a:pt x="4733895" y="2504231"/>
                    <a:pt x="4721833" y="2506644"/>
                  </a:cubicBezTo>
                  <a:moveTo>
                    <a:pt x="4256454" y="2506023"/>
                  </a:moveTo>
                  <a:cubicBezTo>
                    <a:pt x="4253490" y="2495822"/>
                    <a:pt x="4271479" y="2488861"/>
                    <a:pt x="4278923" y="2494375"/>
                  </a:cubicBezTo>
                  <a:cubicBezTo>
                    <a:pt x="4283748" y="2505748"/>
                    <a:pt x="4263898" y="2513261"/>
                    <a:pt x="4256454" y="2506023"/>
                  </a:cubicBezTo>
                  <a:moveTo>
                    <a:pt x="5370482" y="2511399"/>
                  </a:moveTo>
                  <a:lnTo>
                    <a:pt x="5368139" y="2507540"/>
                  </a:lnTo>
                  <a:cubicBezTo>
                    <a:pt x="5368346" y="2498786"/>
                    <a:pt x="5370207" y="2490308"/>
                    <a:pt x="5373860" y="2482107"/>
                  </a:cubicBezTo>
                  <a:cubicBezTo>
                    <a:pt x="5381166" y="2485277"/>
                    <a:pt x="5379649" y="2500372"/>
                    <a:pt x="5377789" y="2507540"/>
                  </a:cubicBezTo>
                  <a:cubicBezTo>
                    <a:pt x="5375996" y="2508505"/>
                    <a:pt x="5372275" y="2510435"/>
                    <a:pt x="5370482" y="2511399"/>
                  </a:cubicBezTo>
                  <a:moveTo>
                    <a:pt x="4785864" y="2511537"/>
                  </a:moveTo>
                  <a:cubicBezTo>
                    <a:pt x="4780005" y="2502646"/>
                    <a:pt x="4781384" y="2497201"/>
                    <a:pt x="4790068" y="2495065"/>
                  </a:cubicBezTo>
                  <a:cubicBezTo>
                    <a:pt x="4795858" y="2504025"/>
                    <a:pt x="4794479" y="2509470"/>
                    <a:pt x="4785864" y="2511537"/>
                  </a:cubicBezTo>
                  <a:moveTo>
                    <a:pt x="4488454" y="2511744"/>
                  </a:moveTo>
                  <a:cubicBezTo>
                    <a:pt x="4476806" y="2491411"/>
                    <a:pt x="4510785" y="2509263"/>
                    <a:pt x="4488454" y="2511744"/>
                  </a:cubicBezTo>
                  <a:moveTo>
                    <a:pt x="4427111" y="2511951"/>
                  </a:moveTo>
                  <a:cubicBezTo>
                    <a:pt x="4430695" y="2508229"/>
                    <a:pt x="4430695" y="2508229"/>
                    <a:pt x="4427111" y="2511951"/>
                  </a:cubicBezTo>
                  <a:moveTo>
                    <a:pt x="5602689" y="2521049"/>
                  </a:moveTo>
                  <a:cubicBezTo>
                    <a:pt x="5602069" y="2512227"/>
                    <a:pt x="5601104" y="2503404"/>
                    <a:pt x="5599864" y="2494582"/>
                  </a:cubicBezTo>
                  <a:cubicBezTo>
                    <a:pt x="5603103" y="2500923"/>
                    <a:pt x="5608272" y="2504921"/>
                    <a:pt x="5615509" y="2506506"/>
                  </a:cubicBezTo>
                  <a:cubicBezTo>
                    <a:pt x="5611167" y="2511399"/>
                    <a:pt x="5606825" y="2516224"/>
                    <a:pt x="5602689" y="2521049"/>
                  </a:cubicBezTo>
                  <a:moveTo>
                    <a:pt x="5322235" y="2519464"/>
                  </a:moveTo>
                  <a:cubicBezTo>
                    <a:pt x="5311897" y="2498511"/>
                    <a:pt x="5344911" y="2518775"/>
                    <a:pt x="5322235" y="2519464"/>
                  </a:cubicBezTo>
                  <a:moveTo>
                    <a:pt x="5106915" y="2520360"/>
                  </a:moveTo>
                  <a:cubicBezTo>
                    <a:pt x="5106983" y="2511262"/>
                    <a:pt x="5107190" y="2502095"/>
                    <a:pt x="5107397" y="2492928"/>
                  </a:cubicBezTo>
                  <a:cubicBezTo>
                    <a:pt x="5110637" y="2491205"/>
                    <a:pt x="5117115" y="2487827"/>
                    <a:pt x="5120355" y="2486173"/>
                  </a:cubicBezTo>
                  <a:cubicBezTo>
                    <a:pt x="5120286" y="2497408"/>
                    <a:pt x="5120286" y="2508642"/>
                    <a:pt x="5120355" y="2519877"/>
                  </a:cubicBezTo>
                  <a:cubicBezTo>
                    <a:pt x="5116978" y="2520015"/>
                    <a:pt x="5110292" y="2520222"/>
                    <a:pt x="5106915" y="2520360"/>
                  </a:cubicBezTo>
                  <a:moveTo>
                    <a:pt x="4773664" y="2500303"/>
                  </a:moveTo>
                  <a:cubicBezTo>
                    <a:pt x="4774491" y="2503267"/>
                    <a:pt x="4776214" y="2509194"/>
                    <a:pt x="4777041" y="2512158"/>
                  </a:cubicBezTo>
                  <a:cubicBezTo>
                    <a:pt x="4770356" y="2529596"/>
                    <a:pt x="4758432" y="2496512"/>
                    <a:pt x="4773664" y="2500303"/>
                  </a:cubicBezTo>
                  <a:moveTo>
                    <a:pt x="4509752" y="2518912"/>
                  </a:moveTo>
                  <a:cubicBezTo>
                    <a:pt x="4513336" y="2515259"/>
                    <a:pt x="4513336" y="2515259"/>
                    <a:pt x="4509752" y="2518912"/>
                  </a:cubicBezTo>
                  <a:moveTo>
                    <a:pt x="4469086" y="2518016"/>
                  </a:moveTo>
                  <a:cubicBezTo>
                    <a:pt x="4463503" y="2514363"/>
                    <a:pt x="4458127" y="2500992"/>
                    <a:pt x="4467363" y="2498717"/>
                  </a:cubicBezTo>
                  <a:cubicBezTo>
                    <a:pt x="4479976" y="2497132"/>
                    <a:pt x="4483423" y="2522910"/>
                    <a:pt x="4469086" y="2518016"/>
                  </a:cubicBezTo>
                  <a:moveTo>
                    <a:pt x="5185771" y="2526218"/>
                  </a:moveTo>
                  <a:cubicBezTo>
                    <a:pt x="5177700" y="2525598"/>
                    <a:pt x="5172117" y="2509401"/>
                    <a:pt x="5182456" y="2508229"/>
                  </a:cubicBezTo>
                  <a:cubicBezTo>
                    <a:pt x="5190727" y="2508642"/>
                    <a:pt x="5196654" y="2525460"/>
                    <a:pt x="5185771" y="2526218"/>
                  </a:cubicBezTo>
                  <a:moveTo>
                    <a:pt x="5806224" y="2532284"/>
                  </a:moveTo>
                  <a:cubicBezTo>
                    <a:pt x="5809877" y="2528424"/>
                    <a:pt x="5809877" y="2528424"/>
                    <a:pt x="5806224" y="2532284"/>
                  </a:cubicBezTo>
                  <a:moveTo>
                    <a:pt x="5618404" y="2532490"/>
                  </a:moveTo>
                  <a:cubicBezTo>
                    <a:pt x="5608617" y="2511124"/>
                    <a:pt x="5641011" y="2532490"/>
                    <a:pt x="5618404" y="2532490"/>
                  </a:cubicBezTo>
                  <a:moveTo>
                    <a:pt x="5381028" y="2538073"/>
                  </a:moveTo>
                  <a:cubicBezTo>
                    <a:pt x="5380959" y="2523737"/>
                    <a:pt x="5379787" y="2507264"/>
                    <a:pt x="5395916" y="2501061"/>
                  </a:cubicBezTo>
                  <a:cubicBezTo>
                    <a:pt x="5394813" y="2497753"/>
                    <a:pt x="5392607" y="2491205"/>
                    <a:pt x="5391504" y="2487896"/>
                  </a:cubicBezTo>
                  <a:cubicBezTo>
                    <a:pt x="5400464" y="2488103"/>
                    <a:pt x="5409563" y="2488310"/>
                    <a:pt x="5418661" y="2488448"/>
                  </a:cubicBezTo>
                  <a:cubicBezTo>
                    <a:pt x="5410114" y="2491687"/>
                    <a:pt x="5402395" y="2496167"/>
                    <a:pt x="5395571" y="2501819"/>
                  </a:cubicBezTo>
                  <a:cubicBezTo>
                    <a:pt x="5400947" y="2502302"/>
                    <a:pt x="5411700" y="2503336"/>
                    <a:pt x="5417006" y="2503887"/>
                  </a:cubicBezTo>
                  <a:cubicBezTo>
                    <a:pt x="5406668" y="2516362"/>
                    <a:pt x="5399017" y="2535385"/>
                    <a:pt x="5381028" y="2538073"/>
                  </a:cubicBezTo>
                  <a:moveTo>
                    <a:pt x="4971547" y="2532559"/>
                  </a:moveTo>
                  <a:cubicBezTo>
                    <a:pt x="4975062" y="2528769"/>
                    <a:pt x="4975062" y="2528769"/>
                    <a:pt x="4971547" y="2532559"/>
                  </a:cubicBezTo>
                  <a:moveTo>
                    <a:pt x="4868160" y="2533180"/>
                  </a:moveTo>
                  <a:cubicBezTo>
                    <a:pt x="4871813" y="2529665"/>
                    <a:pt x="4871813" y="2529665"/>
                    <a:pt x="4868160" y="2533180"/>
                  </a:cubicBezTo>
                  <a:moveTo>
                    <a:pt x="4836248" y="2506919"/>
                  </a:moveTo>
                  <a:cubicBezTo>
                    <a:pt x="4831699" y="2503198"/>
                    <a:pt x="4827149" y="2499545"/>
                    <a:pt x="4822601" y="2496029"/>
                  </a:cubicBezTo>
                  <a:lnTo>
                    <a:pt x="4832526" y="2498166"/>
                  </a:lnTo>
                  <a:cubicBezTo>
                    <a:pt x="4835834" y="2494031"/>
                    <a:pt x="4839211" y="2489895"/>
                    <a:pt x="4842658" y="2485760"/>
                  </a:cubicBezTo>
                  <a:cubicBezTo>
                    <a:pt x="4831974" y="2500579"/>
                    <a:pt x="4845552" y="2520498"/>
                    <a:pt x="4833980" y="2536488"/>
                  </a:cubicBezTo>
                  <a:cubicBezTo>
                    <a:pt x="4828528" y="2526908"/>
                    <a:pt x="4830527" y="2515949"/>
                    <a:pt x="4836248" y="2506919"/>
                  </a:cubicBezTo>
                  <a:moveTo>
                    <a:pt x="4699501" y="2497201"/>
                  </a:moveTo>
                  <a:cubicBezTo>
                    <a:pt x="4714458" y="2504093"/>
                    <a:pt x="4728587" y="2517672"/>
                    <a:pt x="4728794" y="2535178"/>
                  </a:cubicBezTo>
                  <a:cubicBezTo>
                    <a:pt x="4716319" y="2524909"/>
                    <a:pt x="4704257" y="2513192"/>
                    <a:pt x="4699501" y="2497201"/>
                  </a:cubicBezTo>
                  <a:moveTo>
                    <a:pt x="5694704" y="2540072"/>
                  </a:moveTo>
                  <a:cubicBezTo>
                    <a:pt x="5690913" y="2528631"/>
                    <a:pt x="5694566" y="2524909"/>
                    <a:pt x="5705732" y="2528700"/>
                  </a:cubicBezTo>
                  <a:cubicBezTo>
                    <a:pt x="5709385" y="2540141"/>
                    <a:pt x="5705732" y="2543932"/>
                    <a:pt x="5694704" y="2540072"/>
                  </a:cubicBezTo>
                  <a:moveTo>
                    <a:pt x="5247728" y="2540348"/>
                  </a:moveTo>
                  <a:cubicBezTo>
                    <a:pt x="5252690" y="2527804"/>
                    <a:pt x="5256274" y="2514708"/>
                    <a:pt x="5254344" y="2501061"/>
                  </a:cubicBezTo>
                  <a:lnTo>
                    <a:pt x="5258273" y="2501474"/>
                  </a:lnTo>
                  <a:cubicBezTo>
                    <a:pt x="5257997" y="2507747"/>
                    <a:pt x="5257377" y="2520222"/>
                    <a:pt x="5257101" y="2526425"/>
                  </a:cubicBezTo>
                  <a:cubicBezTo>
                    <a:pt x="5264201" y="2525598"/>
                    <a:pt x="5271369" y="2524633"/>
                    <a:pt x="5278606" y="2523668"/>
                  </a:cubicBezTo>
                  <a:cubicBezTo>
                    <a:pt x="5272472" y="2527666"/>
                    <a:pt x="5266475" y="2531732"/>
                    <a:pt x="5260617" y="2535868"/>
                  </a:cubicBezTo>
                  <a:cubicBezTo>
                    <a:pt x="5257377" y="2536971"/>
                    <a:pt x="5250967" y="2539245"/>
                    <a:pt x="5247728" y="2540348"/>
                  </a:cubicBezTo>
                  <a:moveTo>
                    <a:pt x="4985607" y="2538349"/>
                  </a:moveTo>
                  <a:cubicBezTo>
                    <a:pt x="4979542" y="2529733"/>
                    <a:pt x="4980920" y="2524289"/>
                    <a:pt x="4989743" y="2522152"/>
                  </a:cubicBezTo>
                  <a:cubicBezTo>
                    <a:pt x="4995602" y="2530698"/>
                    <a:pt x="4994230" y="2536075"/>
                    <a:pt x="4985607" y="2538349"/>
                  </a:cubicBezTo>
                  <a:moveTo>
                    <a:pt x="4910480" y="2539590"/>
                  </a:moveTo>
                  <a:cubicBezTo>
                    <a:pt x="4902898" y="2538832"/>
                    <a:pt x="4889526" y="2524220"/>
                    <a:pt x="4904069" y="2523117"/>
                  </a:cubicBezTo>
                  <a:cubicBezTo>
                    <a:pt x="4914684" y="2518637"/>
                    <a:pt x="4924127" y="2539866"/>
                    <a:pt x="4910480" y="2539590"/>
                  </a:cubicBezTo>
                  <a:moveTo>
                    <a:pt x="4847414" y="2539590"/>
                  </a:moveTo>
                  <a:cubicBezTo>
                    <a:pt x="4850791" y="2535868"/>
                    <a:pt x="4850791" y="2535868"/>
                    <a:pt x="4847414" y="2539590"/>
                  </a:cubicBezTo>
                  <a:moveTo>
                    <a:pt x="5644182" y="2541175"/>
                  </a:moveTo>
                  <a:cubicBezTo>
                    <a:pt x="5644389" y="2531043"/>
                    <a:pt x="5664032" y="2525322"/>
                    <a:pt x="5668030" y="2535454"/>
                  </a:cubicBezTo>
                  <a:cubicBezTo>
                    <a:pt x="5670098" y="2548963"/>
                    <a:pt x="5647973" y="2554546"/>
                    <a:pt x="5644182" y="2541175"/>
                  </a:cubicBezTo>
                  <a:moveTo>
                    <a:pt x="5205063" y="2545448"/>
                  </a:moveTo>
                  <a:cubicBezTo>
                    <a:pt x="5215953" y="2540279"/>
                    <a:pt x="5222432" y="2530009"/>
                    <a:pt x="5230014" y="2521049"/>
                  </a:cubicBezTo>
                  <a:cubicBezTo>
                    <a:pt x="5226292" y="2513536"/>
                    <a:pt x="5220985" y="2507333"/>
                    <a:pt x="5214093" y="2502439"/>
                  </a:cubicBezTo>
                  <a:cubicBezTo>
                    <a:pt x="5216091" y="2499545"/>
                    <a:pt x="5218159" y="2496650"/>
                    <a:pt x="5220364" y="2493755"/>
                  </a:cubicBezTo>
                  <a:cubicBezTo>
                    <a:pt x="5223604" y="2505403"/>
                    <a:pt x="5230841" y="2515328"/>
                    <a:pt x="5242283" y="2520084"/>
                  </a:cubicBezTo>
                  <a:cubicBezTo>
                    <a:pt x="5241800" y="2521945"/>
                    <a:pt x="5240766" y="2525529"/>
                    <a:pt x="5240284" y="2527390"/>
                  </a:cubicBezTo>
                  <a:cubicBezTo>
                    <a:pt x="5236838" y="2529320"/>
                    <a:pt x="5229876" y="2533180"/>
                    <a:pt x="5226430" y="2535178"/>
                  </a:cubicBezTo>
                  <a:cubicBezTo>
                    <a:pt x="5226912" y="2537522"/>
                    <a:pt x="5227877" y="2542278"/>
                    <a:pt x="5228360" y="2544621"/>
                  </a:cubicBezTo>
                  <a:cubicBezTo>
                    <a:pt x="5220502" y="2544759"/>
                    <a:pt x="5212714" y="2545035"/>
                    <a:pt x="5205063" y="2545448"/>
                  </a:cubicBezTo>
                  <a:moveTo>
                    <a:pt x="5171221" y="2547103"/>
                  </a:moveTo>
                  <a:cubicBezTo>
                    <a:pt x="5160193" y="2526632"/>
                    <a:pt x="5193897" y="2545655"/>
                    <a:pt x="5171221" y="2547103"/>
                  </a:cubicBezTo>
                  <a:moveTo>
                    <a:pt x="6108114" y="2552272"/>
                  </a:moveTo>
                  <a:cubicBezTo>
                    <a:pt x="6097637" y="2531526"/>
                    <a:pt x="6130790" y="2551169"/>
                    <a:pt x="6108114" y="2552272"/>
                  </a:cubicBezTo>
                  <a:moveTo>
                    <a:pt x="6049459" y="2554271"/>
                  </a:moveTo>
                  <a:cubicBezTo>
                    <a:pt x="6045806" y="2543036"/>
                    <a:pt x="6042015" y="2531870"/>
                    <a:pt x="6038155" y="2520635"/>
                  </a:cubicBezTo>
                  <a:cubicBezTo>
                    <a:pt x="6047322" y="2523599"/>
                    <a:pt x="6056696" y="2526425"/>
                    <a:pt x="6066001" y="2529251"/>
                  </a:cubicBezTo>
                  <a:cubicBezTo>
                    <a:pt x="6061589" y="2529596"/>
                    <a:pt x="6052767" y="2530354"/>
                    <a:pt x="6048356" y="2530698"/>
                  </a:cubicBezTo>
                  <a:cubicBezTo>
                    <a:pt x="6048632" y="2538625"/>
                    <a:pt x="6048976" y="2546413"/>
                    <a:pt x="6049459" y="2554271"/>
                  </a:cubicBezTo>
                  <a:moveTo>
                    <a:pt x="5563816" y="2550962"/>
                  </a:moveTo>
                  <a:cubicBezTo>
                    <a:pt x="5556303" y="2542002"/>
                    <a:pt x="5570433" y="2526425"/>
                    <a:pt x="5579806" y="2534420"/>
                  </a:cubicBezTo>
                  <a:cubicBezTo>
                    <a:pt x="5582150" y="2542278"/>
                    <a:pt x="5571329" y="2552272"/>
                    <a:pt x="5563816" y="2550962"/>
                  </a:cubicBezTo>
                  <a:moveTo>
                    <a:pt x="5261926" y="2552961"/>
                  </a:moveTo>
                  <a:cubicBezTo>
                    <a:pt x="5265441" y="2549377"/>
                    <a:pt x="5265441" y="2549377"/>
                    <a:pt x="5261926" y="2552961"/>
                  </a:cubicBezTo>
                  <a:moveTo>
                    <a:pt x="5005940" y="2553168"/>
                  </a:moveTo>
                  <a:cubicBezTo>
                    <a:pt x="5009455" y="2549515"/>
                    <a:pt x="5009455" y="2549515"/>
                    <a:pt x="5005940" y="2553168"/>
                  </a:cubicBezTo>
                  <a:moveTo>
                    <a:pt x="6576870" y="2555718"/>
                  </a:moveTo>
                  <a:cubicBezTo>
                    <a:pt x="6577773" y="2544897"/>
                    <a:pt x="6596858" y="2544346"/>
                    <a:pt x="6599064" y="2554822"/>
                  </a:cubicBezTo>
                  <a:cubicBezTo>
                    <a:pt x="6598926" y="2567228"/>
                    <a:pt x="6577773" y="2567987"/>
                    <a:pt x="6576870" y="2555718"/>
                  </a:cubicBezTo>
                  <a:moveTo>
                    <a:pt x="6536894" y="2561852"/>
                  </a:moveTo>
                  <a:cubicBezTo>
                    <a:pt x="6538824" y="2553099"/>
                    <a:pt x="6559095" y="2542967"/>
                    <a:pt x="6563843" y="2554684"/>
                  </a:cubicBezTo>
                  <a:cubicBezTo>
                    <a:pt x="6561155" y="2565505"/>
                    <a:pt x="6544751" y="2567573"/>
                    <a:pt x="6536894" y="2561852"/>
                  </a:cubicBezTo>
                  <a:moveTo>
                    <a:pt x="6407108" y="2559647"/>
                  </a:moveTo>
                  <a:cubicBezTo>
                    <a:pt x="6399871" y="2554546"/>
                    <a:pt x="6394427" y="2543587"/>
                    <a:pt x="6399389" y="2535247"/>
                  </a:cubicBezTo>
                  <a:cubicBezTo>
                    <a:pt x="6411933" y="2527321"/>
                    <a:pt x="6424684" y="2565919"/>
                    <a:pt x="6407108" y="2559647"/>
                  </a:cubicBezTo>
                  <a:moveTo>
                    <a:pt x="5144341" y="2560681"/>
                  </a:moveTo>
                  <a:cubicBezTo>
                    <a:pt x="5136345" y="2560750"/>
                    <a:pt x="5126765" y="2544139"/>
                    <a:pt x="5138896" y="2543380"/>
                  </a:cubicBezTo>
                  <a:cubicBezTo>
                    <a:pt x="5148201" y="2543725"/>
                    <a:pt x="5162192" y="2564334"/>
                    <a:pt x="5144341" y="2560681"/>
                  </a:cubicBezTo>
                  <a:moveTo>
                    <a:pt x="6335290" y="2566402"/>
                  </a:moveTo>
                  <a:cubicBezTo>
                    <a:pt x="6332119" y="2556752"/>
                    <a:pt x="6335427" y="2553099"/>
                    <a:pt x="6345214" y="2555511"/>
                  </a:cubicBezTo>
                  <a:cubicBezTo>
                    <a:pt x="6348109" y="2565092"/>
                    <a:pt x="6344801" y="2568676"/>
                    <a:pt x="6335290" y="2566402"/>
                  </a:cubicBezTo>
                  <a:moveTo>
                    <a:pt x="5488619" y="2566402"/>
                  </a:moveTo>
                  <a:cubicBezTo>
                    <a:pt x="5488688" y="2553650"/>
                    <a:pt x="5488757" y="2540830"/>
                    <a:pt x="5488895" y="2528010"/>
                  </a:cubicBezTo>
                  <a:cubicBezTo>
                    <a:pt x="5498751" y="2527459"/>
                    <a:pt x="5510124" y="2523530"/>
                    <a:pt x="5518877" y="2530698"/>
                  </a:cubicBezTo>
                  <a:cubicBezTo>
                    <a:pt x="5530870" y="2538349"/>
                    <a:pt x="5525839" y="2554822"/>
                    <a:pt x="5526948" y="2566608"/>
                  </a:cubicBezTo>
                  <a:cubicBezTo>
                    <a:pt x="5514190" y="2563576"/>
                    <a:pt x="5501232" y="2563231"/>
                    <a:pt x="5488619" y="2566402"/>
                  </a:cubicBezTo>
                  <a:moveTo>
                    <a:pt x="6197647" y="2565712"/>
                  </a:moveTo>
                  <a:cubicBezTo>
                    <a:pt x="6206400" y="2566264"/>
                    <a:pt x="6215223" y="2566815"/>
                    <a:pt x="6224183" y="2567435"/>
                  </a:cubicBezTo>
                  <a:cubicBezTo>
                    <a:pt x="6230317" y="2555442"/>
                    <a:pt x="6234935" y="2542760"/>
                    <a:pt x="6235417" y="2529044"/>
                  </a:cubicBezTo>
                  <a:cubicBezTo>
                    <a:pt x="6237141" y="2529320"/>
                    <a:pt x="6240587" y="2529871"/>
                    <a:pt x="6242310" y="2530078"/>
                  </a:cubicBezTo>
                  <a:cubicBezTo>
                    <a:pt x="6236865" y="2544139"/>
                    <a:pt x="6232523" y="2558475"/>
                    <a:pt x="6228456" y="2572880"/>
                  </a:cubicBezTo>
                  <a:cubicBezTo>
                    <a:pt x="6218186" y="2569572"/>
                    <a:pt x="6207365" y="2566470"/>
                    <a:pt x="6205297" y="2580807"/>
                  </a:cubicBezTo>
                  <a:cubicBezTo>
                    <a:pt x="6202610" y="2575844"/>
                    <a:pt x="6200059" y="2570813"/>
                    <a:pt x="6197647" y="2565712"/>
                  </a:cubicBezTo>
                  <a:moveTo>
                    <a:pt x="5901822" y="2580944"/>
                  </a:moveTo>
                  <a:cubicBezTo>
                    <a:pt x="5905407" y="2577498"/>
                    <a:pt x="5905407" y="2577498"/>
                    <a:pt x="5901822" y="2580944"/>
                  </a:cubicBezTo>
                  <a:moveTo>
                    <a:pt x="5751980" y="2580807"/>
                  </a:moveTo>
                  <a:cubicBezTo>
                    <a:pt x="5746466" y="2572536"/>
                    <a:pt x="5760871" y="2564127"/>
                    <a:pt x="5767281" y="2570123"/>
                  </a:cubicBezTo>
                  <a:cubicBezTo>
                    <a:pt x="5772520" y="2578394"/>
                    <a:pt x="5758114" y="2586734"/>
                    <a:pt x="5751980" y="2580807"/>
                  </a:cubicBezTo>
                  <a:moveTo>
                    <a:pt x="5641149" y="2588733"/>
                  </a:moveTo>
                  <a:cubicBezTo>
                    <a:pt x="5634601" y="2582530"/>
                    <a:pt x="5641219" y="2564885"/>
                    <a:pt x="5651075" y="2570399"/>
                  </a:cubicBezTo>
                  <a:cubicBezTo>
                    <a:pt x="5657829" y="2576671"/>
                    <a:pt x="5651281" y="2595281"/>
                    <a:pt x="5641149" y="2588733"/>
                  </a:cubicBezTo>
                  <a:moveTo>
                    <a:pt x="5597727" y="2579153"/>
                  </a:moveTo>
                  <a:cubicBezTo>
                    <a:pt x="5594970" y="2567159"/>
                    <a:pt x="5592557" y="2555029"/>
                    <a:pt x="5590559" y="2542829"/>
                  </a:cubicBezTo>
                  <a:cubicBezTo>
                    <a:pt x="5592833" y="2543725"/>
                    <a:pt x="5597520" y="2545448"/>
                    <a:pt x="5599864" y="2546344"/>
                  </a:cubicBezTo>
                  <a:cubicBezTo>
                    <a:pt x="5607101" y="2543863"/>
                    <a:pt x="5614613" y="2543587"/>
                    <a:pt x="5622333" y="2545448"/>
                  </a:cubicBezTo>
                  <a:cubicBezTo>
                    <a:pt x="5621437" y="2561508"/>
                    <a:pt x="5621230" y="2577567"/>
                    <a:pt x="5621850" y="2593627"/>
                  </a:cubicBezTo>
                  <a:cubicBezTo>
                    <a:pt x="5613511" y="2588871"/>
                    <a:pt x="5606274" y="2583288"/>
                    <a:pt x="5597727" y="2579153"/>
                  </a:cubicBezTo>
                  <a:moveTo>
                    <a:pt x="6145747" y="2596590"/>
                  </a:moveTo>
                  <a:cubicBezTo>
                    <a:pt x="6145815" y="2583908"/>
                    <a:pt x="6138578" y="2574879"/>
                    <a:pt x="6126448" y="2571709"/>
                  </a:cubicBezTo>
                  <a:lnTo>
                    <a:pt x="6136235" y="2573294"/>
                  </a:lnTo>
                  <a:cubicBezTo>
                    <a:pt x="6135753" y="2565712"/>
                    <a:pt x="6135339" y="2558062"/>
                    <a:pt x="6135064" y="2550411"/>
                  </a:cubicBezTo>
                  <a:cubicBezTo>
                    <a:pt x="6131479" y="2549584"/>
                    <a:pt x="6124311" y="2547861"/>
                    <a:pt x="6120727" y="2546965"/>
                  </a:cubicBezTo>
                  <a:cubicBezTo>
                    <a:pt x="6134374" y="2548963"/>
                    <a:pt x="6139612" y="2538211"/>
                    <a:pt x="6144782" y="2528010"/>
                  </a:cubicBezTo>
                  <a:cubicBezTo>
                    <a:pt x="6143679" y="2535592"/>
                    <a:pt x="6142645" y="2543105"/>
                    <a:pt x="6141680" y="2550687"/>
                  </a:cubicBezTo>
                  <a:cubicBezTo>
                    <a:pt x="6146091" y="2550687"/>
                    <a:pt x="6154982" y="2550687"/>
                    <a:pt x="6159394" y="2550687"/>
                  </a:cubicBezTo>
                  <a:cubicBezTo>
                    <a:pt x="6159462" y="2554340"/>
                    <a:pt x="6159532" y="2561577"/>
                    <a:pt x="6159600" y="2565161"/>
                  </a:cubicBezTo>
                  <a:cubicBezTo>
                    <a:pt x="6163874" y="2564954"/>
                    <a:pt x="6172558" y="2564402"/>
                    <a:pt x="6176900" y="2564196"/>
                  </a:cubicBezTo>
                  <a:cubicBezTo>
                    <a:pt x="6174213" y="2565505"/>
                    <a:pt x="6168837" y="2568262"/>
                    <a:pt x="6166148" y="2569572"/>
                  </a:cubicBezTo>
                  <a:cubicBezTo>
                    <a:pt x="6168699" y="2576396"/>
                    <a:pt x="6174419" y="2583633"/>
                    <a:pt x="6167665" y="2589974"/>
                  </a:cubicBezTo>
                  <a:cubicBezTo>
                    <a:pt x="6163529" y="2580393"/>
                    <a:pt x="6159876" y="2570606"/>
                    <a:pt x="6156981" y="2560612"/>
                  </a:cubicBezTo>
                  <a:cubicBezTo>
                    <a:pt x="6152019" y="2559578"/>
                    <a:pt x="6142163" y="2557579"/>
                    <a:pt x="6137200" y="2556545"/>
                  </a:cubicBezTo>
                  <a:cubicBezTo>
                    <a:pt x="6140370" y="2563024"/>
                    <a:pt x="6143610" y="2569434"/>
                    <a:pt x="6146987" y="2575844"/>
                  </a:cubicBezTo>
                  <a:cubicBezTo>
                    <a:pt x="6146436" y="2582736"/>
                    <a:pt x="6146022" y="2589698"/>
                    <a:pt x="6145747" y="2596590"/>
                  </a:cubicBezTo>
                  <a:moveTo>
                    <a:pt x="6371475" y="2599416"/>
                  </a:moveTo>
                  <a:cubicBezTo>
                    <a:pt x="6365409" y="2594661"/>
                    <a:pt x="6364383" y="2577498"/>
                    <a:pt x="6374990" y="2578877"/>
                  </a:cubicBezTo>
                  <a:cubicBezTo>
                    <a:pt x="6380435" y="2585700"/>
                    <a:pt x="6380366" y="2592593"/>
                    <a:pt x="6374783" y="2599554"/>
                  </a:cubicBezTo>
                  <a:lnTo>
                    <a:pt x="6371475" y="2599416"/>
                  </a:lnTo>
                  <a:moveTo>
                    <a:pt x="6103358" y="2598865"/>
                  </a:moveTo>
                  <a:cubicBezTo>
                    <a:pt x="6096258" y="2596728"/>
                    <a:pt x="6089229" y="2594661"/>
                    <a:pt x="6082198" y="2592662"/>
                  </a:cubicBezTo>
                  <a:cubicBezTo>
                    <a:pt x="6081440" y="2581289"/>
                    <a:pt x="6080544" y="2569985"/>
                    <a:pt x="6079716" y="2558682"/>
                  </a:cubicBezTo>
                  <a:cubicBezTo>
                    <a:pt x="6086816" y="2559302"/>
                    <a:pt x="6092675" y="2562955"/>
                    <a:pt x="6098809" y="2566539"/>
                  </a:cubicBezTo>
                  <a:cubicBezTo>
                    <a:pt x="6102462" y="2565988"/>
                    <a:pt x="6109699" y="2564954"/>
                    <a:pt x="6113352" y="2564402"/>
                  </a:cubicBezTo>
                  <a:cubicBezTo>
                    <a:pt x="6103082" y="2568056"/>
                    <a:pt x="6092882" y="2571916"/>
                    <a:pt x="6082956" y="2576051"/>
                  </a:cubicBezTo>
                  <a:cubicBezTo>
                    <a:pt x="6085300" y="2580324"/>
                    <a:pt x="6090055" y="2588940"/>
                    <a:pt x="6092468" y="2593213"/>
                  </a:cubicBezTo>
                  <a:cubicBezTo>
                    <a:pt x="6102324" y="2595488"/>
                    <a:pt x="6109906" y="2586803"/>
                    <a:pt x="6118522" y="2583288"/>
                  </a:cubicBezTo>
                  <a:cubicBezTo>
                    <a:pt x="6118246" y="2587148"/>
                    <a:pt x="6117694" y="2594867"/>
                    <a:pt x="6117418" y="2598727"/>
                  </a:cubicBezTo>
                  <a:cubicBezTo>
                    <a:pt x="6113904" y="2598796"/>
                    <a:pt x="6106873" y="2598796"/>
                    <a:pt x="6103358" y="2598865"/>
                  </a:cubicBezTo>
                  <a:moveTo>
                    <a:pt x="5794024" y="2602863"/>
                  </a:moveTo>
                  <a:cubicBezTo>
                    <a:pt x="5790992" y="2593351"/>
                    <a:pt x="5794300" y="2589629"/>
                    <a:pt x="5803949" y="2591697"/>
                  </a:cubicBezTo>
                  <a:cubicBezTo>
                    <a:pt x="5806913" y="2601277"/>
                    <a:pt x="5803605" y="2604999"/>
                    <a:pt x="5794024" y="2602863"/>
                  </a:cubicBezTo>
                  <a:moveTo>
                    <a:pt x="5772106" y="2602587"/>
                  </a:moveTo>
                  <a:cubicBezTo>
                    <a:pt x="5774450" y="2587355"/>
                    <a:pt x="5787614" y="2578187"/>
                    <a:pt x="5797953" y="2568193"/>
                  </a:cubicBezTo>
                  <a:cubicBezTo>
                    <a:pt x="5791060" y="2580807"/>
                    <a:pt x="5782789" y="2592938"/>
                    <a:pt x="5772106" y="2602587"/>
                  </a:cubicBezTo>
                  <a:moveTo>
                    <a:pt x="6661648" y="2608928"/>
                  </a:moveTo>
                  <a:lnTo>
                    <a:pt x="6661440" y="2597280"/>
                  </a:lnTo>
                  <a:cubicBezTo>
                    <a:pt x="6655444" y="2598382"/>
                    <a:pt x="6643451" y="2600588"/>
                    <a:pt x="6637386" y="2601691"/>
                  </a:cubicBezTo>
                  <a:cubicBezTo>
                    <a:pt x="6639454" y="2588802"/>
                    <a:pt x="6653307" y="2584391"/>
                    <a:pt x="6664749" y="2587561"/>
                  </a:cubicBezTo>
                  <a:cubicBezTo>
                    <a:pt x="6663646" y="2594661"/>
                    <a:pt x="6662612" y="2601829"/>
                    <a:pt x="6661648" y="2608928"/>
                  </a:cubicBezTo>
                  <a:moveTo>
                    <a:pt x="6481065" y="2607205"/>
                  </a:moveTo>
                  <a:cubicBezTo>
                    <a:pt x="6470037" y="2586527"/>
                    <a:pt x="6503672" y="2605757"/>
                    <a:pt x="6481065" y="2607205"/>
                  </a:cubicBezTo>
                  <a:moveTo>
                    <a:pt x="6450945" y="2603414"/>
                  </a:moveTo>
                  <a:cubicBezTo>
                    <a:pt x="6449842" y="2594867"/>
                    <a:pt x="6461077" y="2585493"/>
                    <a:pt x="6469003" y="2590318"/>
                  </a:cubicBezTo>
                  <a:cubicBezTo>
                    <a:pt x="6476654" y="2600726"/>
                    <a:pt x="6456597" y="2618095"/>
                    <a:pt x="6450945" y="2603414"/>
                  </a:cubicBezTo>
                  <a:moveTo>
                    <a:pt x="6029471" y="2595212"/>
                  </a:moveTo>
                  <a:cubicBezTo>
                    <a:pt x="6020166" y="2591972"/>
                    <a:pt x="6010655" y="2588319"/>
                    <a:pt x="6005278" y="2579566"/>
                  </a:cubicBezTo>
                  <a:cubicBezTo>
                    <a:pt x="6006588" y="2567573"/>
                    <a:pt x="6011412" y="2556407"/>
                    <a:pt x="6015065" y="2544897"/>
                  </a:cubicBezTo>
                  <a:cubicBezTo>
                    <a:pt x="6022096" y="2546000"/>
                    <a:pt x="6029402" y="2547034"/>
                    <a:pt x="6036639" y="2547999"/>
                  </a:cubicBezTo>
                  <a:cubicBezTo>
                    <a:pt x="6031125" y="2548688"/>
                    <a:pt x="6020028" y="2549928"/>
                    <a:pt x="6014514" y="2550549"/>
                  </a:cubicBezTo>
                  <a:cubicBezTo>
                    <a:pt x="6007001" y="2567091"/>
                    <a:pt x="6022923" y="2581289"/>
                    <a:pt x="6030987" y="2593833"/>
                  </a:cubicBezTo>
                  <a:cubicBezTo>
                    <a:pt x="6034089" y="2588319"/>
                    <a:pt x="6040361" y="2577429"/>
                    <a:pt x="6043462" y="2571984"/>
                  </a:cubicBezTo>
                  <a:cubicBezTo>
                    <a:pt x="6048770" y="2571640"/>
                    <a:pt x="6054146" y="2571295"/>
                    <a:pt x="6059591" y="2570950"/>
                  </a:cubicBezTo>
                  <a:cubicBezTo>
                    <a:pt x="6055662" y="2572191"/>
                    <a:pt x="6047805" y="2574603"/>
                    <a:pt x="6043883" y="2575844"/>
                  </a:cubicBezTo>
                  <a:lnTo>
                    <a:pt x="6039603" y="2592455"/>
                  </a:lnTo>
                  <a:cubicBezTo>
                    <a:pt x="6047805" y="2590594"/>
                    <a:pt x="6055800" y="2586734"/>
                    <a:pt x="6064346" y="2585631"/>
                  </a:cubicBezTo>
                  <a:cubicBezTo>
                    <a:pt x="6069654" y="2593489"/>
                    <a:pt x="6070688" y="2603414"/>
                    <a:pt x="6074478" y="2611960"/>
                  </a:cubicBezTo>
                  <a:cubicBezTo>
                    <a:pt x="6064002" y="2597280"/>
                    <a:pt x="6034434" y="2583288"/>
                    <a:pt x="6027748" y="2607963"/>
                  </a:cubicBezTo>
                  <a:cubicBezTo>
                    <a:pt x="6028161" y="2604792"/>
                    <a:pt x="6029057" y="2598382"/>
                    <a:pt x="6029471" y="2595212"/>
                  </a:cubicBezTo>
                  <a:moveTo>
                    <a:pt x="6606921" y="2621955"/>
                  </a:moveTo>
                  <a:cubicBezTo>
                    <a:pt x="6602234" y="2613132"/>
                    <a:pt x="6618087" y="2603552"/>
                    <a:pt x="6625255" y="2609824"/>
                  </a:cubicBezTo>
                  <a:cubicBezTo>
                    <a:pt x="6631321" y="2620025"/>
                    <a:pt x="6614158" y="2627193"/>
                    <a:pt x="6606921" y="2621955"/>
                  </a:cubicBezTo>
                  <a:moveTo>
                    <a:pt x="6500709" y="2621334"/>
                  </a:moveTo>
                  <a:cubicBezTo>
                    <a:pt x="6489129" y="2614580"/>
                    <a:pt x="6502018" y="2597693"/>
                    <a:pt x="6512150" y="2605757"/>
                  </a:cubicBezTo>
                  <a:cubicBezTo>
                    <a:pt x="6523316" y="2612374"/>
                    <a:pt x="6510220" y="2628158"/>
                    <a:pt x="6500709" y="2621334"/>
                  </a:cubicBezTo>
                  <a:moveTo>
                    <a:pt x="6370096" y="2636980"/>
                  </a:moveTo>
                  <a:cubicBezTo>
                    <a:pt x="6361136" y="2630777"/>
                    <a:pt x="6368787" y="2608997"/>
                    <a:pt x="6379746" y="2618233"/>
                  </a:cubicBezTo>
                  <a:cubicBezTo>
                    <a:pt x="6387052" y="2624711"/>
                    <a:pt x="6381055" y="2644700"/>
                    <a:pt x="6370096" y="2636980"/>
                  </a:cubicBezTo>
                  <a:moveTo>
                    <a:pt x="6501673" y="2642563"/>
                  </a:moveTo>
                  <a:cubicBezTo>
                    <a:pt x="6505395" y="2639048"/>
                    <a:pt x="6505395" y="2639048"/>
                    <a:pt x="6501673" y="2642563"/>
                  </a:cubicBezTo>
                  <a:moveTo>
                    <a:pt x="6639178" y="2635602"/>
                  </a:moveTo>
                  <a:cubicBezTo>
                    <a:pt x="6641108" y="2646285"/>
                    <a:pt x="6642969" y="2656968"/>
                    <a:pt x="6644278" y="2667789"/>
                  </a:cubicBezTo>
                  <a:cubicBezTo>
                    <a:pt x="6653652" y="2667996"/>
                    <a:pt x="6672331" y="2668479"/>
                    <a:pt x="6681704" y="2668755"/>
                  </a:cubicBezTo>
                  <a:cubicBezTo>
                    <a:pt x="6680533" y="2658416"/>
                    <a:pt x="6679499" y="2648146"/>
                    <a:pt x="6678603" y="2637807"/>
                  </a:cubicBezTo>
                  <a:cubicBezTo>
                    <a:pt x="6682394" y="2647664"/>
                    <a:pt x="6684737" y="2657933"/>
                    <a:pt x="6686253" y="2668341"/>
                  </a:cubicBezTo>
                  <a:cubicBezTo>
                    <a:pt x="6694731" y="2668479"/>
                    <a:pt x="6711755" y="2668755"/>
                    <a:pt x="6720234" y="2668892"/>
                  </a:cubicBezTo>
                  <a:cubicBezTo>
                    <a:pt x="6718372" y="2662344"/>
                    <a:pt x="6714720" y="2649318"/>
                    <a:pt x="6712927" y="2642839"/>
                  </a:cubicBezTo>
                  <a:lnTo>
                    <a:pt x="6708309" y="2639806"/>
                  </a:lnTo>
                  <a:cubicBezTo>
                    <a:pt x="6710791" y="2638428"/>
                    <a:pt x="6715753" y="2635739"/>
                    <a:pt x="6718234" y="2634361"/>
                  </a:cubicBezTo>
                  <a:cubicBezTo>
                    <a:pt x="6718924" y="2629605"/>
                    <a:pt x="6720234" y="2620231"/>
                    <a:pt x="6720853" y="2615545"/>
                  </a:cubicBezTo>
                  <a:cubicBezTo>
                    <a:pt x="6718786" y="2613477"/>
                    <a:pt x="6714720" y="2609341"/>
                    <a:pt x="6712720" y="2607343"/>
                  </a:cubicBezTo>
                  <a:cubicBezTo>
                    <a:pt x="6712445" y="2609548"/>
                    <a:pt x="6711963" y="2614097"/>
                    <a:pt x="6711687" y="2616303"/>
                  </a:cubicBezTo>
                  <a:cubicBezTo>
                    <a:pt x="6707069" y="2609479"/>
                    <a:pt x="6702520" y="2602656"/>
                    <a:pt x="6698108" y="2595832"/>
                  </a:cubicBezTo>
                  <a:cubicBezTo>
                    <a:pt x="6698453" y="2585424"/>
                    <a:pt x="6699004" y="2575017"/>
                    <a:pt x="6699074" y="2564609"/>
                  </a:cubicBezTo>
                  <a:cubicBezTo>
                    <a:pt x="6697006" y="2562611"/>
                    <a:pt x="6692870" y="2558544"/>
                    <a:pt x="6690803" y="2556545"/>
                  </a:cubicBezTo>
                  <a:cubicBezTo>
                    <a:pt x="6681291" y="2568538"/>
                    <a:pt x="6673709" y="2581634"/>
                    <a:pt x="6672813" y="2597142"/>
                  </a:cubicBezTo>
                  <a:cubicBezTo>
                    <a:pt x="6671779" y="2591490"/>
                    <a:pt x="6669711" y="2580255"/>
                    <a:pt x="6668609" y="2574672"/>
                  </a:cubicBezTo>
                  <a:cubicBezTo>
                    <a:pt x="6651102" y="2578187"/>
                    <a:pt x="6634146" y="2583495"/>
                    <a:pt x="6617122" y="2588526"/>
                  </a:cubicBezTo>
                  <a:cubicBezTo>
                    <a:pt x="6627875" y="2580531"/>
                    <a:pt x="6641935" y="2574397"/>
                    <a:pt x="6642141" y="2558682"/>
                  </a:cubicBezTo>
                  <a:cubicBezTo>
                    <a:pt x="6630356" y="2564954"/>
                    <a:pt x="6619404" y="2568607"/>
                    <a:pt x="6615675" y="2553030"/>
                  </a:cubicBezTo>
                  <a:cubicBezTo>
                    <a:pt x="6626978" y="2551720"/>
                    <a:pt x="6638351" y="2550342"/>
                    <a:pt x="6649792" y="2548619"/>
                  </a:cubicBezTo>
                  <a:lnTo>
                    <a:pt x="6658408" y="2544621"/>
                  </a:lnTo>
                  <a:cubicBezTo>
                    <a:pt x="6493885" y="2528493"/>
                    <a:pt x="6328197" y="2523324"/>
                    <a:pt x="6163253" y="2511124"/>
                  </a:cubicBezTo>
                  <a:cubicBezTo>
                    <a:pt x="6126103" y="2510504"/>
                    <a:pt x="6088746" y="2502577"/>
                    <a:pt x="6051733" y="2507816"/>
                  </a:cubicBezTo>
                  <a:cubicBezTo>
                    <a:pt x="6037053" y="2500923"/>
                    <a:pt x="6020373" y="2502715"/>
                    <a:pt x="6004727" y="2501130"/>
                  </a:cubicBezTo>
                  <a:cubicBezTo>
                    <a:pt x="5948553" y="2498579"/>
                    <a:pt x="5892517" y="2493065"/>
                    <a:pt x="5836344" y="2491549"/>
                  </a:cubicBezTo>
                  <a:lnTo>
                    <a:pt x="5830417" y="2503129"/>
                  </a:lnTo>
                  <a:cubicBezTo>
                    <a:pt x="5835931" y="2504783"/>
                    <a:pt x="5846889" y="2508091"/>
                    <a:pt x="5852335" y="2509745"/>
                  </a:cubicBezTo>
                  <a:cubicBezTo>
                    <a:pt x="5846959" y="2509194"/>
                    <a:pt x="5836137" y="2508160"/>
                    <a:pt x="5830761" y="2507609"/>
                  </a:cubicBezTo>
                  <a:cubicBezTo>
                    <a:pt x="5841720" y="2522703"/>
                    <a:pt x="5836344" y="2544690"/>
                    <a:pt x="5849784" y="2557717"/>
                  </a:cubicBezTo>
                  <a:cubicBezTo>
                    <a:pt x="5851231" y="2553581"/>
                    <a:pt x="5854126" y="2545242"/>
                    <a:pt x="5855574" y="2541106"/>
                  </a:cubicBezTo>
                  <a:cubicBezTo>
                    <a:pt x="5855160" y="2551238"/>
                    <a:pt x="5855849" y="2561301"/>
                    <a:pt x="5857642" y="2571295"/>
                  </a:cubicBezTo>
                  <a:cubicBezTo>
                    <a:pt x="5853782" y="2571226"/>
                    <a:pt x="5846200" y="2571019"/>
                    <a:pt x="5842409" y="2570950"/>
                  </a:cubicBezTo>
                  <a:cubicBezTo>
                    <a:pt x="5841858" y="2561714"/>
                    <a:pt x="5841169" y="2552479"/>
                    <a:pt x="5840755" y="2543243"/>
                  </a:cubicBezTo>
                  <a:cubicBezTo>
                    <a:pt x="5835103" y="2543725"/>
                    <a:pt x="5823869" y="2544690"/>
                    <a:pt x="5818217" y="2545173"/>
                  </a:cubicBezTo>
                  <a:cubicBezTo>
                    <a:pt x="5828624" y="2528769"/>
                    <a:pt x="5829658" y="2509470"/>
                    <a:pt x="5829520" y="2490515"/>
                  </a:cubicBezTo>
                  <a:cubicBezTo>
                    <a:pt x="5771072" y="2486173"/>
                    <a:pt x="5712486" y="2483347"/>
                    <a:pt x="5654038" y="2479074"/>
                  </a:cubicBezTo>
                  <a:cubicBezTo>
                    <a:pt x="5655830" y="2484243"/>
                    <a:pt x="5659346" y="2494720"/>
                    <a:pt x="5661069" y="2499889"/>
                  </a:cubicBezTo>
                  <a:cubicBezTo>
                    <a:pt x="5655141" y="2492859"/>
                    <a:pt x="5649282" y="2485828"/>
                    <a:pt x="5643286" y="2478867"/>
                  </a:cubicBezTo>
                  <a:cubicBezTo>
                    <a:pt x="5641563" y="2487965"/>
                    <a:pt x="5639771" y="2496994"/>
                    <a:pt x="5637979" y="2506023"/>
                  </a:cubicBezTo>
                  <a:cubicBezTo>
                    <a:pt x="5634533" y="2499613"/>
                    <a:pt x="5631087" y="2493341"/>
                    <a:pt x="5627502" y="2487138"/>
                  </a:cubicBezTo>
                  <a:lnTo>
                    <a:pt x="5638392" y="2487483"/>
                  </a:lnTo>
                  <a:cubicBezTo>
                    <a:pt x="5629087" y="2464669"/>
                    <a:pt x="5615441" y="2495271"/>
                    <a:pt x="5605240" y="2476800"/>
                  </a:cubicBezTo>
                  <a:cubicBezTo>
                    <a:pt x="5595108" y="2476662"/>
                    <a:pt x="5585045" y="2476041"/>
                    <a:pt x="5575120" y="2474869"/>
                  </a:cubicBezTo>
                  <a:cubicBezTo>
                    <a:pt x="5573259" y="2477626"/>
                    <a:pt x="5569674" y="2483071"/>
                    <a:pt x="5567814" y="2485828"/>
                  </a:cubicBezTo>
                  <a:lnTo>
                    <a:pt x="5569054" y="2473560"/>
                  </a:lnTo>
                  <a:cubicBezTo>
                    <a:pt x="5533558" y="2472112"/>
                    <a:pt x="5498131" y="2469907"/>
                    <a:pt x="5462772" y="2467081"/>
                  </a:cubicBezTo>
                  <a:lnTo>
                    <a:pt x="5463048" y="2477626"/>
                  </a:lnTo>
                  <a:cubicBezTo>
                    <a:pt x="5462772" y="2475007"/>
                    <a:pt x="5462083" y="2469700"/>
                    <a:pt x="5461739" y="2467081"/>
                  </a:cubicBezTo>
                  <a:cubicBezTo>
                    <a:pt x="5450435" y="2466529"/>
                    <a:pt x="5438993" y="2465909"/>
                    <a:pt x="5427759" y="2465358"/>
                  </a:cubicBezTo>
                  <a:cubicBezTo>
                    <a:pt x="5430378" y="2473353"/>
                    <a:pt x="5433273" y="2481280"/>
                    <a:pt x="5436030" y="2489275"/>
                  </a:cubicBezTo>
                  <a:cubicBezTo>
                    <a:pt x="5433617" y="2489619"/>
                    <a:pt x="5428861" y="2490240"/>
                    <a:pt x="5426449" y="2490515"/>
                  </a:cubicBezTo>
                  <a:cubicBezTo>
                    <a:pt x="5426794" y="2482382"/>
                    <a:pt x="5427276" y="2474249"/>
                    <a:pt x="5427828" y="2466047"/>
                  </a:cubicBezTo>
                  <a:cubicBezTo>
                    <a:pt x="5361384" y="2460947"/>
                    <a:pt x="5294872" y="2456467"/>
                    <a:pt x="5228291" y="2453158"/>
                  </a:cubicBezTo>
                  <a:cubicBezTo>
                    <a:pt x="5221330" y="2457363"/>
                    <a:pt x="5215126" y="2463359"/>
                    <a:pt x="5206786" y="2463910"/>
                  </a:cubicBezTo>
                  <a:cubicBezTo>
                    <a:pt x="5209061" y="2459292"/>
                    <a:pt x="5211542" y="2454744"/>
                    <a:pt x="5214230" y="2450195"/>
                  </a:cubicBezTo>
                  <a:cubicBezTo>
                    <a:pt x="5208096" y="2450401"/>
                    <a:pt x="5195828" y="2450746"/>
                    <a:pt x="5189624" y="2450953"/>
                  </a:cubicBezTo>
                  <a:cubicBezTo>
                    <a:pt x="5191761" y="2463841"/>
                    <a:pt x="5185075" y="2474800"/>
                    <a:pt x="5178803" y="2485415"/>
                  </a:cubicBezTo>
                  <a:cubicBezTo>
                    <a:pt x="5180871" y="2473560"/>
                    <a:pt x="5183008" y="2461774"/>
                    <a:pt x="5185282" y="2449919"/>
                  </a:cubicBezTo>
                  <a:cubicBezTo>
                    <a:pt x="5148476" y="2448471"/>
                    <a:pt x="5111808" y="2444956"/>
                    <a:pt x="5075071" y="2443578"/>
                  </a:cubicBezTo>
                  <a:cubicBezTo>
                    <a:pt x="5078793" y="2447024"/>
                    <a:pt x="5082653" y="2450470"/>
                    <a:pt x="5086651" y="2453847"/>
                  </a:cubicBezTo>
                  <a:cubicBezTo>
                    <a:pt x="5082722" y="2456053"/>
                    <a:pt x="5074865" y="2460602"/>
                    <a:pt x="5070936" y="2462808"/>
                  </a:cubicBezTo>
                  <a:lnTo>
                    <a:pt x="5066801" y="2464875"/>
                  </a:lnTo>
                  <a:cubicBezTo>
                    <a:pt x="5060735" y="2466805"/>
                    <a:pt x="5054739" y="2468597"/>
                    <a:pt x="5048811" y="2470320"/>
                  </a:cubicBezTo>
                  <a:cubicBezTo>
                    <a:pt x="5048535" y="2468460"/>
                    <a:pt x="5048053" y="2464600"/>
                    <a:pt x="5047846" y="2462739"/>
                  </a:cubicBezTo>
                  <a:cubicBezTo>
                    <a:pt x="5060046" y="2463841"/>
                    <a:pt x="5068799" y="2454950"/>
                    <a:pt x="5073210" y="2444474"/>
                  </a:cubicBezTo>
                  <a:cubicBezTo>
                    <a:pt x="5062320" y="2444750"/>
                    <a:pt x="5047088" y="2436341"/>
                    <a:pt x="5039231" y="2447920"/>
                  </a:cubicBezTo>
                  <a:cubicBezTo>
                    <a:pt x="5031304" y="2433584"/>
                    <a:pt x="5010627" y="2441441"/>
                    <a:pt x="4996842" y="2438270"/>
                  </a:cubicBezTo>
                  <a:cubicBezTo>
                    <a:pt x="4993465" y="2445370"/>
                    <a:pt x="4990156" y="2452400"/>
                    <a:pt x="4986641" y="2459361"/>
                  </a:cubicBezTo>
                  <a:cubicBezTo>
                    <a:pt x="4986917" y="2453916"/>
                    <a:pt x="4987399" y="2443026"/>
                    <a:pt x="4987675" y="2437650"/>
                  </a:cubicBezTo>
                  <a:cubicBezTo>
                    <a:pt x="4980438" y="2437168"/>
                    <a:pt x="4965895" y="2436134"/>
                    <a:pt x="4958589" y="2435651"/>
                  </a:cubicBezTo>
                  <a:cubicBezTo>
                    <a:pt x="4958244" y="2452538"/>
                    <a:pt x="4957831" y="2469424"/>
                    <a:pt x="4959416" y="2486242"/>
                  </a:cubicBezTo>
                  <a:cubicBezTo>
                    <a:pt x="4968100" y="2479419"/>
                    <a:pt x="4973614" y="2469700"/>
                    <a:pt x="4975682" y="2458810"/>
                  </a:cubicBezTo>
                  <a:cubicBezTo>
                    <a:pt x="4974511" y="2480177"/>
                    <a:pt x="4970720" y="2503404"/>
                    <a:pt x="4956866" y="2520291"/>
                  </a:cubicBezTo>
                  <a:cubicBezTo>
                    <a:pt x="4956452" y="2513398"/>
                    <a:pt x="4955556" y="2499613"/>
                    <a:pt x="4955074" y="2492721"/>
                  </a:cubicBezTo>
                  <a:lnTo>
                    <a:pt x="4950111" y="2493617"/>
                  </a:lnTo>
                  <a:cubicBezTo>
                    <a:pt x="4951627" y="2509745"/>
                    <a:pt x="4951352" y="2526012"/>
                    <a:pt x="4948664" y="2541933"/>
                  </a:cubicBezTo>
                  <a:cubicBezTo>
                    <a:pt x="4943356" y="2534214"/>
                    <a:pt x="4938187" y="2526356"/>
                    <a:pt x="4933087" y="2518568"/>
                  </a:cubicBezTo>
                  <a:cubicBezTo>
                    <a:pt x="4945424" y="2492514"/>
                    <a:pt x="4947078" y="2463221"/>
                    <a:pt x="4944528" y="2434893"/>
                  </a:cubicBezTo>
                  <a:cubicBezTo>
                    <a:pt x="4899934" y="2432825"/>
                    <a:pt x="4855340" y="2429035"/>
                    <a:pt x="4810746" y="2426691"/>
                  </a:cubicBezTo>
                  <a:cubicBezTo>
                    <a:pt x="4807920" y="2430068"/>
                    <a:pt x="4802337" y="2436754"/>
                    <a:pt x="4799511" y="2440131"/>
                  </a:cubicBezTo>
                  <a:cubicBezTo>
                    <a:pt x="4798615" y="2414767"/>
                    <a:pt x="4766634" y="2427863"/>
                    <a:pt x="4750712" y="2423176"/>
                  </a:cubicBezTo>
                  <a:cubicBezTo>
                    <a:pt x="4756226" y="2429862"/>
                    <a:pt x="4761947" y="2436479"/>
                    <a:pt x="4767737" y="2442957"/>
                  </a:cubicBezTo>
                  <a:cubicBezTo>
                    <a:pt x="4754503" y="2444543"/>
                    <a:pt x="4740649" y="2457914"/>
                    <a:pt x="4727967" y="2450470"/>
                  </a:cubicBezTo>
                  <a:cubicBezTo>
                    <a:pt x="4743406" y="2449092"/>
                    <a:pt x="4744716" y="2434549"/>
                    <a:pt x="4748093" y="2422418"/>
                  </a:cubicBezTo>
                  <a:cubicBezTo>
                    <a:pt x="4704464" y="2420557"/>
                    <a:pt x="4660903" y="2416284"/>
                    <a:pt x="4617274" y="2415181"/>
                  </a:cubicBezTo>
                  <a:cubicBezTo>
                    <a:pt x="4616033" y="2418627"/>
                    <a:pt x="4613552" y="2425451"/>
                    <a:pt x="4612312" y="2428897"/>
                  </a:cubicBezTo>
                  <a:cubicBezTo>
                    <a:pt x="4611071" y="2426347"/>
                    <a:pt x="4608452" y="2421177"/>
                    <a:pt x="4607142" y="2418627"/>
                  </a:cubicBezTo>
                  <a:cubicBezTo>
                    <a:pt x="4588533" y="2426278"/>
                    <a:pt x="4569371" y="2426278"/>
                    <a:pt x="4550210" y="2421522"/>
                  </a:cubicBezTo>
                  <a:cubicBezTo>
                    <a:pt x="4551382" y="2418351"/>
                    <a:pt x="4553863" y="2411941"/>
                    <a:pt x="4555035" y="2408702"/>
                  </a:cubicBezTo>
                  <a:cubicBezTo>
                    <a:pt x="4543249" y="2409046"/>
                    <a:pt x="4533669" y="2412700"/>
                    <a:pt x="4530360" y="2424279"/>
                  </a:cubicBezTo>
                  <a:cubicBezTo>
                    <a:pt x="4530774" y="2420488"/>
                    <a:pt x="4531601" y="2412837"/>
                    <a:pt x="4532014" y="2408977"/>
                  </a:cubicBezTo>
                  <a:lnTo>
                    <a:pt x="4518919" y="2407668"/>
                  </a:lnTo>
                  <a:cubicBezTo>
                    <a:pt x="4517196" y="2413113"/>
                    <a:pt x="4515610" y="2418489"/>
                    <a:pt x="4513956" y="2423865"/>
                  </a:cubicBezTo>
                  <a:cubicBezTo>
                    <a:pt x="4513956" y="2419799"/>
                    <a:pt x="4514025" y="2411597"/>
                    <a:pt x="4514025" y="2407461"/>
                  </a:cubicBezTo>
                  <a:cubicBezTo>
                    <a:pt x="4497897" y="2406634"/>
                    <a:pt x="4481768" y="2406014"/>
                    <a:pt x="4465847" y="2407737"/>
                  </a:cubicBezTo>
                  <a:lnTo>
                    <a:pt x="4474324" y="2423176"/>
                  </a:lnTo>
                  <a:cubicBezTo>
                    <a:pt x="4471498" y="2422969"/>
                    <a:pt x="4465847" y="2422418"/>
                    <a:pt x="4462952" y="2422142"/>
                  </a:cubicBezTo>
                  <a:cubicBezTo>
                    <a:pt x="4463365" y="2428345"/>
                    <a:pt x="4464193" y="2440752"/>
                    <a:pt x="4464606" y="2446955"/>
                  </a:cubicBezTo>
                  <a:cubicBezTo>
                    <a:pt x="4455026" y="2442061"/>
                    <a:pt x="4455990" y="2430965"/>
                    <a:pt x="4453923" y="2422004"/>
                  </a:cubicBezTo>
                  <a:cubicBezTo>
                    <a:pt x="4457369" y="2417042"/>
                    <a:pt x="4460815" y="2412010"/>
                    <a:pt x="4464261" y="2406979"/>
                  </a:cubicBezTo>
                  <a:cubicBezTo>
                    <a:pt x="4456749" y="2405738"/>
                    <a:pt x="4441792" y="2403257"/>
                    <a:pt x="4434279" y="2402016"/>
                  </a:cubicBezTo>
                  <a:cubicBezTo>
                    <a:pt x="4435658" y="2414078"/>
                    <a:pt x="4436485" y="2426140"/>
                    <a:pt x="4437519" y="2438202"/>
                  </a:cubicBezTo>
                  <a:cubicBezTo>
                    <a:pt x="4435244" y="2439098"/>
                    <a:pt x="4430557" y="2440821"/>
                    <a:pt x="4428214" y="2441648"/>
                  </a:cubicBezTo>
                  <a:cubicBezTo>
                    <a:pt x="4429179" y="2435858"/>
                    <a:pt x="4431109" y="2424348"/>
                    <a:pt x="4432074" y="2418627"/>
                  </a:cubicBezTo>
                  <a:cubicBezTo>
                    <a:pt x="4429248" y="2419385"/>
                    <a:pt x="4423734" y="2420833"/>
                    <a:pt x="4420908" y="2421522"/>
                  </a:cubicBezTo>
                  <a:cubicBezTo>
                    <a:pt x="4424009" y="2417593"/>
                    <a:pt x="4430144" y="2409598"/>
                    <a:pt x="4433245" y="2405669"/>
                  </a:cubicBezTo>
                  <a:cubicBezTo>
                    <a:pt x="4389271" y="2398639"/>
                    <a:pt x="4344470" y="2397123"/>
                    <a:pt x="4300083" y="2396089"/>
                  </a:cubicBezTo>
                  <a:cubicBezTo>
                    <a:pt x="4300290" y="2400775"/>
                    <a:pt x="4300703" y="2410080"/>
                    <a:pt x="4300979" y="2414767"/>
                  </a:cubicBezTo>
                  <a:cubicBezTo>
                    <a:pt x="4304150" y="2414147"/>
                    <a:pt x="4310628" y="2413044"/>
                    <a:pt x="4313875" y="2412493"/>
                  </a:cubicBezTo>
                  <a:lnTo>
                    <a:pt x="4305942" y="2418214"/>
                  </a:lnTo>
                  <a:cubicBezTo>
                    <a:pt x="4305873" y="2421728"/>
                    <a:pt x="4305735" y="2428759"/>
                    <a:pt x="4305666" y="2432274"/>
                  </a:cubicBezTo>
                  <a:cubicBezTo>
                    <a:pt x="4300565" y="2420074"/>
                    <a:pt x="4295741" y="2407599"/>
                    <a:pt x="4294983" y="2394228"/>
                  </a:cubicBezTo>
                  <a:lnTo>
                    <a:pt x="4283886" y="2393538"/>
                  </a:lnTo>
                  <a:cubicBezTo>
                    <a:pt x="4282507" y="2417042"/>
                    <a:pt x="4282507" y="2440545"/>
                    <a:pt x="4282300" y="2464048"/>
                  </a:cubicBezTo>
                  <a:cubicBezTo>
                    <a:pt x="4286849" y="2457501"/>
                    <a:pt x="4296085" y="2444336"/>
                    <a:pt x="4300634" y="2437788"/>
                  </a:cubicBezTo>
                  <a:cubicBezTo>
                    <a:pt x="4300152" y="2442475"/>
                    <a:pt x="4299256" y="2451711"/>
                    <a:pt x="4298774" y="2456398"/>
                  </a:cubicBezTo>
                  <a:lnTo>
                    <a:pt x="4288711" y="2456398"/>
                  </a:lnTo>
                  <a:cubicBezTo>
                    <a:pt x="4289813" y="2462049"/>
                    <a:pt x="4292019" y="2473422"/>
                    <a:pt x="4293122" y="2479074"/>
                  </a:cubicBezTo>
                  <a:cubicBezTo>
                    <a:pt x="4290571" y="2475490"/>
                    <a:pt x="4285333" y="2468184"/>
                    <a:pt x="4282714" y="2464600"/>
                  </a:cubicBezTo>
                  <a:cubicBezTo>
                    <a:pt x="4284092" y="2488172"/>
                    <a:pt x="4257763" y="2487414"/>
                    <a:pt x="4242462" y="2495065"/>
                  </a:cubicBezTo>
                  <a:cubicBezTo>
                    <a:pt x="4226747" y="2500579"/>
                    <a:pt x="4215030" y="2483347"/>
                    <a:pt x="4212893" y="2469838"/>
                  </a:cubicBezTo>
                  <a:cubicBezTo>
                    <a:pt x="4201107" y="2469218"/>
                    <a:pt x="4177742" y="2478316"/>
                    <a:pt x="4178569" y="2458948"/>
                  </a:cubicBezTo>
                  <a:cubicBezTo>
                    <a:pt x="4201176" y="2465634"/>
                    <a:pt x="4227643" y="2467219"/>
                    <a:pt x="4244805" y="2485208"/>
                  </a:cubicBezTo>
                  <a:cubicBezTo>
                    <a:pt x="4254662" y="2483761"/>
                    <a:pt x="4264587" y="2482245"/>
                    <a:pt x="4274512" y="2480728"/>
                  </a:cubicBezTo>
                  <a:cubicBezTo>
                    <a:pt x="4275615" y="2473077"/>
                    <a:pt x="4276786" y="2465358"/>
                    <a:pt x="4277889" y="2457638"/>
                  </a:cubicBezTo>
                  <a:cubicBezTo>
                    <a:pt x="4263622" y="2447438"/>
                    <a:pt x="4256385" y="2431516"/>
                    <a:pt x="4249768" y="2415939"/>
                  </a:cubicBezTo>
                  <a:cubicBezTo>
                    <a:pt x="4254317" y="2418420"/>
                    <a:pt x="4263346" y="2423383"/>
                    <a:pt x="4267895" y="2425864"/>
                  </a:cubicBezTo>
                  <a:cubicBezTo>
                    <a:pt x="4270032" y="2423521"/>
                    <a:pt x="4274374" y="2418903"/>
                    <a:pt x="4276580" y="2416559"/>
                  </a:cubicBezTo>
                  <a:cubicBezTo>
                    <a:pt x="4277338" y="2410770"/>
                    <a:pt x="4278785" y="2399190"/>
                    <a:pt x="4279543" y="2393332"/>
                  </a:cubicBezTo>
                  <a:cubicBezTo>
                    <a:pt x="4272169" y="2392987"/>
                    <a:pt x="4257350" y="2392229"/>
                    <a:pt x="4249906" y="2391884"/>
                  </a:cubicBezTo>
                  <a:cubicBezTo>
                    <a:pt x="4249355" y="2400844"/>
                    <a:pt x="4246804" y="2409115"/>
                    <a:pt x="4242255" y="2416628"/>
                  </a:cubicBezTo>
                  <a:cubicBezTo>
                    <a:pt x="4238189" y="2423038"/>
                    <a:pt x="4233777" y="2429173"/>
                    <a:pt x="4229573" y="2435376"/>
                  </a:cubicBezTo>
                  <a:cubicBezTo>
                    <a:pt x="4219303" y="2435513"/>
                    <a:pt x="4209034" y="2435720"/>
                    <a:pt x="4198902" y="2435858"/>
                  </a:cubicBezTo>
                  <a:cubicBezTo>
                    <a:pt x="4202072" y="2434342"/>
                    <a:pt x="4208344" y="2431447"/>
                    <a:pt x="4211515" y="2429931"/>
                  </a:cubicBezTo>
                  <a:cubicBezTo>
                    <a:pt x="4210895" y="2416490"/>
                    <a:pt x="4210205" y="2402981"/>
                    <a:pt x="4209447" y="2389472"/>
                  </a:cubicBezTo>
                  <a:cubicBezTo>
                    <a:pt x="4205518" y="2398501"/>
                    <a:pt x="4200969" y="2407117"/>
                    <a:pt x="4195800" y="2415319"/>
                  </a:cubicBezTo>
                  <a:cubicBezTo>
                    <a:pt x="4199246" y="2398570"/>
                    <a:pt x="4189390" y="2387060"/>
                    <a:pt x="4172848" y="2383131"/>
                  </a:cubicBezTo>
                  <a:cubicBezTo>
                    <a:pt x="4173055" y="2393745"/>
                    <a:pt x="4176708" y="2403188"/>
                    <a:pt x="4183738" y="2411321"/>
                  </a:cubicBezTo>
                  <a:cubicBezTo>
                    <a:pt x="4179534" y="2409805"/>
                    <a:pt x="4171056" y="2406772"/>
                    <a:pt x="4166851" y="2405256"/>
                  </a:cubicBezTo>
                  <a:cubicBezTo>
                    <a:pt x="4168023" y="2398915"/>
                    <a:pt x="4169333" y="2392505"/>
                    <a:pt x="4170642" y="2386164"/>
                  </a:cubicBezTo>
                  <a:cubicBezTo>
                    <a:pt x="4152929" y="2381201"/>
                    <a:pt x="4147001" y="2387955"/>
                    <a:pt x="4152860" y="2406496"/>
                  </a:cubicBezTo>
                  <a:cubicBezTo>
                    <a:pt x="4147484" y="2400706"/>
                    <a:pt x="4136801" y="2389196"/>
                    <a:pt x="4131493" y="2383407"/>
                  </a:cubicBezTo>
                  <a:cubicBezTo>
                    <a:pt x="4125152" y="2389679"/>
                    <a:pt x="4119087" y="2396089"/>
                    <a:pt x="4113090" y="2402499"/>
                  </a:cubicBezTo>
                  <a:cubicBezTo>
                    <a:pt x="4114813" y="2395537"/>
                    <a:pt x="4116261" y="2388438"/>
                    <a:pt x="4116881" y="2381201"/>
                  </a:cubicBezTo>
                  <a:cubicBezTo>
                    <a:pt x="4049680" y="2382373"/>
                    <a:pt x="3982823" y="2374033"/>
                    <a:pt x="3915828" y="2370311"/>
                  </a:cubicBezTo>
                  <a:cubicBezTo>
                    <a:pt x="3916310" y="2375136"/>
                    <a:pt x="3917344" y="2384716"/>
                    <a:pt x="3917896" y="2389541"/>
                  </a:cubicBezTo>
                  <a:cubicBezTo>
                    <a:pt x="3911417" y="2381959"/>
                    <a:pt x="3907833" y="2368657"/>
                    <a:pt x="3895771" y="2369553"/>
                  </a:cubicBezTo>
                  <a:cubicBezTo>
                    <a:pt x="3872750" y="2369277"/>
                    <a:pt x="3848764" y="2362453"/>
                    <a:pt x="3826433" y="2368863"/>
                  </a:cubicBezTo>
                  <a:cubicBezTo>
                    <a:pt x="3820161" y="2383338"/>
                    <a:pt x="3821953" y="2399535"/>
                    <a:pt x="3820712" y="2414905"/>
                  </a:cubicBezTo>
                  <a:cubicBezTo>
                    <a:pt x="3815819" y="2411183"/>
                    <a:pt x="3810925" y="2407461"/>
                    <a:pt x="3806031" y="2403739"/>
                  </a:cubicBezTo>
                  <a:cubicBezTo>
                    <a:pt x="3802654" y="2406841"/>
                    <a:pt x="3795899" y="2413044"/>
                    <a:pt x="3792522" y="2416077"/>
                  </a:cubicBezTo>
                  <a:cubicBezTo>
                    <a:pt x="3790937" y="2411872"/>
                    <a:pt x="3787766" y="2403326"/>
                    <a:pt x="3786181" y="2399121"/>
                  </a:cubicBezTo>
                  <a:cubicBezTo>
                    <a:pt x="3779978" y="2399121"/>
                    <a:pt x="3767433" y="2399121"/>
                    <a:pt x="3761230" y="2399121"/>
                  </a:cubicBezTo>
                  <a:cubicBezTo>
                    <a:pt x="3759645" y="2401809"/>
                    <a:pt x="3756543" y="2407186"/>
                    <a:pt x="3754958" y="2409874"/>
                  </a:cubicBezTo>
                  <a:cubicBezTo>
                    <a:pt x="3754820" y="2393469"/>
                    <a:pt x="3755027" y="2377065"/>
                    <a:pt x="3755027" y="2360662"/>
                  </a:cubicBezTo>
                  <a:cubicBezTo>
                    <a:pt x="3738003" y="2362316"/>
                    <a:pt x="3705056" y="2347359"/>
                    <a:pt x="3704436" y="2375067"/>
                  </a:cubicBezTo>
                  <a:cubicBezTo>
                    <a:pt x="3704574" y="2370173"/>
                    <a:pt x="3704781" y="2360317"/>
                    <a:pt x="3704919" y="2355423"/>
                  </a:cubicBezTo>
                  <a:cubicBezTo>
                    <a:pt x="3699681" y="2357077"/>
                    <a:pt x="3689273" y="2360386"/>
                    <a:pt x="3684034" y="2362040"/>
                  </a:cubicBezTo>
                  <a:cubicBezTo>
                    <a:pt x="3683690" y="2368450"/>
                    <a:pt x="3683001" y="2381201"/>
                    <a:pt x="3682656" y="2387611"/>
                  </a:cubicBezTo>
                  <a:cubicBezTo>
                    <a:pt x="3692374" y="2388989"/>
                    <a:pt x="3697406" y="2394021"/>
                    <a:pt x="3697819" y="2402637"/>
                  </a:cubicBezTo>
                  <a:cubicBezTo>
                    <a:pt x="3713052" y="2400844"/>
                    <a:pt x="3730007" y="2396847"/>
                    <a:pt x="3740415" y="2411597"/>
                  </a:cubicBezTo>
                  <a:cubicBezTo>
                    <a:pt x="3739795" y="2418971"/>
                    <a:pt x="3739243" y="2426278"/>
                    <a:pt x="3738761" y="2433515"/>
                  </a:cubicBezTo>
                  <a:cubicBezTo>
                    <a:pt x="3735590" y="2433584"/>
                    <a:pt x="3729249" y="2433653"/>
                    <a:pt x="3726079" y="2433653"/>
                  </a:cubicBezTo>
                  <a:cubicBezTo>
                    <a:pt x="3727595" y="2428001"/>
                    <a:pt x="3729180" y="2422349"/>
                    <a:pt x="3730835" y="2416697"/>
                  </a:cubicBezTo>
                  <a:cubicBezTo>
                    <a:pt x="3719324" y="2403326"/>
                    <a:pt x="3704850" y="2402706"/>
                    <a:pt x="3702782" y="2423521"/>
                  </a:cubicBezTo>
                  <a:cubicBezTo>
                    <a:pt x="3701817" y="2418007"/>
                    <a:pt x="3700921" y="2412493"/>
                    <a:pt x="3700025" y="2406910"/>
                  </a:cubicBezTo>
                  <a:cubicBezTo>
                    <a:pt x="3692857" y="2402499"/>
                    <a:pt x="3685965" y="2397743"/>
                    <a:pt x="3679003" y="2393056"/>
                  </a:cubicBezTo>
                  <a:lnTo>
                    <a:pt x="3679623" y="2404980"/>
                  </a:lnTo>
                  <a:cubicBezTo>
                    <a:pt x="3675971" y="2402292"/>
                    <a:pt x="3668664" y="2396916"/>
                    <a:pt x="3665012" y="2394228"/>
                  </a:cubicBezTo>
                  <a:cubicBezTo>
                    <a:pt x="3665287" y="2398432"/>
                    <a:pt x="3665769" y="2406841"/>
                    <a:pt x="3666045" y="2411045"/>
                  </a:cubicBezTo>
                  <a:cubicBezTo>
                    <a:pt x="3660118" y="2401672"/>
                    <a:pt x="3653708" y="2392505"/>
                    <a:pt x="3645437" y="2385061"/>
                  </a:cubicBezTo>
                  <a:lnTo>
                    <a:pt x="3641439" y="2400293"/>
                  </a:lnTo>
                  <a:cubicBezTo>
                    <a:pt x="3625862" y="2389472"/>
                    <a:pt x="3607391" y="2372310"/>
                    <a:pt x="3615523" y="2351563"/>
                  </a:cubicBezTo>
                  <a:cubicBezTo>
                    <a:pt x="3493803" y="2345911"/>
                    <a:pt x="3372358" y="2333505"/>
                    <a:pt x="3250568" y="2331231"/>
                  </a:cubicBezTo>
                  <a:cubicBezTo>
                    <a:pt x="3254565" y="2332816"/>
                    <a:pt x="3262492" y="2336055"/>
                    <a:pt x="3266489" y="2337640"/>
                  </a:cubicBezTo>
                  <a:cubicBezTo>
                    <a:pt x="3261803" y="2364659"/>
                    <a:pt x="3271038" y="2390712"/>
                    <a:pt x="3276828" y="2416628"/>
                  </a:cubicBezTo>
                  <a:cubicBezTo>
                    <a:pt x="3279447" y="2414836"/>
                    <a:pt x="3284685" y="2411252"/>
                    <a:pt x="3287305" y="2409460"/>
                  </a:cubicBezTo>
                  <a:cubicBezTo>
                    <a:pt x="3283789" y="2421453"/>
                    <a:pt x="3286202" y="2431585"/>
                    <a:pt x="3294610" y="2439856"/>
                  </a:cubicBezTo>
                  <a:cubicBezTo>
                    <a:pt x="3288614" y="2440614"/>
                    <a:pt x="3276552" y="2442130"/>
                    <a:pt x="3270487" y="2442888"/>
                  </a:cubicBezTo>
                  <a:cubicBezTo>
                    <a:pt x="3271865" y="2460326"/>
                    <a:pt x="3292612" y="2451849"/>
                    <a:pt x="3303640" y="2455571"/>
                  </a:cubicBezTo>
                  <a:cubicBezTo>
                    <a:pt x="3307637" y="2452952"/>
                    <a:pt x="3311704" y="2450332"/>
                    <a:pt x="3315839" y="2447644"/>
                  </a:cubicBezTo>
                  <a:lnTo>
                    <a:pt x="3320664" y="2456673"/>
                  </a:lnTo>
                  <a:cubicBezTo>
                    <a:pt x="3326867" y="2456260"/>
                    <a:pt x="3339274" y="2455502"/>
                    <a:pt x="3345477" y="2455157"/>
                  </a:cubicBezTo>
                  <a:cubicBezTo>
                    <a:pt x="3349268" y="2432963"/>
                    <a:pt x="3347889" y="2410701"/>
                    <a:pt x="3340721" y="2389334"/>
                  </a:cubicBezTo>
                  <a:cubicBezTo>
                    <a:pt x="3349543" y="2397260"/>
                    <a:pt x="3349888" y="2409598"/>
                    <a:pt x="3352852" y="2420281"/>
                  </a:cubicBezTo>
                  <a:cubicBezTo>
                    <a:pt x="3343478" y="2431240"/>
                    <a:pt x="3353128" y="2446886"/>
                    <a:pt x="3352576" y="2459499"/>
                  </a:cubicBezTo>
                  <a:cubicBezTo>
                    <a:pt x="3357539" y="2458121"/>
                    <a:pt x="3362570" y="2456673"/>
                    <a:pt x="3367739" y="2455157"/>
                  </a:cubicBezTo>
                  <a:cubicBezTo>
                    <a:pt x="3379457" y="2460258"/>
                    <a:pt x="3392277" y="2461154"/>
                    <a:pt x="3404959" y="2461636"/>
                  </a:cubicBezTo>
                  <a:cubicBezTo>
                    <a:pt x="3413299" y="2431999"/>
                    <a:pt x="3394896" y="2387680"/>
                    <a:pt x="3426739" y="2369415"/>
                  </a:cubicBezTo>
                  <a:cubicBezTo>
                    <a:pt x="3423155" y="2376445"/>
                    <a:pt x="3419433" y="2383407"/>
                    <a:pt x="3415504" y="2390230"/>
                  </a:cubicBezTo>
                  <a:cubicBezTo>
                    <a:pt x="3419157" y="2391333"/>
                    <a:pt x="3426325" y="2393538"/>
                    <a:pt x="3429910" y="2394641"/>
                  </a:cubicBezTo>
                  <a:cubicBezTo>
                    <a:pt x="3433907" y="2417386"/>
                    <a:pt x="3431770" y="2440476"/>
                    <a:pt x="3429289" y="2463152"/>
                  </a:cubicBezTo>
                  <a:cubicBezTo>
                    <a:pt x="3430323" y="2463152"/>
                    <a:pt x="3432391" y="2463152"/>
                    <a:pt x="3433493" y="2463083"/>
                  </a:cubicBezTo>
                  <a:cubicBezTo>
                    <a:pt x="3435837" y="2451504"/>
                    <a:pt x="3439421" y="2440200"/>
                    <a:pt x="3443832" y="2429173"/>
                  </a:cubicBezTo>
                  <a:cubicBezTo>
                    <a:pt x="3452103" y="2412424"/>
                    <a:pt x="3444108" y="2392091"/>
                    <a:pt x="3454929" y="2376170"/>
                  </a:cubicBezTo>
                  <a:cubicBezTo>
                    <a:pt x="3458996" y="2359283"/>
                    <a:pt x="3472574" y="2365142"/>
                    <a:pt x="3475331" y="2378789"/>
                  </a:cubicBezTo>
                  <a:cubicBezTo>
                    <a:pt x="3455894" y="2380167"/>
                    <a:pt x="3448795" y="2405531"/>
                    <a:pt x="3466922" y="2414491"/>
                  </a:cubicBezTo>
                  <a:cubicBezTo>
                    <a:pt x="3464027" y="2414560"/>
                    <a:pt x="3458306" y="2414629"/>
                    <a:pt x="3455412" y="2414629"/>
                  </a:cubicBezTo>
                  <a:cubicBezTo>
                    <a:pt x="3456101" y="2419937"/>
                    <a:pt x="3457341" y="2430413"/>
                    <a:pt x="3457962" y="2435651"/>
                  </a:cubicBezTo>
                  <a:cubicBezTo>
                    <a:pt x="3456377" y="2445301"/>
                    <a:pt x="3454791" y="2455019"/>
                    <a:pt x="3453413" y="2464669"/>
                  </a:cubicBezTo>
                  <a:cubicBezTo>
                    <a:pt x="3484911" y="2466943"/>
                    <a:pt x="3516479" y="2468460"/>
                    <a:pt x="3548046" y="2470527"/>
                  </a:cubicBezTo>
                  <a:cubicBezTo>
                    <a:pt x="3548322" y="2463773"/>
                    <a:pt x="3548874" y="2450332"/>
                    <a:pt x="3549149" y="2443578"/>
                  </a:cubicBezTo>
                  <a:cubicBezTo>
                    <a:pt x="3551010" y="2452745"/>
                    <a:pt x="3551906" y="2462049"/>
                    <a:pt x="3553422" y="2471217"/>
                  </a:cubicBezTo>
                  <a:cubicBezTo>
                    <a:pt x="3577684" y="2469562"/>
                    <a:pt x="3604840" y="2480866"/>
                    <a:pt x="3627172" y="2469769"/>
                  </a:cubicBezTo>
                  <a:cubicBezTo>
                    <a:pt x="3648676" y="2481624"/>
                    <a:pt x="3674454" y="2473905"/>
                    <a:pt x="3697613" y="2479419"/>
                  </a:cubicBezTo>
                  <a:cubicBezTo>
                    <a:pt x="3697268" y="2476317"/>
                    <a:pt x="3696510" y="2470045"/>
                    <a:pt x="3696165" y="2466943"/>
                  </a:cubicBezTo>
                  <a:cubicBezTo>
                    <a:pt x="3704850" y="2468046"/>
                    <a:pt x="3712983" y="2466461"/>
                    <a:pt x="3720496" y="2462187"/>
                  </a:cubicBezTo>
                  <a:cubicBezTo>
                    <a:pt x="3720978" y="2457914"/>
                    <a:pt x="3722012" y="2449367"/>
                    <a:pt x="3722495" y="2445094"/>
                  </a:cubicBezTo>
                  <a:cubicBezTo>
                    <a:pt x="3723873" y="2448471"/>
                    <a:pt x="3726699" y="2455364"/>
                    <a:pt x="3728078" y="2458741"/>
                  </a:cubicBezTo>
                  <a:cubicBezTo>
                    <a:pt x="3731110" y="2456535"/>
                    <a:pt x="3737175" y="2452055"/>
                    <a:pt x="3740208" y="2449850"/>
                  </a:cubicBezTo>
                  <a:cubicBezTo>
                    <a:pt x="3758060" y="2457432"/>
                    <a:pt x="3792798" y="2455502"/>
                    <a:pt x="3789696" y="2483416"/>
                  </a:cubicBezTo>
                  <a:cubicBezTo>
                    <a:pt x="3802172" y="2483485"/>
                    <a:pt x="3817473" y="2492445"/>
                    <a:pt x="3827605" y="2481762"/>
                  </a:cubicBezTo>
                  <a:cubicBezTo>
                    <a:pt x="3823745" y="2480246"/>
                    <a:pt x="3816025" y="2477282"/>
                    <a:pt x="3812166" y="2475766"/>
                  </a:cubicBezTo>
                  <a:cubicBezTo>
                    <a:pt x="3818093" y="2473284"/>
                    <a:pt x="3824020" y="2470734"/>
                    <a:pt x="3830017" y="2468184"/>
                  </a:cubicBezTo>
                  <a:cubicBezTo>
                    <a:pt x="3829741" y="2473284"/>
                    <a:pt x="3829121" y="2483416"/>
                    <a:pt x="3828845" y="2488448"/>
                  </a:cubicBezTo>
                  <a:cubicBezTo>
                    <a:pt x="3995781" y="2498028"/>
                    <a:pt x="4162578" y="2509883"/>
                    <a:pt x="4329514" y="2518844"/>
                  </a:cubicBezTo>
                  <a:lnTo>
                    <a:pt x="4322415" y="2511744"/>
                  </a:lnTo>
                  <a:cubicBezTo>
                    <a:pt x="4318830" y="2508298"/>
                    <a:pt x="4311731" y="2501405"/>
                    <a:pt x="4308216" y="2497890"/>
                  </a:cubicBezTo>
                  <a:cubicBezTo>
                    <a:pt x="4312283" y="2484657"/>
                    <a:pt x="4316142" y="2471354"/>
                    <a:pt x="4319933" y="2457914"/>
                  </a:cubicBezTo>
                  <a:cubicBezTo>
                    <a:pt x="4317107" y="2454537"/>
                    <a:pt x="4311525" y="2447644"/>
                    <a:pt x="4308705" y="2444267"/>
                  </a:cubicBezTo>
                  <a:cubicBezTo>
                    <a:pt x="4310559" y="2441234"/>
                    <a:pt x="4314213" y="2435238"/>
                    <a:pt x="4316073" y="2432205"/>
                  </a:cubicBezTo>
                  <a:cubicBezTo>
                    <a:pt x="4320760" y="2439373"/>
                    <a:pt x="4325516" y="2446541"/>
                    <a:pt x="4330410" y="2453641"/>
                  </a:cubicBezTo>
                  <a:cubicBezTo>
                    <a:pt x="4339232" y="2437237"/>
                    <a:pt x="4344126" y="2419178"/>
                    <a:pt x="4349020" y="2401258"/>
                  </a:cubicBezTo>
                  <a:cubicBezTo>
                    <a:pt x="4351639" y="2420488"/>
                    <a:pt x="4351501" y="2442475"/>
                    <a:pt x="4332684" y="2453434"/>
                  </a:cubicBezTo>
                  <a:cubicBezTo>
                    <a:pt x="4335855" y="2465703"/>
                    <a:pt x="4337302" y="2478454"/>
                    <a:pt x="4331857" y="2490308"/>
                  </a:cubicBezTo>
                  <a:cubicBezTo>
                    <a:pt x="4342334" y="2493548"/>
                    <a:pt x="4352810" y="2496925"/>
                    <a:pt x="4363287" y="2500234"/>
                  </a:cubicBezTo>
                  <a:cubicBezTo>
                    <a:pt x="4360048" y="2502164"/>
                    <a:pt x="4353500" y="2506161"/>
                    <a:pt x="4350260" y="2508160"/>
                  </a:cubicBezTo>
                  <a:cubicBezTo>
                    <a:pt x="4349709" y="2511744"/>
                    <a:pt x="4348537" y="2518912"/>
                    <a:pt x="4347917" y="2522565"/>
                  </a:cubicBezTo>
                  <a:cubicBezTo>
                    <a:pt x="4365148" y="2521601"/>
                    <a:pt x="4382517" y="2522634"/>
                    <a:pt x="4399817" y="2524013"/>
                  </a:cubicBezTo>
                  <a:cubicBezTo>
                    <a:pt x="4400299" y="2521532"/>
                    <a:pt x="4401264" y="2516638"/>
                    <a:pt x="4401754" y="2514156"/>
                  </a:cubicBezTo>
                  <a:lnTo>
                    <a:pt x="4402712" y="2524220"/>
                  </a:lnTo>
                  <a:cubicBezTo>
                    <a:pt x="4450201" y="2525736"/>
                    <a:pt x="4497414" y="2530905"/>
                    <a:pt x="4544903" y="2532697"/>
                  </a:cubicBezTo>
                  <a:cubicBezTo>
                    <a:pt x="4546495" y="2521394"/>
                    <a:pt x="4543732" y="2511537"/>
                    <a:pt x="4536701" y="2502991"/>
                  </a:cubicBezTo>
                  <a:cubicBezTo>
                    <a:pt x="4542146" y="2500579"/>
                    <a:pt x="4547729" y="2498097"/>
                    <a:pt x="4553381" y="2495616"/>
                  </a:cubicBezTo>
                  <a:cubicBezTo>
                    <a:pt x="4551451" y="2508505"/>
                    <a:pt x="4549108" y="2521325"/>
                    <a:pt x="4546558" y="2534076"/>
                  </a:cubicBezTo>
                  <a:cubicBezTo>
                    <a:pt x="4555724" y="2533938"/>
                    <a:pt x="4565029" y="2533869"/>
                    <a:pt x="4574334" y="2533731"/>
                  </a:cubicBezTo>
                  <a:cubicBezTo>
                    <a:pt x="4576126" y="2530147"/>
                    <a:pt x="4579710" y="2522910"/>
                    <a:pt x="4581502" y="2519326"/>
                  </a:cubicBezTo>
                  <a:cubicBezTo>
                    <a:pt x="4580744" y="2523255"/>
                    <a:pt x="4579159" y="2531250"/>
                    <a:pt x="4578401" y="2535178"/>
                  </a:cubicBezTo>
                  <a:cubicBezTo>
                    <a:pt x="4586120" y="2535661"/>
                    <a:pt x="4601559" y="2536626"/>
                    <a:pt x="4609279" y="2537040"/>
                  </a:cubicBezTo>
                  <a:cubicBezTo>
                    <a:pt x="4606867" y="2532421"/>
                    <a:pt x="4602180" y="2523255"/>
                    <a:pt x="4599767" y="2518637"/>
                  </a:cubicBezTo>
                  <a:cubicBezTo>
                    <a:pt x="4604523" y="2523944"/>
                    <a:pt x="4608176" y="2530078"/>
                    <a:pt x="4610520" y="2536971"/>
                  </a:cubicBezTo>
                  <a:cubicBezTo>
                    <a:pt x="4628785" y="2538142"/>
                    <a:pt x="4647050" y="2539038"/>
                    <a:pt x="4665315" y="2540623"/>
                  </a:cubicBezTo>
                  <a:lnTo>
                    <a:pt x="4665521" y="2528700"/>
                  </a:lnTo>
                  <a:cubicBezTo>
                    <a:pt x="4666142" y="2531663"/>
                    <a:pt x="4667382" y="2537660"/>
                    <a:pt x="4668003" y="2540692"/>
                  </a:cubicBezTo>
                  <a:lnTo>
                    <a:pt x="4687577" y="2540555"/>
                  </a:lnTo>
                  <a:cubicBezTo>
                    <a:pt x="4686612" y="2535799"/>
                    <a:pt x="4684751" y="2526425"/>
                    <a:pt x="4683786" y="2521669"/>
                  </a:cubicBezTo>
                  <a:cubicBezTo>
                    <a:pt x="4687301" y="2528355"/>
                    <a:pt x="4690817" y="2535041"/>
                    <a:pt x="4694332" y="2541726"/>
                  </a:cubicBezTo>
                  <a:cubicBezTo>
                    <a:pt x="4738168" y="2545035"/>
                    <a:pt x="4782486" y="2550273"/>
                    <a:pt x="4826254" y="2543174"/>
                  </a:cubicBezTo>
                  <a:cubicBezTo>
                    <a:pt x="4827425" y="2545104"/>
                    <a:pt x="4829838" y="2549032"/>
                    <a:pt x="4831078" y="2551031"/>
                  </a:cubicBezTo>
                  <a:cubicBezTo>
                    <a:pt x="4882772" y="2553581"/>
                    <a:pt x="4934327" y="2557648"/>
                    <a:pt x="4986021" y="2560474"/>
                  </a:cubicBezTo>
                  <a:cubicBezTo>
                    <a:pt x="4986503" y="2557303"/>
                    <a:pt x="4987537" y="2551031"/>
                    <a:pt x="4988020" y="2547861"/>
                  </a:cubicBezTo>
                  <a:cubicBezTo>
                    <a:pt x="4988020" y="2551100"/>
                    <a:pt x="4988088" y="2557579"/>
                    <a:pt x="4988088" y="2560819"/>
                  </a:cubicBezTo>
                  <a:cubicBezTo>
                    <a:pt x="5007250" y="2562611"/>
                    <a:pt x="5026962" y="2564058"/>
                    <a:pt x="5045365" y="2556890"/>
                  </a:cubicBezTo>
                  <a:cubicBezTo>
                    <a:pt x="5041712" y="2551238"/>
                    <a:pt x="5038059" y="2545517"/>
                    <a:pt x="5034475" y="2539797"/>
                  </a:cubicBezTo>
                  <a:cubicBezTo>
                    <a:pt x="5036887" y="2538763"/>
                    <a:pt x="5041781" y="2536695"/>
                    <a:pt x="5044193" y="2535730"/>
                  </a:cubicBezTo>
                  <a:cubicBezTo>
                    <a:pt x="5048260" y="2533938"/>
                    <a:pt x="5052326" y="2532146"/>
                    <a:pt x="5056538" y="2530354"/>
                  </a:cubicBezTo>
                  <a:cubicBezTo>
                    <a:pt x="5058599" y="2512296"/>
                    <a:pt x="5070316" y="2508574"/>
                    <a:pt x="5083342" y="2523737"/>
                  </a:cubicBezTo>
                  <a:lnTo>
                    <a:pt x="5081619" y="2518637"/>
                  </a:lnTo>
                  <a:cubicBezTo>
                    <a:pt x="5065008" y="2504507"/>
                    <a:pt x="5102572" y="2480590"/>
                    <a:pt x="5069626" y="2482107"/>
                  </a:cubicBezTo>
                  <a:cubicBezTo>
                    <a:pt x="5053085" y="2492790"/>
                    <a:pt x="5037163" y="2504231"/>
                    <a:pt x="5024688" y="2519670"/>
                  </a:cubicBezTo>
                  <a:cubicBezTo>
                    <a:pt x="5027720" y="2515673"/>
                    <a:pt x="5033648" y="2507540"/>
                    <a:pt x="5036612" y="2503542"/>
                  </a:cubicBezTo>
                  <a:cubicBezTo>
                    <a:pt x="5034061" y="2501405"/>
                    <a:pt x="5029030" y="2497132"/>
                    <a:pt x="5026549" y="2494996"/>
                  </a:cubicBezTo>
                  <a:cubicBezTo>
                    <a:pt x="5050948" y="2502508"/>
                    <a:pt x="5067007" y="2472319"/>
                    <a:pt x="5092372" y="2474732"/>
                  </a:cubicBezTo>
                  <a:cubicBezTo>
                    <a:pt x="5095473" y="2497270"/>
                    <a:pt x="5073969" y="2530492"/>
                    <a:pt x="5101814" y="2543243"/>
                  </a:cubicBezTo>
                  <a:cubicBezTo>
                    <a:pt x="5105329" y="2543174"/>
                    <a:pt x="5112222" y="2542967"/>
                    <a:pt x="5115737" y="2542898"/>
                  </a:cubicBezTo>
                  <a:cubicBezTo>
                    <a:pt x="5115875" y="2550204"/>
                    <a:pt x="5116220" y="2564816"/>
                    <a:pt x="5116357" y="2572122"/>
                  </a:cubicBezTo>
                  <a:cubicBezTo>
                    <a:pt x="5119872" y="2562128"/>
                    <a:pt x="5122767" y="2551927"/>
                    <a:pt x="5125111" y="2541589"/>
                  </a:cubicBezTo>
                  <a:cubicBezTo>
                    <a:pt x="5125800" y="2552961"/>
                    <a:pt x="5130349" y="2564816"/>
                    <a:pt x="5141308" y="2569985"/>
                  </a:cubicBezTo>
                  <a:cubicBezTo>
                    <a:pt x="5184041" y="2574190"/>
                    <a:pt x="5227126" y="2573845"/>
                    <a:pt x="5269784" y="2579084"/>
                  </a:cubicBezTo>
                  <a:cubicBezTo>
                    <a:pt x="5272472" y="2572673"/>
                    <a:pt x="5275229" y="2566195"/>
                    <a:pt x="5278123" y="2559785"/>
                  </a:cubicBezTo>
                  <a:cubicBezTo>
                    <a:pt x="5285223" y="2558820"/>
                    <a:pt x="5292460" y="2557786"/>
                    <a:pt x="5299697" y="2556683"/>
                  </a:cubicBezTo>
                  <a:cubicBezTo>
                    <a:pt x="5287221" y="2558957"/>
                    <a:pt x="5277159" y="2566333"/>
                    <a:pt x="5272885" y="2578739"/>
                  </a:cubicBezTo>
                  <a:cubicBezTo>
                    <a:pt x="5303970" y="2580876"/>
                    <a:pt x="5335193" y="2580807"/>
                    <a:pt x="5366209" y="2584529"/>
                  </a:cubicBezTo>
                  <a:cubicBezTo>
                    <a:pt x="5375514" y="2565850"/>
                    <a:pt x="5342844" y="2575568"/>
                    <a:pt x="5332919" y="2571088"/>
                  </a:cubicBezTo>
                  <a:cubicBezTo>
                    <a:pt x="5337123" y="2569572"/>
                    <a:pt x="5345463" y="2566677"/>
                    <a:pt x="5349598" y="2565230"/>
                  </a:cubicBezTo>
                  <a:cubicBezTo>
                    <a:pt x="5344911" y="2556890"/>
                    <a:pt x="5340225" y="2548481"/>
                    <a:pt x="5335745" y="2540072"/>
                  </a:cubicBezTo>
                  <a:cubicBezTo>
                    <a:pt x="5338915" y="2539934"/>
                    <a:pt x="5345325" y="2539659"/>
                    <a:pt x="5348496" y="2539521"/>
                  </a:cubicBezTo>
                  <a:cubicBezTo>
                    <a:pt x="5348358" y="2532766"/>
                    <a:pt x="5348082" y="2519326"/>
                    <a:pt x="5347944" y="2512571"/>
                  </a:cubicBezTo>
                  <a:cubicBezTo>
                    <a:pt x="5345118" y="2516431"/>
                    <a:pt x="5339397" y="2524082"/>
                    <a:pt x="5336571" y="2527872"/>
                  </a:cubicBezTo>
                  <a:cubicBezTo>
                    <a:pt x="5338226" y="2508849"/>
                    <a:pt x="5345670" y="2490860"/>
                    <a:pt x="5346634" y="2471699"/>
                  </a:cubicBezTo>
                  <a:cubicBezTo>
                    <a:pt x="5346910" y="2485070"/>
                    <a:pt x="5347462" y="2498442"/>
                    <a:pt x="5346772" y="2511744"/>
                  </a:cubicBezTo>
                  <a:cubicBezTo>
                    <a:pt x="5359455" y="2506230"/>
                    <a:pt x="5377995" y="2524564"/>
                    <a:pt x="5363038" y="2533593"/>
                  </a:cubicBezTo>
                  <a:cubicBezTo>
                    <a:pt x="5357593" y="2541382"/>
                    <a:pt x="5335055" y="2544690"/>
                    <a:pt x="5347048" y="2556200"/>
                  </a:cubicBezTo>
                  <a:cubicBezTo>
                    <a:pt x="5351666" y="2556959"/>
                    <a:pt x="5360902" y="2558544"/>
                    <a:pt x="5365520" y="2559302"/>
                  </a:cubicBezTo>
                  <a:cubicBezTo>
                    <a:pt x="5366967" y="2552134"/>
                    <a:pt x="5369586" y="2545448"/>
                    <a:pt x="5373446" y="2539176"/>
                  </a:cubicBezTo>
                  <a:cubicBezTo>
                    <a:pt x="5372757" y="2545862"/>
                    <a:pt x="5371378" y="2559164"/>
                    <a:pt x="5370689" y="2565850"/>
                  </a:cubicBezTo>
                  <a:lnTo>
                    <a:pt x="5383096" y="2563507"/>
                  </a:lnTo>
                  <a:cubicBezTo>
                    <a:pt x="5380821" y="2570399"/>
                    <a:pt x="5378615" y="2577291"/>
                    <a:pt x="5376479" y="2584184"/>
                  </a:cubicBezTo>
                  <a:cubicBezTo>
                    <a:pt x="5392193" y="2585700"/>
                    <a:pt x="5407977" y="2587010"/>
                    <a:pt x="5423899" y="2588113"/>
                  </a:cubicBezTo>
                  <a:cubicBezTo>
                    <a:pt x="5424313" y="2570054"/>
                    <a:pt x="5406668" y="2540210"/>
                    <a:pt x="5433755" y="2533938"/>
                  </a:cubicBezTo>
                  <a:cubicBezTo>
                    <a:pt x="5427345" y="2528217"/>
                    <a:pt x="5420108" y="2523324"/>
                    <a:pt x="5416386" y="2515328"/>
                  </a:cubicBezTo>
                  <a:cubicBezTo>
                    <a:pt x="5428172" y="2518706"/>
                    <a:pt x="5440027" y="2522083"/>
                    <a:pt x="5452158" y="2524771"/>
                  </a:cubicBezTo>
                  <a:cubicBezTo>
                    <a:pt x="5443267" y="2535385"/>
                    <a:pt x="5432997" y="2545035"/>
                    <a:pt x="5426656" y="2557372"/>
                  </a:cubicBezTo>
                  <a:cubicBezTo>
                    <a:pt x="5425760" y="2568262"/>
                    <a:pt x="5427070" y="2579221"/>
                    <a:pt x="5427483" y="2590112"/>
                  </a:cubicBezTo>
                  <a:cubicBezTo>
                    <a:pt x="5440165" y="2583564"/>
                    <a:pt x="5452985" y="2576740"/>
                    <a:pt x="5465805" y="2570192"/>
                  </a:cubicBezTo>
                  <a:cubicBezTo>
                    <a:pt x="5466495" y="2575086"/>
                    <a:pt x="5467804" y="2584942"/>
                    <a:pt x="5468493" y="2589836"/>
                  </a:cubicBezTo>
                  <a:cubicBezTo>
                    <a:pt x="5499785" y="2593489"/>
                    <a:pt x="5531284" y="2594523"/>
                    <a:pt x="5562782" y="2596728"/>
                  </a:cubicBezTo>
                  <a:cubicBezTo>
                    <a:pt x="5573810" y="2599968"/>
                    <a:pt x="5581667" y="2593144"/>
                    <a:pt x="5587113" y="2584322"/>
                  </a:cubicBezTo>
                  <a:cubicBezTo>
                    <a:pt x="5587043" y="2587837"/>
                    <a:pt x="5587043" y="2594729"/>
                    <a:pt x="5587043" y="2598176"/>
                  </a:cubicBezTo>
                  <a:cubicBezTo>
                    <a:pt x="5662378" y="2600381"/>
                    <a:pt x="5737368" y="2609203"/>
                    <a:pt x="5812772" y="2612029"/>
                  </a:cubicBezTo>
                  <a:cubicBezTo>
                    <a:pt x="5813186" y="2592593"/>
                    <a:pt x="5806224" y="2574052"/>
                    <a:pt x="5805741" y="2554684"/>
                  </a:cubicBezTo>
                  <a:cubicBezTo>
                    <a:pt x="5822835" y="2557441"/>
                    <a:pt x="5816494" y="2579153"/>
                    <a:pt x="5821601" y="2591352"/>
                  </a:cubicBezTo>
                  <a:cubicBezTo>
                    <a:pt x="5825799" y="2589009"/>
                    <a:pt x="5834138" y="2584253"/>
                    <a:pt x="5838343" y="2581910"/>
                  </a:cubicBezTo>
                  <a:cubicBezTo>
                    <a:pt x="5845787" y="2584184"/>
                    <a:pt x="5853368" y="2586527"/>
                    <a:pt x="5860950" y="2588871"/>
                  </a:cubicBezTo>
                  <a:lnTo>
                    <a:pt x="5866326" y="2590525"/>
                  </a:lnTo>
                  <a:cubicBezTo>
                    <a:pt x="5866050" y="2593764"/>
                    <a:pt x="5865568" y="2600175"/>
                    <a:pt x="5865292" y="2603414"/>
                  </a:cubicBezTo>
                  <a:lnTo>
                    <a:pt x="5861433" y="2614649"/>
                  </a:lnTo>
                  <a:cubicBezTo>
                    <a:pt x="5872185" y="2615683"/>
                    <a:pt x="5883075" y="2616510"/>
                    <a:pt x="5894034" y="2617199"/>
                  </a:cubicBezTo>
                  <a:cubicBezTo>
                    <a:pt x="5894309" y="2607067"/>
                    <a:pt x="5894723" y="2596866"/>
                    <a:pt x="5895274" y="2586665"/>
                  </a:cubicBezTo>
                  <a:cubicBezTo>
                    <a:pt x="5908991" y="2593006"/>
                    <a:pt x="5914849" y="2607894"/>
                    <a:pt x="5924291" y="2618853"/>
                  </a:cubicBezTo>
                  <a:cubicBezTo>
                    <a:pt x="5942419" y="2621472"/>
                    <a:pt x="5960822" y="2621403"/>
                    <a:pt x="5979156" y="2622437"/>
                  </a:cubicBezTo>
                  <a:cubicBezTo>
                    <a:pt x="5983567" y="2604241"/>
                    <a:pt x="5996180" y="2613684"/>
                    <a:pt x="6003693" y="2623609"/>
                  </a:cubicBezTo>
                  <a:cubicBezTo>
                    <a:pt x="6215567" y="2638496"/>
                    <a:pt x="6427786" y="2649731"/>
                    <a:pt x="6639729" y="2664274"/>
                  </a:cubicBezTo>
                  <a:cubicBezTo>
                    <a:pt x="6636559" y="2647733"/>
                    <a:pt x="6634078" y="2630984"/>
                    <a:pt x="6634836" y="2614028"/>
                  </a:cubicBezTo>
                  <a:cubicBezTo>
                    <a:pt x="6636765" y="2618577"/>
                    <a:pt x="6640626" y="2627675"/>
                    <a:pt x="6642555" y="2632225"/>
                  </a:cubicBezTo>
                  <a:cubicBezTo>
                    <a:pt x="6653101" y="2628709"/>
                    <a:pt x="6663715" y="2624574"/>
                    <a:pt x="6674054" y="2620025"/>
                  </a:cubicBezTo>
                  <a:cubicBezTo>
                    <a:pt x="6663784" y="2628020"/>
                    <a:pt x="6651033" y="2631397"/>
                    <a:pt x="6639178" y="2635602"/>
                  </a:cubicBezTo>
                  <a:moveTo>
                    <a:pt x="6487337" y="395896"/>
                  </a:moveTo>
                  <a:cubicBezTo>
                    <a:pt x="6490990" y="392450"/>
                    <a:pt x="6490990" y="392450"/>
                    <a:pt x="6487337" y="395896"/>
                  </a:cubicBezTo>
                  <a:moveTo>
                    <a:pt x="6722508" y="417607"/>
                  </a:moveTo>
                  <a:cubicBezTo>
                    <a:pt x="6718648" y="406373"/>
                    <a:pt x="6722301" y="402582"/>
                    <a:pt x="6733605" y="406097"/>
                  </a:cubicBezTo>
                  <a:cubicBezTo>
                    <a:pt x="6737327" y="417469"/>
                    <a:pt x="6733674" y="421260"/>
                    <a:pt x="6722508" y="417607"/>
                  </a:cubicBezTo>
                  <a:moveTo>
                    <a:pt x="6693973" y="429393"/>
                  </a:moveTo>
                  <a:cubicBezTo>
                    <a:pt x="6688321" y="420916"/>
                    <a:pt x="6690044" y="415746"/>
                    <a:pt x="6699280" y="414023"/>
                  </a:cubicBezTo>
                  <a:cubicBezTo>
                    <a:pt x="6704794" y="422639"/>
                    <a:pt x="6703002" y="427808"/>
                    <a:pt x="6693973" y="429393"/>
                  </a:cubicBezTo>
                  <a:moveTo>
                    <a:pt x="7101387" y="437251"/>
                  </a:moveTo>
                  <a:cubicBezTo>
                    <a:pt x="7105108" y="433873"/>
                    <a:pt x="7105108" y="433873"/>
                    <a:pt x="7101387" y="437251"/>
                  </a:cubicBezTo>
                  <a:moveTo>
                    <a:pt x="6472518" y="436286"/>
                  </a:moveTo>
                  <a:cubicBezTo>
                    <a:pt x="6474448" y="433667"/>
                    <a:pt x="6478308" y="428497"/>
                    <a:pt x="6480238" y="425947"/>
                  </a:cubicBezTo>
                  <a:cubicBezTo>
                    <a:pt x="6483133" y="428635"/>
                    <a:pt x="6488922" y="433942"/>
                    <a:pt x="6491817" y="436562"/>
                  </a:cubicBezTo>
                  <a:cubicBezTo>
                    <a:pt x="6504775" y="432357"/>
                    <a:pt x="6517595" y="436562"/>
                    <a:pt x="6529312" y="442489"/>
                  </a:cubicBezTo>
                  <a:cubicBezTo>
                    <a:pt x="6510082" y="444626"/>
                    <a:pt x="6491128" y="440077"/>
                    <a:pt x="6472518" y="436286"/>
                  </a:cubicBezTo>
                  <a:moveTo>
                    <a:pt x="7225726" y="451036"/>
                  </a:moveTo>
                  <a:cubicBezTo>
                    <a:pt x="7229035" y="447314"/>
                    <a:pt x="7229035" y="447314"/>
                    <a:pt x="7225726" y="451036"/>
                  </a:cubicBezTo>
                  <a:moveTo>
                    <a:pt x="6652343" y="450209"/>
                  </a:moveTo>
                  <a:cubicBezTo>
                    <a:pt x="6641728" y="429325"/>
                    <a:pt x="6674743" y="448830"/>
                    <a:pt x="6652343" y="450209"/>
                  </a:cubicBezTo>
                  <a:moveTo>
                    <a:pt x="7135297" y="471644"/>
                  </a:moveTo>
                  <a:cubicBezTo>
                    <a:pt x="7139019" y="468060"/>
                    <a:pt x="7139019" y="468060"/>
                    <a:pt x="7135297" y="471644"/>
                  </a:cubicBezTo>
                  <a:moveTo>
                    <a:pt x="6840024" y="451863"/>
                  </a:moveTo>
                  <a:cubicBezTo>
                    <a:pt x="6826584" y="444212"/>
                    <a:pt x="6841816" y="427532"/>
                    <a:pt x="6851052" y="422639"/>
                  </a:cubicBezTo>
                  <a:cubicBezTo>
                    <a:pt x="6851328" y="427119"/>
                    <a:pt x="6851948" y="436079"/>
                    <a:pt x="6852224" y="440559"/>
                  </a:cubicBezTo>
                  <a:cubicBezTo>
                    <a:pt x="6855670" y="441938"/>
                    <a:pt x="6862632" y="444695"/>
                    <a:pt x="6866146" y="446073"/>
                  </a:cubicBezTo>
                  <a:cubicBezTo>
                    <a:pt x="6866422" y="441386"/>
                    <a:pt x="6866905" y="432013"/>
                    <a:pt x="6867180" y="427326"/>
                  </a:cubicBezTo>
                  <a:cubicBezTo>
                    <a:pt x="6878071" y="428428"/>
                    <a:pt x="6888410" y="432013"/>
                    <a:pt x="6896818" y="439250"/>
                  </a:cubicBezTo>
                  <a:cubicBezTo>
                    <a:pt x="6892752" y="446418"/>
                    <a:pt x="6891856" y="453862"/>
                    <a:pt x="6894130" y="461512"/>
                  </a:cubicBezTo>
                  <a:cubicBezTo>
                    <a:pt x="6898748" y="461788"/>
                    <a:pt x="6907915" y="462408"/>
                    <a:pt x="6912464" y="462684"/>
                  </a:cubicBezTo>
                  <a:cubicBezTo>
                    <a:pt x="6912671" y="464683"/>
                    <a:pt x="6913153" y="468818"/>
                    <a:pt x="6913360" y="470886"/>
                  </a:cubicBezTo>
                  <a:cubicBezTo>
                    <a:pt x="6904676" y="470473"/>
                    <a:pt x="6896129" y="470128"/>
                    <a:pt x="6887651" y="469852"/>
                  </a:cubicBezTo>
                  <a:cubicBezTo>
                    <a:pt x="6887720" y="460409"/>
                    <a:pt x="6887789" y="450898"/>
                    <a:pt x="6887996" y="441386"/>
                  </a:cubicBezTo>
                  <a:cubicBezTo>
                    <a:pt x="6880414" y="443799"/>
                    <a:pt x="6872902" y="446142"/>
                    <a:pt x="6865595" y="448485"/>
                  </a:cubicBezTo>
                  <a:lnTo>
                    <a:pt x="6862838" y="458686"/>
                  </a:lnTo>
                  <a:cubicBezTo>
                    <a:pt x="6860151" y="458618"/>
                    <a:pt x="6854912" y="458618"/>
                    <a:pt x="6852293" y="458618"/>
                  </a:cubicBezTo>
                  <a:cubicBezTo>
                    <a:pt x="6853258" y="461030"/>
                    <a:pt x="6855256" y="465855"/>
                    <a:pt x="6856222" y="468267"/>
                  </a:cubicBezTo>
                  <a:cubicBezTo>
                    <a:pt x="6850570" y="482397"/>
                    <a:pt x="6831822" y="461030"/>
                    <a:pt x="6840024" y="451863"/>
                  </a:cubicBezTo>
                  <a:moveTo>
                    <a:pt x="6762967" y="471231"/>
                  </a:moveTo>
                  <a:cubicBezTo>
                    <a:pt x="6758762" y="460065"/>
                    <a:pt x="6762415" y="456136"/>
                    <a:pt x="6773787" y="459513"/>
                  </a:cubicBezTo>
                  <a:cubicBezTo>
                    <a:pt x="6777786" y="470679"/>
                    <a:pt x="6774132" y="474608"/>
                    <a:pt x="6762967" y="471231"/>
                  </a:cubicBezTo>
                  <a:moveTo>
                    <a:pt x="6742082" y="471369"/>
                  </a:moveTo>
                  <a:cubicBezTo>
                    <a:pt x="6730986" y="451036"/>
                    <a:pt x="6764759" y="469370"/>
                    <a:pt x="6742082" y="471369"/>
                  </a:cubicBezTo>
                  <a:moveTo>
                    <a:pt x="6710170" y="473781"/>
                  </a:moveTo>
                  <a:cubicBezTo>
                    <a:pt x="6710032" y="468543"/>
                    <a:pt x="6709826" y="457997"/>
                    <a:pt x="6709688" y="452690"/>
                  </a:cubicBezTo>
                  <a:cubicBezTo>
                    <a:pt x="6707620" y="449657"/>
                    <a:pt x="6703484" y="443523"/>
                    <a:pt x="6701417" y="440490"/>
                  </a:cubicBezTo>
                  <a:cubicBezTo>
                    <a:pt x="6705897" y="439732"/>
                    <a:pt x="6714857" y="438147"/>
                    <a:pt x="6719337" y="437320"/>
                  </a:cubicBezTo>
                  <a:cubicBezTo>
                    <a:pt x="6716511" y="449657"/>
                    <a:pt x="6714099" y="461857"/>
                    <a:pt x="6710170" y="473781"/>
                  </a:cubicBezTo>
                  <a:moveTo>
                    <a:pt x="7516520" y="481845"/>
                  </a:moveTo>
                  <a:cubicBezTo>
                    <a:pt x="7516795" y="472333"/>
                    <a:pt x="7514452" y="463511"/>
                    <a:pt x="7509558" y="455516"/>
                  </a:cubicBezTo>
                  <a:cubicBezTo>
                    <a:pt x="7515761" y="454482"/>
                    <a:pt x="7522102" y="453310"/>
                    <a:pt x="7528512" y="452070"/>
                  </a:cubicBezTo>
                  <a:cubicBezTo>
                    <a:pt x="7537748" y="465027"/>
                    <a:pt x="7529064" y="476262"/>
                    <a:pt x="7516520" y="481845"/>
                  </a:cubicBezTo>
                  <a:moveTo>
                    <a:pt x="6943963" y="461512"/>
                  </a:moveTo>
                  <a:cubicBezTo>
                    <a:pt x="6950097" y="461374"/>
                    <a:pt x="6962366" y="461168"/>
                    <a:pt x="6968569" y="461030"/>
                  </a:cubicBezTo>
                  <a:cubicBezTo>
                    <a:pt x="6972222" y="466337"/>
                    <a:pt x="6976289" y="471437"/>
                    <a:pt x="6980699" y="476262"/>
                  </a:cubicBezTo>
                  <a:cubicBezTo>
                    <a:pt x="6973807" y="475917"/>
                    <a:pt x="6967052" y="475711"/>
                    <a:pt x="6960298" y="475504"/>
                  </a:cubicBezTo>
                  <a:cubicBezTo>
                    <a:pt x="6954784" y="470955"/>
                    <a:pt x="6949201" y="466337"/>
                    <a:pt x="6943963" y="461512"/>
                  </a:cubicBezTo>
                  <a:moveTo>
                    <a:pt x="6480376" y="476469"/>
                  </a:moveTo>
                  <a:cubicBezTo>
                    <a:pt x="6476102" y="467095"/>
                    <a:pt x="6491610" y="457790"/>
                    <a:pt x="6499330" y="462960"/>
                  </a:cubicBezTo>
                  <a:cubicBezTo>
                    <a:pt x="6502914" y="472264"/>
                    <a:pt x="6487958" y="481914"/>
                    <a:pt x="6480376" y="476469"/>
                  </a:cubicBezTo>
                  <a:moveTo>
                    <a:pt x="7287207" y="485636"/>
                  </a:moveTo>
                  <a:cubicBezTo>
                    <a:pt x="7279143" y="484809"/>
                    <a:pt x="7273216" y="467784"/>
                    <a:pt x="7284174" y="467233"/>
                  </a:cubicBezTo>
                  <a:cubicBezTo>
                    <a:pt x="7291687" y="468474"/>
                    <a:pt x="7297753" y="484878"/>
                    <a:pt x="7287207" y="485636"/>
                  </a:cubicBezTo>
                  <a:moveTo>
                    <a:pt x="7018746" y="487083"/>
                  </a:moveTo>
                  <a:cubicBezTo>
                    <a:pt x="7020056" y="464545"/>
                    <a:pt x="7039423" y="498387"/>
                    <a:pt x="7018746" y="487083"/>
                  </a:cubicBezTo>
                  <a:moveTo>
                    <a:pt x="7306919" y="477434"/>
                  </a:moveTo>
                  <a:cubicBezTo>
                    <a:pt x="7311469" y="477503"/>
                    <a:pt x="7320636" y="477710"/>
                    <a:pt x="7325184" y="477847"/>
                  </a:cubicBezTo>
                  <a:cubicBezTo>
                    <a:pt x="7325460" y="481294"/>
                    <a:pt x="7325943" y="488255"/>
                    <a:pt x="7326218" y="491701"/>
                  </a:cubicBezTo>
                  <a:cubicBezTo>
                    <a:pt x="7317879" y="489013"/>
                    <a:pt x="7305128" y="489840"/>
                    <a:pt x="7306919" y="477434"/>
                  </a:cubicBezTo>
                  <a:moveTo>
                    <a:pt x="6941412" y="492666"/>
                  </a:moveTo>
                  <a:cubicBezTo>
                    <a:pt x="6931488" y="471644"/>
                    <a:pt x="6964157" y="492253"/>
                    <a:pt x="6941412" y="492666"/>
                  </a:cubicBezTo>
                  <a:moveTo>
                    <a:pt x="6844987" y="491977"/>
                  </a:moveTo>
                  <a:cubicBezTo>
                    <a:pt x="6834304" y="471369"/>
                    <a:pt x="6867663" y="490598"/>
                    <a:pt x="6844987" y="491977"/>
                  </a:cubicBezTo>
                  <a:moveTo>
                    <a:pt x="6451841" y="492459"/>
                  </a:moveTo>
                  <a:cubicBezTo>
                    <a:pt x="6441020" y="471782"/>
                    <a:pt x="6474448" y="491288"/>
                    <a:pt x="6451841" y="492459"/>
                  </a:cubicBezTo>
                  <a:moveTo>
                    <a:pt x="7447250" y="500524"/>
                  </a:moveTo>
                  <a:cubicBezTo>
                    <a:pt x="7448629" y="491495"/>
                    <a:pt x="7453660" y="489771"/>
                    <a:pt x="7462414" y="495492"/>
                  </a:cubicBezTo>
                  <a:cubicBezTo>
                    <a:pt x="7460829" y="504659"/>
                    <a:pt x="7455797" y="506313"/>
                    <a:pt x="7447250" y="500524"/>
                  </a:cubicBezTo>
                  <a:moveTo>
                    <a:pt x="6896956" y="491012"/>
                  </a:moveTo>
                  <a:cubicBezTo>
                    <a:pt x="6910121" y="491563"/>
                    <a:pt x="6943342" y="470197"/>
                    <a:pt x="6934451" y="500248"/>
                  </a:cubicBezTo>
                  <a:lnTo>
                    <a:pt x="6930660" y="491701"/>
                  </a:lnTo>
                  <a:cubicBezTo>
                    <a:pt x="6919977" y="502109"/>
                    <a:pt x="6907639" y="499214"/>
                    <a:pt x="6896956" y="491012"/>
                  </a:cubicBezTo>
                  <a:moveTo>
                    <a:pt x="7583445" y="513137"/>
                  </a:moveTo>
                  <a:cubicBezTo>
                    <a:pt x="7577793" y="489151"/>
                    <a:pt x="7592750" y="465096"/>
                    <a:pt x="7616874" y="460478"/>
                  </a:cubicBezTo>
                  <a:cubicBezTo>
                    <a:pt x="7609430" y="478399"/>
                    <a:pt x="7587787" y="490254"/>
                    <a:pt x="7591303" y="511758"/>
                  </a:cubicBezTo>
                  <a:lnTo>
                    <a:pt x="7583445" y="513137"/>
                  </a:lnTo>
                  <a:moveTo>
                    <a:pt x="7279901" y="505004"/>
                  </a:moveTo>
                  <a:cubicBezTo>
                    <a:pt x="7277351" y="495285"/>
                    <a:pt x="7280866" y="492115"/>
                    <a:pt x="7290515" y="495285"/>
                  </a:cubicBezTo>
                  <a:cubicBezTo>
                    <a:pt x="7292859" y="505073"/>
                    <a:pt x="7289344" y="508312"/>
                    <a:pt x="7279901" y="505004"/>
                  </a:cubicBezTo>
                  <a:moveTo>
                    <a:pt x="6962434" y="505279"/>
                  </a:moveTo>
                  <a:cubicBezTo>
                    <a:pt x="6959884" y="495837"/>
                    <a:pt x="6963468" y="492322"/>
                    <a:pt x="6973324" y="494872"/>
                  </a:cubicBezTo>
                  <a:cubicBezTo>
                    <a:pt x="6975668" y="504383"/>
                    <a:pt x="6972084" y="507830"/>
                    <a:pt x="6962434" y="505279"/>
                  </a:cubicBezTo>
                  <a:moveTo>
                    <a:pt x="7191747" y="513895"/>
                  </a:moveTo>
                  <a:cubicBezTo>
                    <a:pt x="7193608" y="491150"/>
                    <a:pt x="7211941" y="525268"/>
                    <a:pt x="7191747" y="513895"/>
                  </a:cubicBezTo>
                  <a:moveTo>
                    <a:pt x="7590269" y="520856"/>
                  </a:moveTo>
                  <a:cubicBezTo>
                    <a:pt x="7594128" y="516859"/>
                    <a:pt x="7594128" y="516859"/>
                    <a:pt x="7590269" y="520856"/>
                  </a:cubicBezTo>
                  <a:moveTo>
                    <a:pt x="8279033" y="527542"/>
                  </a:moveTo>
                  <a:cubicBezTo>
                    <a:pt x="8266488" y="507967"/>
                    <a:pt x="8301571" y="524234"/>
                    <a:pt x="8279033" y="527542"/>
                  </a:cubicBezTo>
                  <a:moveTo>
                    <a:pt x="7807450" y="516032"/>
                  </a:moveTo>
                  <a:cubicBezTo>
                    <a:pt x="7795458" y="521615"/>
                    <a:pt x="7788634" y="518858"/>
                    <a:pt x="7786842" y="507692"/>
                  </a:cubicBezTo>
                  <a:cubicBezTo>
                    <a:pt x="7791046" y="509346"/>
                    <a:pt x="7799455" y="512585"/>
                    <a:pt x="7803659" y="514171"/>
                  </a:cubicBezTo>
                  <a:cubicBezTo>
                    <a:pt x="7801247" y="502867"/>
                    <a:pt x="7800558" y="491150"/>
                    <a:pt x="7804142" y="479984"/>
                  </a:cubicBezTo>
                  <a:cubicBezTo>
                    <a:pt x="7805107" y="486532"/>
                    <a:pt x="7806968" y="499628"/>
                    <a:pt x="7807864" y="506244"/>
                  </a:cubicBezTo>
                  <a:cubicBezTo>
                    <a:pt x="7811517" y="502178"/>
                    <a:pt x="7815170" y="498042"/>
                    <a:pt x="7818754" y="493838"/>
                  </a:cubicBezTo>
                  <a:lnTo>
                    <a:pt x="7822338" y="507071"/>
                  </a:lnTo>
                  <a:cubicBezTo>
                    <a:pt x="7820063" y="506796"/>
                    <a:pt x="7815652" y="506382"/>
                    <a:pt x="7813378" y="506175"/>
                  </a:cubicBezTo>
                  <a:cubicBezTo>
                    <a:pt x="7812000" y="511965"/>
                    <a:pt x="7809173" y="523544"/>
                    <a:pt x="7807795" y="529334"/>
                  </a:cubicBezTo>
                  <a:cubicBezTo>
                    <a:pt x="7807726" y="525957"/>
                    <a:pt x="7807519" y="519340"/>
                    <a:pt x="7807450" y="516032"/>
                  </a:cubicBezTo>
                  <a:moveTo>
                    <a:pt x="7506388" y="528369"/>
                  </a:moveTo>
                  <a:cubicBezTo>
                    <a:pt x="7504526" y="519616"/>
                    <a:pt x="7502735" y="510862"/>
                    <a:pt x="7501012" y="502040"/>
                  </a:cubicBezTo>
                  <a:cubicBezTo>
                    <a:pt x="7503355" y="503350"/>
                    <a:pt x="7508042" y="505900"/>
                    <a:pt x="7510454" y="507140"/>
                  </a:cubicBezTo>
                  <a:cubicBezTo>
                    <a:pt x="7513969" y="497698"/>
                    <a:pt x="7520724" y="494389"/>
                    <a:pt x="7530580" y="497284"/>
                  </a:cubicBezTo>
                  <a:cubicBezTo>
                    <a:pt x="7532166" y="492391"/>
                    <a:pt x="7535267" y="482672"/>
                    <a:pt x="7536783" y="477778"/>
                  </a:cubicBezTo>
                  <a:cubicBezTo>
                    <a:pt x="7537404" y="487566"/>
                    <a:pt x="7536990" y="497284"/>
                    <a:pt x="7535543" y="506934"/>
                  </a:cubicBezTo>
                  <a:lnTo>
                    <a:pt x="7547811" y="501213"/>
                  </a:lnTo>
                  <a:lnTo>
                    <a:pt x="7545330" y="514308"/>
                  </a:lnTo>
                  <a:cubicBezTo>
                    <a:pt x="7549603" y="513826"/>
                    <a:pt x="7558150" y="512861"/>
                    <a:pt x="7562423" y="512379"/>
                  </a:cubicBezTo>
                  <a:cubicBezTo>
                    <a:pt x="7544779" y="520856"/>
                    <a:pt x="7526031" y="514377"/>
                    <a:pt x="7508455" y="509897"/>
                  </a:cubicBezTo>
                  <a:cubicBezTo>
                    <a:pt x="7507697" y="516101"/>
                    <a:pt x="7507008" y="522235"/>
                    <a:pt x="7506388" y="528369"/>
                  </a:cubicBezTo>
                  <a:moveTo>
                    <a:pt x="7279626" y="527473"/>
                  </a:moveTo>
                  <a:cubicBezTo>
                    <a:pt x="7267495" y="507692"/>
                    <a:pt x="7302164" y="524509"/>
                    <a:pt x="7279626" y="527473"/>
                  </a:cubicBezTo>
                  <a:moveTo>
                    <a:pt x="7440151" y="534710"/>
                  </a:moveTo>
                  <a:cubicBezTo>
                    <a:pt x="7437601" y="525268"/>
                    <a:pt x="7441185" y="521821"/>
                    <a:pt x="7450972" y="524303"/>
                  </a:cubicBezTo>
                  <a:cubicBezTo>
                    <a:pt x="7453384" y="533883"/>
                    <a:pt x="7449801" y="537398"/>
                    <a:pt x="7440151" y="534710"/>
                  </a:cubicBezTo>
                  <a:moveTo>
                    <a:pt x="7311882" y="516583"/>
                  </a:moveTo>
                  <a:cubicBezTo>
                    <a:pt x="7311882" y="513826"/>
                    <a:pt x="7311882" y="508243"/>
                    <a:pt x="7311951" y="505417"/>
                  </a:cubicBezTo>
                  <a:cubicBezTo>
                    <a:pt x="7325943" y="509415"/>
                    <a:pt x="7340279" y="513757"/>
                    <a:pt x="7355167" y="510793"/>
                  </a:cubicBezTo>
                  <a:cubicBezTo>
                    <a:pt x="7368883" y="507278"/>
                    <a:pt x="7375017" y="522579"/>
                    <a:pt x="7381013" y="531815"/>
                  </a:cubicBezTo>
                  <a:cubicBezTo>
                    <a:pt x="7358268" y="524923"/>
                    <a:pt x="7336350" y="512999"/>
                    <a:pt x="7311882" y="516583"/>
                  </a:cubicBezTo>
                  <a:moveTo>
                    <a:pt x="7465515" y="540844"/>
                  </a:moveTo>
                  <a:cubicBezTo>
                    <a:pt x="7454211" y="520512"/>
                    <a:pt x="7488191" y="539121"/>
                    <a:pt x="7465515" y="540844"/>
                  </a:cubicBezTo>
                  <a:moveTo>
                    <a:pt x="8313977" y="547806"/>
                  </a:moveTo>
                  <a:cubicBezTo>
                    <a:pt x="8303225" y="527198"/>
                    <a:pt x="8336653" y="546427"/>
                    <a:pt x="8313977" y="547806"/>
                  </a:cubicBezTo>
                  <a:moveTo>
                    <a:pt x="7995614" y="549047"/>
                  </a:moveTo>
                  <a:cubicBezTo>
                    <a:pt x="8001749" y="536916"/>
                    <a:pt x="8015878" y="519616"/>
                    <a:pt x="7997820" y="510518"/>
                  </a:cubicBezTo>
                  <a:cubicBezTo>
                    <a:pt x="8000439" y="511000"/>
                    <a:pt x="8005678" y="511965"/>
                    <a:pt x="8008297" y="512517"/>
                  </a:cubicBezTo>
                  <a:cubicBezTo>
                    <a:pt x="8009606" y="509139"/>
                    <a:pt x="8012156" y="502453"/>
                    <a:pt x="8013397" y="499076"/>
                  </a:cubicBezTo>
                  <a:cubicBezTo>
                    <a:pt x="8011812" y="512517"/>
                    <a:pt x="8010778" y="526301"/>
                    <a:pt x="8020703" y="536916"/>
                  </a:cubicBezTo>
                  <a:cubicBezTo>
                    <a:pt x="8010364" y="536433"/>
                    <a:pt x="8001887" y="541603"/>
                    <a:pt x="7995614" y="549047"/>
                  </a:cubicBezTo>
                  <a:moveTo>
                    <a:pt x="7925243" y="551252"/>
                  </a:moveTo>
                  <a:cubicBezTo>
                    <a:pt x="7929723" y="535124"/>
                    <a:pt x="7939028" y="520856"/>
                    <a:pt x="7954260" y="512999"/>
                  </a:cubicBezTo>
                  <a:cubicBezTo>
                    <a:pt x="7959429" y="533332"/>
                    <a:pt x="7938269" y="541672"/>
                    <a:pt x="7925243" y="551252"/>
                  </a:cubicBezTo>
                  <a:moveTo>
                    <a:pt x="7555600" y="547461"/>
                  </a:moveTo>
                  <a:cubicBezTo>
                    <a:pt x="7552360" y="537605"/>
                    <a:pt x="7555600" y="534572"/>
                    <a:pt x="7565387" y="538501"/>
                  </a:cubicBezTo>
                  <a:cubicBezTo>
                    <a:pt x="7568420" y="548357"/>
                    <a:pt x="7565111" y="551321"/>
                    <a:pt x="7555600" y="547461"/>
                  </a:cubicBezTo>
                  <a:moveTo>
                    <a:pt x="7419956" y="547254"/>
                  </a:moveTo>
                  <a:cubicBezTo>
                    <a:pt x="7417199" y="535951"/>
                    <a:pt x="7421197" y="531953"/>
                    <a:pt x="7431949" y="535330"/>
                  </a:cubicBezTo>
                  <a:cubicBezTo>
                    <a:pt x="7434706" y="546910"/>
                    <a:pt x="7430708" y="550908"/>
                    <a:pt x="7419956" y="547254"/>
                  </a:cubicBezTo>
                  <a:moveTo>
                    <a:pt x="8279377" y="561798"/>
                  </a:moveTo>
                  <a:cubicBezTo>
                    <a:pt x="8275793" y="551941"/>
                    <a:pt x="8278895" y="548840"/>
                    <a:pt x="8288682" y="552286"/>
                  </a:cubicBezTo>
                  <a:cubicBezTo>
                    <a:pt x="8292060" y="562142"/>
                    <a:pt x="8288958" y="565313"/>
                    <a:pt x="8279377" y="561798"/>
                  </a:cubicBezTo>
                  <a:moveTo>
                    <a:pt x="8081495" y="560971"/>
                  </a:moveTo>
                  <a:cubicBezTo>
                    <a:pt x="8074395" y="555870"/>
                    <a:pt x="8069433" y="544566"/>
                    <a:pt x="8073844" y="536364"/>
                  </a:cubicBezTo>
                  <a:cubicBezTo>
                    <a:pt x="8086182" y="530644"/>
                    <a:pt x="8094797" y="559523"/>
                    <a:pt x="8081495" y="560971"/>
                  </a:cubicBezTo>
                  <a:moveTo>
                    <a:pt x="7726946" y="561729"/>
                  </a:moveTo>
                  <a:cubicBezTo>
                    <a:pt x="7716263" y="541120"/>
                    <a:pt x="7749553" y="560006"/>
                    <a:pt x="7726946" y="561729"/>
                  </a:cubicBezTo>
                  <a:moveTo>
                    <a:pt x="8459270" y="569724"/>
                  </a:moveTo>
                  <a:cubicBezTo>
                    <a:pt x="8449897" y="564761"/>
                    <a:pt x="8449621" y="560075"/>
                    <a:pt x="8458512" y="555801"/>
                  </a:cubicBezTo>
                  <a:cubicBezTo>
                    <a:pt x="8467748" y="560833"/>
                    <a:pt x="8468024" y="565520"/>
                    <a:pt x="8459270" y="569724"/>
                  </a:cubicBezTo>
                  <a:moveTo>
                    <a:pt x="8312392" y="560212"/>
                  </a:moveTo>
                  <a:cubicBezTo>
                    <a:pt x="8315701" y="559868"/>
                    <a:pt x="8322317" y="559041"/>
                    <a:pt x="8325625" y="558696"/>
                  </a:cubicBezTo>
                  <a:cubicBezTo>
                    <a:pt x="8325763" y="548220"/>
                    <a:pt x="8326039" y="537743"/>
                    <a:pt x="8326453" y="527198"/>
                  </a:cubicBezTo>
                  <a:cubicBezTo>
                    <a:pt x="8330381" y="529196"/>
                    <a:pt x="8338239" y="533194"/>
                    <a:pt x="8342167" y="535193"/>
                  </a:cubicBezTo>
                  <a:cubicBezTo>
                    <a:pt x="8343960" y="527198"/>
                    <a:pt x="8347751" y="520581"/>
                    <a:pt x="8353609" y="515274"/>
                  </a:cubicBezTo>
                  <a:cubicBezTo>
                    <a:pt x="8356090" y="527060"/>
                    <a:pt x="8347130" y="537192"/>
                    <a:pt x="8344235" y="547944"/>
                  </a:cubicBezTo>
                  <a:lnTo>
                    <a:pt x="8337825" y="545669"/>
                  </a:lnTo>
                  <a:cubicBezTo>
                    <a:pt x="8333621" y="555250"/>
                    <a:pt x="8329210" y="564761"/>
                    <a:pt x="8324936" y="574204"/>
                  </a:cubicBezTo>
                  <a:cubicBezTo>
                    <a:pt x="8320663" y="569586"/>
                    <a:pt x="8316458" y="564899"/>
                    <a:pt x="8312392" y="560212"/>
                  </a:cubicBezTo>
                  <a:moveTo>
                    <a:pt x="8093281" y="566071"/>
                  </a:moveTo>
                  <a:cubicBezTo>
                    <a:pt x="8086801" y="556973"/>
                    <a:pt x="8101069" y="544153"/>
                    <a:pt x="8109754" y="550839"/>
                  </a:cubicBezTo>
                  <a:cubicBezTo>
                    <a:pt x="8114027" y="559041"/>
                    <a:pt x="8100724" y="569448"/>
                    <a:pt x="8093281" y="566071"/>
                  </a:cubicBezTo>
                  <a:moveTo>
                    <a:pt x="8472504" y="574756"/>
                  </a:moveTo>
                  <a:cubicBezTo>
                    <a:pt x="8460580" y="554629"/>
                    <a:pt x="8494973" y="572274"/>
                    <a:pt x="8472504" y="574756"/>
                  </a:cubicBezTo>
                  <a:moveTo>
                    <a:pt x="8236437" y="580269"/>
                  </a:moveTo>
                  <a:cubicBezTo>
                    <a:pt x="8236782" y="567932"/>
                    <a:pt x="8237746" y="555457"/>
                    <a:pt x="8238850" y="543050"/>
                  </a:cubicBezTo>
                  <a:cubicBezTo>
                    <a:pt x="8241469" y="541396"/>
                    <a:pt x="8246707" y="537950"/>
                    <a:pt x="8249326" y="536296"/>
                  </a:cubicBezTo>
                  <a:cubicBezTo>
                    <a:pt x="8251669" y="552217"/>
                    <a:pt x="8251463" y="570413"/>
                    <a:pt x="8236437" y="580269"/>
                  </a:cubicBezTo>
                  <a:moveTo>
                    <a:pt x="8189362" y="574824"/>
                  </a:moveTo>
                  <a:cubicBezTo>
                    <a:pt x="8177920" y="554423"/>
                    <a:pt x="8212038" y="573239"/>
                    <a:pt x="8189362" y="574824"/>
                  </a:cubicBezTo>
                  <a:moveTo>
                    <a:pt x="8073086" y="574824"/>
                  </a:moveTo>
                  <a:cubicBezTo>
                    <a:pt x="8076601" y="571309"/>
                    <a:pt x="8076601" y="571309"/>
                    <a:pt x="8073086" y="574824"/>
                  </a:cubicBezTo>
                  <a:moveTo>
                    <a:pt x="7880855" y="574893"/>
                  </a:moveTo>
                  <a:cubicBezTo>
                    <a:pt x="7872033" y="568345"/>
                    <a:pt x="7880372" y="548288"/>
                    <a:pt x="7891194" y="556904"/>
                  </a:cubicBezTo>
                  <a:cubicBezTo>
                    <a:pt x="7899534" y="563590"/>
                    <a:pt x="7891332" y="583164"/>
                    <a:pt x="7880855" y="574893"/>
                  </a:cubicBezTo>
                  <a:moveTo>
                    <a:pt x="8189844" y="541120"/>
                  </a:moveTo>
                  <a:cubicBezTo>
                    <a:pt x="8187914" y="546221"/>
                    <a:pt x="8183917" y="556490"/>
                    <a:pt x="8181987" y="561591"/>
                  </a:cubicBezTo>
                  <a:cubicBezTo>
                    <a:pt x="8169718" y="552286"/>
                    <a:pt x="8163239" y="565657"/>
                    <a:pt x="8155519" y="571516"/>
                  </a:cubicBezTo>
                  <a:cubicBezTo>
                    <a:pt x="8152694" y="568828"/>
                    <a:pt x="8147042" y="563521"/>
                    <a:pt x="8144216" y="560833"/>
                  </a:cubicBezTo>
                  <a:cubicBezTo>
                    <a:pt x="8148076" y="559247"/>
                    <a:pt x="8155864" y="556077"/>
                    <a:pt x="8159724" y="554423"/>
                  </a:cubicBezTo>
                  <a:cubicBezTo>
                    <a:pt x="8157932" y="548082"/>
                    <a:pt x="8154348" y="542637"/>
                    <a:pt x="8148972" y="538156"/>
                  </a:cubicBezTo>
                  <a:cubicBezTo>
                    <a:pt x="8157725" y="537123"/>
                    <a:pt x="8164342" y="543739"/>
                    <a:pt x="8171993" y="547048"/>
                  </a:cubicBezTo>
                  <a:cubicBezTo>
                    <a:pt x="8175508" y="537467"/>
                    <a:pt x="8183365" y="530988"/>
                    <a:pt x="8193428" y="529403"/>
                  </a:cubicBezTo>
                  <a:cubicBezTo>
                    <a:pt x="8205559" y="540569"/>
                    <a:pt x="8209350" y="556077"/>
                    <a:pt x="8211555" y="571723"/>
                  </a:cubicBezTo>
                  <a:cubicBezTo>
                    <a:pt x="8210108" y="576341"/>
                    <a:pt x="8207282" y="585645"/>
                    <a:pt x="8205834" y="590264"/>
                  </a:cubicBezTo>
                  <a:cubicBezTo>
                    <a:pt x="8207144" y="572343"/>
                    <a:pt x="8209557" y="550287"/>
                    <a:pt x="8189844" y="541120"/>
                  </a:cubicBezTo>
                  <a:moveTo>
                    <a:pt x="8394550" y="596122"/>
                  </a:moveTo>
                  <a:cubicBezTo>
                    <a:pt x="8391448" y="584750"/>
                    <a:pt x="8395446" y="581028"/>
                    <a:pt x="8406543" y="584818"/>
                  </a:cubicBezTo>
                  <a:cubicBezTo>
                    <a:pt x="8409162" y="596053"/>
                    <a:pt x="8405233" y="599844"/>
                    <a:pt x="8394550" y="596122"/>
                  </a:cubicBezTo>
                  <a:moveTo>
                    <a:pt x="8287028" y="594675"/>
                  </a:moveTo>
                  <a:cubicBezTo>
                    <a:pt x="8280824" y="587713"/>
                    <a:pt x="8281445" y="571792"/>
                    <a:pt x="8292197" y="569379"/>
                  </a:cubicBezTo>
                  <a:cubicBezTo>
                    <a:pt x="8306464" y="571378"/>
                    <a:pt x="8299917" y="599293"/>
                    <a:pt x="8287028" y="594675"/>
                  </a:cubicBezTo>
                  <a:moveTo>
                    <a:pt x="8348578" y="604117"/>
                  </a:moveTo>
                  <a:cubicBezTo>
                    <a:pt x="8339135" y="598810"/>
                    <a:pt x="8338859" y="594054"/>
                    <a:pt x="8347681" y="589988"/>
                  </a:cubicBezTo>
                  <a:cubicBezTo>
                    <a:pt x="8356849" y="595364"/>
                    <a:pt x="8357193" y="600051"/>
                    <a:pt x="8348578" y="604117"/>
                  </a:cubicBezTo>
                  <a:moveTo>
                    <a:pt x="8456169" y="587162"/>
                  </a:moveTo>
                  <a:cubicBezTo>
                    <a:pt x="8464026" y="592538"/>
                    <a:pt x="8465818" y="599775"/>
                    <a:pt x="8461545" y="608942"/>
                  </a:cubicBezTo>
                  <a:cubicBezTo>
                    <a:pt x="8448311" y="617351"/>
                    <a:pt x="8440661" y="587920"/>
                    <a:pt x="8456169" y="587162"/>
                  </a:cubicBezTo>
                  <a:moveTo>
                    <a:pt x="8473813" y="630033"/>
                  </a:moveTo>
                  <a:cubicBezTo>
                    <a:pt x="8477053" y="626104"/>
                    <a:pt x="8477053" y="626104"/>
                    <a:pt x="8473813" y="630033"/>
                  </a:cubicBezTo>
                  <a:moveTo>
                    <a:pt x="8500763" y="663875"/>
                  </a:moveTo>
                  <a:cubicBezTo>
                    <a:pt x="8479948" y="674076"/>
                    <a:pt x="8458236" y="662152"/>
                    <a:pt x="8437283" y="659257"/>
                  </a:cubicBezTo>
                  <a:cubicBezTo>
                    <a:pt x="8435423" y="655949"/>
                    <a:pt x="8431700" y="649263"/>
                    <a:pt x="8429909" y="645886"/>
                  </a:cubicBezTo>
                  <a:cubicBezTo>
                    <a:pt x="8439765" y="650710"/>
                    <a:pt x="8449345" y="656087"/>
                    <a:pt x="8458994" y="661669"/>
                  </a:cubicBezTo>
                  <a:cubicBezTo>
                    <a:pt x="8463750" y="659533"/>
                    <a:pt x="8468644" y="657327"/>
                    <a:pt x="8473676" y="655122"/>
                  </a:cubicBezTo>
                  <a:cubicBezTo>
                    <a:pt x="8484634" y="662152"/>
                    <a:pt x="8497247" y="670561"/>
                    <a:pt x="8503244" y="653467"/>
                  </a:cubicBezTo>
                  <a:cubicBezTo>
                    <a:pt x="8497110" y="668838"/>
                    <a:pt x="8515237" y="669113"/>
                    <a:pt x="8524817" y="674283"/>
                  </a:cubicBezTo>
                  <a:cubicBezTo>
                    <a:pt x="8524611" y="678832"/>
                    <a:pt x="8524197" y="687999"/>
                    <a:pt x="8523991" y="692617"/>
                  </a:cubicBezTo>
                  <a:cubicBezTo>
                    <a:pt x="8520544" y="691858"/>
                    <a:pt x="8513652" y="690342"/>
                    <a:pt x="8510206" y="689584"/>
                  </a:cubicBezTo>
                  <a:cubicBezTo>
                    <a:pt x="8508207" y="694202"/>
                    <a:pt x="8504209" y="703300"/>
                    <a:pt x="8502210" y="707918"/>
                  </a:cubicBezTo>
                  <a:cubicBezTo>
                    <a:pt x="8501176" y="693237"/>
                    <a:pt x="8500694" y="678556"/>
                    <a:pt x="8500763" y="663875"/>
                  </a:cubicBezTo>
                  <a:moveTo>
                    <a:pt x="8474847" y="755338"/>
                  </a:moveTo>
                  <a:cubicBezTo>
                    <a:pt x="8472297" y="744448"/>
                    <a:pt x="8469747" y="733558"/>
                    <a:pt x="8467748" y="722530"/>
                  </a:cubicBezTo>
                  <a:cubicBezTo>
                    <a:pt x="8463406" y="723702"/>
                    <a:pt x="8454790" y="726045"/>
                    <a:pt x="8450448" y="727217"/>
                  </a:cubicBezTo>
                  <a:cubicBezTo>
                    <a:pt x="8450241" y="721978"/>
                    <a:pt x="8449827" y="711571"/>
                    <a:pt x="8449552" y="706402"/>
                  </a:cubicBezTo>
                  <a:cubicBezTo>
                    <a:pt x="8470160" y="722323"/>
                    <a:pt x="8479120" y="691031"/>
                    <a:pt x="8464026" y="678901"/>
                  </a:cubicBezTo>
                  <a:cubicBezTo>
                    <a:pt x="8467128" y="687378"/>
                    <a:pt x="8494628" y="701370"/>
                    <a:pt x="8474158" y="706264"/>
                  </a:cubicBezTo>
                  <a:cubicBezTo>
                    <a:pt x="8474985" y="718877"/>
                    <a:pt x="8476157" y="731559"/>
                    <a:pt x="8480154" y="743621"/>
                  </a:cubicBezTo>
                  <a:cubicBezTo>
                    <a:pt x="8478224" y="747618"/>
                    <a:pt x="8476501" y="751478"/>
                    <a:pt x="8474847" y="755338"/>
                  </a:cubicBezTo>
                  <a:moveTo>
                    <a:pt x="8528401" y="767951"/>
                  </a:moveTo>
                  <a:cubicBezTo>
                    <a:pt x="8532054" y="764298"/>
                    <a:pt x="8532054" y="764298"/>
                    <a:pt x="8528401" y="767951"/>
                  </a:cubicBezTo>
                  <a:moveTo>
                    <a:pt x="8500142" y="775326"/>
                  </a:moveTo>
                  <a:cubicBezTo>
                    <a:pt x="8490286" y="774016"/>
                    <a:pt x="8488494" y="756096"/>
                    <a:pt x="8499591" y="755338"/>
                  </a:cubicBezTo>
                  <a:cubicBezTo>
                    <a:pt x="8509998" y="755889"/>
                    <a:pt x="8511308" y="775257"/>
                    <a:pt x="8500142" y="775326"/>
                  </a:cubicBezTo>
                  <a:moveTo>
                    <a:pt x="8465887" y="796968"/>
                  </a:moveTo>
                  <a:cubicBezTo>
                    <a:pt x="8466714" y="774085"/>
                    <a:pt x="8486427" y="807583"/>
                    <a:pt x="8465887" y="796968"/>
                  </a:cubicBezTo>
                  <a:moveTo>
                    <a:pt x="8444107" y="808823"/>
                  </a:moveTo>
                  <a:cubicBezTo>
                    <a:pt x="8433217" y="788215"/>
                    <a:pt x="8466714" y="807514"/>
                    <a:pt x="8444107" y="808823"/>
                  </a:cubicBezTo>
                  <a:moveTo>
                    <a:pt x="8445141" y="829708"/>
                  </a:moveTo>
                  <a:cubicBezTo>
                    <a:pt x="8448863" y="825710"/>
                    <a:pt x="8448863" y="825710"/>
                    <a:pt x="8445141" y="829708"/>
                  </a:cubicBezTo>
                  <a:moveTo>
                    <a:pt x="8472504" y="989544"/>
                  </a:moveTo>
                  <a:cubicBezTo>
                    <a:pt x="8461821" y="968798"/>
                    <a:pt x="8495180" y="988510"/>
                    <a:pt x="8472504" y="989544"/>
                  </a:cubicBezTo>
                  <a:moveTo>
                    <a:pt x="8486151" y="1002984"/>
                  </a:moveTo>
                  <a:cubicBezTo>
                    <a:pt x="8495111" y="981135"/>
                    <a:pt x="8497110" y="957563"/>
                    <a:pt x="8497041" y="934059"/>
                  </a:cubicBezTo>
                  <a:cubicBezTo>
                    <a:pt x="8500074" y="931509"/>
                    <a:pt x="8506001" y="926271"/>
                    <a:pt x="8509034" y="923652"/>
                  </a:cubicBezTo>
                  <a:cubicBezTo>
                    <a:pt x="8513445" y="923031"/>
                    <a:pt x="8522268" y="921791"/>
                    <a:pt x="8526748" y="921171"/>
                  </a:cubicBezTo>
                  <a:cubicBezTo>
                    <a:pt x="8515788" y="927167"/>
                    <a:pt x="8514823" y="938195"/>
                    <a:pt x="8515650" y="949361"/>
                  </a:cubicBezTo>
                  <a:cubicBezTo>
                    <a:pt x="8515168" y="944398"/>
                    <a:pt x="8514134" y="934611"/>
                    <a:pt x="8513652" y="929648"/>
                  </a:cubicBezTo>
                  <a:cubicBezTo>
                    <a:pt x="8505588" y="938126"/>
                    <a:pt x="8500212" y="948120"/>
                    <a:pt x="8497592" y="959631"/>
                  </a:cubicBezTo>
                  <a:cubicBezTo>
                    <a:pt x="8504692" y="961147"/>
                    <a:pt x="8511860" y="962732"/>
                    <a:pt x="8519097" y="964317"/>
                  </a:cubicBezTo>
                  <a:cubicBezTo>
                    <a:pt x="8513789" y="964042"/>
                    <a:pt x="8503106" y="963352"/>
                    <a:pt x="8497730" y="963077"/>
                  </a:cubicBezTo>
                  <a:cubicBezTo>
                    <a:pt x="8500074" y="967626"/>
                    <a:pt x="8504622" y="976862"/>
                    <a:pt x="8506966" y="981411"/>
                  </a:cubicBezTo>
                  <a:cubicBezTo>
                    <a:pt x="8511515" y="994989"/>
                    <a:pt x="8495662" y="999951"/>
                    <a:pt x="8486151" y="1002984"/>
                  </a:cubicBezTo>
                  <a:moveTo>
                    <a:pt x="8459683" y="1029934"/>
                  </a:moveTo>
                  <a:cubicBezTo>
                    <a:pt x="8463406" y="1026281"/>
                    <a:pt x="8463406" y="1026281"/>
                    <a:pt x="8459683" y="1029934"/>
                  </a:cubicBezTo>
                  <a:moveTo>
                    <a:pt x="8526885" y="1056883"/>
                  </a:moveTo>
                  <a:cubicBezTo>
                    <a:pt x="8516202" y="1036137"/>
                    <a:pt x="8549423" y="1055574"/>
                    <a:pt x="8526885" y="1056883"/>
                  </a:cubicBezTo>
                  <a:moveTo>
                    <a:pt x="8514479" y="1056814"/>
                  </a:moveTo>
                  <a:cubicBezTo>
                    <a:pt x="8517925" y="1053230"/>
                    <a:pt x="8517925" y="1053230"/>
                    <a:pt x="8514479" y="1056814"/>
                  </a:cubicBezTo>
                  <a:moveTo>
                    <a:pt x="8451550" y="1083902"/>
                  </a:moveTo>
                  <a:cubicBezTo>
                    <a:pt x="8440661" y="1063224"/>
                    <a:pt x="8474020" y="1081834"/>
                    <a:pt x="8451550" y="1083902"/>
                  </a:cubicBezTo>
                  <a:moveTo>
                    <a:pt x="8507449" y="1091828"/>
                  </a:moveTo>
                  <a:cubicBezTo>
                    <a:pt x="8501246" y="1083143"/>
                    <a:pt x="8502555" y="1077836"/>
                    <a:pt x="8511446" y="1075906"/>
                  </a:cubicBezTo>
                  <a:cubicBezTo>
                    <a:pt x="8517443" y="1084729"/>
                    <a:pt x="8516064" y="1089967"/>
                    <a:pt x="8507449" y="1091828"/>
                  </a:cubicBezTo>
                  <a:moveTo>
                    <a:pt x="8476433" y="1055918"/>
                  </a:moveTo>
                  <a:cubicBezTo>
                    <a:pt x="8472021" y="1055918"/>
                    <a:pt x="8463061" y="1055987"/>
                    <a:pt x="8458581" y="1055987"/>
                  </a:cubicBezTo>
                  <a:cubicBezTo>
                    <a:pt x="8461545" y="1052748"/>
                    <a:pt x="8464646" y="1049439"/>
                    <a:pt x="8467886" y="1046131"/>
                  </a:cubicBezTo>
                  <a:cubicBezTo>
                    <a:pt x="8471332" y="1049508"/>
                    <a:pt x="8478293" y="1056194"/>
                    <a:pt x="8481809" y="1059571"/>
                  </a:cubicBezTo>
                  <a:cubicBezTo>
                    <a:pt x="8482567" y="1044683"/>
                    <a:pt x="8461269" y="1016769"/>
                    <a:pt x="8482360" y="1009187"/>
                  </a:cubicBezTo>
                  <a:cubicBezTo>
                    <a:pt x="8485324" y="1030830"/>
                    <a:pt x="8491182" y="1052265"/>
                    <a:pt x="8489597" y="1074252"/>
                  </a:cubicBezTo>
                  <a:cubicBezTo>
                    <a:pt x="8492216" y="1080662"/>
                    <a:pt x="8494766" y="1087072"/>
                    <a:pt x="8497385" y="1093482"/>
                  </a:cubicBezTo>
                  <a:cubicBezTo>
                    <a:pt x="8485806" y="1084040"/>
                    <a:pt x="8471332" y="1073012"/>
                    <a:pt x="8476433" y="1055918"/>
                  </a:cubicBezTo>
                  <a:moveTo>
                    <a:pt x="8429701" y="1139662"/>
                  </a:moveTo>
                  <a:cubicBezTo>
                    <a:pt x="8424187" y="1132218"/>
                    <a:pt x="8432183" y="1115538"/>
                    <a:pt x="8441488" y="1116848"/>
                  </a:cubicBezTo>
                  <a:cubicBezTo>
                    <a:pt x="8444727" y="1124705"/>
                    <a:pt x="8440385" y="1141798"/>
                    <a:pt x="8429701" y="1139662"/>
                  </a:cubicBezTo>
                  <a:moveTo>
                    <a:pt x="8480981" y="1194664"/>
                  </a:moveTo>
                  <a:cubicBezTo>
                    <a:pt x="8479190" y="1210792"/>
                    <a:pt x="8485738" y="1225197"/>
                    <a:pt x="8492078" y="1239534"/>
                  </a:cubicBezTo>
                  <a:cubicBezTo>
                    <a:pt x="8473331" y="1231263"/>
                    <a:pt x="8474089" y="1210792"/>
                    <a:pt x="8480981" y="1194664"/>
                  </a:cubicBezTo>
                  <a:moveTo>
                    <a:pt x="8513307" y="1251182"/>
                  </a:moveTo>
                  <a:cubicBezTo>
                    <a:pt x="8502899" y="1230229"/>
                    <a:pt x="8535914" y="1250492"/>
                    <a:pt x="8513307" y="1251182"/>
                  </a:cubicBezTo>
                  <a:moveTo>
                    <a:pt x="8432045" y="1256696"/>
                  </a:moveTo>
                  <a:cubicBezTo>
                    <a:pt x="8435491" y="1253112"/>
                    <a:pt x="8435491" y="1253112"/>
                    <a:pt x="8432045" y="1256696"/>
                  </a:cubicBezTo>
                  <a:moveTo>
                    <a:pt x="8479258" y="1277235"/>
                  </a:moveTo>
                  <a:cubicBezTo>
                    <a:pt x="8473331" y="1268688"/>
                    <a:pt x="8474778" y="1263313"/>
                    <a:pt x="8483738" y="1261245"/>
                  </a:cubicBezTo>
                  <a:cubicBezTo>
                    <a:pt x="8489459" y="1269929"/>
                    <a:pt x="8487943" y="1275236"/>
                    <a:pt x="8479258" y="1277235"/>
                  </a:cubicBezTo>
                  <a:moveTo>
                    <a:pt x="8445141" y="1284817"/>
                  </a:moveTo>
                  <a:cubicBezTo>
                    <a:pt x="8434526" y="1264208"/>
                    <a:pt x="8467748" y="1283232"/>
                    <a:pt x="8445141" y="1284817"/>
                  </a:cubicBezTo>
                  <a:moveTo>
                    <a:pt x="8508069" y="1290607"/>
                  </a:moveTo>
                  <a:cubicBezTo>
                    <a:pt x="8502761" y="1283301"/>
                    <a:pt x="8502761" y="1275995"/>
                    <a:pt x="8508138" y="1268688"/>
                  </a:cubicBezTo>
                  <a:cubicBezTo>
                    <a:pt x="8518339" y="1267724"/>
                    <a:pt x="8518201" y="1292054"/>
                    <a:pt x="8508069" y="1290607"/>
                  </a:cubicBezTo>
                  <a:moveTo>
                    <a:pt x="8429288" y="1337475"/>
                  </a:moveTo>
                  <a:cubicBezTo>
                    <a:pt x="8434044" y="1337544"/>
                    <a:pt x="8443693" y="1337751"/>
                    <a:pt x="8448518" y="1337820"/>
                  </a:cubicBezTo>
                  <a:cubicBezTo>
                    <a:pt x="8448863" y="1340646"/>
                    <a:pt x="8449621" y="1346367"/>
                    <a:pt x="8449965" y="1349192"/>
                  </a:cubicBezTo>
                  <a:cubicBezTo>
                    <a:pt x="8453205" y="1347814"/>
                    <a:pt x="8459683" y="1345057"/>
                    <a:pt x="8462923" y="1343679"/>
                  </a:cubicBezTo>
                  <a:cubicBezTo>
                    <a:pt x="8462578" y="1354982"/>
                    <a:pt x="8462510" y="1366286"/>
                    <a:pt x="8462440" y="1377521"/>
                  </a:cubicBezTo>
                  <a:cubicBezTo>
                    <a:pt x="8459408" y="1369525"/>
                    <a:pt x="8456582" y="1361461"/>
                    <a:pt x="8453688" y="1353466"/>
                  </a:cubicBezTo>
                  <a:cubicBezTo>
                    <a:pt x="8452998" y="1357601"/>
                    <a:pt x="8451550" y="1365941"/>
                    <a:pt x="8450861" y="1370146"/>
                  </a:cubicBezTo>
                  <a:cubicBezTo>
                    <a:pt x="8447553" y="1368285"/>
                    <a:pt x="8440936" y="1364563"/>
                    <a:pt x="8437628" y="1362702"/>
                  </a:cubicBezTo>
                  <a:cubicBezTo>
                    <a:pt x="8436525" y="1366355"/>
                    <a:pt x="8434319" y="1373661"/>
                    <a:pt x="8433285" y="1377314"/>
                  </a:cubicBezTo>
                  <a:cubicBezTo>
                    <a:pt x="8431424" y="1364080"/>
                    <a:pt x="8430184" y="1350847"/>
                    <a:pt x="8429288" y="1337475"/>
                  </a:cubicBezTo>
                  <a:moveTo>
                    <a:pt x="8444934" y="1428663"/>
                  </a:moveTo>
                  <a:cubicBezTo>
                    <a:pt x="8438661" y="1420392"/>
                    <a:pt x="8440109" y="1415360"/>
                    <a:pt x="8449345" y="1413568"/>
                  </a:cubicBezTo>
                  <a:cubicBezTo>
                    <a:pt x="8455479" y="1421908"/>
                    <a:pt x="8453963" y="1426939"/>
                    <a:pt x="8444934" y="1428663"/>
                  </a:cubicBezTo>
                  <a:moveTo>
                    <a:pt x="8487529" y="1491591"/>
                  </a:moveTo>
                  <a:cubicBezTo>
                    <a:pt x="8482498" y="1483940"/>
                    <a:pt x="8482498" y="1476221"/>
                    <a:pt x="8487667" y="1468570"/>
                  </a:cubicBezTo>
                  <a:cubicBezTo>
                    <a:pt x="8497661" y="1467881"/>
                    <a:pt x="8497317" y="1492418"/>
                    <a:pt x="8487529" y="1491591"/>
                  </a:cubicBezTo>
                  <a:moveTo>
                    <a:pt x="8487116" y="1526260"/>
                  </a:moveTo>
                  <a:cubicBezTo>
                    <a:pt x="8490700" y="1522883"/>
                    <a:pt x="8490700" y="1522883"/>
                    <a:pt x="8487116" y="1526260"/>
                  </a:cubicBezTo>
                  <a:moveTo>
                    <a:pt x="8435491" y="1535565"/>
                  </a:moveTo>
                  <a:cubicBezTo>
                    <a:pt x="8435629" y="1525571"/>
                    <a:pt x="8435698" y="1515577"/>
                    <a:pt x="8436870" y="1505583"/>
                  </a:cubicBezTo>
                  <a:cubicBezTo>
                    <a:pt x="8428737" y="1499931"/>
                    <a:pt x="8426393" y="1490764"/>
                    <a:pt x="8424187" y="1481872"/>
                  </a:cubicBezTo>
                  <a:cubicBezTo>
                    <a:pt x="8435285" y="1477668"/>
                    <a:pt x="8446657" y="1476841"/>
                    <a:pt x="8456926" y="1484078"/>
                  </a:cubicBezTo>
                  <a:cubicBezTo>
                    <a:pt x="8465611" y="1489041"/>
                    <a:pt x="8472366" y="1497725"/>
                    <a:pt x="8467954" y="1507995"/>
                  </a:cubicBezTo>
                  <a:cubicBezTo>
                    <a:pt x="8468368" y="1525640"/>
                    <a:pt x="8447070" y="1527983"/>
                    <a:pt x="8435491" y="1535565"/>
                  </a:cubicBezTo>
                  <a:moveTo>
                    <a:pt x="8390414" y="1556242"/>
                  </a:moveTo>
                  <a:cubicBezTo>
                    <a:pt x="8394826" y="1552107"/>
                    <a:pt x="8394826" y="1552107"/>
                    <a:pt x="8390414" y="1556242"/>
                  </a:cubicBezTo>
                  <a:moveTo>
                    <a:pt x="8416675" y="1626545"/>
                  </a:moveTo>
                  <a:cubicBezTo>
                    <a:pt x="8418191" y="1619308"/>
                    <a:pt x="8421224" y="1604834"/>
                    <a:pt x="8422740" y="1597597"/>
                  </a:cubicBezTo>
                  <a:lnTo>
                    <a:pt x="8412815" y="1602146"/>
                  </a:lnTo>
                  <a:cubicBezTo>
                    <a:pt x="8412539" y="1590842"/>
                    <a:pt x="8411574" y="1579539"/>
                    <a:pt x="8410402" y="1568235"/>
                  </a:cubicBezTo>
                  <a:cubicBezTo>
                    <a:pt x="8416468" y="1577540"/>
                    <a:pt x="8422740" y="1586707"/>
                    <a:pt x="8429977" y="1595254"/>
                  </a:cubicBezTo>
                  <a:cubicBezTo>
                    <a:pt x="8429288" y="1586776"/>
                    <a:pt x="8427841" y="1569820"/>
                    <a:pt x="8427082" y="1561343"/>
                  </a:cubicBezTo>
                  <a:cubicBezTo>
                    <a:pt x="8430460" y="1564858"/>
                    <a:pt x="8437146" y="1571957"/>
                    <a:pt x="8440523" y="1575472"/>
                  </a:cubicBezTo>
                  <a:cubicBezTo>
                    <a:pt x="8440867" y="1572991"/>
                    <a:pt x="8441626" y="1567890"/>
                    <a:pt x="8442039" y="1565409"/>
                  </a:cubicBezTo>
                  <a:cubicBezTo>
                    <a:pt x="8449689" y="1564651"/>
                    <a:pt x="8457478" y="1563893"/>
                    <a:pt x="8465335" y="1563066"/>
                  </a:cubicBezTo>
                  <a:cubicBezTo>
                    <a:pt x="8466783" y="1576644"/>
                    <a:pt x="8468506" y="1590153"/>
                    <a:pt x="8470711" y="1603525"/>
                  </a:cubicBezTo>
                  <a:cubicBezTo>
                    <a:pt x="8457340" y="1590704"/>
                    <a:pt x="8441488" y="1590911"/>
                    <a:pt x="8425428" y="1596356"/>
                  </a:cubicBezTo>
                  <a:cubicBezTo>
                    <a:pt x="8423774" y="1606764"/>
                    <a:pt x="8423981" y="1618136"/>
                    <a:pt x="8416675" y="1626545"/>
                  </a:cubicBezTo>
                  <a:moveTo>
                    <a:pt x="8417226" y="1670312"/>
                  </a:moveTo>
                  <a:cubicBezTo>
                    <a:pt x="8405647" y="1649980"/>
                    <a:pt x="8439627" y="1667969"/>
                    <a:pt x="8417226" y="1670312"/>
                  </a:cubicBezTo>
                  <a:moveTo>
                    <a:pt x="8402959" y="1671071"/>
                  </a:moveTo>
                  <a:cubicBezTo>
                    <a:pt x="8391862" y="1650531"/>
                    <a:pt x="8425704" y="1669899"/>
                    <a:pt x="8402959" y="1671071"/>
                  </a:cubicBezTo>
                  <a:moveTo>
                    <a:pt x="8387795" y="1711667"/>
                  </a:moveTo>
                  <a:cubicBezTo>
                    <a:pt x="8390484" y="1710978"/>
                    <a:pt x="8395722" y="1709599"/>
                    <a:pt x="8398410" y="1708910"/>
                  </a:cubicBezTo>
                  <a:cubicBezTo>
                    <a:pt x="8397927" y="1701328"/>
                    <a:pt x="8397445" y="1693058"/>
                    <a:pt x="8403097" y="1687061"/>
                  </a:cubicBezTo>
                  <a:cubicBezTo>
                    <a:pt x="8403786" y="1694436"/>
                    <a:pt x="8404475" y="1701811"/>
                    <a:pt x="8405302" y="1709186"/>
                  </a:cubicBezTo>
                  <a:cubicBezTo>
                    <a:pt x="8400960" y="1709806"/>
                    <a:pt x="8392207" y="1711047"/>
                    <a:pt x="8387795" y="1711667"/>
                  </a:cubicBezTo>
                  <a:moveTo>
                    <a:pt x="8445279" y="1720214"/>
                  </a:moveTo>
                  <a:cubicBezTo>
                    <a:pt x="8451206" y="1694918"/>
                    <a:pt x="8450448" y="1668245"/>
                    <a:pt x="8458926" y="1643501"/>
                  </a:cubicBezTo>
                  <a:cubicBezTo>
                    <a:pt x="8459408" y="1646602"/>
                    <a:pt x="8460373" y="1652806"/>
                    <a:pt x="8460787" y="1655907"/>
                  </a:cubicBezTo>
                  <a:cubicBezTo>
                    <a:pt x="8466439" y="1670381"/>
                    <a:pt x="8466852" y="1685889"/>
                    <a:pt x="8466990" y="1701190"/>
                  </a:cubicBezTo>
                  <a:cubicBezTo>
                    <a:pt x="8469402" y="1691472"/>
                    <a:pt x="8471608" y="1681754"/>
                    <a:pt x="8474572" y="1672036"/>
                  </a:cubicBezTo>
                  <a:cubicBezTo>
                    <a:pt x="8479396" y="1687957"/>
                    <a:pt x="8472642" y="1703947"/>
                    <a:pt x="8474227" y="1720076"/>
                  </a:cubicBezTo>
                  <a:cubicBezTo>
                    <a:pt x="8465818" y="1715527"/>
                    <a:pt x="8457134" y="1711116"/>
                    <a:pt x="8448863" y="1706704"/>
                  </a:cubicBezTo>
                  <a:lnTo>
                    <a:pt x="8449483" y="1719318"/>
                  </a:lnTo>
                  <a:lnTo>
                    <a:pt x="8445279" y="1720214"/>
                  </a:lnTo>
                  <a:moveTo>
                    <a:pt x="8417571" y="1691403"/>
                  </a:moveTo>
                  <a:cubicBezTo>
                    <a:pt x="8418467" y="1690576"/>
                    <a:pt x="8420259" y="1688853"/>
                    <a:pt x="8421155" y="1687957"/>
                  </a:cubicBezTo>
                  <a:cubicBezTo>
                    <a:pt x="8443969" y="1680789"/>
                    <a:pt x="8435904" y="1707394"/>
                    <a:pt x="8436938" y="1720834"/>
                  </a:cubicBezTo>
                  <a:cubicBezTo>
                    <a:pt x="8424257" y="1715251"/>
                    <a:pt x="8414814" y="1706567"/>
                    <a:pt x="8417571" y="1691403"/>
                  </a:cubicBezTo>
                  <a:moveTo>
                    <a:pt x="8394964" y="1827461"/>
                  </a:moveTo>
                  <a:cubicBezTo>
                    <a:pt x="8390897" y="1812986"/>
                    <a:pt x="8398410" y="1801751"/>
                    <a:pt x="8413022" y="1810919"/>
                  </a:cubicBezTo>
                  <a:cubicBezTo>
                    <a:pt x="8413780" y="1800649"/>
                    <a:pt x="8416124" y="1790448"/>
                    <a:pt x="8419294" y="1780523"/>
                  </a:cubicBezTo>
                  <a:cubicBezTo>
                    <a:pt x="8419639" y="1794928"/>
                    <a:pt x="8419639" y="1809333"/>
                    <a:pt x="8421706" y="1823601"/>
                  </a:cubicBezTo>
                  <a:cubicBezTo>
                    <a:pt x="8412539" y="1824014"/>
                    <a:pt x="8403648" y="1825255"/>
                    <a:pt x="8394964" y="1827461"/>
                  </a:cubicBezTo>
                  <a:moveTo>
                    <a:pt x="8472917" y="1870538"/>
                  </a:moveTo>
                  <a:cubicBezTo>
                    <a:pt x="8476157" y="1866541"/>
                    <a:pt x="8476157" y="1866541"/>
                    <a:pt x="8472917" y="1870538"/>
                  </a:cubicBezTo>
                  <a:moveTo>
                    <a:pt x="8431632" y="1878120"/>
                  </a:moveTo>
                  <a:cubicBezTo>
                    <a:pt x="8431907" y="1873020"/>
                    <a:pt x="8432528" y="1862819"/>
                    <a:pt x="8432803" y="1857718"/>
                  </a:cubicBezTo>
                  <a:cubicBezTo>
                    <a:pt x="8416950" y="1859028"/>
                    <a:pt x="8394481" y="1834077"/>
                    <a:pt x="8416813" y="1826564"/>
                  </a:cubicBezTo>
                  <a:cubicBezTo>
                    <a:pt x="8424670" y="1837592"/>
                    <a:pt x="8430598" y="1836972"/>
                    <a:pt x="8434457" y="1824773"/>
                  </a:cubicBezTo>
                  <a:cubicBezTo>
                    <a:pt x="8432390" y="1843795"/>
                    <a:pt x="8442866" y="1859717"/>
                    <a:pt x="8456375" y="1871917"/>
                  </a:cubicBezTo>
                  <a:cubicBezTo>
                    <a:pt x="8448036" y="1873985"/>
                    <a:pt x="8439695" y="1876052"/>
                    <a:pt x="8431632" y="1878120"/>
                  </a:cubicBezTo>
                  <a:moveTo>
                    <a:pt x="8409782" y="1877086"/>
                  </a:moveTo>
                  <a:cubicBezTo>
                    <a:pt x="8400684" y="1855582"/>
                    <a:pt x="8432390" y="1877638"/>
                    <a:pt x="8409782" y="1877086"/>
                  </a:cubicBezTo>
                  <a:moveTo>
                    <a:pt x="8410540" y="1899900"/>
                  </a:moveTo>
                  <a:cubicBezTo>
                    <a:pt x="8407025" y="1888596"/>
                    <a:pt x="8410885" y="1884806"/>
                    <a:pt x="8422051" y="1888321"/>
                  </a:cubicBezTo>
                  <a:cubicBezTo>
                    <a:pt x="8425428" y="1899693"/>
                    <a:pt x="8421568" y="1903553"/>
                    <a:pt x="8410540" y="1899900"/>
                  </a:cubicBezTo>
                  <a:moveTo>
                    <a:pt x="8361053" y="2118667"/>
                  </a:moveTo>
                  <a:cubicBezTo>
                    <a:pt x="8349474" y="2098541"/>
                    <a:pt x="8383798" y="2116530"/>
                    <a:pt x="8361053" y="2118667"/>
                  </a:cubicBezTo>
                  <a:moveTo>
                    <a:pt x="8418329" y="2125835"/>
                  </a:moveTo>
                  <a:cubicBezTo>
                    <a:pt x="8421706" y="2122182"/>
                    <a:pt x="8421706" y="2122182"/>
                    <a:pt x="8418329" y="2125835"/>
                  </a:cubicBezTo>
                  <a:moveTo>
                    <a:pt x="8403510" y="2153888"/>
                  </a:moveTo>
                  <a:cubicBezTo>
                    <a:pt x="8404682" y="2131074"/>
                    <a:pt x="8424050" y="2164433"/>
                    <a:pt x="8403510" y="2153888"/>
                  </a:cubicBezTo>
                  <a:moveTo>
                    <a:pt x="8356779" y="2168637"/>
                  </a:moveTo>
                  <a:cubicBezTo>
                    <a:pt x="8358365" y="2145823"/>
                    <a:pt x="8377043" y="2179872"/>
                    <a:pt x="8356779" y="2168637"/>
                  </a:cubicBezTo>
                  <a:moveTo>
                    <a:pt x="8419087" y="2191796"/>
                  </a:moveTo>
                  <a:cubicBezTo>
                    <a:pt x="8415986" y="2186282"/>
                    <a:pt x="8412953" y="2180699"/>
                    <a:pt x="8410127" y="2175116"/>
                  </a:cubicBezTo>
                  <a:cubicBezTo>
                    <a:pt x="8433423" y="2172911"/>
                    <a:pt x="8430528" y="2197517"/>
                    <a:pt x="8429701" y="2213163"/>
                  </a:cubicBezTo>
                  <a:cubicBezTo>
                    <a:pt x="8416399" y="2212129"/>
                    <a:pt x="8418053" y="2201446"/>
                    <a:pt x="8419087" y="2191796"/>
                  </a:cubicBezTo>
                  <a:moveTo>
                    <a:pt x="8444451" y="2243007"/>
                  </a:moveTo>
                  <a:cubicBezTo>
                    <a:pt x="8436663" y="2239216"/>
                    <a:pt x="8433699" y="2232875"/>
                    <a:pt x="8435698" y="2223915"/>
                  </a:cubicBezTo>
                  <a:cubicBezTo>
                    <a:pt x="8441488" y="2215920"/>
                    <a:pt x="8447277" y="2215713"/>
                    <a:pt x="8453067" y="2223502"/>
                  </a:cubicBezTo>
                  <a:cubicBezTo>
                    <a:pt x="8453274" y="2231566"/>
                    <a:pt x="8450448" y="2238113"/>
                    <a:pt x="8444451" y="2243007"/>
                  </a:cubicBezTo>
                  <a:moveTo>
                    <a:pt x="8389794" y="2249831"/>
                  </a:moveTo>
                  <a:cubicBezTo>
                    <a:pt x="8383729" y="2241077"/>
                    <a:pt x="8384970" y="2235701"/>
                    <a:pt x="8393723" y="2233564"/>
                  </a:cubicBezTo>
                  <a:cubicBezTo>
                    <a:pt x="8399650" y="2242318"/>
                    <a:pt x="8398341" y="2247763"/>
                    <a:pt x="8389794" y="2249831"/>
                  </a:cubicBezTo>
                  <a:moveTo>
                    <a:pt x="8431424" y="2264512"/>
                  </a:moveTo>
                  <a:cubicBezTo>
                    <a:pt x="8423153" y="2263753"/>
                    <a:pt x="8418536" y="2247418"/>
                    <a:pt x="8428805" y="2246384"/>
                  </a:cubicBezTo>
                  <a:cubicBezTo>
                    <a:pt x="8437076" y="2247074"/>
                    <a:pt x="8442108" y="2263822"/>
                    <a:pt x="8431424" y="2264512"/>
                  </a:cubicBezTo>
                  <a:moveTo>
                    <a:pt x="8432666" y="2277814"/>
                  </a:moveTo>
                  <a:cubicBezTo>
                    <a:pt x="8436525" y="2274437"/>
                    <a:pt x="8436525" y="2274437"/>
                    <a:pt x="8432666" y="2277814"/>
                  </a:cubicBezTo>
                  <a:moveTo>
                    <a:pt x="8383315" y="2276711"/>
                  </a:moveTo>
                  <a:cubicBezTo>
                    <a:pt x="8387176" y="2272989"/>
                    <a:pt x="8387176" y="2272989"/>
                    <a:pt x="8383315" y="2276711"/>
                  </a:cubicBezTo>
                  <a:moveTo>
                    <a:pt x="8401718" y="2300215"/>
                  </a:moveTo>
                  <a:cubicBezTo>
                    <a:pt x="8399099" y="2300766"/>
                    <a:pt x="8393930" y="2301800"/>
                    <a:pt x="8391379" y="2302351"/>
                  </a:cubicBezTo>
                  <a:cubicBezTo>
                    <a:pt x="8387451" y="2297527"/>
                    <a:pt x="8383798" y="2292426"/>
                    <a:pt x="8380214" y="2287463"/>
                  </a:cubicBezTo>
                  <a:cubicBezTo>
                    <a:pt x="8386279" y="2295045"/>
                    <a:pt x="8393241" y="2296562"/>
                    <a:pt x="8401098" y="2292013"/>
                  </a:cubicBezTo>
                  <a:cubicBezTo>
                    <a:pt x="8400133" y="2287601"/>
                    <a:pt x="8398134" y="2278779"/>
                    <a:pt x="8397169" y="2274368"/>
                  </a:cubicBezTo>
                  <a:cubicBezTo>
                    <a:pt x="8400753" y="2274643"/>
                    <a:pt x="8407783" y="2275195"/>
                    <a:pt x="8411368" y="2275471"/>
                  </a:cubicBezTo>
                  <a:cubicBezTo>
                    <a:pt x="8409506" y="2271404"/>
                    <a:pt x="8405785" y="2263202"/>
                    <a:pt x="8403924" y="2259066"/>
                  </a:cubicBezTo>
                  <a:cubicBezTo>
                    <a:pt x="8417571" y="2262720"/>
                    <a:pt x="8409644" y="2278779"/>
                    <a:pt x="8411368" y="2288704"/>
                  </a:cubicBezTo>
                  <a:lnTo>
                    <a:pt x="8417639" y="2289531"/>
                  </a:lnTo>
                  <a:cubicBezTo>
                    <a:pt x="8417984" y="2298147"/>
                    <a:pt x="8418673" y="2306693"/>
                    <a:pt x="8419570" y="2315240"/>
                  </a:cubicBezTo>
                  <a:cubicBezTo>
                    <a:pt x="8413573" y="2310209"/>
                    <a:pt x="8407921" y="2304626"/>
                    <a:pt x="8401718" y="2300215"/>
                  </a:cubicBezTo>
                  <a:moveTo>
                    <a:pt x="8377112" y="2311863"/>
                  </a:moveTo>
                  <a:cubicBezTo>
                    <a:pt x="8380765" y="2308279"/>
                    <a:pt x="8380765" y="2308279"/>
                    <a:pt x="8377112" y="2311863"/>
                  </a:cubicBezTo>
                  <a:moveTo>
                    <a:pt x="8362845" y="2319238"/>
                  </a:moveTo>
                  <a:cubicBezTo>
                    <a:pt x="8366154" y="2315240"/>
                    <a:pt x="8366154" y="2315240"/>
                    <a:pt x="8362845" y="2319238"/>
                  </a:cubicBezTo>
                  <a:moveTo>
                    <a:pt x="8378905" y="2337020"/>
                  </a:moveTo>
                  <a:cubicBezTo>
                    <a:pt x="8384625" y="2334194"/>
                    <a:pt x="8390414" y="2331369"/>
                    <a:pt x="8396342" y="2328543"/>
                  </a:cubicBezTo>
                  <a:cubicBezTo>
                    <a:pt x="8389863" y="2338399"/>
                    <a:pt x="8382075" y="2348324"/>
                    <a:pt x="8385383" y="2360868"/>
                  </a:cubicBezTo>
                  <a:cubicBezTo>
                    <a:pt x="8382695" y="2368312"/>
                    <a:pt x="8380145" y="2375756"/>
                    <a:pt x="8377595" y="2383200"/>
                  </a:cubicBezTo>
                  <a:cubicBezTo>
                    <a:pt x="8378008" y="2367830"/>
                    <a:pt x="8378422" y="2352391"/>
                    <a:pt x="8378905" y="2337020"/>
                  </a:cubicBezTo>
                  <a:moveTo>
                    <a:pt x="8354298" y="2381270"/>
                  </a:moveTo>
                  <a:cubicBezTo>
                    <a:pt x="8343684" y="2360455"/>
                    <a:pt x="8376974" y="2380512"/>
                    <a:pt x="8354298" y="2381270"/>
                  </a:cubicBezTo>
                  <a:moveTo>
                    <a:pt x="8375734" y="2421246"/>
                  </a:moveTo>
                  <a:cubicBezTo>
                    <a:pt x="8365257" y="2400362"/>
                    <a:pt x="8398548" y="2420902"/>
                    <a:pt x="8375734" y="2421246"/>
                  </a:cubicBezTo>
                  <a:moveTo>
                    <a:pt x="8369392" y="2442819"/>
                  </a:moveTo>
                  <a:cubicBezTo>
                    <a:pt x="8372908" y="2439098"/>
                    <a:pt x="8372908" y="2439098"/>
                    <a:pt x="8369392" y="2442819"/>
                  </a:cubicBezTo>
                  <a:moveTo>
                    <a:pt x="8382419" y="2483968"/>
                  </a:moveTo>
                  <a:cubicBezTo>
                    <a:pt x="8372287" y="2463015"/>
                    <a:pt x="8405164" y="2483416"/>
                    <a:pt x="8382419" y="2483968"/>
                  </a:cubicBezTo>
                  <a:moveTo>
                    <a:pt x="8418260" y="2496443"/>
                  </a:moveTo>
                  <a:cubicBezTo>
                    <a:pt x="8413642" y="2488241"/>
                    <a:pt x="8410265" y="2470596"/>
                    <a:pt x="8421638" y="2466667"/>
                  </a:cubicBezTo>
                  <a:cubicBezTo>
                    <a:pt x="8433217" y="2471354"/>
                    <a:pt x="8425842" y="2492445"/>
                    <a:pt x="8418260" y="2496443"/>
                  </a:cubicBezTo>
                  <a:moveTo>
                    <a:pt x="6873246" y="2580186"/>
                  </a:moveTo>
                  <a:cubicBezTo>
                    <a:pt x="6862563" y="2559440"/>
                    <a:pt x="6895853" y="2578670"/>
                    <a:pt x="6873246" y="2580186"/>
                  </a:cubicBezTo>
                  <a:moveTo>
                    <a:pt x="6805148" y="2581703"/>
                  </a:moveTo>
                  <a:cubicBezTo>
                    <a:pt x="6796257" y="2580186"/>
                    <a:pt x="6795292" y="2564747"/>
                    <a:pt x="6804735" y="2563300"/>
                  </a:cubicBezTo>
                  <a:cubicBezTo>
                    <a:pt x="6813971" y="2563782"/>
                    <a:pt x="6814729" y="2581358"/>
                    <a:pt x="6805148" y="2581703"/>
                  </a:cubicBezTo>
                  <a:moveTo>
                    <a:pt x="6887789" y="2594109"/>
                  </a:moveTo>
                  <a:cubicBezTo>
                    <a:pt x="6880345" y="2587492"/>
                    <a:pt x="6889650" y="2570744"/>
                    <a:pt x="6898886" y="2577912"/>
                  </a:cubicBezTo>
                  <a:cubicBezTo>
                    <a:pt x="6905916" y="2584667"/>
                    <a:pt x="6897025" y="2601622"/>
                    <a:pt x="6887789" y="2594109"/>
                  </a:cubicBezTo>
                  <a:moveTo>
                    <a:pt x="7156388" y="2608446"/>
                  </a:moveTo>
                  <a:cubicBezTo>
                    <a:pt x="7160041" y="2604930"/>
                    <a:pt x="7160041" y="2604930"/>
                    <a:pt x="7156388" y="2608446"/>
                  </a:cubicBezTo>
                  <a:moveTo>
                    <a:pt x="6842092" y="2596108"/>
                  </a:moveTo>
                  <a:cubicBezTo>
                    <a:pt x="6842643" y="2591421"/>
                    <a:pt x="6843264" y="2586803"/>
                    <a:pt x="6843953" y="2582116"/>
                  </a:cubicBezTo>
                  <a:cubicBezTo>
                    <a:pt x="6845194" y="2574741"/>
                    <a:pt x="6847261" y="2567573"/>
                    <a:pt x="6850225" y="2560612"/>
                  </a:cubicBezTo>
                  <a:cubicBezTo>
                    <a:pt x="6849053" y="2571088"/>
                    <a:pt x="6847675" y="2581496"/>
                    <a:pt x="6846021" y="2591835"/>
                  </a:cubicBezTo>
                  <a:cubicBezTo>
                    <a:pt x="6857600" y="2593006"/>
                    <a:pt x="6862287" y="2599623"/>
                    <a:pt x="6860151" y="2611754"/>
                  </a:cubicBezTo>
                  <a:cubicBezTo>
                    <a:pt x="6853947" y="2606584"/>
                    <a:pt x="6847951" y="2601415"/>
                    <a:pt x="6842092" y="2596108"/>
                  </a:cubicBezTo>
                  <a:moveTo>
                    <a:pt x="6799634" y="2596935"/>
                  </a:moveTo>
                  <a:cubicBezTo>
                    <a:pt x="6805975" y="2590870"/>
                    <a:pt x="6820381" y="2599209"/>
                    <a:pt x="6816107" y="2607825"/>
                  </a:cubicBezTo>
                  <a:cubicBezTo>
                    <a:pt x="6809560" y="2613132"/>
                    <a:pt x="6795775" y="2605275"/>
                    <a:pt x="6799634" y="2596935"/>
                  </a:cubicBezTo>
                  <a:moveTo>
                    <a:pt x="7460001" y="2621610"/>
                  </a:moveTo>
                  <a:cubicBezTo>
                    <a:pt x="7453384" y="2613477"/>
                    <a:pt x="7454625" y="2608308"/>
                    <a:pt x="7463654" y="2606102"/>
                  </a:cubicBezTo>
                  <a:cubicBezTo>
                    <a:pt x="7470064" y="2614373"/>
                    <a:pt x="7468824" y="2619542"/>
                    <a:pt x="7460001" y="2621610"/>
                  </a:cubicBezTo>
                  <a:moveTo>
                    <a:pt x="7446561" y="2621610"/>
                  </a:moveTo>
                  <a:cubicBezTo>
                    <a:pt x="7438841" y="2619749"/>
                    <a:pt x="7434844" y="2603345"/>
                    <a:pt x="7445389" y="2603483"/>
                  </a:cubicBezTo>
                  <a:cubicBezTo>
                    <a:pt x="7453867" y="2604586"/>
                    <a:pt x="7457451" y="2622506"/>
                    <a:pt x="7446561" y="2621610"/>
                  </a:cubicBezTo>
                  <a:moveTo>
                    <a:pt x="7100353" y="2621610"/>
                  </a:moveTo>
                  <a:cubicBezTo>
                    <a:pt x="7090083" y="2600588"/>
                    <a:pt x="7123098" y="2621472"/>
                    <a:pt x="7100353" y="2621610"/>
                  </a:cubicBezTo>
                  <a:moveTo>
                    <a:pt x="7668774" y="2627675"/>
                  </a:moveTo>
                  <a:cubicBezTo>
                    <a:pt x="7665672" y="2619060"/>
                    <a:pt x="7645477" y="2622851"/>
                    <a:pt x="7652646" y="2611960"/>
                  </a:cubicBezTo>
                  <a:cubicBezTo>
                    <a:pt x="7663053" y="2598038"/>
                    <a:pt x="7685316" y="2623747"/>
                    <a:pt x="7668774" y="2627675"/>
                  </a:cubicBezTo>
                  <a:moveTo>
                    <a:pt x="7839776" y="2637394"/>
                  </a:moveTo>
                  <a:cubicBezTo>
                    <a:pt x="7841085" y="2628227"/>
                    <a:pt x="7846117" y="2626642"/>
                    <a:pt x="7854733" y="2632500"/>
                  </a:cubicBezTo>
                  <a:cubicBezTo>
                    <a:pt x="7853216" y="2641667"/>
                    <a:pt x="7848254" y="2643321"/>
                    <a:pt x="7839776" y="2637394"/>
                  </a:cubicBezTo>
                  <a:moveTo>
                    <a:pt x="7604054" y="2636291"/>
                  </a:moveTo>
                  <a:cubicBezTo>
                    <a:pt x="7600125" y="2625194"/>
                    <a:pt x="7603985" y="2621472"/>
                    <a:pt x="7615495" y="2625194"/>
                  </a:cubicBezTo>
                  <a:cubicBezTo>
                    <a:pt x="7619148" y="2636291"/>
                    <a:pt x="7615357" y="2639944"/>
                    <a:pt x="7604054" y="2636291"/>
                  </a:cubicBezTo>
                  <a:moveTo>
                    <a:pt x="7584066" y="2635533"/>
                  </a:moveTo>
                  <a:cubicBezTo>
                    <a:pt x="7587719" y="2631604"/>
                    <a:pt x="7587719" y="2631604"/>
                    <a:pt x="7584066" y="2635533"/>
                  </a:cubicBezTo>
                  <a:moveTo>
                    <a:pt x="7078504" y="2637532"/>
                  </a:moveTo>
                  <a:cubicBezTo>
                    <a:pt x="7069267" y="2631053"/>
                    <a:pt x="7060514" y="2624229"/>
                    <a:pt x="7051692" y="2617543"/>
                  </a:cubicBezTo>
                  <a:cubicBezTo>
                    <a:pt x="7050658" y="2620576"/>
                    <a:pt x="7048728" y="2626779"/>
                    <a:pt x="7047694" y="2629812"/>
                  </a:cubicBezTo>
                  <a:cubicBezTo>
                    <a:pt x="7048107" y="2626159"/>
                    <a:pt x="7048935" y="2618853"/>
                    <a:pt x="7049349" y="2615200"/>
                  </a:cubicBezTo>
                  <a:cubicBezTo>
                    <a:pt x="7046660" y="2614717"/>
                    <a:pt x="7041215" y="2613753"/>
                    <a:pt x="7038458" y="2613270"/>
                  </a:cubicBezTo>
                  <a:cubicBezTo>
                    <a:pt x="7041974" y="2613615"/>
                    <a:pt x="7048866" y="2614304"/>
                    <a:pt x="7052381" y="2614649"/>
                  </a:cubicBezTo>
                  <a:cubicBezTo>
                    <a:pt x="7053553" y="2611409"/>
                    <a:pt x="7055896" y="2604930"/>
                    <a:pt x="7057068" y="2601760"/>
                  </a:cubicBezTo>
                  <a:cubicBezTo>
                    <a:pt x="7059273" y="2608928"/>
                    <a:pt x="7061617" y="2616027"/>
                    <a:pt x="7064029" y="2623195"/>
                  </a:cubicBezTo>
                  <a:cubicBezTo>
                    <a:pt x="7069819" y="2626642"/>
                    <a:pt x="7076918" y="2630019"/>
                    <a:pt x="7078504" y="2637532"/>
                  </a:cubicBezTo>
                  <a:moveTo>
                    <a:pt x="7755205" y="2642287"/>
                  </a:moveTo>
                  <a:cubicBezTo>
                    <a:pt x="7752104" y="2632569"/>
                    <a:pt x="7755412" y="2628985"/>
                    <a:pt x="7765131" y="2631604"/>
                  </a:cubicBezTo>
                  <a:cubicBezTo>
                    <a:pt x="7767888" y="2641322"/>
                    <a:pt x="7764579" y="2644838"/>
                    <a:pt x="7755205" y="2642287"/>
                  </a:cubicBezTo>
                  <a:moveTo>
                    <a:pt x="7020676" y="2644148"/>
                  </a:moveTo>
                  <a:cubicBezTo>
                    <a:pt x="7014955" y="2638359"/>
                    <a:pt x="7020882" y="2623264"/>
                    <a:pt x="7029774" y="2626917"/>
                  </a:cubicBezTo>
                  <a:cubicBezTo>
                    <a:pt x="7036046" y="2632707"/>
                    <a:pt x="7029636" y="2648422"/>
                    <a:pt x="7020676" y="2644148"/>
                  </a:cubicBezTo>
                  <a:moveTo>
                    <a:pt x="7659813" y="2649800"/>
                  </a:moveTo>
                  <a:cubicBezTo>
                    <a:pt x="7663398" y="2646285"/>
                    <a:pt x="7663398" y="2646285"/>
                    <a:pt x="7659813" y="2649800"/>
                  </a:cubicBezTo>
                  <a:moveTo>
                    <a:pt x="7368676" y="2643942"/>
                  </a:moveTo>
                  <a:cubicBezTo>
                    <a:pt x="7372536" y="2643666"/>
                    <a:pt x="7380324" y="2643183"/>
                    <a:pt x="7384184" y="2642977"/>
                  </a:cubicBezTo>
                  <a:lnTo>
                    <a:pt x="7386045" y="2633672"/>
                  </a:lnTo>
                  <a:cubicBezTo>
                    <a:pt x="7388113" y="2634154"/>
                    <a:pt x="7392179" y="2635119"/>
                    <a:pt x="7394178" y="2635602"/>
                  </a:cubicBezTo>
                  <a:cubicBezTo>
                    <a:pt x="7387631" y="2646147"/>
                    <a:pt x="7379428" y="2652902"/>
                    <a:pt x="7368676" y="2643942"/>
                  </a:cubicBezTo>
                  <a:moveTo>
                    <a:pt x="7246059" y="2647939"/>
                  </a:moveTo>
                  <a:cubicBezTo>
                    <a:pt x="7239029" y="2640013"/>
                    <a:pt x="7242889" y="2617957"/>
                    <a:pt x="7255433" y="2619749"/>
                  </a:cubicBezTo>
                  <a:cubicBezTo>
                    <a:pt x="7258397" y="2628296"/>
                    <a:pt x="7255571" y="2645802"/>
                    <a:pt x="7246059" y="2647939"/>
                  </a:cubicBezTo>
                  <a:moveTo>
                    <a:pt x="7569730" y="2655935"/>
                  </a:moveTo>
                  <a:cubicBezTo>
                    <a:pt x="7564146" y="2647043"/>
                    <a:pt x="7565869" y="2641943"/>
                    <a:pt x="7574899" y="2640564"/>
                  </a:cubicBezTo>
                  <a:cubicBezTo>
                    <a:pt x="7580344" y="2649524"/>
                    <a:pt x="7578620" y="2654625"/>
                    <a:pt x="7569730" y="2655935"/>
                  </a:cubicBezTo>
                  <a:moveTo>
                    <a:pt x="7528719" y="2652695"/>
                  </a:moveTo>
                  <a:cubicBezTo>
                    <a:pt x="7528995" y="2652281"/>
                    <a:pt x="7529615" y="2651316"/>
                    <a:pt x="7529891" y="2650903"/>
                  </a:cubicBezTo>
                  <a:cubicBezTo>
                    <a:pt x="7540918" y="2650352"/>
                    <a:pt x="7544847" y="2639944"/>
                    <a:pt x="7550844" y="2632225"/>
                  </a:cubicBezTo>
                  <a:cubicBezTo>
                    <a:pt x="7560425" y="2635671"/>
                    <a:pt x="7557668" y="2647939"/>
                    <a:pt x="7560838" y="2655797"/>
                  </a:cubicBezTo>
                  <a:cubicBezTo>
                    <a:pt x="7550086" y="2654556"/>
                    <a:pt x="7539333" y="2653453"/>
                    <a:pt x="7528719" y="2652695"/>
                  </a:cubicBezTo>
                  <a:moveTo>
                    <a:pt x="7463378" y="2656968"/>
                  </a:moveTo>
                  <a:cubicBezTo>
                    <a:pt x="7461380" y="2648422"/>
                    <a:pt x="7459519" y="2639806"/>
                    <a:pt x="7457727" y="2631122"/>
                  </a:cubicBezTo>
                  <a:cubicBezTo>
                    <a:pt x="7464344" y="2635326"/>
                    <a:pt x="7471029" y="2639462"/>
                    <a:pt x="7477784" y="2643528"/>
                  </a:cubicBezTo>
                  <a:cubicBezTo>
                    <a:pt x="7472821" y="2648008"/>
                    <a:pt x="7468066" y="2652488"/>
                    <a:pt x="7463378" y="2656968"/>
                  </a:cubicBezTo>
                  <a:moveTo>
                    <a:pt x="7434706" y="2644079"/>
                  </a:moveTo>
                  <a:cubicBezTo>
                    <a:pt x="7442908" y="2622644"/>
                    <a:pt x="7460759" y="2656210"/>
                    <a:pt x="7443873" y="2660346"/>
                  </a:cubicBezTo>
                  <a:cubicBezTo>
                    <a:pt x="7441598" y="2656279"/>
                    <a:pt x="7436980" y="2648146"/>
                    <a:pt x="7434706" y="2644079"/>
                  </a:cubicBezTo>
                  <a:moveTo>
                    <a:pt x="7211184" y="2655452"/>
                  </a:moveTo>
                  <a:cubicBezTo>
                    <a:pt x="7205187" y="2650007"/>
                    <a:pt x="7202499" y="2638979"/>
                    <a:pt x="7207531" y="2632156"/>
                  </a:cubicBezTo>
                  <a:cubicBezTo>
                    <a:pt x="7219454" y="2628434"/>
                    <a:pt x="7222969" y="2655383"/>
                    <a:pt x="7211184" y="2655452"/>
                  </a:cubicBezTo>
                  <a:moveTo>
                    <a:pt x="6811145" y="2656486"/>
                  </a:moveTo>
                  <a:cubicBezTo>
                    <a:pt x="6800048" y="2635877"/>
                    <a:pt x="6833683" y="2654763"/>
                    <a:pt x="6811145" y="2656486"/>
                  </a:cubicBezTo>
                  <a:moveTo>
                    <a:pt x="7617288" y="2663861"/>
                  </a:moveTo>
                  <a:cubicBezTo>
                    <a:pt x="7606466" y="2643046"/>
                    <a:pt x="7639757" y="2662413"/>
                    <a:pt x="7617288" y="2663861"/>
                  </a:cubicBezTo>
                  <a:moveTo>
                    <a:pt x="7086843" y="2661931"/>
                  </a:moveTo>
                  <a:cubicBezTo>
                    <a:pt x="7080916" y="2653453"/>
                    <a:pt x="7082501" y="2648284"/>
                    <a:pt x="7091668" y="2646423"/>
                  </a:cubicBezTo>
                  <a:cubicBezTo>
                    <a:pt x="7097389" y="2654970"/>
                    <a:pt x="7095735" y="2660139"/>
                    <a:pt x="7086843" y="2661931"/>
                  </a:cubicBezTo>
                  <a:moveTo>
                    <a:pt x="7487916" y="2668823"/>
                  </a:moveTo>
                  <a:cubicBezTo>
                    <a:pt x="7491569" y="2665446"/>
                    <a:pt x="7491569" y="2665446"/>
                    <a:pt x="7487916" y="2668823"/>
                  </a:cubicBezTo>
                  <a:moveTo>
                    <a:pt x="7404517" y="2670202"/>
                  </a:moveTo>
                  <a:cubicBezTo>
                    <a:pt x="7398383" y="2661724"/>
                    <a:pt x="7399761" y="2656486"/>
                    <a:pt x="7408721" y="2654418"/>
                  </a:cubicBezTo>
                  <a:cubicBezTo>
                    <a:pt x="7414718" y="2663034"/>
                    <a:pt x="7413339" y="2668272"/>
                    <a:pt x="7404517" y="2670202"/>
                  </a:cubicBezTo>
                  <a:moveTo>
                    <a:pt x="8088869" y="2678680"/>
                  </a:moveTo>
                  <a:cubicBezTo>
                    <a:pt x="8083769" y="2672614"/>
                    <a:pt x="8089972" y="2658347"/>
                    <a:pt x="8098588" y="2660966"/>
                  </a:cubicBezTo>
                  <a:cubicBezTo>
                    <a:pt x="8104998" y="2667169"/>
                    <a:pt x="8097899" y="2682608"/>
                    <a:pt x="8088869" y="2678680"/>
                  </a:cubicBezTo>
                  <a:moveTo>
                    <a:pt x="7362611" y="2676129"/>
                  </a:moveTo>
                  <a:cubicBezTo>
                    <a:pt x="7359854" y="2666273"/>
                    <a:pt x="7363300" y="2662896"/>
                    <a:pt x="7372812" y="2665860"/>
                  </a:cubicBezTo>
                  <a:cubicBezTo>
                    <a:pt x="7375362" y="2675647"/>
                    <a:pt x="7371916" y="2679093"/>
                    <a:pt x="7362611" y="2676129"/>
                  </a:cubicBezTo>
                  <a:moveTo>
                    <a:pt x="7019711" y="2677783"/>
                  </a:moveTo>
                  <a:cubicBezTo>
                    <a:pt x="7015438" y="2666687"/>
                    <a:pt x="7019159" y="2663103"/>
                    <a:pt x="7030876" y="2666893"/>
                  </a:cubicBezTo>
                  <a:cubicBezTo>
                    <a:pt x="7035012" y="2677852"/>
                    <a:pt x="7031290" y="2681506"/>
                    <a:pt x="7019711" y="2677783"/>
                  </a:cubicBezTo>
                  <a:moveTo>
                    <a:pt x="7753206" y="2690948"/>
                  </a:moveTo>
                  <a:cubicBezTo>
                    <a:pt x="7760995" y="2668823"/>
                    <a:pt x="7728049" y="2676681"/>
                    <a:pt x="7728049" y="2661449"/>
                  </a:cubicBezTo>
                  <a:cubicBezTo>
                    <a:pt x="7736872" y="2662275"/>
                    <a:pt x="7744522" y="2668341"/>
                    <a:pt x="7753138" y="2671167"/>
                  </a:cubicBezTo>
                  <a:lnTo>
                    <a:pt x="7753482" y="2661242"/>
                  </a:lnTo>
                  <a:cubicBezTo>
                    <a:pt x="7758858" y="2670960"/>
                    <a:pt x="7757342" y="2681230"/>
                    <a:pt x="7753206" y="2690948"/>
                  </a:cubicBezTo>
                  <a:moveTo>
                    <a:pt x="7674081" y="2690328"/>
                  </a:moveTo>
                  <a:cubicBezTo>
                    <a:pt x="7670635" y="2680954"/>
                    <a:pt x="7666499" y="2669237"/>
                    <a:pt x="7668981" y="2659450"/>
                  </a:cubicBezTo>
                  <a:cubicBezTo>
                    <a:pt x="7688969" y="2650834"/>
                    <a:pt x="7683317" y="2685917"/>
                    <a:pt x="7674081" y="2690328"/>
                  </a:cubicBezTo>
                  <a:moveTo>
                    <a:pt x="7951709" y="2698599"/>
                  </a:moveTo>
                  <a:cubicBezTo>
                    <a:pt x="7950813" y="2687640"/>
                    <a:pt x="7950055" y="2676612"/>
                    <a:pt x="7949297" y="2665653"/>
                  </a:cubicBezTo>
                  <a:cubicBezTo>
                    <a:pt x="7962186" y="2652764"/>
                    <a:pt x="7972731" y="2664206"/>
                    <a:pt x="7979279" y="2677094"/>
                  </a:cubicBezTo>
                  <a:cubicBezTo>
                    <a:pt x="7976798" y="2676267"/>
                    <a:pt x="7971835" y="2674682"/>
                    <a:pt x="7969285" y="2673924"/>
                  </a:cubicBezTo>
                  <a:cubicBezTo>
                    <a:pt x="7974454" y="2688605"/>
                    <a:pt x="7961152" y="2692809"/>
                    <a:pt x="7951709" y="2698599"/>
                  </a:cubicBezTo>
                  <a:moveTo>
                    <a:pt x="7616667" y="2696876"/>
                  </a:moveTo>
                  <a:cubicBezTo>
                    <a:pt x="7607569" y="2675302"/>
                    <a:pt x="7639205" y="2697289"/>
                    <a:pt x="7616667" y="2696876"/>
                  </a:cubicBezTo>
                  <a:moveTo>
                    <a:pt x="7545675" y="2697979"/>
                  </a:moveTo>
                  <a:cubicBezTo>
                    <a:pt x="7553463" y="2686468"/>
                    <a:pt x="7573865" y="2685297"/>
                    <a:pt x="7572555" y="2668272"/>
                  </a:cubicBezTo>
                  <a:cubicBezTo>
                    <a:pt x="7581171" y="2667100"/>
                    <a:pt x="7589993" y="2665584"/>
                    <a:pt x="7598540" y="2663103"/>
                  </a:cubicBezTo>
                  <a:cubicBezTo>
                    <a:pt x="7604054" y="2667445"/>
                    <a:pt x="7609706" y="2671787"/>
                    <a:pt x="7615357" y="2676129"/>
                  </a:cubicBezTo>
                  <a:cubicBezTo>
                    <a:pt x="7605501" y="2682608"/>
                    <a:pt x="7594335" y="2680403"/>
                    <a:pt x="7583514" y="2679989"/>
                  </a:cubicBezTo>
                  <a:cubicBezTo>
                    <a:pt x="7582411" y="2682264"/>
                    <a:pt x="7580344" y="2686744"/>
                    <a:pt x="7579310" y="2688949"/>
                  </a:cubicBezTo>
                  <a:cubicBezTo>
                    <a:pt x="7568351" y="2693085"/>
                    <a:pt x="7557047" y="2696255"/>
                    <a:pt x="7545675" y="2697979"/>
                  </a:cubicBezTo>
                  <a:moveTo>
                    <a:pt x="7488743" y="2699564"/>
                  </a:moveTo>
                  <a:cubicBezTo>
                    <a:pt x="7485710" y="2689777"/>
                    <a:pt x="7489018" y="2686192"/>
                    <a:pt x="7498530" y="2688949"/>
                  </a:cubicBezTo>
                  <a:cubicBezTo>
                    <a:pt x="7501356" y="2698805"/>
                    <a:pt x="7498117" y="2702321"/>
                    <a:pt x="7488743" y="2699564"/>
                  </a:cubicBezTo>
                  <a:moveTo>
                    <a:pt x="7368676" y="2695497"/>
                  </a:moveTo>
                  <a:cubicBezTo>
                    <a:pt x="7363990" y="2686123"/>
                    <a:pt x="7380738" y="2680954"/>
                    <a:pt x="7386527" y="2687088"/>
                  </a:cubicBezTo>
                  <a:cubicBezTo>
                    <a:pt x="7389836" y="2696048"/>
                    <a:pt x="7374259" y="2700736"/>
                    <a:pt x="7368676" y="2695497"/>
                  </a:cubicBezTo>
                  <a:moveTo>
                    <a:pt x="7590338" y="2705078"/>
                  </a:moveTo>
                  <a:cubicBezTo>
                    <a:pt x="7579172" y="2684607"/>
                    <a:pt x="7613014" y="2703424"/>
                    <a:pt x="7590338" y="2705078"/>
                  </a:cubicBezTo>
                  <a:moveTo>
                    <a:pt x="8251256" y="2710867"/>
                  </a:moveTo>
                  <a:cubicBezTo>
                    <a:pt x="8239952" y="2690397"/>
                    <a:pt x="8273863" y="2709144"/>
                    <a:pt x="8251256" y="2710867"/>
                  </a:cubicBezTo>
                  <a:moveTo>
                    <a:pt x="7652990" y="2711350"/>
                  </a:moveTo>
                  <a:cubicBezTo>
                    <a:pt x="7656230" y="2707490"/>
                    <a:pt x="7656230" y="2707490"/>
                    <a:pt x="7652990" y="2711350"/>
                  </a:cubicBezTo>
                  <a:moveTo>
                    <a:pt x="8116164" y="2718863"/>
                  </a:moveTo>
                  <a:cubicBezTo>
                    <a:pt x="8117266" y="2710247"/>
                    <a:pt x="8109202" y="2695773"/>
                    <a:pt x="8121953" y="2693429"/>
                  </a:cubicBezTo>
                  <a:cubicBezTo>
                    <a:pt x="8122091" y="2701769"/>
                    <a:pt x="8122367" y="2710040"/>
                    <a:pt x="8122712" y="2718380"/>
                  </a:cubicBezTo>
                  <a:cubicBezTo>
                    <a:pt x="8121057" y="2718518"/>
                    <a:pt x="8117818" y="2718725"/>
                    <a:pt x="8116164" y="2718863"/>
                  </a:cubicBezTo>
                  <a:moveTo>
                    <a:pt x="8087215" y="2717208"/>
                  </a:moveTo>
                  <a:cubicBezTo>
                    <a:pt x="8081908" y="2710936"/>
                    <a:pt x="8081426" y="2696186"/>
                    <a:pt x="8091144" y="2693981"/>
                  </a:cubicBezTo>
                  <a:cubicBezTo>
                    <a:pt x="8100862" y="2696945"/>
                    <a:pt x="8097623" y="2720034"/>
                    <a:pt x="8087215" y="2717208"/>
                  </a:cubicBezTo>
                  <a:moveTo>
                    <a:pt x="8252565" y="2731545"/>
                  </a:moveTo>
                  <a:cubicBezTo>
                    <a:pt x="8256149" y="2727409"/>
                    <a:pt x="8256149" y="2727409"/>
                    <a:pt x="8252565" y="2731545"/>
                  </a:cubicBezTo>
                  <a:moveTo>
                    <a:pt x="8150901" y="2741470"/>
                  </a:moveTo>
                  <a:cubicBezTo>
                    <a:pt x="8150212" y="2737817"/>
                    <a:pt x="8148765" y="2730511"/>
                    <a:pt x="8148076" y="2726927"/>
                  </a:cubicBezTo>
                  <a:cubicBezTo>
                    <a:pt x="8141321" y="2728650"/>
                    <a:pt x="8134635" y="2730511"/>
                    <a:pt x="8128088" y="2732303"/>
                  </a:cubicBezTo>
                  <a:cubicBezTo>
                    <a:pt x="8147938" y="2720448"/>
                    <a:pt x="8142630" y="2696876"/>
                    <a:pt x="8143320" y="2677370"/>
                  </a:cubicBezTo>
                  <a:cubicBezTo>
                    <a:pt x="8151453" y="2697703"/>
                    <a:pt x="8152900" y="2719759"/>
                    <a:pt x="8150901" y="2741470"/>
                  </a:cubicBezTo>
                  <a:moveTo>
                    <a:pt x="8189913" y="2747329"/>
                  </a:moveTo>
                  <a:cubicBezTo>
                    <a:pt x="8191222" y="2724515"/>
                    <a:pt x="8210315" y="2758357"/>
                    <a:pt x="8189913" y="2747329"/>
                  </a:cubicBezTo>
                  <a:moveTo>
                    <a:pt x="8175232" y="2760700"/>
                  </a:moveTo>
                  <a:cubicBezTo>
                    <a:pt x="8235403" y="2765249"/>
                    <a:pt x="8302467" y="2756702"/>
                    <a:pt x="8349060" y="2715416"/>
                  </a:cubicBezTo>
                  <a:cubicBezTo>
                    <a:pt x="8340582" y="2712039"/>
                    <a:pt x="8334586" y="2706319"/>
                    <a:pt x="8331071" y="2698254"/>
                  </a:cubicBezTo>
                  <a:cubicBezTo>
                    <a:pt x="8340789" y="2701700"/>
                    <a:pt x="8349060" y="2710316"/>
                    <a:pt x="8359950" y="2710730"/>
                  </a:cubicBezTo>
                  <a:cubicBezTo>
                    <a:pt x="8371874" y="2701700"/>
                    <a:pt x="8382144" y="2690603"/>
                    <a:pt x="8392275" y="2679507"/>
                  </a:cubicBezTo>
                  <a:cubicBezTo>
                    <a:pt x="8374217" y="2660415"/>
                    <a:pt x="8363189" y="2635739"/>
                    <a:pt x="8354229" y="2611340"/>
                  </a:cubicBezTo>
                  <a:cubicBezTo>
                    <a:pt x="8362914" y="2602794"/>
                    <a:pt x="8373046" y="2595832"/>
                    <a:pt x="8383040" y="2588664"/>
                  </a:cubicBezTo>
                  <a:cubicBezTo>
                    <a:pt x="8381524" y="2601966"/>
                    <a:pt x="8380076" y="2615269"/>
                    <a:pt x="8378491" y="2628502"/>
                  </a:cubicBezTo>
                  <a:cubicBezTo>
                    <a:pt x="8387244" y="2634637"/>
                    <a:pt x="8396066" y="2640633"/>
                    <a:pt x="8405096" y="2646561"/>
                  </a:cubicBezTo>
                  <a:cubicBezTo>
                    <a:pt x="8406130" y="2632638"/>
                    <a:pt x="8407301" y="2618646"/>
                    <a:pt x="8409093" y="2604723"/>
                  </a:cubicBezTo>
                  <a:cubicBezTo>
                    <a:pt x="8407163" y="2597831"/>
                    <a:pt x="8405371" y="2590870"/>
                    <a:pt x="8403579" y="2583977"/>
                  </a:cubicBezTo>
                  <a:lnTo>
                    <a:pt x="8406611" y="2583219"/>
                  </a:lnTo>
                  <a:cubicBezTo>
                    <a:pt x="8413159" y="2601208"/>
                    <a:pt x="8421706" y="2618853"/>
                    <a:pt x="8421017" y="2638496"/>
                  </a:cubicBezTo>
                  <a:cubicBezTo>
                    <a:pt x="8433010" y="2613684"/>
                    <a:pt x="8442590" y="2587699"/>
                    <a:pt x="8446864" y="2560336"/>
                  </a:cubicBezTo>
                  <a:cubicBezTo>
                    <a:pt x="8437972" y="2550893"/>
                    <a:pt x="8436387" y="2538004"/>
                    <a:pt x="8447346" y="2529320"/>
                  </a:cubicBezTo>
                  <a:cubicBezTo>
                    <a:pt x="8457478" y="2428552"/>
                    <a:pt x="8459753" y="2326888"/>
                    <a:pt x="8469126" y="2225983"/>
                  </a:cubicBezTo>
                  <a:lnTo>
                    <a:pt x="8460235" y="2228326"/>
                  </a:lnTo>
                  <a:cubicBezTo>
                    <a:pt x="8459546" y="2222536"/>
                    <a:pt x="8458168" y="2211026"/>
                    <a:pt x="8457478" y="2205237"/>
                  </a:cubicBezTo>
                  <a:cubicBezTo>
                    <a:pt x="8454307" y="2206270"/>
                    <a:pt x="8447966" y="2208476"/>
                    <a:pt x="8444796" y="2209510"/>
                  </a:cubicBezTo>
                  <a:cubicBezTo>
                    <a:pt x="8449759" y="2203306"/>
                    <a:pt x="8453480" y="2196276"/>
                    <a:pt x="8455893" y="2188488"/>
                  </a:cubicBezTo>
                  <a:cubicBezTo>
                    <a:pt x="8458857" y="2200205"/>
                    <a:pt x="8461545" y="2211922"/>
                    <a:pt x="8464026" y="2223777"/>
                  </a:cubicBezTo>
                  <a:lnTo>
                    <a:pt x="8468506" y="2223226"/>
                  </a:lnTo>
                  <a:cubicBezTo>
                    <a:pt x="8471194" y="2163744"/>
                    <a:pt x="8476088" y="2104400"/>
                    <a:pt x="8479396" y="2044918"/>
                  </a:cubicBezTo>
                  <a:cubicBezTo>
                    <a:pt x="8479396" y="2030444"/>
                    <a:pt x="8478638" y="2015831"/>
                    <a:pt x="8475881" y="2001564"/>
                  </a:cubicBezTo>
                  <a:cubicBezTo>
                    <a:pt x="8472710" y="1999014"/>
                    <a:pt x="8466439" y="1993982"/>
                    <a:pt x="8463268" y="1991432"/>
                  </a:cubicBezTo>
                  <a:cubicBezTo>
                    <a:pt x="8463268" y="1997911"/>
                    <a:pt x="8463199" y="2010938"/>
                    <a:pt x="8463199" y="2017417"/>
                  </a:cubicBezTo>
                  <a:cubicBezTo>
                    <a:pt x="8461200" y="2018726"/>
                    <a:pt x="8457271" y="2021483"/>
                    <a:pt x="8455341" y="2022862"/>
                  </a:cubicBezTo>
                  <a:cubicBezTo>
                    <a:pt x="8452929" y="2007698"/>
                    <a:pt x="8450793" y="1992466"/>
                    <a:pt x="8448931" y="1977234"/>
                  </a:cubicBezTo>
                  <a:cubicBezTo>
                    <a:pt x="8450861" y="1979232"/>
                    <a:pt x="8454790" y="1983161"/>
                    <a:pt x="8456720" y="1985091"/>
                  </a:cubicBezTo>
                  <a:cubicBezTo>
                    <a:pt x="8466163" y="1980749"/>
                    <a:pt x="8491251" y="1977027"/>
                    <a:pt x="8480430" y="1961450"/>
                  </a:cubicBezTo>
                  <a:cubicBezTo>
                    <a:pt x="8475191" y="1961174"/>
                    <a:pt x="8464784" y="1960761"/>
                    <a:pt x="8459546" y="1960554"/>
                  </a:cubicBezTo>
                  <a:lnTo>
                    <a:pt x="8450793" y="1968273"/>
                  </a:lnTo>
                  <a:cubicBezTo>
                    <a:pt x="8449414" y="1961105"/>
                    <a:pt x="8448242" y="1953868"/>
                    <a:pt x="8447208" y="1946562"/>
                  </a:cubicBezTo>
                  <a:cubicBezTo>
                    <a:pt x="8433355" y="1953730"/>
                    <a:pt x="8419432" y="1961864"/>
                    <a:pt x="8403303" y="1959933"/>
                  </a:cubicBezTo>
                  <a:lnTo>
                    <a:pt x="8401098" y="1953041"/>
                  </a:lnTo>
                  <a:cubicBezTo>
                    <a:pt x="8402890" y="1951663"/>
                    <a:pt x="8406474" y="1949044"/>
                    <a:pt x="8408266" y="1947734"/>
                  </a:cubicBezTo>
                  <a:cubicBezTo>
                    <a:pt x="8426255" y="1941600"/>
                    <a:pt x="8440109" y="1928297"/>
                    <a:pt x="8455824" y="1918027"/>
                  </a:cubicBezTo>
                  <a:cubicBezTo>
                    <a:pt x="8465956" y="1920509"/>
                    <a:pt x="8476225" y="1922646"/>
                    <a:pt x="8486702" y="1924575"/>
                  </a:cubicBezTo>
                  <a:cubicBezTo>
                    <a:pt x="8491320" y="1847242"/>
                    <a:pt x="8497730" y="1769908"/>
                    <a:pt x="8500418" y="1692506"/>
                  </a:cubicBezTo>
                  <a:cubicBezTo>
                    <a:pt x="8499384" y="1690990"/>
                    <a:pt x="8497247" y="1688026"/>
                    <a:pt x="8496214" y="1686510"/>
                  </a:cubicBezTo>
                  <a:cubicBezTo>
                    <a:pt x="8510481" y="1661077"/>
                    <a:pt x="8501865" y="1626683"/>
                    <a:pt x="8506690" y="1597942"/>
                  </a:cubicBezTo>
                  <a:cubicBezTo>
                    <a:pt x="8502693" y="1603180"/>
                    <a:pt x="8498833" y="1608487"/>
                    <a:pt x="8495249" y="1613863"/>
                  </a:cubicBezTo>
                  <a:cubicBezTo>
                    <a:pt x="8496627" y="1609245"/>
                    <a:pt x="8499315" y="1599940"/>
                    <a:pt x="8500694" y="1595322"/>
                  </a:cubicBezTo>
                  <a:cubicBezTo>
                    <a:pt x="8494904" y="1599527"/>
                    <a:pt x="8483394" y="1607867"/>
                    <a:pt x="8477673" y="1612002"/>
                  </a:cubicBezTo>
                  <a:cubicBezTo>
                    <a:pt x="8484979" y="1583260"/>
                    <a:pt x="8456996" y="1556104"/>
                    <a:pt x="8474916" y="1529499"/>
                  </a:cubicBezTo>
                  <a:cubicBezTo>
                    <a:pt x="8476295" y="1531636"/>
                    <a:pt x="8479052" y="1535909"/>
                    <a:pt x="8480499" y="1538046"/>
                  </a:cubicBezTo>
                  <a:cubicBezTo>
                    <a:pt x="8478224" y="1549625"/>
                    <a:pt x="8476708" y="1561411"/>
                    <a:pt x="8476225" y="1573129"/>
                  </a:cubicBezTo>
                  <a:cubicBezTo>
                    <a:pt x="8490080" y="1573266"/>
                    <a:pt x="8502210" y="1575541"/>
                    <a:pt x="8493112" y="1595805"/>
                  </a:cubicBezTo>
                  <a:cubicBezTo>
                    <a:pt x="8497247" y="1593944"/>
                    <a:pt x="8505518" y="1590153"/>
                    <a:pt x="8509654" y="1588292"/>
                  </a:cubicBezTo>
                  <a:cubicBezTo>
                    <a:pt x="8508483" y="1567408"/>
                    <a:pt x="8510274" y="1546524"/>
                    <a:pt x="8512066" y="1525640"/>
                  </a:cubicBezTo>
                  <a:cubicBezTo>
                    <a:pt x="8507793" y="1523227"/>
                    <a:pt x="8499108" y="1518402"/>
                    <a:pt x="8494835" y="1515990"/>
                  </a:cubicBezTo>
                  <a:cubicBezTo>
                    <a:pt x="8494698" y="1497174"/>
                    <a:pt x="8501797" y="1479529"/>
                    <a:pt x="8515720" y="1466571"/>
                  </a:cubicBezTo>
                  <a:cubicBezTo>
                    <a:pt x="8515512" y="1451408"/>
                    <a:pt x="8515582" y="1436175"/>
                    <a:pt x="8515030" y="1420874"/>
                  </a:cubicBezTo>
                  <a:cubicBezTo>
                    <a:pt x="8499315" y="1412259"/>
                    <a:pt x="8523439" y="1401506"/>
                    <a:pt x="8520268" y="1389582"/>
                  </a:cubicBezTo>
                  <a:cubicBezTo>
                    <a:pt x="8522819" y="1348710"/>
                    <a:pt x="8527919" y="1307562"/>
                    <a:pt x="8523232" y="1266621"/>
                  </a:cubicBezTo>
                  <a:cubicBezTo>
                    <a:pt x="8530263" y="1251526"/>
                    <a:pt x="8529918" y="1235743"/>
                    <a:pt x="8522819" y="1220579"/>
                  </a:cubicBezTo>
                  <a:cubicBezTo>
                    <a:pt x="8525369" y="1218443"/>
                    <a:pt x="8530607" y="1214238"/>
                    <a:pt x="8533158" y="1212170"/>
                  </a:cubicBezTo>
                  <a:cubicBezTo>
                    <a:pt x="8522543" y="1206794"/>
                    <a:pt x="8512893" y="1206656"/>
                    <a:pt x="8504898" y="1215755"/>
                  </a:cubicBezTo>
                  <a:cubicBezTo>
                    <a:pt x="8504484" y="1207897"/>
                    <a:pt x="8504278" y="1199971"/>
                    <a:pt x="8504347" y="1191976"/>
                  </a:cubicBezTo>
                  <a:cubicBezTo>
                    <a:pt x="8514203" y="1194250"/>
                    <a:pt x="8524335" y="1196387"/>
                    <a:pt x="8532744" y="1202659"/>
                  </a:cubicBezTo>
                  <a:cubicBezTo>
                    <a:pt x="8532951" y="1187426"/>
                    <a:pt x="8533777" y="1172194"/>
                    <a:pt x="8534536" y="1156893"/>
                  </a:cubicBezTo>
                  <a:cubicBezTo>
                    <a:pt x="8527023" y="1153929"/>
                    <a:pt x="8519717" y="1150896"/>
                    <a:pt x="8512549" y="1147726"/>
                  </a:cubicBezTo>
                  <a:cubicBezTo>
                    <a:pt x="8500832" y="1147726"/>
                    <a:pt x="8487943" y="1146899"/>
                    <a:pt x="8483118" y="1134217"/>
                  </a:cubicBezTo>
                  <a:cubicBezTo>
                    <a:pt x="8500074" y="1141109"/>
                    <a:pt x="8517236" y="1148346"/>
                    <a:pt x="8536121" y="1144280"/>
                  </a:cubicBezTo>
                  <a:cubicBezTo>
                    <a:pt x="8536810" y="1128565"/>
                    <a:pt x="8537776" y="1112850"/>
                    <a:pt x="8536810" y="1097066"/>
                  </a:cubicBezTo>
                  <a:cubicBezTo>
                    <a:pt x="8525438" y="1091001"/>
                    <a:pt x="8533571" y="1076802"/>
                    <a:pt x="8527988" y="1067153"/>
                  </a:cubicBezTo>
                  <a:cubicBezTo>
                    <a:pt x="8531020" y="1071357"/>
                    <a:pt x="8537017" y="1079835"/>
                    <a:pt x="8540050" y="1084040"/>
                  </a:cubicBezTo>
                  <a:cubicBezTo>
                    <a:pt x="8542186" y="1033862"/>
                    <a:pt x="8545909" y="983754"/>
                    <a:pt x="8548941" y="933577"/>
                  </a:cubicBezTo>
                  <a:cubicBezTo>
                    <a:pt x="8543979" y="924065"/>
                    <a:pt x="8539291" y="914485"/>
                    <a:pt x="8534674" y="904904"/>
                  </a:cubicBezTo>
                  <a:cubicBezTo>
                    <a:pt x="8538189" y="905111"/>
                    <a:pt x="8545219" y="905594"/>
                    <a:pt x="8548804" y="905869"/>
                  </a:cubicBezTo>
                  <a:cubicBezTo>
                    <a:pt x="8556247" y="849351"/>
                    <a:pt x="8557212" y="791868"/>
                    <a:pt x="8560727" y="734867"/>
                  </a:cubicBezTo>
                  <a:cubicBezTo>
                    <a:pt x="8559211" y="713432"/>
                    <a:pt x="8564725" y="686551"/>
                    <a:pt x="8546253" y="670767"/>
                  </a:cubicBezTo>
                  <a:cubicBezTo>
                    <a:pt x="8543771" y="674627"/>
                    <a:pt x="8538740" y="682416"/>
                    <a:pt x="8536190" y="686344"/>
                  </a:cubicBezTo>
                  <a:cubicBezTo>
                    <a:pt x="8536190" y="681657"/>
                    <a:pt x="8536121" y="672353"/>
                    <a:pt x="8536121" y="667666"/>
                  </a:cubicBezTo>
                  <a:cubicBezTo>
                    <a:pt x="8538878" y="665736"/>
                    <a:pt x="8544530" y="661945"/>
                    <a:pt x="8547356" y="660015"/>
                  </a:cubicBezTo>
                  <a:cubicBezTo>
                    <a:pt x="8545219" y="643542"/>
                    <a:pt x="8538671" y="628310"/>
                    <a:pt x="8531572" y="613422"/>
                  </a:cubicBezTo>
                  <a:cubicBezTo>
                    <a:pt x="8518063" y="616179"/>
                    <a:pt x="8492699" y="605220"/>
                    <a:pt x="8489528" y="624933"/>
                  </a:cubicBezTo>
                  <a:cubicBezTo>
                    <a:pt x="8488357" y="613491"/>
                    <a:pt x="8483462" y="602119"/>
                    <a:pt x="8470711" y="600878"/>
                  </a:cubicBezTo>
                  <a:lnTo>
                    <a:pt x="8475536" y="594261"/>
                  </a:lnTo>
                  <a:lnTo>
                    <a:pt x="8473813" y="581165"/>
                  </a:lnTo>
                  <a:cubicBezTo>
                    <a:pt x="8481257" y="588471"/>
                    <a:pt x="8488701" y="596053"/>
                    <a:pt x="8496972" y="602601"/>
                  </a:cubicBezTo>
                  <a:cubicBezTo>
                    <a:pt x="8500556" y="595846"/>
                    <a:pt x="8504416" y="589092"/>
                    <a:pt x="8508483" y="582406"/>
                  </a:cubicBezTo>
                  <a:cubicBezTo>
                    <a:pt x="8487047" y="556077"/>
                    <a:pt x="8460235" y="533745"/>
                    <a:pt x="8428943" y="520098"/>
                  </a:cubicBezTo>
                  <a:lnTo>
                    <a:pt x="8429288" y="521684"/>
                  </a:lnTo>
                  <a:cubicBezTo>
                    <a:pt x="8432941" y="550080"/>
                    <a:pt x="8436112" y="578546"/>
                    <a:pt x="8440040" y="606805"/>
                  </a:cubicBezTo>
                  <a:cubicBezTo>
                    <a:pt x="8431494" y="597018"/>
                    <a:pt x="8420534" y="587782"/>
                    <a:pt x="8419983" y="573653"/>
                  </a:cubicBezTo>
                  <a:cubicBezTo>
                    <a:pt x="8414263" y="572688"/>
                    <a:pt x="8407853" y="573997"/>
                    <a:pt x="8402821" y="571516"/>
                  </a:cubicBezTo>
                  <a:cubicBezTo>
                    <a:pt x="8404751" y="566622"/>
                    <a:pt x="8408611" y="556766"/>
                    <a:pt x="8410540" y="551804"/>
                  </a:cubicBezTo>
                  <a:cubicBezTo>
                    <a:pt x="8413642" y="556490"/>
                    <a:pt x="8419914" y="565795"/>
                    <a:pt x="8423016" y="570482"/>
                  </a:cubicBezTo>
                  <a:cubicBezTo>
                    <a:pt x="8422740" y="564761"/>
                    <a:pt x="8422051" y="553389"/>
                    <a:pt x="8421706" y="547668"/>
                  </a:cubicBezTo>
                  <a:cubicBezTo>
                    <a:pt x="8409989" y="546496"/>
                    <a:pt x="8398272" y="546496"/>
                    <a:pt x="8386624" y="546634"/>
                  </a:cubicBezTo>
                  <a:cubicBezTo>
                    <a:pt x="8386004" y="556973"/>
                    <a:pt x="8385452" y="567863"/>
                    <a:pt x="8375940" y="574204"/>
                  </a:cubicBezTo>
                  <a:cubicBezTo>
                    <a:pt x="8373873" y="566209"/>
                    <a:pt x="8372219" y="558076"/>
                    <a:pt x="8371116" y="549874"/>
                  </a:cubicBezTo>
                  <a:cubicBezTo>
                    <a:pt x="8368359" y="533263"/>
                    <a:pt x="8372219" y="516514"/>
                    <a:pt x="8373183" y="499903"/>
                  </a:cubicBezTo>
                  <a:cubicBezTo>
                    <a:pt x="8365257" y="498525"/>
                    <a:pt x="8349404" y="495837"/>
                    <a:pt x="8341478" y="494458"/>
                  </a:cubicBezTo>
                  <a:cubicBezTo>
                    <a:pt x="8342167" y="497905"/>
                    <a:pt x="8343546" y="504797"/>
                    <a:pt x="8344304" y="508243"/>
                  </a:cubicBezTo>
                  <a:cubicBezTo>
                    <a:pt x="8340031" y="500593"/>
                    <a:pt x="8334172" y="495837"/>
                    <a:pt x="8326591" y="494045"/>
                  </a:cubicBezTo>
                  <a:cubicBezTo>
                    <a:pt x="8322110" y="502798"/>
                    <a:pt x="8318458" y="512034"/>
                    <a:pt x="8314805" y="520994"/>
                  </a:cubicBezTo>
                  <a:cubicBezTo>
                    <a:pt x="8301640" y="515411"/>
                    <a:pt x="8302674" y="503763"/>
                    <a:pt x="8304052" y="492391"/>
                  </a:cubicBezTo>
                  <a:cubicBezTo>
                    <a:pt x="8257183" y="489909"/>
                    <a:pt x="8210246" y="487704"/>
                    <a:pt x="8163584" y="483086"/>
                  </a:cubicBezTo>
                  <a:lnTo>
                    <a:pt x="8165445" y="491288"/>
                  </a:lnTo>
                  <a:cubicBezTo>
                    <a:pt x="8166823" y="497422"/>
                    <a:pt x="8169511" y="509760"/>
                    <a:pt x="8170890" y="515894"/>
                  </a:cubicBezTo>
                  <a:cubicBezTo>
                    <a:pt x="8160620" y="520650"/>
                    <a:pt x="8150419" y="525405"/>
                    <a:pt x="8140356" y="530023"/>
                  </a:cubicBezTo>
                  <a:cubicBezTo>
                    <a:pt x="8137048" y="534503"/>
                    <a:pt x="8133946" y="538984"/>
                    <a:pt x="8130913" y="543395"/>
                  </a:cubicBezTo>
                  <a:cubicBezTo>
                    <a:pt x="8134291" y="547117"/>
                    <a:pt x="8140977" y="554492"/>
                    <a:pt x="8144354" y="558214"/>
                  </a:cubicBezTo>
                  <a:cubicBezTo>
                    <a:pt x="8127260" y="554078"/>
                    <a:pt x="8129673" y="536433"/>
                    <a:pt x="8127674" y="523200"/>
                  </a:cubicBezTo>
                  <a:cubicBezTo>
                    <a:pt x="8133946" y="515756"/>
                    <a:pt x="8139873" y="508174"/>
                    <a:pt x="8146008" y="500455"/>
                  </a:cubicBezTo>
                  <a:lnTo>
                    <a:pt x="8155106" y="478674"/>
                  </a:lnTo>
                  <a:cubicBezTo>
                    <a:pt x="8148282" y="484533"/>
                    <a:pt x="8134704" y="496250"/>
                    <a:pt x="8127950" y="502109"/>
                  </a:cubicBezTo>
                  <a:lnTo>
                    <a:pt x="8130087" y="483155"/>
                  </a:lnTo>
                  <a:cubicBezTo>
                    <a:pt x="8121195" y="482948"/>
                    <a:pt x="8112097" y="481087"/>
                    <a:pt x="8103895" y="484947"/>
                  </a:cubicBezTo>
                  <a:cubicBezTo>
                    <a:pt x="8109065" y="485016"/>
                    <a:pt x="8119403" y="485153"/>
                    <a:pt x="8124641" y="485153"/>
                  </a:cubicBezTo>
                  <a:lnTo>
                    <a:pt x="8125675" y="496043"/>
                  </a:lnTo>
                  <a:cubicBezTo>
                    <a:pt x="8106308" y="493424"/>
                    <a:pt x="8107548" y="516583"/>
                    <a:pt x="8113200" y="527887"/>
                  </a:cubicBezTo>
                  <a:cubicBezTo>
                    <a:pt x="8107342" y="520787"/>
                    <a:pt x="8097829" y="522442"/>
                    <a:pt x="8089903" y="521821"/>
                  </a:cubicBezTo>
                  <a:cubicBezTo>
                    <a:pt x="8102448" y="511483"/>
                    <a:pt x="8099346" y="494596"/>
                    <a:pt x="8100380" y="480053"/>
                  </a:cubicBezTo>
                  <a:cubicBezTo>
                    <a:pt x="8095900" y="479708"/>
                    <a:pt x="8087009" y="478881"/>
                    <a:pt x="8082529" y="478537"/>
                  </a:cubicBezTo>
                  <a:lnTo>
                    <a:pt x="8079496" y="490254"/>
                  </a:lnTo>
                  <a:cubicBezTo>
                    <a:pt x="8083080" y="490047"/>
                    <a:pt x="8090248" y="489634"/>
                    <a:pt x="8093901" y="489427"/>
                  </a:cubicBezTo>
                  <a:cubicBezTo>
                    <a:pt x="8089077" y="491632"/>
                    <a:pt x="8079427" y="496043"/>
                    <a:pt x="8074602" y="498249"/>
                  </a:cubicBezTo>
                  <a:cubicBezTo>
                    <a:pt x="8072879" y="496043"/>
                    <a:pt x="8069364" y="491632"/>
                    <a:pt x="8067641" y="489496"/>
                  </a:cubicBezTo>
                  <a:cubicBezTo>
                    <a:pt x="8057716" y="490461"/>
                    <a:pt x="8047928" y="491563"/>
                    <a:pt x="8038210" y="492735"/>
                  </a:cubicBezTo>
                  <a:cubicBezTo>
                    <a:pt x="8039244" y="488669"/>
                    <a:pt x="8041311" y="480604"/>
                    <a:pt x="8042345" y="476607"/>
                  </a:cubicBezTo>
                  <a:cubicBezTo>
                    <a:pt x="7984931" y="474539"/>
                    <a:pt x="7927862" y="468267"/>
                    <a:pt x="7870516" y="465992"/>
                  </a:cubicBezTo>
                  <a:cubicBezTo>
                    <a:pt x="7860109" y="472747"/>
                    <a:pt x="7849563" y="468543"/>
                    <a:pt x="7840051" y="462684"/>
                  </a:cubicBezTo>
                  <a:cubicBezTo>
                    <a:pt x="7839983" y="473161"/>
                    <a:pt x="7840465" y="483499"/>
                    <a:pt x="7840396" y="493838"/>
                  </a:cubicBezTo>
                  <a:cubicBezTo>
                    <a:pt x="7837226" y="484051"/>
                    <a:pt x="7835020" y="473919"/>
                    <a:pt x="7833711" y="463649"/>
                  </a:cubicBezTo>
                  <a:cubicBezTo>
                    <a:pt x="7817789" y="462477"/>
                    <a:pt x="7802005" y="461443"/>
                    <a:pt x="7786221" y="460409"/>
                  </a:cubicBezTo>
                  <a:cubicBezTo>
                    <a:pt x="7786084" y="467095"/>
                    <a:pt x="7785808" y="480467"/>
                    <a:pt x="7785670" y="487152"/>
                  </a:cubicBezTo>
                  <a:cubicBezTo>
                    <a:pt x="7785050" y="478123"/>
                    <a:pt x="7784705" y="469094"/>
                    <a:pt x="7784636" y="459996"/>
                  </a:cubicBezTo>
                  <a:cubicBezTo>
                    <a:pt x="7779880" y="460203"/>
                    <a:pt x="7770300" y="460616"/>
                    <a:pt x="7765544" y="460823"/>
                  </a:cubicBezTo>
                  <a:cubicBezTo>
                    <a:pt x="7765957" y="481087"/>
                    <a:pt x="7767129" y="501420"/>
                    <a:pt x="7764786" y="521546"/>
                  </a:cubicBezTo>
                  <a:cubicBezTo>
                    <a:pt x="7763338" y="505417"/>
                    <a:pt x="7763821" y="489220"/>
                    <a:pt x="7762511" y="473092"/>
                  </a:cubicBezTo>
                  <a:cubicBezTo>
                    <a:pt x="7750863" y="471851"/>
                    <a:pt x="7739353" y="471162"/>
                    <a:pt x="7727912" y="471231"/>
                  </a:cubicBezTo>
                  <a:cubicBezTo>
                    <a:pt x="7731082" y="468060"/>
                    <a:pt x="7737492" y="461857"/>
                    <a:pt x="7740663" y="458686"/>
                  </a:cubicBezTo>
                  <a:cubicBezTo>
                    <a:pt x="7690072" y="453172"/>
                    <a:pt x="7639136" y="451932"/>
                    <a:pt x="7588476" y="447796"/>
                  </a:cubicBezTo>
                  <a:cubicBezTo>
                    <a:pt x="7590544" y="452483"/>
                    <a:pt x="7594680" y="461926"/>
                    <a:pt x="7596747" y="466613"/>
                  </a:cubicBezTo>
                  <a:cubicBezTo>
                    <a:pt x="7592957" y="467302"/>
                    <a:pt x="7585444" y="468680"/>
                    <a:pt x="7581722" y="469439"/>
                  </a:cubicBezTo>
                  <a:cubicBezTo>
                    <a:pt x="7582963" y="463098"/>
                    <a:pt x="7585513" y="450415"/>
                    <a:pt x="7586823" y="444143"/>
                  </a:cubicBezTo>
                  <a:cubicBezTo>
                    <a:pt x="7574416" y="454206"/>
                    <a:pt x="7564284" y="466337"/>
                    <a:pt x="7553808" y="478123"/>
                  </a:cubicBezTo>
                  <a:cubicBezTo>
                    <a:pt x="7545743" y="468405"/>
                    <a:pt x="7548845" y="456688"/>
                    <a:pt x="7554221" y="446694"/>
                  </a:cubicBezTo>
                  <a:cubicBezTo>
                    <a:pt x="7495911" y="441386"/>
                    <a:pt x="7437394" y="439112"/>
                    <a:pt x="7379084" y="434770"/>
                  </a:cubicBezTo>
                  <a:lnTo>
                    <a:pt x="7381221" y="444212"/>
                  </a:lnTo>
                  <a:lnTo>
                    <a:pt x="7376671" y="445108"/>
                  </a:lnTo>
                  <a:lnTo>
                    <a:pt x="7378394" y="434770"/>
                  </a:lnTo>
                  <a:cubicBezTo>
                    <a:pt x="7352410" y="433529"/>
                    <a:pt x="7326494" y="431599"/>
                    <a:pt x="7300648" y="430083"/>
                  </a:cubicBezTo>
                  <a:cubicBezTo>
                    <a:pt x="7303129" y="434356"/>
                    <a:pt x="7308161" y="442971"/>
                    <a:pt x="7310710" y="447245"/>
                  </a:cubicBezTo>
                  <a:cubicBezTo>
                    <a:pt x="7306368" y="441938"/>
                    <a:pt x="7302371" y="436493"/>
                    <a:pt x="7298511" y="430910"/>
                  </a:cubicBezTo>
                  <a:cubicBezTo>
                    <a:pt x="7286863" y="433253"/>
                    <a:pt x="7281900" y="444143"/>
                    <a:pt x="7276041" y="453104"/>
                  </a:cubicBezTo>
                  <a:cubicBezTo>
                    <a:pt x="7276455" y="444695"/>
                    <a:pt x="7276455" y="436286"/>
                    <a:pt x="7276593" y="427808"/>
                  </a:cubicBezTo>
                  <a:cubicBezTo>
                    <a:pt x="7270183" y="427808"/>
                    <a:pt x="7257294" y="427739"/>
                    <a:pt x="7250815" y="427670"/>
                  </a:cubicBezTo>
                  <a:cubicBezTo>
                    <a:pt x="7250057" y="433322"/>
                    <a:pt x="7248471" y="444488"/>
                    <a:pt x="7247644" y="450071"/>
                  </a:cubicBezTo>
                  <a:cubicBezTo>
                    <a:pt x="7246955" y="444901"/>
                    <a:pt x="7245646" y="434494"/>
                    <a:pt x="7244957" y="429325"/>
                  </a:cubicBezTo>
                  <a:cubicBezTo>
                    <a:pt x="7228966" y="423190"/>
                    <a:pt x="7211114" y="425120"/>
                    <a:pt x="7194504" y="423190"/>
                  </a:cubicBezTo>
                  <a:cubicBezTo>
                    <a:pt x="7199328" y="430289"/>
                    <a:pt x="7204153" y="437527"/>
                    <a:pt x="7208909" y="444695"/>
                  </a:cubicBezTo>
                  <a:cubicBezTo>
                    <a:pt x="7202292" y="437871"/>
                    <a:pt x="7195951" y="430772"/>
                    <a:pt x="7189886" y="423466"/>
                  </a:cubicBezTo>
                  <a:cubicBezTo>
                    <a:pt x="7147152" y="419882"/>
                    <a:pt x="7104281" y="418434"/>
                    <a:pt x="7061686" y="414506"/>
                  </a:cubicBezTo>
                  <a:cubicBezTo>
                    <a:pt x="7060652" y="418572"/>
                    <a:pt x="7058722" y="426705"/>
                    <a:pt x="7057688" y="430772"/>
                  </a:cubicBezTo>
                  <a:cubicBezTo>
                    <a:pt x="7049417" y="423328"/>
                    <a:pt x="7039010" y="419537"/>
                    <a:pt x="7028809" y="415677"/>
                  </a:cubicBezTo>
                  <a:cubicBezTo>
                    <a:pt x="7020124" y="415264"/>
                    <a:pt x="7011577" y="414368"/>
                    <a:pt x="7003169" y="413127"/>
                  </a:cubicBezTo>
                  <a:cubicBezTo>
                    <a:pt x="7004203" y="418090"/>
                    <a:pt x="7006201" y="428153"/>
                    <a:pt x="7007235" y="433184"/>
                  </a:cubicBezTo>
                  <a:cubicBezTo>
                    <a:pt x="7013301" y="431116"/>
                    <a:pt x="7019504" y="428980"/>
                    <a:pt x="7025845" y="426843"/>
                  </a:cubicBezTo>
                  <a:cubicBezTo>
                    <a:pt x="7025845" y="431048"/>
                    <a:pt x="7025983" y="439456"/>
                    <a:pt x="7025983" y="443661"/>
                  </a:cubicBezTo>
                  <a:cubicBezTo>
                    <a:pt x="7020469" y="441662"/>
                    <a:pt x="7015024" y="439663"/>
                    <a:pt x="7009648" y="437595"/>
                  </a:cubicBezTo>
                  <a:cubicBezTo>
                    <a:pt x="6993244" y="438974"/>
                    <a:pt x="7002893" y="420158"/>
                    <a:pt x="6999930" y="410922"/>
                  </a:cubicBezTo>
                  <a:cubicBezTo>
                    <a:pt x="6978287" y="411680"/>
                    <a:pt x="6955542" y="403684"/>
                    <a:pt x="6934934" y="412507"/>
                  </a:cubicBezTo>
                  <a:cubicBezTo>
                    <a:pt x="6912809" y="403064"/>
                    <a:pt x="6888410" y="404512"/>
                    <a:pt x="6864975" y="402857"/>
                  </a:cubicBezTo>
                  <a:cubicBezTo>
                    <a:pt x="6811765" y="399618"/>
                    <a:pt x="6758624" y="395827"/>
                    <a:pt x="6705483" y="393070"/>
                  </a:cubicBezTo>
                  <a:lnTo>
                    <a:pt x="6704863" y="404856"/>
                  </a:lnTo>
                  <a:cubicBezTo>
                    <a:pt x="6704105" y="401755"/>
                    <a:pt x="6702658" y="395620"/>
                    <a:pt x="6701899" y="392519"/>
                  </a:cubicBezTo>
                  <a:cubicBezTo>
                    <a:pt x="6666610" y="390658"/>
                    <a:pt x="6631251" y="388452"/>
                    <a:pt x="6596100" y="385557"/>
                  </a:cubicBezTo>
                  <a:cubicBezTo>
                    <a:pt x="6595617" y="389831"/>
                    <a:pt x="6594721" y="398377"/>
                    <a:pt x="6594308" y="402582"/>
                  </a:cubicBezTo>
                  <a:cubicBezTo>
                    <a:pt x="6604440" y="407682"/>
                    <a:pt x="6614503" y="413058"/>
                    <a:pt x="6624635" y="418297"/>
                  </a:cubicBezTo>
                  <a:cubicBezTo>
                    <a:pt x="6626358" y="421054"/>
                    <a:pt x="6629804" y="426568"/>
                    <a:pt x="6631527" y="429325"/>
                  </a:cubicBezTo>
                  <a:cubicBezTo>
                    <a:pt x="6623463" y="428980"/>
                    <a:pt x="6615537" y="428566"/>
                    <a:pt x="6607610" y="428084"/>
                  </a:cubicBezTo>
                  <a:cubicBezTo>
                    <a:pt x="6603620" y="412024"/>
                    <a:pt x="6591896" y="402582"/>
                    <a:pt x="6575354" y="401479"/>
                  </a:cubicBezTo>
                  <a:lnTo>
                    <a:pt x="6586450" y="399825"/>
                  </a:lnTo>
                  <a:cubicBezTo>
                    <a:pt x="6582942" y="394862"/>
                    <a:pt x="6579558" y="389831"/>
                    <a:pt x="6576250" y="384730"/>
                  </a:cubicBezTo>
                  <a:cubicBezTo>
                    <a:pt x="6523591" y="381491"/>
                    <a:pt x="6471002" y="377976"/>
                    <a:pt x="6418344" y="374943"/>
                  </a:cubicBezTo>
                  <a:cubicBezTo>
                    <a:pt x="6417034" y="378665"/>
                    <a:pt x="6414484" y="386040"/>
                    <a:pt x="6413174" y="389693"/>
                  </a:cubicBezTo>
                  <a:cubicBezTo>
                    <a:pt x="6404076" y="388383"/>
                    <a:pt x="6402698" y="376804"/>
                    <a:pt x="6397390" y="371083"/>
                  </a:cubicBezTo>
                  <a:cubicBezTo>
                    <a:pt x="6378298" y="376115"/>
                    <a:pt x="6372440" y="397895"/>
                    <a:pt x="6375886" y="415126"/>
                  </a:cubicBezTo>
                  <a:lnTo>
                    <a:pt x="6379891" y="408992"/>
                  </a:lnTo>
                  <a:cubicBezTo>
                    <a:pt x="6382503" y="405132"/>
                    <a:pt x="6387741" y="397412"/>
                    <a:pt x="6390360" y="393553"/>
                  </a:cubicBezTo>
                  <a:cubicBezTo>
                    <a:pt x="6396494" y="407269"/>
                    <a:pt x="6402284" y="421260"/>
                    <a:pt x="6407384" y="435390"/>
                  </a:cubicBezTo>
                  <a:cubicBezTo>
                    <a:pt x="6408625" y="435872"/>
                    <a:pt x="6411107" y="436768"/>
                    <a:pt x="6412347" y="437251"/>
                  </a:cubicBezTo>
                  <a:lnTo>
                    <a:pt x="6415311" y="437044"/>
                  </a:lnTo>
                  <a:cubicBezTo>
                    <a:pt x="6416076" y="432564"/>
                    <a:pt x="6417654" y="423673"/>
                    <a:pt x="6418412" y="419192"/>
                  </a:cubicBezTo>
                  <a:cubicBezTo>
                    <a:pt x="6421583" y="420364"/>
                    <a:pt x="6428062" y="422708"/>
                    <a:pt x="6431301" y="423879"/>
                  </a:cubicBezTo>
                  <a:cubicBezTo>
                    <a:pt x="6444948" y="417469"/>
                    <a:pt x="6456045" y="423259"/>
                    <a:pt x="6463765" y="435321"/>
                  </a:cubicBezTo>
                  <a:cubicBezTo>
                    <a:pt x="6461146" y="435183"/>
                    <a:pt x="6456045" y="434907"/>
                    <a:pt x="6453426" y="434770"/>
                  </a:cubicBezTo>
                  <a:cubicBezTo>
                    <a:pt x="6453771" y="448141"/>
                    <a:pt x="6454047" y="461443"/>
                    <a:pt x="6453840" y="474746"/>
                  </a:cubicBezTo>
                  <a:cubicBezTo>
                    <a:pt x="6449360" y="475090"/>
                    <a:pt x="6440400" y="475780"/>
                    <a:pt x="6435919" y="476124"/>
                  </a:cubicBezTo>
                  <a:cubicBezTo>
                    <a:pt x="6428820" y="480742"/>
                    <a:pt x="6421652" y="485084"/>
                    <a:pt x="6414346" y="489082"/>
                  </a:cubicBezTo>
                  <a:cubicBezTo>
                    <a:pt x="6422824" y="491977"/>
                    <a:pt x="6431232" y="495148"/>
                    <a:pt x="6439917" y="497973"/>
                  </a:cubicBezTo>
                  <a:cubicBezTo>
                    <a:pt x="6460663" y="503901"/>
                    <a:pt x="6483822" y="501695"/>
                    <a:pt x="6502845" y="491012"/>
                  </a:cubicBezTo>
                  <a:cubicBezTo>
                    <a:pt x="6504362" y="494458"/>
                    <a:pt x="6507401" y="501213"/>
                    <a:pt x="6508910" y="504659"/>
                  </a:cubicBezTo>
                  <a:cubicBezTo>
                    <a:pt x="6587002" y="508657"/>
                    <a:pt x="6665094" y="514102"/>
                    <a:pt x="6743185" y="518651"/>
                  </a:cubicBezTo>
                  <a:cubicBezTo>
                    <a:pt x="6747665" y="507830"/>
                    <a:pt x="6750146" y="494803"/>
                    <a:pt x="6761450" y="488462"/>
                  </a:cubicBezTo>
                  <a:cubicBezTo>
                    <a:pt x="6759521" y="496939"/>
                    <a:pt x="6755730" y="513964"/>
                    <a:pt x="6753869" y="522442"/>
                  </a:cubicBezTo>
                  <a:cubicBezTo>
                    <a:pt x="6775787" y="522304"/>
                    <a:pt x="6771030" y="498456"/>
                    <a:pt x="6782196" y="487359"/>
                  </a:cubicBezTo>
                  <a:cubicBezTo>
                    <a:pt x="6788055" y="481569"/>
                    <a:pt x="6791984" y="474608"/>
                    <a:pt x="6793983" y="466406"/>
                  </a:cubicBezTo>
                  <a:cubicBezTo>
                    <a:pt x="6796188" y="473850"/>
                    <a:pt x="6798600" y="481225"/>
                    <a:pt x="6801082" y="488531"/>
                  </a:cubicBezTo>
                  <a:cubicBezTo>
                    <a:pt x="6796671" y="490116"/>
                    <a:pt x="6787917" y="493218"/>
                    <a:pt x="6783506" y="494803"/>
                  </a:cubicBezTo>
                  <a:cubicBezTo>
                    <a:pt x="6785229" y="497146"/>
                    <a:pt x="6788538" y="501902"/>
                    <a:pt x="6790261" y="504246"/>
                  </a:cubicBezTo>
                  <a:cubicBezTo>
                    <a:pt x="6787435" y="509966"/>
                    <a:pt x="6784540" y="515618"/>
                    <a:pt x="6781438" y="520994"/>
                  </a:cubicBezTo>
                  <a:cubicBezTo>
                    <a:pt x="6820036" y="523820"/>
                    <a:pt x="6858703" y="526370"/>
                    <a:pt x="6897438" y="527611"/>
                  </a:cubicBezTo>
                  <a:cubicBezTo>
                    <a:pt x="6897852" y="523062"/>
                    <a:pt x="6898610" y="513826"/>
                    <a:pt x="6899024" y="509208"/>
                  </a:cubicBezTo>
                  <a:cubicBezTo>
                    <a:pt x="6905296" y="516721"/>
                    <a:pt x="6907915" y="531195"/>
                    <a:pt x="6920322" y="529955"/>
                  </a:cubicBezTo>
                  <a:cubicBezTo>
                    <a:pt x="6962228" y="532574"/>
                    <a:pt x="7004065" y="534917"/>
                    <a:pt x="7045971" y="538019"/>
                  </a:cubicBezTo>
                  <a:cubicBezTo>
                    <a:pt x="7046592" y="533607"/>
                    <a:pt x="7047832" y="524854"/>
                    <a:pt x="7048452" y="520512"/>
                  </a:cubicBezTo>
                  <a:cubicBezTo>
                    <a:pt x="7048797" y="524923"/>
                    <a:pt x="7049486" y="533814"/>
                    <a:pt x="7049831" y="538225"/>
                  </a:cubicBezTo>
                  <a:cubicBezTo>
                    <a:pt x="7092908" y="540844"/>
                    <a:pt x="7136056" y="542706"/>
                    <a:pt x="7179064" y="546841"/>
                  </a:cubicBezTo>
                  <a:cubicBezTo>
                    <a:pt x="7179961" y="538984"/>
                    <a:pt x="7182786" y="531884"/>
                    <a:pt x="7187405" y="525543"/>
                  </a:cubicBezTo>
                  <a:cubicBezTo>
                    <a:pt x="7186371" y="530919"/>
                    <a:pt x="7184372" y="541741"/>
                    <a:pt x="7183407" y="547117"/>
                  </a:cubicBezTo>
                  <a:cubicBezTo>
                    <a:pt x="7271423" y="548633"/>
                    <a:pt x="7359509" y="561798"/>
                    <a:pt x="7447595" y="559868"/>
                  </a:cubicBezTo>
                  <a:cubicBezTo>
                    <a:pt x="7488812" y="568966"/>
                    <a:pt x="7531545" y="566691"/>
                    <a:pt x="7573520" y="570344"/>
                  </a:cubicBezTo>
                  <a:cubicBezTo>
                    <a:pt x="7579241" y="563796"/>
                    <a:pt x="7585100" y="557111"/>
                    <a:pt x="7591165" y="550563"/>
                  </a:cubicBezTo>
                  <a:cubicBezTo>
                    <a:pt x="7595990" y="544842"/>
                    <a:pt x="7600814" y="538984"/>
                    <a:pt x="7605708" y="532987"/>
                  </a:cubicBezTo>
                  <a:cubicBezTo>
                    <a:pt x="7604674" y="520718"/>
                    <a:pt x="7627626" y="500386"/>
                    <a:pt x="7633140" y="518858"/>
                  </a:cubicBezTo>
                  <a:cubicBezTo>
                    <a:pt x="7633622" y="524234"/>
                    <a:pt x="7634656" y="534917"/>
                    <a:pt x="7635139" y="540224"/>
                  </a:cubicBezTo>
                  <a:lnTo>
                    <a:pt x="7621974" y="537743"/>
                  </a:lnTo>
                  <a:cubicBezTo>
                    <a:pt x="7622526" y="550770"/>
                    <a:pt x="7622043" y="564623"/>
                    <a:pt x="7629831" y="575789"/>
                  </a:cubicBezTo>
                  <a:cubicBezTo>
                    <a:pt x="7637551" y="562349"/>
                    <a:pt x="7647683" y="550770"/>
                    <a:pt x="7664708" y="551045"/>
                  </a:cubicBezTo>
                  <a:cubicBezTo>
                    <a:pt x="7659332" y="559247"/>
                    <a:pt x="7654024" y="567312"/>
                    <a:pt x="7648717" y="575307"/>
                  </a:cubicBezTo>
                  <a:cubicBezTo>
                    <a:pt x="7668084" y="576479"/>
                    <a:pt x="7687521" y="577857"/>
                    <a:pt x="7707027" y="578960"/>
                  </a:cubicBezTo>
                  <a:cubicBezTo>
                    <a:pt x="7707992" y="574480"/>
                    <a:pt x="7709922" y="565520"/>
                    <a:pt x="7710887" y="561039"/>
                  </a:cubicBezTo>
                  <a:cubicBezTo>
                    <a:pt x="7710887" y="565657"/>
                    <a:pt x="7711025" y="574824"/>
                    <a:pt x="7711094" y="579373"/>
                  </a:cubicBezTo>
                  <a:cubicBezTo>
                    <a:pt x="7737906" y="580890"/>
                    <a:pt x="7764717" y="582751"/>
                    <a:pt x="7791667" y="583440"/>
                  </a:cubicBezTo>
                  <a:cubicBezTo>
                    <a:pt x="7791667" y="573722"/>
                    <a:pt x="7791942" y="564003"/>
                    <a:pt x="7792493" y="554216"/>
                  </a:cubicBezTo>
                  <a:cubicBezTo>
                    <a:pt x="7798007" y="563521"/>
                    <a:pt x="7798766" y="574411"/>
                    <a:pt x="7800006" y="584818"/>
                  </a:cubicBezTo>
                  <a:cubicBezTo>
                    <a:pt x="7840603" y="586404"/>
                    <a:pt x="7881131" y="591022"/>
                    <a:pt x="7921796" y="592193"/>
                  </a:cubicBezTo>
                  <a:cubicBezTo>
                    <a:pt x="7932618" y="593434"/>
                    <a:pt x="7942749" y="587575"/>
                    <a:pt x="7946471" y="577030"/>
                  </a:cubicBezTo>
                  <a:cubicBezTo>
                    <a:pt x="7944955" y="581303"/>
                    <a:pt x="7942060" y="589781"/>
                    <a:pt x="7940544" y="593985"/>
                  </a:cubicBezTo>
                  <a:cubicBezTo>
                    <a:pt x="7970388" y="595640"/>
                    <a:pt x="8000301" y="596398"/>
                    <a:pt x="8030215" y="598948"/>
                  </a:cubicBezTo>
                  <a:cubicBezTo>
                    <a:pt x="8024425" y="592400"/>
                    <a:pt x="8022220" y="577168"/>
                    <a:pt x="8010984" y="578340"/>
                  </a:cubicBezTo>
                  <a:cubicBezTo>
                    <a:pt x="8005264" y="582682"/>
                    <a:pt x="8000164" y="587507"/>
                    <a:pt x="7995614" y="592745"/>
                  </a:cubicBezTo>
                  <a:cubicBezTo>
                    <a:pt x="7994925" y="587507"/>
                    <a:pt x="7993478" y="576961"/>
                    <a:pt x="7992719" y="571723"/>
                  </a:cubicBezTo>
                  <a:cubicBezTo>
                    <a:pt x="7996718" y="571723"/>
                    <a:pt x="8004644" y="571861"/>
                    <a:pt x="8008641" y="571930"/>
                  </a:cubicBezTo>
                  <a:lnTo>
                    <a:pt x="8007745" y="554078"/>
                  </a:lnTo>
                  <a:cubicBezTo>
                    <a:pt x="8008572" y="558765"/>
                    <a:pt x="8010227" y="568139"/>
                    <a:pt x="8011054" y="572826"/>
                  </a:cubicBezTo>
                  <a:cubicBezTo>
                    <a:pt x="8015120" y="572481"/>
                    <a:pt x="8023254" y="571792"/>
                    <a:pt x="8027389" y="571447"/>
                  </a:cubicBezTo>
                  <a:lnTo>
                    <a:pt x="8023116" y="582475"/>
                  </a:lnTo>
                  <a:cubicBezTo>
                    <a:pt x="8026975" y="582957"/>
                    <a:pt x="8034695" y="583922"/>
                    <a:pt x="8038554" y="584405"/>
                  </a:cubicBezTo>
                  <a:cubicBezTo>
                    <a:pt x="8038968" y="581510"/>
                    <a:pt x="8039726" y="575651"/>
                    <a:pt x="8040071" y="572757"/>
                  </a:cubicBezTo>
                  <a:cubicBezTo>
                    <a:pt x="8047790" y="577030"/>
                    <a:pt x="8052960" y="574135"/>
                    <a:pt x="8055717" y="564210"/>
                  </a:cubicBezTo>
                  <a:cubicBezTo>
                    <a:pt x="8056957" y="572550"/>
                    <a:pt x="8055855" y="579925"/>
                    <a:pt x="8052477" y="586473"/>
                  </a:cubicBezTo>
                  <a:lnTo>
                    <a:pt x="8048273" y="590057"/>
                  </a:lnTo>
                  <a:cubicBezTo>
                    <a:pt x="8051443" y="611217"/>
                    <a:pt x="8079427" y="598052"/>
                    <a:pt x="8093212" y="603221"/>
                  </a:cubicBezTo>
                  <a:cubicBezTo>
                    <a:pt x="8091626" y="597776"/>
                    <a:pt x="8088456" y="586817"/>
                    <a:pt x="8086871" y="581303"/>
                  </a:cubicBezTo>
                  <a:cubicBezTo>
                    <a:pt x="8099346" y="583371"/>
                    <a:pt x="8096451" y="594399"/>
                    <a:pt x="8095900" y="603910"/>
                  </a:cubicBezTo>
                  <a:cubicBezTo>
                    <a:pt x="8100518" y="604048"/>
                    <a:pt x="8109685" y="604324"/>
                    <a:pt x="8114303" y="604462"/>
                  </a:cubicBezTo>
                  <a:cubicBezTo>
                    <a:pt x="8114923" y="590195"/>
                    <a:pt x="8113889" y="574618"/>
                    <a:pt x="8123263" y="562556"/>
                  </a:cubicBezTo>
                  <a:cubicBezTo>
                    <a:pt x="8122574" y="569379"/>
                    <a:pt x="8121264" y="583026"/>
                    <a:pt x="8120644" y="589781"/>
                  </a:cubicBezTo>
                  <a:cubicBezTo>
                    <a:pt x="8130155" y="587300"/>
                    <a:pt x="8138288" y="589230"/>
                    <a:pt x="8144905" y="595709"/>
                  </a:cubicBezTo>
                  <a:cubicBezTo>
                    <a:pt x="8138082" y="595364"/>
                    <a:pt x="8124435" y="594606"/>
                    <a:pt x="8117680" y="594261"/>
                  </a:cubicBezTo>
                  <a:cubicBezTo>
                    <a:pt x="8119817" y="609631"/>
                    <a:pt x="8136910" y="604531"/>
                    <a:pt x="8147387" y="606599"/>
                  </a:cubicBezTo>
                  <a:cubicBezTo>
                    <a:pt x="8207213" y="609976"/>
                    <a:pt x="8266902" y="614249"/>
                    <a:pt x="8326729" y="617902"/>
                  </a:cubicBezTo>
                  <a:cubicBezTo>
                    <a:pt x="8356849" y="619212"/>
                    <a:pt x="8387382" y="631756"/>
                    <a:pt x="8406819" y="655397"/>
                  </a:cubicBezTo>
                  <a:cubicBezTo>
                    <a:pt x="8412677" y="661049"/>
                    <a:pt x="8416950" y="670078"/>
                    <a:pt x="8426462" y="670354"/>
                  </a:cubicBezTo>
                  <a:cubicBezTo>
                    <a:pt x="8426048" y="692617"/>
                    <a:pt x="8438455" y="713018"/>
                    <a:pt x="8435974" y="735557"/>
                  </a:cubicBezTo>
                  <a:cubicBezTo>
                    <a:pt x="8430528" y="832878"/>
                    <a:pt x="8423843" y="930131"/>
                    <a:pt x="8417571" y="1027383"/>
                  </a:cubicBezTo>
                  <a:cubicBezTo>
                    <a:pt x="8421913" y="1027383"/>
                    <a:pt x="8430598" y="1027314"/>
                    <a:pt x="8434940" y="1027314"/>
                  </a:cubicBezTo>
                  <a:cubicBezTo>
                    <a:pt x="8428875" y="1031037"/>
                    <a:pt x="8422809" y="1034552"/>
                    <a:pt x="8416950" y="1038067"/>
                  </a:cubicBezTo>
                  <a:cubicBezTo>
                    <a:pt x="8406198" y="1224508"/>
                    <a:pt x="8393103" y="1410880"/>
                    <a:pt x="8382833" y="1597390"/>
                  </a:cubicBezTo>
                  <a:cubicBezTo>
                    <a:pt x="8386142" y="1593875"/>
                    <a:pt x="8392689" y="1586983"/>
                    <a:pt x="8395998" y="1583536"/>
                  </a:cubicBezTo>
                  <a:cubicBezTo>
                    <a:pt x="8396204" y="1592014"/>
                    <a:pt x="8396549" y="1609038"/>
                    <a:pt x="8396755" y="1617516"/>
                  </a:cubicBezTo>
                  <a:cubicBezTo>
                    <a:pt x="8393792" y="1614345"/>
                    <a:pt x="8387795" y="1608005"/>
                    <a:pt x="8384832" y="1604765"/>
                  </a:cubicBezTo>
                  <a:cubicBezTo>
                    <a:pt x="8377871" y="1636746"/>
                    <a:pt x="8376561" y="1671071"/>
                    <a:pt x="8386142" y="1702569"/>
                  </a:cubicBezTo>
                  <a:cubicBezTo>
                    <a:pt x="8364223" y="1704085"/>
                    <a:pt x="8378146" y="1735791"/>
                    <a:pt x="8372219" y="1750334"/>
                  </a:cubicBezTo>
                  <a:cubicBezTo>
                    <a:pt x="8388278" y="1753849"/>
                    <a:pt x="8403579" y="1764463"/>
                    <a:pt x="8420534" y="1757778"/>
                  </a:cubicBezTo>
                  <a:cubicBezTo>
                    <a:pt x="8424670" y="1759983"/>
                    <a:pt x="8433010" y="1764532"/>
                    <a:pt x="8437214" y="1766738"/>
                  </a:cubicBezTo>
                  <a:cubicBezTo>
                    <a:pt x="8449069" y="1766462"/>
                    <a:pt x="8459959" y="1771218"/>
                    <a:pt x="8470781" y="1775905"/>
                  </a:cubicBezTo>
                  <a:cubicBezTo>
                    <a:pt x="8470160" y="1780523"/>
                    <a:pt x="8468988" y="1789828"/>
                    <a:pt x="8468368" y="1794514"/>
                  </a:cubicBezTo>
                  <a:cubicBezTo>
                    <a:pt x="8465197" y="1794032"/>
                    <a:pt x="8458926" y="1793136"/>
                    <a:pt x="8455755" y="1792723"/>
                  </a:cubicBezTo>
                  <a:cubicBezTo>
                    <a:pt x="8451482" y="1785623"/>
                    <a:pt x="8447277" y="1778524"/>
                    <a:pt x="8443211" y="1771356"/>
                  </a:cubicBezTo>
                  <a:cubicBezTo>
                    <a:pt x="8418949" y="1768806"/>
                    <a:pt x="8394757" y="1764395"/>
                    <a:pt x="8371598" y="1756744"/>
                  </a:cubicBezTo>
                  <a:cubicBezTo>
                    <a:pt x="8371047" y="1776456"/>
                    <a:pt x="8369875" y="1796031"/>
                    <a:pt x="8368497" y="1815605"/>
                  </a:cubicBezTo>
                  <a:lnTo>
                    <a:pt x="8380972" y="1814089"/>
                  </a:lnTo>
                  <a:cubicBezTo>
                    <a:pt x="8360570" y="1822705"/>
                    <a:pt x="8377043" y="1839453"/>
                    <a:pt x="8385038" y="1851240"/>
                  </a:cubicBezTo>
                  <a:cubicBezTo>
                    <a:pt x="8378905" y="1848620"/>
                    <a:pt x="8372770" y="1847311"/>
                    <a:pt x="8366635" y="1847311"/>
                  </a:cubicBezTo>
                  <a:cubicBezTo>
                    <a:pt x="8358158" y="1982886"/>
                    <a:pt x="8349336" y="2118460"/>
                    <a:pt x="8341409" y="2254104"/>
                  </a:cubicBezTo>
                  <a:cubicBezTo>
                    <a:pt x="8346785" y="2250520"/>
                    <a:pt x="8357469" y="2243352"/>
                    <a:pt x="8362776" y="2239767"/>
                  </a:cubicBezTo>
                  <a:cubicBezTo>
                    <a:pt x="8356435" y="2246384"/>
                    <a:pt x="8349060" y="2251692"/>
                    <a:pt x="8340996" y="2255620"/>
                  </a:cubicBezTo>
                  <a:cubicBezTo>
                    <a:pt x="8339204" y="2289600"/>
                    <a:pt x="8336309" y="2323511"/>
                    <a:pt x="8334724" y="2357491"/>
                  </a:cubicBezTo>
                  <a:cubicBezTo>
                    <a:pt x="8334999" y="2364728"/>
                    <a:pt x="8338376" y="2369897"/>
                    <a:pt x="8344718" y="2372999"/>
                  </a:cubicBezTo>
                  <a:cubicBezTo>
                    <a:pt x="8341961" y="2374653"/>
                    <a:pt x="8336516" y="2378030"/>
                    <a:pt x="8333759" y="2379684"/>
                  </a:cubicBezTo>
                  <a:cubicBezTo>
                    <a:pt x="8331415" y="2399535"/>
                    <a:pt x="8330864" y="2419454"/>
                    <a:pt x="8329485" y="2439304"/>
                  </a:cubicBezTo>
                  <a:cubicBezTo>
                    <a:pt x="8335482" y="2444267"/>
                    <a:pt x="8341823" y="2449230"/>
                    <a:pt x="8348026" y="2454123"/>
                  </a:cubicBezTo>
                  <a:lnTo>
                    <a:pt x="8344511" y="2456604"/>
                  </a:lnTo>
                  <a:cubicBezTo>
                    <a:pt x="8341133" y="2453365"/>
                    <a:pt x="8334310" y="2446886"/>
                    <a:pt x="8330933" y="2443578"/>
                  </a:cubicBezTo>
                  <a:cubicBezTo>
                    <a:pt x="8330381" y="2450332"/>
                    <a:pt x="8329348" y="2463773"/>
                    <a:pt x="8328796" y="2470527"/>
                  </a:cubicBezTo>
                  <a:lnTo>
                    <a:pt x="8339824" y="2471217"/>
                  </a:lnTo>
                  <a:cubicBezTo>
                    <a:pt x="8336861" y="2472112"/>
                    <a:pt x="8330933" y="2473836"/>
                    <a:pt x="8327969" y="2474732"/>
                  </a:cubicBezTo>
                  <a:cubicBezTo>
                    <a:pt x="8327280" y="2492928"/>
                    <a:pt x="8325212" y="2511124"/>
                    <a:pt x="8323420" y="2529251"/>
                  </a:cubicBezTo>
                  <a:cubicBezTo>
                    <a:pt x="8326039" y="2532904"/>
                    <a:pt x="8331139" y="2540279"/>
                    <a:pt x="8333759" y="2544001"/>
                  </a:cubicBezTo>
                  <a:cubicBezTo>
                    <a:pt x="8335068" y="2545793"/>
                    <a:pt x="8337618" y="2549515"/>
                    <a:pt x="8338928" y="2551376"/>
                  </a:cubicBezTo>
                  <a:cubicBezTo>
                    <a:pt x="8341409" y="2532766"/>
                    <a:pt x="8342788" y="2514087"/>
                    <a:pt x="8343477" y="2495340"/>
                  </a:cubicBezTo>
                  <a:cubicBezTo>
                    <a:pt x="8352506" y="2491825"/>
                    <a:pt x="8361535" y="2488379"/>
                    <a:pt x="8371047" y="2485484"/>
                  </a:cubicBezTo>
                  <a:cubicBezTo>
                    <a:pt x="8364982" y="2491136"/>
                    <a:pt x="8358434" y="2496029"/>
                    <a:pt x="8351472" y="2500234"/>
                  </a:cubicBezTo>
                  <a:cubicBezTo>
                    <a:pt x="8347130" y="2514639"/>
                    <a:pt x="8345613" y="2529596"/>
                    <a:pt x="8346923" y="2544552"/>
                  </a:cubicBezTo>
                  <a:cubicBezTo>
                    <a:pt x="8353058" y="2533318"/>
                    <a:pt x="8359950" y="2522221"/>
                    <a:pt x="8369324" y="2513192"/>
                  </a:cubicBezTo>
                  <a:cubicBezTo>
                    <a:pt x="8367118" y="2531457"/>
                    <a:pt x="8363948" y="2549860"/>
                    <a:pt x="8365878" y="2568331"/>
                  </a:cubicBezTo>
                  <a:cubicBezTo>
                    <a:pt x="8370634" y="2560336"/>
                    <a:pt x="8375320" y="2551238"/>
                    <a:pt x="8380765" y="2543449"/>
                  </a:cubicBezTo>
                  <a:cubicBezTo>
                    <a:pt x="8385590" y="2555374"/>
                    <a:pt x="8377595" y="2567297"/>
                    <a:pt x="8371943" y="2577291"/>
                  </a:cubicBezTo>
                  <a:cubicBezTo>
                    <a:pt x="8370082" y="2579635"/>
                    <a:pt x="8366360" y="2584322"/>
                    <a:pt x="8364499" y="2586596"/>
                  </a:cubicBezTo>
                  <a:cubicBezTo>
                    <a:pt x="8353127" y="2584046"/>
                    <a:pt x="8341961" y="2580876"/>
                    <a:pt x="8330726" y="2578532"/>
                  </a:cubicBezTo>
                  <a:cubicBezTo>
                    <a:pt x="8331484" y="2601277"/>
                    <a:pt x="8339342" y="2623609"/>
                    <a:pt x="8334448" y="2646492"/>
                  </a:cubicBezTo>
                  <a:cubicBezTo>
                    <a:pt x="8343890" y="2646216"/>
                    <a:pt x="8355194" y="2649042"/>
                    <a:pt x="8359743" y="2638014"/>
                  </a:cubicBezTo>
                  <a:cubicBezTo>
                    <a:pt x="8360088" y="2644079"/>
                    <a:pt x="8360777" y="2656279"/>
                    <a:pt x="8361121" y="2662344"/>
                  </a:cubicBezTo>
                  <a:lnTo>
                    <a:pt x="8355470" y="2650490"/>
                  </a:lnTo>
                  <a:cubicBezTo>
                    <a:pt x="8348233" y="2653867"/>
                    <a:pt x="8339204" y="2658140"/>
                    <a:pt x="8331484" y="2652557"/>
                  </a:cubicBezTo>
                  <a:cubicBezTo>
                    <a:pt x="8328245" y="2663378"/>
                    <a:pt x="8327280" y="2674475"/>
                    <a:pt x="8326039" y="2685572"/>
                  </a:cubicBezTo>
                  <a:cubicBezTo>
                    <a:pt x="8324110" y="2684538"/>
                    <a:pt x="8320387" y="2682471"/>
                    <a:pt x="8318458" y="2681437"/>
                  </a:cubicBezTo>
                  <a:cubicBezTo>
                    <a:pt x="8303225" y="2677094"/>
                    <a:pt x="8298400" y="2664826"/>
                    <a:pt x="8303914" y="2650558"/>
                  </a:cubicBezTo>
                  <a:cubicBezTo>
                    <a:pt x="8301984" y="2648353"/>
                    <a:pt x="8298193" y="2644010"/>
                    <a:pt x="8296264" y="2641805"/>
                  </a:cubicBezTo>
                  <a:lnTo>
                    <a:pt x="8299710" y="2637049"/>
                  </a:lnTo>
                  <a:cubicBezTo>
                    <a:pt x="8300882" y="2635464"/>
                    <a:pt x="8303363" y="2632362"/>
                    <a:pt x="8304535" y="2630777"/>
                  </a:cubicBezTo>
                  <a:lnTo>
                    <a:pt x="8308739" y="2625194"/>
                  </a:lnTo>
                  <a:cubicBezTo>
                    <a:pt x="8301571" y="2616923"/>
                    <a:pt x="8299021" y="2607136"/>
                    <a:pt x="8301088" y="2595832"/>
                  </a:cubicBezTo>
                  <a:cubicBezTo>
                    <a:pt x="8290750" y="2604930"/>
                    <a:pt x="8281169" y="2614649"/>
                    <a:pt x="8274070" y="2626366"/>
                  </a:cubicBezTo>
                  <a:cubicBezTo>
                    <a:pt x="8261457" y="2624022"/>
                    <a:pt x="8250360" y="2632018"/>
                    <a:pt x="8239056" y="2635739"/>
                  </a:cubicBezTo>
                  <a:cubicBezTo>
                    <a:pt x="8239814" y="2647595"/>
                    <a:pt x="8240641" y="2659450"/>
                    <a:pt x="8242020" y="2671236"/>
                  </a:cubicBezTo>
                  <a:lnTo>
                    <a:pt x="8240021" y="2670684"/>
                  </a:lnTo>
                  <a:cubicBezTo>
                    <a:pt x="8238436" y="2666549"/>
                    <a:pt x="8235265" y="2658416"/>
                    <a:pt x="8233680" y="2654349"/>
                  </a:cubicBezTo>
                  <a:cubicBezTo>
                    <a:pt x="8234025" y="2649938"/>
                    <a:pt x="8234783" y="2641116"/>
                    <a:pt x="8235127" y="2636705"/>
                  </a:cubicBezTo>
                  <a:cubicBezTo>
                    <a:pt x="8229338" y="2637118"/>
                    <a:pt x="8217828" y="2637807"/>
                    <a:pt x="8212038" y="2638152"/>
                  </a:cubicBezTo>
                  <a:cubicBezTo>
                    <a:pt x="8212520" y="2641322"/>
                    <a:pt x="8213416" y="2647526"/>
                    <a:pt x="8213899" y="2650627"/>
                  </a:cubicBezTo>
                  <a:cubicBezTo>
                    <a:pt x="8212314" y="2647664"/>
                    <a:pt x="8209212" y="2641736"/>
                    <a:pt x="8207627" y="2638772"/>
                  </a:cubicBezTo>
                  <a:cubicBezTo>
                    <a:pt x="8173233" y="2637049"/>
                    <a:pt x="8138909" y="2634499"/>
                    <a:pt x="8104515" y="2632707"/>
                  </a:cubicBezTo>
                  <a:lnTo>
                    <a:pt x="8105136" y="2644010"/>
                  </a:lnTo>
                  <a:lnTo>
                    <a:pt x="8099967" y="2643115"/>
                  </a:lnTo>
                  <a:cubicBezTo>
                    <a:pt x="8100518" y="2640427"/>
                    <a:pt x="8101552" y="2635050"/>
                    <a:pt x="8102034" y="2632293"/>
                  </a:cubicBezTo>
                  <a:cubicBezTo>
                    <a:pt x="8063298" y="2629674"/>
                    <a:pt x="8024425" y="2628227"/>
                    <a:pt x="7985758" y="2624987"/>
                  </a:cubicBezTo>
                  <a:lnTo>
                    <a:pt x="7986241" y="2638841"/>
                  </a:lnTo>
                  <a:cubicBezTo>
                    <a:pt x="7985758" y="2635326"/>
                    <a:pt x="7984656" y="2628296"/>
                    <a:pt x="7984104" y="2624780"/>
                  </a:cubicBezTo>
                  <a:cubicBezTo>
                    <a:pt x="7925794" y="2622161"/>
                    <a:pt x="7867553" y="2616579"/>
                    <a:pt x="7809243" y="2614717"/>
                  </a:cubicBezTo>
                  <a:cubicBezTo>
                    <a:pt x="7793045" y="2618922"/>
                    <a:pt x="7809794" y="2638979"/>
                    <a:pt x="7809518" y="2649662"/>
                  </a:cubicBezTo>
                  <a:cubicBezTo>
                    <a:pt x="7802970" y="2654073"/>
                    <a:pt x="7796560" y="2658416"/>
                    <a:pt x="7790288" y="2662827"/>
                  </a:cubicBezTo>
                  <a:cubicBezTo>
                    <a:pt x="7791322" y="2668686"/>
                    <a:pt x="7793390" y="2680334"/>
                    <a:pt x="7794424" y="2686192"/>
                  </a:cubicBezTo>
                  <a:cubicBezTo>
                    <a:pt x="7790908" y="2680885"/>
                    <a:pt x="7787738" y="2675509"/>
                    <a:pt x="7784567" y="2670133"/>
                  </a:cubicBezTo>
                  <a:cubicBezTo>
                    <a:pt x="7796078" y="2653315"/>
                    <a:pt x="7791184" y="2631949"/>
                    <a:pt x="7793941" y="2612788"/>
                  </a:cubicBezTo>
                  <a:cubicBezTo>
                    <a:pt x="7771265" y="2612650"/>
                    <a:pt x="7748796" y="2610169"/>
                    <a:pt x="7726257" y="2610720"/>
                  </a:cubicBezTo>
                  <a:cubicBezTo>
                    <a:pt x="7715160" y="2611271"/>
                    <a:pt x="7701927" y="2620438"/>
                    <a:pt x="7693794" y="2608790"/>
                  </a:cubicBezTo>
                  <a:cubicBezTo>
                    <a:pt x="7664638" y="2600864"/>
                    <a:pt x="7634449" y="2611409"/>
                    <a:pt x="7605570" y="2603621"/>
                  </a:cubicBezTo>
                  <a:cubicBezTo>
                    <a:pt x="7603571" y="2605895"/>
                    <a:pt x="7599642" y="2610513"/>
                    <a:pt x="7597644" y="2612788"/>
                  </a:cubicBezTo>
                  <a:cubicBezTo>
                    <a:pt x="7591233" y="2613477"/>
                    <a:pt x="7584962" y="2614235"/>
                    <a:pt x="7578758" y="2614924"/>
                  </a:cubicBezTo>
                  <a:cubicBezTo>
                    <a:pt x="7578207" y="2611271"/>
                    <a:pt x="7577173" y="2604103"/>
                    <a:pt x="7576622" y="2600519"/>
                  </a:cubicBezTo>
                  <a:cubicBezTo>
                    <a:pt x="7563112" y="2598382"/>
                    <a:pt x="7549397" y="2597762"/>
                    <a:pt x="7535956" y="2596590"/>
                  </a:cubicBezTo>
                  <a:cubicBezTo>
                    <a:pt x="7536714" y="2601346"/>
                    <a:pt x="7538162" y="2610789"/>
                    <a:pt x="7538851" y="2615545"/>
                  </a:cubicBezTo>
                  <a:cubicBezTo>
                    <a:pt x="7537128" y="2615131"/>
                    <a:pt x="7533544" y="2614373"/>
                    <a:pt x="7531821" y="2614028"/>
                  </a:cubicBezTo>
                  <a:cubicBezTo>
                    <a:pt x="7531752" y="2609410"/>
                    <a:pt x="7531545" y="2600175"/>
                    <a:pt x="7531476" y="2595557"/>
                  </a:cubicBezTo>
                  <a:cubicBezTo>
                    <a:pt x="7521000" y="2596521"/>
                    <a:pt x="7510661" y="2597555"/>
                    <a:pt x="7500322" y="2598589"/>
                  </a:cubicBezTo>
                  <a:cubicBezTo>
                    <a:pt x="7505560" y="2612512"/>
                    <a:pt x="7509145" y="2627193"/>
                    <a:pt x="7508662" y="2642219"/>
                  </a:cubicBezTo>
                  <a:cubicBezTo>
                    <a:pt x="7511970" y="2635257"/>
                    <a:pt x="7515554" y="2628365"/>
                    <a:pt x="7519345" y="2621541"/>
                  </a:cubicBezTo>
                  <a:cubicBezTo>
                    <a:pt x="7519345" y="2636153"/>
                    <a:pt x="7518587" y="2651179"/>
                    <a:pt x="7511419" y="2664206"/>
                  </a:cubicBezTo>
                  <a:cubicBezTo>
                    <a:pt x="7502252" y="2662827"/>
                    <a:pt x="7495636" y="2655590"/>
                    <a:pt x="7488191" y="2650972"/>
                  </a:cubicBezTo>
                  <a:cubicBezTo>
                    <a:pt x="7494946" y="2632845"/>
                    <a:pt x="7495084" y="2613339"/>
                    <a:pt x="7497979" y="2594385"/>
                  </a:cubicBezTo>
                  <a:cubicBezTo>
                    <a:pt x="7471167" y="2593006"/>
                    <a:pt x="7444424" y="2591352"/>
                    <a:pt x="7417751" y="2589491"/>
                  </a:cubicBezTo>
                  <a:cubicBezTo>
                    <a:pt x="7421059" y="2605551"/>
                    <a:pt x="7423471" y="2621886"/>
                    <a:pt x="7422506" y="2638359"/>
                  </a:cubicBezTo>
                  <a:cubicBezTo>
                    <a:pt x="7424161" y="2642081"/>
                    <a:pt x="7427537" y="2649593"/>
                    <a:pt x="7429261" y="2653384"/>
                  </a:cubicBezTo>
                  <a:cubicBezTo>
                    <a:pt x="7420508" y="2647870"/>
                    <a:pt x="7413063" y="2640840"/>
                    <a:pt x="7405758" y="2633879"/>
                  </a:cubicBezTo>
                  <a:cubicBezTo>
                    <a:pt x="7408583" y="2630363"/>
                    <a:pt x="7414304" y="2623402"/>
                    <a:pt x="7417130" y="2619887"/>
                  </a:cubicBezTo>
                  <a:cubicBezTo>
                    <a:pt x="7410238" y="2619336"/>
                    <a:pt x="7396453" y="2618164"/>
                    <a:pt x="7389560" y="2617612"/>
                  </a:cubicBezTo>
                  <a:cubicBezTo>
                    <a:pt x="7396935" y="2612029"/>
                    <a:pt x="7405413" y="2614717"/>
                    <a:pt x="7414167" y="2615820"/>
                  </a:cubicBezTo>
                  <a:cubicBezTo>
                    <a:pt x="7412512" y="2609755"/>
                    <a:pt x="7409272" y="2597624"/>
                    <a:pt x="7407687" y="2591559"/>
                  </a:cubicBezTo>
                  <a:cubicBezTo>
                    <a:pt x="7388940" y="2589215"/>
                    <a:pt x="7370330" y="2586872"/>
                    <a:pt x="7351720" y="2584804"/>
                  </a:cubicBezTo>
                  <a:cubicBezTo>
                    <a:pt x="7348895" y="2594936"/>
                    <a:pt x="7346000" y="2604999"/>
                    <a:pt x="7343036" y="2614993"/>
                  </a:cubicBezTo>
                  <a:cubicBezTo>
                    <a:pt x="7337109" y="2605757"/>
                    <a:pt x="7338073" y="2594867"/>
                    <a:pt x="7338143" y="2584391"/>
                  </a:cubicBezTo>
                  <a:cubicBezTo>
                    <a:pt x="7269907" y="2581082"/>
                    <a:pt x="7201879" y="2575499"/>
                    <a:pt x="7133712" y="2572329"/>
                  </a:cubicBezTo>
                  <a:cubicBezTo>
                    <a:pt x="7133092" y="2577567"/>
                    <a:pt x="7131782" y="2588044"/>
                    <a:pt x="7131093" y="2593282"/>
                  </a:cubicBezTo>
                  <a:cubicBezTo>
                    <a:pt x="7122684" y="2594798"/>
                    <a:pt x="7114344" y="2596384"/>
                    <a:pt x="7106073" y="2598107"/>
                  </a:cubicBezTo>
                  <a:lnTo>
                    <a:pt x="7104557" y="2590181"/>
                  </a:lnTo>
                  <a:cubicBezTo>
                    <a:pt x="7120203" y="2598382"/>
                    <a:pt x="7129094" y="2584046"/>
                    <a:pt x="7133712" y="2571088"/>
                  </a:cubicBezTo>
                  <a:cubicBezTo>
                    <a:pt x="7122409" y="2570882"/>
                    <a:pt x="7111173" y="2570675"/>
                    <a:pt x="7100146" y="2570606"/>
                  </a:cubicBezTo>
                  <a:cubicBezTo>
                    <a:pt x="7092840" y="2586045"/>
                    <a:pt x="7083052" y="2600106"/>
                    <a:pt x="7075057" y="2615131"/>
                  </a:cubicBezTo>
                  <a:cubicBezTo>
                    <a:pt x="7078434" y="2599072"/>
                    <a:pt x="7076436" y="2582599"/>
                    <a:pt x="7075057" y="2566402"/>
                  </a:cubicBezTo>
                  <a:cubicBezTo>
                    <a:pt x="7069888" y="2568056"/>
                    <a:pt x="7059411" y="2571502"/>
                    <a:pt x="7054173" y="2573156"/>
                  </a:cubicBezTo>
                  <a:cubicBezTo>
                    <a:pt x="7052588" y="2571433"/>
                    <a:pt x="7049279" y="2567987"/>
                    <a:pt x="7047694" y="2566264"/>
                  </a:cubicBezTo>
                  <a:cubicBezTo>
                    <a:pt x="6944031" y="2560681"/>
                    <a:pt x="6840507" y="2552410"/>
                    <a:pt x="6736844" y="2547792"/>
                  </a:cubicBezTo>
                  <a:cubicBezTo>
                    <a:pt x="6739739" y="2555374"/>
                    <a:pt x="6740290" y="2563093"/>
                    <a:pt x="6736706" y="2570537"/>
                  </a:cubicBezTo>
                  <a:lnTo>
                    <a:pt x="6736844" y="2577843"/>
                  </a:lnTo>
                  <a:cubicBezTo>
                    <a:pt x="6737533" y="2601898"/>
                    <a:pt x="6735121" y="2626021"/>
                    <a:pt x="6727195" y="2648766"/>
                  </a:cubicBezTo>
                  <a:cubicBezTo>
                    <a:pt x="6726367" y="2653936"/>
                    <a:pt x="6724644" y="2664274"/>
                    <a:pt x="6723817" y="2669444"/>
                  </a:cubicBezTo>
                  <a:cubicBezTo>
                    <a:pt x="6770755" y="2672614"/>
                    <a:pt x="6817899" y="2673648"/>
                    <a:pt x="6864699" y="2679369"/>
                  </a:cubicBezTo>
                  <a:cubicBezTo>
                    <a:pt x="6869662" y="2668755"/>
                    <a:pt x="6874211" y="2656624"/>
                    <a:pt x="6867801" y="2645458"/>
                  </a:cubicBezTo>
                  <a:cubicBezTo>
                    <a:pt x="6875314" y="2647388"/>
                    <a:pt x="6883102" y="2649593"/>
                    <a:pt x="6891029" y="2647733"/>
                  </a:cubicBezTo>
                  <a:cubicBezTo>
                    <a:pt x="6890339" y="2655314"/>
                    <a:pt x="6889925" y="2662827"/>
                    <a:pt x="6889719" y="2670340"/>
                  </a:cubicBezTo>
                  <a:cubicBezTo>
                    <a:pt x="6883378" y="2665170"/>
                    <a:pt x="6875934" y="2669099"/>
                    <a:pt x="6870213" y="2672614"/>
                  </a:cubicBezTo>
                  <a:cubicBezTo>
                    <a:pt x="6882620" y="2681712"/>
                    <a:pt x="6898610" y="2679920"/>
                    <a:pt x="6913015" y="2681299"/>
                  </a:cubicBezTo>
                  <a:cubicBezTo>
                    <a:pt x="6966776" y="2683504"/>
                    <a:pt x="7020469" y="2689570"/>
                    <a:pt x="7074368" y="2689363"/>
                  </a:cubicBezTo>
                  <a:lnTo>
                    <a:pt x="7073541" y="2671236"/>
                  </a:lnTo>
                  <a:cubicBezTo>
                    <a:pt x="7086637" y="2698874"/>
                    <a:pt x="7123235" y="2697565"/>
                    <a:pt x="7148324" y="2690535"/>
                  </a:cubicBezTo>
                  <a:cubicBezTo>
                    <a:pt x="7157767" y="2698392"/>
                    <a:pt x="7170587" y="2696945"/>
                    <a:pt x="7182097" y="2698048"/>
                  </a:cubicBezTo>
                  <a:cubicBezTo>
                    <a:pt x="7255915" y="2701907"/>
                    <a:pt x="7329596" y="2708110"/>
                    <a:pt x="7403483" y="2711212"/>
                  </a:cubicBezTo>
                  <a:cubicBezTo>
                    <a:pt x="7422299" y="2709833"/>
                    <a:pt x="7442632" y="2714313"/>
                    <a:pt x="7460208" y="2705285"/>
                  </a:cubicBezTo>
                  <a:cubicBezTo>
                    <a:pt x="7476061" y="2714796"/>
                    <a:pt x="7494877" y="2719207"/>
                    <a:pt x="7513280" y="2717002"/>
                  </a:cubicBezTo>
                  <a:lnTo>
                    <a:pt x="7517622" y="2708179"/>
                  </a:lnTo>
                  <a:cubicBezTo>
                    <a:pt x="7517760" y="2710867"/>
                    <a:pt x="7518105" y="2716313"/>
                    <a:pt x="7518243" y="2719001"/>
                  </a:cubicBezTo>
                  <a:cubicBezTo>
                    <a:pt x="7542849" y="2720310"/>
                    <a:pt x="7567454" y="2721689"/>
                    <a:pt x="7592061" y="2724308"/>
                  </a:cubicBezTo>
                  <a:cubicBezTo>
                    <a:pt x="7593853" y="2720241"/>
                    <a:pt x="7597506" y="2712246"/>
                    <a:pt x="7599298" y="2708248"/>
                  </a:cubicBezTo>
                  <a:cubicBezTo>
                    <a:pt x="7606535" y="2707973"/>
                    <a:pt x="7613910" y="2707697"/>
                    <a:pt x="7621354" y="2707421"/>
                  </a:cubicBezTo>
                  <a:cubicBezTo>
                    <a:pt x="7621216" y="2711970"/>
                    <a:pt x="7620871" y="2721068"/>
                    <a:pt x="7620734" y="2725686"/>
                  </a:cubicBezTo>
                  <a:cubicBezTo>
                    <a:pt x="7650647" y="2726927"/>
                    <a:pt x="7680491" y="2729477"/>
                    <a:pt x="7710473" y="2730580"/>
                  </a:cubicBezTo>
                  <a:cubicBezTo>
                    <a:pt x="7708957" y="2725066"/>
                    <a:pt x="7705786" y="2713900"/>
                    <a:pt x="7704201" y="2708317"/>
                  </a:cubicBezTo>
                  <a:cubicBezTo>
                    <a:pt x="7683592" y="2723205"/>
                    <a:pt x="7681318" y="2691224"/>
                    <a:pt x="7704063" y="2703217"/>
                  </a:cubicBezTo>
                  <a:cubicBezTo>
                    <a:pt x="7701376" y="2687226"/>
                    <a:pt x="7701168" y="2671029"/>
                    <a:pt x="7701720" y="2654832"/>
                  </a:cubicBezTo>
                  <a:cubicBezTo>
                    <a:pt x="7694069" y="2652006"/>
                    <a:pt x="7686557" y="2649111"/>
                    <a:pt x="7679182" y="2646009"/>
                  </a:cubicBezTo>
                  <a:cubicBezTo>
                    <a:pt x="7685316" y="2647870"/>
                    <a:pt x="7697447" y="2651592"/>
                    <a:pt x="7703512" y="2653453"/>
                  </a:cubicBezTo>
                  <a:cubicBezTo>
                    <a:pt x="7704546" y="2647801"/>
                    <a:pt x="7706545" y="2636498"/>
                    <a:pt x="7707509" y="2630915"/>
                  </a:cubicBezTo>
                  <a:cubicBezTo>
                    <a:pt x="7708681" y="2650007"/>
                    <a:pt x="7707234" y="2669306"/>
                    <a:pt x="7711645" y="2688122"/>
                  </a:cubicBezTo>
                  <a:cubicBezTo>
                    <a:pt x="7710060" y="2693291"/>
                    <a:pt x="7706890" y="2703630"/>
                    <a:pt x="7705304" y="2708800"/>
                  </a:cubicBezTo>
                  <a:cubicBezTo>
                    <a:pt x="7720054" y="2719759"/>
                    <a:pt x="7734873" y="2734440"/>
                    <a:pt x="7754792" y="2733750"/>
                  </a:cubicBezTo>
                  <a:cubicBezTo>
                    <a:pt x="7820063" y="2737610"/>
                    <a:pt x="7885404" y="2741883"/>
                    <a:pt x="7950745" y="2746157"/>
                  </a:cubicBezTo>
                  <a:lnTo>
                    <a:pt x="7950193" y="2733957"/>
                  </a:lnTo>
                  <a:cubicBezTo>
                    <a:pt x="7950538" y="2736990"/>
                    <a:pt x="7951296" y="2743124"/>
                    <a:pt x="7951709" y="2746157"/>
                  </a:cubicBezTo>
                  <a:cubicBezTo>
                    <a:pt x="7987275" y="2747742"/>
                    <a:pt x="8022771" y="2751188"/>
                    <a:pt x="8058474" y="2752291"/>
                  </a:cubicBezTo>
                  <a:cubicBezTo>
                    <a:pt x="8055993" y="2743744"/>
                    <a:pt x="8053787" y="2735129"/>
                    <a:pt x="8051926" y="2726375"/>
                  </a:cubicBezTo>
                  <a:cubicBezTo>
                    <a:pt x="8059508" y="2734095"/>
                    <a:pt x="8062541" y="2744158"/>
                    <a:pt x="8062885" y="2754979"/>
                  </a:cubicBezTo>
                  <a:cubicBezTo>
                    <a:pt x="8084596" y="2757943"/>
                    <a:pt x="8076188" y="2732579"/>
                    <a:pt x="8090110" y="2724377"/>
                  </a:cubicBezTo>
                  <a:cubicBezTo>
                    <a:pt x="8087146" y="2734853"/>
                    <a:pt x="8084389" y="2745468"/>
                    <a:pt x="8083287" y="2756289"/>
                  </a:cubicBezTo>
                  <a:cubicBezTo>
                    <a:pt x="8102034" y="2756771"/>
                    <a:pt x="8100173" y="2734578"/>
                    <a:pt x="8112373" y="2725479"/>
                  </a:cubicBezTo>
                  <a:cubicBezTo>
                    <a:pt x="8111408" y="2736232"/>
                    <a:pt x="8108651" y="2746570"/>
                    <a:pt x="8105274" y="2756633"/>
                  </a:cubicBezTo>
                  <a:cubicBezTo>
                    <a:pt x="8116853" y="2750430"/>
                    <a:pt x="8129673" y="2746088"/>
                    <a:pt x="8140287" y="2756771"/>
                  </a:cubicBezTo>
                  <a:cubicBezTo>
                    <a:pt x="8151729" y="2758012"/>
                    <a:pt x="8163308" y="2759183"/>
                    <a:pt x="8175025" y="2760355"/>
                  </a:cubicBezTo>
                  <a:cubicBezTo>
                    <a:pt x="8172199" y="2749465"/>
                    <a:pt x="8164756" y="2739333"/>
                    <a:pt x="8165652" y="2727754"/>
                  </a:cubicBezTo>
                  <a:cubicBezTo>
                    <a:pt x="8169442" y="2720930"/>
                    <a:pt x="8174267" y="2714865"/>
                    <a:pt x="8178954" y="2708455"/>
                  </a:cubicBezTo>
                  <a:lnTo>
                    <a:pt x="8178885" y="2722378"/>
                  </a:lnTo>
                  <a:cubicBezTo>
                    <a:pt x="8183296" y="2719070"/>
                    <a:pt x="8192188" y="2712522"/>
                    <a:pt x="8196599" y="2709213"/>
                  </a:cubicBezTo>
                  <a:cubicBezTo>
                    <a:pt x="8191360" y="2715279"/>
                    <a:pt x="8186053" y="2721137"/>
                    <a:pt x="8180884" y="2727065"/>
                  </a:cubicBezTo>
                  <a:cubicBezTo>
                    <a:pt x="8178885" y="2738299"/>
                    <a:pt x="8177024" y="2749465"/>
                    <a:pt x="8175232" y="2760700"/>
                  </a:cubicBezTo>
                </a:path>
              </a:pathLst>
            </a:custGeom>
            <a:grpFill/>
            <a:ln w="689" cap="flat">
              <a:noFill/>
              <a:prstDash val="solid"/>
              <a:miter/>
            </a:ln>
          </p:spPr>
          <p:txBody>
            <a:bodyPr rtlCol="0" anchor="ctr"/>
            <a:lstStyle/>
            <a:p>
              <a:endParaRPr lang="en-US" sz="2400" dirty="0"/>
            </a:p>
          </p:txBody>
        </p:sp>
        <p:sp>
          <p:nvSpPr>
            <p:cNvPr id="16" name="Graphic 8">
              <a:extLst>
                <a:ext uri="{FF2B5EF4-FFF2-40B4-BE49-F238E27FC236}">
                  <a16:creationId xmlns:a16="http://schemas.microsoft.com/office/drawing/2014/main" id="{548891F5-E27A-4B3C-BCAB-DDF74F74DCBD}"/>
                </a:ext>
              </a:extLst>
            </p:cNvPr>
            <p:cNvSpPr/>
            <p:nvPr/>
          </p:nvSpPr>
          <p:spPr>
            <a:xfrm flipV="1">
              <a:off x="832529" y="1094175"/>
              <a:ext cx="7720927" cy="2071350"/>
            </a:xfrm>
            <a:custGeom>
              <a:avLst/>
              <a:gdLst>
                <a:gd name="connsiteX0" fmla="*/ -5784 w 7720927"/>
                <a:gd name="connsiteY0" fmla="*/ 4270 h 2071350"/>
                <a:gd name="connsiteX1" fmla="*/ -5784 w 7720927"/>
                <a:gd name="connsiteY1" fmla="*/ 4270 h 2071350"/>
                <a:gd name="connsiteX2" fmla="*/ 7521129 w 7720927"/>
                <a:gd name="connsiteY2" fmla="*/ 403343 h 2071350"/>
                <a:gd name="connsiteX3" fmla="*/ 7536706 w 7720927"/>
                <a:gd name="connsiteY3" fmla="*/ 398932 h 2071350"/>
                <a:gd name="connsiteX4" fmla="*/ 7521129 w 7720927"/>
                <a:gd name="connsiteY4" fmla="*/ 403343 h 2071350"/>
                <a:gd name="connsiteX5" fmla="*/ 4440405 w 7720927"/>
                <a:gd name="connsiteY5" fmla="*/ 569865 h 2071350"/>
                <a:gd name="connsiteX6" fmla="*/ 4440405 w 7720927"/>
                <a:gd name="connsiteY6" fmla="*/ 569865 h 2071350"/>
                <a:gd name="connsiteX7" fmla="*/ 7412090 w 7720927"/>
                <a:gd name="connsiteY7" fmla="*/ 1081975 h 2071350"/>
                <a:gd name="connsiteX8" fmla="*/ 7450964 w 7720927"/>
                <a:gd name="connsiteY8" fmla="*/ 1062814 h 2071350"/>
                <a:gd name="connsiteX9" fmla="*/ 7422429 w 7720927"/>
                <a:gd name="connsiteY9" fmla="*/ 1058334 h 2071350"/>
                <a:gd name="connsiteX10" fmla="*/ 7412090 w 7720927"/>
                <a:gd name="connsiteY10" fmla="*/ 1081975 h 2071350"/>
                <a:gd name="connsiteX11" fmla="*/ 7084698 w 7720927"/>
                <a:gd name="connsiteY11" fmla="*/ 1091004 h 2071350"/>
                <a:gd name="connsiteX12" fmla="*/ 7084698 w 7720927"/>
                <a:gd name="connsiteY12" fmla="*/ 1091004 h 2071350"/>
                <a:gd name="connsiteX13" fmla="*/ 5630320 w 7720927"/>
                <a:gd name="connsiteY13" fmla="*/ 1166752 h 2071350"/>
                <a:gd name="connsiteX14" fmla="*/ 5630320 w 7720927"/>
                <a:gd name="connsiteY14" fmla="*/ 1166752 h 2071350"/>
                <a:gd name="connsiteX15" fmla="*/ 7705778 w 7720927"/>
                <a:gd name="connsiteY15" fmla="*/ 2065116 h 2071350"/>
                <a:gd name="connsiteX16" fmla="*/ 7705778 w 7720927"/>
                <a:gd name="connsiteY16" fmla="*/ 2065116 h 207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20927" h="2071350">
                  <a:moveTo>
                    <a:pt x="-5784" y="4270"/>
                  </a:moveTo>
                  <a:cubicBezTo>
                    <a:pt x="14962" y="14608"/>
                    <a:pt x="-4957" y="-18613"/>
                    <a:pt x="-5784" y="4270"/>
                  </a:cubicBezTo>
                  <a:close/>
                  <a:moveTo>
                    <a:pt x="7521129" y="403343"/>
                  </a:moveTo>
                  <a:cubicBezTo>
                    <a:pt x="7529400" y="409477"/>
                    <a:pt x="7534569" y="408030"/>
                    <a:pt x="7536706" y="398932"/>
                  </a:cubicBezTo>
                  <a:cubicBezTo>
                    <a:pt x="7528160" y="392936"/>
                    <a:pt x="7522990" y="394452"/>
                    <a:pt x="7521129" y="403343"/>
                  </a:cubicBezTo>
                  <a:moveTo>
                    <a:pt x="4440405" y="569865"/>
                  </a:moveTo>
                  <a:cubicBezTo>
                    <a:pt x="4461014" y="580548"/>
                    <a:pt x="4441439" y="547051"/>
                    <a:pt x="4440405" y="569865"/>
                  </a:cubicBezTo>
                  <a:moveTo>
                    <a:pt x="7412090" y="1081975"/>
                  </a:moveTo>
                  <a:cubicBezTo>
                    <a:pt x="7425186" y="1076323"/>
                    <a:pt x="7441521" y="1074738"/>
                    <a:pt x="7450964" y="1062814"/>
                  </a:cubicBezTo>
                  <a:cubicBezTo>
                    <a:pt x="7441383" y="1061229"/>
                    <a:pt x="7431872" y="1059712"/>
                    <a:pt x="7422429" y="1058334"/>
                  </a:cubicBezTo>
                  <a:cubicBezTo>
                    <a:pt x="7418914" y="1066260"/>
                    <a:pt x="7415468" y="1074118"/>
                    <a:pt x="7412090" y="1081975"/>
                  </a:cubicBezTo>
                  <a:moveTo>
                    <a:pt x="7084698" y="1091004"/>
                  </a:moveTo>
                  <a:cubicBezTo>
                    <a:pt x="7107581" y="1090866"/>
                    <a:pt x="7074498" y="1070051"/>
                    <a:pt x="7084698" y="1091004"/>
                  </a:cubicBezTo>
                  <a:moveTo>
                    <a:pt x="5630320" y="1166752"/>
                  </a:moveTo>
                  <a:cubicBezTo>
                    <a:pt x="5653065" y="1166821"/>
                    <a:pt x="5620739" y="1145523"/>
                    <a:pt x="5630320" y="1166752"/>
                  </a:cubicBezTo>
                  <a:moveTo>
                    <a:pt x="7705778" y="2065116"/>
                  </a:moveTo>
                  <a:cubicBezTo>
                    <a:pt x="7726180" y="2076144"/>
                    <a:pt x="7707088" y="2042302"/>
                    <a:pt x="7705778" y="2065116"/>
                  </a:cubicBezTo>
                </a:path>
              </a:pathLst>
            </a:custGeom>
            <a:grpFill/>
            <a:ln w="689" cap="flat">
              <a:noFill/>
              <a:prstDash val="solid"/>
              <a:miter/>
            </a:ln>
          </p:spPr>
          <p:txBody>
            <a:bodyPr rtlCol="0" anchor="ctr"/>
            <a:lstStyle/>
            <a:p>
              <a:endParaRPr lang="en-US" sz="2400" dirty="0"/>
            </a:p>
          </p:txBody>
        </p:sp>
        <p:sp>
          <p:nvSpPr>
            <p:cNvPr id="17" name="Graphic 8">
              <a:extLst>
                <a:ext uri="{FF2B5EF4-FFF2-40B4-BE49-F238E27FC236}">
                  <a16:creationId xmlns:a16="http://schemas.microsoft.com/office/drawing/2014/main" id="{EDD73FFC-E3C8-4E94-B5A1-E742C948A44D}"/>
                </a:ext>
              </a:extLst>
            </p:cNvPr>
            <p:cNvSpPr/>
            <p:nvPr/>
          </p:nvSpPr>
          <p:spPr>
            <a:xfrm flipV="1">
              <a:off x="2098122" y="1112236"/>
              <a:ext cx="6511308" cy="2650723"/>
            </a:xfrm>
            <a:custGeom>
              <a:avLst/>
              <a:gdLst>
                <a:gd name="connsiteX0" fmla="*/ 8066 w 6511308"/>
                <a:gd name="connsiteY0" fmla="*/ 124010 h 2650723"/>
                <a:gd name="connsiteX1" fmla="*/ 34119 w 6511308"/>
                <a:gd name="connsiteY1" fmla="*/ 125664 h 2650723"/>
                <a:gd name="connsiteX2" fmla="*/ 34602 w 6511308"/>
                <a:gd name="connsiteY2" fmla="*/ 55637 h 2650723"/>
                <a:gd name="connsiteX3" fmla="*/ 57967 w 6511308"/>
                <a:gd name="connsiteY3" fmla="*/ 7459 h 2650723"/>
                <a:gd name="connsiteX4" fmla="*/ 40116 w 6511308"/>
                <a:gd name="connsiteY4" fmla="*/ 31858 h 2650723"/>
                <a:gd name="connsiteX5" fmla="*/ 64997 w 6511308"/>
                <a:gd name="connsiteY5" fmla="*/ 28205 h 2650723"/>
                <a:gd name="connsiteX6" fmla="*/ 71063 w 6511308"/>
                <a:gd name="connsiteY6" fmla="*/ 6769 h 2650723"/>
                <a:gd name="connsiteX7" fmla="*/ 2069 w 6511308"/>
                <a:gd name="connsiteY7" fmla="*/ 2289 h 2650723"/>
                <a:gd name="connsiteX8" fmla="*/ -6615 w 6511308"/>
                <a:gd name="connsiteY8" fmla="*/ 17522 h 2650723"/>
                <a:gd name="connsiteX9" fmla="*/ -5375 w 6511308"/>
                <a:gd name="connsiteY9" fmla="*/ 27929 h 2650723"/>
                <a:gd name="connsiteX10" fmla="*/ 26951 w 6511308"/>
                <a:gd name="connsiteY10" fmla="*/ 773 h 2650723"/>
                <a:gd name="connsiteX11" fmla="*/ 28536 w 6511308"/>
                <a:gd name="connsiteY11" fmla="*/ 22071 h 2650723"/>
                <a:gd name="connsiteX12" fmla="*/ 8824 w 6511308"/>
                <a:gd name="connsiteY12" fmla="*/ 46125 h 2650723"/>
                <a:gd name="connsiteX13" fmla="*/ 27778 w 6511308"/>
                <a:gd name="connsiteY13" fmla="*/ 45023 h 2650723"/>
                <a:gd name="connsiteX14" fmla="*/ 27089 w 6511308"/>
                <a:gd name="connsiteY14" fmla="*/ 69146 h 2650723"/>
                <a:gd name="connsiteX15" fmla="*/ 11512 w 6511308"/>
                <a:gd name="connsiteY15" fmla="*/ 117669 h 2650723"/>
                <a:gd name="connsiteX16" fmla="*/ 8066 w 6511308"/>
                <a:gd name="connsiteY16" fmla="*/ 124010 h 2650723"/>
                <a:gd name="connsiteX17" fmla="*/ 6336863 w 6511308"/>
                <a:gd name="connsiteY17" fmla="*/ 1063453 h 2650723"/>
                <a:gd name="connsiteX18" fmla="*/ 6351337 w 6511308"/>
                <a:gd name="connsiteY18" fmla="*/ 1062005 h 2650723"/>
                <a:gd name="connsiteX19" fmla="*/ 6339413 w 6511308"/>
                <a:gd name="connsiteY19" fmla="*/ 1058559 h 2650723"/>
                <a:gd name="connsiteX20" fmla="*/ 6336863 w 6511308"/>
                <a:gd name="connsiteY20" fmla="*/ 1063453 h 2650723"/>
                <a:gd name="connsiteX21" fmla="*/ 6502006 w 6511308"/>
                <a:gd name="connsiteY21" fmla="*/ 2647272 h 2650723"/>
                <a:gd name="connsiteX22" fmla="*/ 6502006 w 6511308"/>
                <a:gd name="connsiteY22" fmla="*/ 2647272 h 265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11308" h="2650723">
                  <a:moveTo>
                    <a:pt x="8066" y="124010"/>
                  </a:moveTo>
                  <a:cubicBezTo>
                    <a:pt x="16681" y="124561"/>
                    <a:pt x="25366" y="125113"/>
                    <a:pt x="34119" y="125664"/>
                  </a:cubicBezTo>
                  <a:cubicBezTo>
                    <a:pt x="33154" y="102368"/>
                    <a:pt x="33499" y="79002"/>
                    <a:pt x="34602" y="55637"/>
                  </a:cubicBezTo>
                  <a:cubicBezTo>
                    <a:pt x="34464" y="36062"/>
                    <a:pt x="31224" y="9457"/>
                    <a:pt x="57967" y="7459"/>
                  </a:cubicBezTo>
                  <a:cubicBezTo>
                    <a:pt x="52177" y="15798"/>
                    <a:pt x="46112" y="23863"/>
                    <a:pt x="40116" y="31858"/>
                  </a:cubicBezTo>
                  <a:cubicBezTo>
                    <a:pt x="48387" y="30755"/>
                    <a:pt x="56658" y="29514"/>
                    <a:pt x="64997" y="28205"/>
                  </a:cubicBezTo>
                  <a:cubicBezTo>
                    <a:pt x="66927" y="21106"/>
                    <a:pt x="68926" y="13937"/>
                    <a:pt x="71063" y="6769"/>
                  </a:cubicBezTo>
                  <a:cubicBezTo>
                    <a:pt x="48593" y="4081"/>
                    <a:pt x="23298" y="-11771"/>
                    <a:pt x="2069" y="2289"/>
                  </a:cubicBezTo>
                  <a:cubicBezTo>
                    <a:pt x="-136" y="6080"/>
                    <a:pt x="-4479" y="13731"/>
                    <a:pt x="-6615" y="17522"/>
                  </a:cubicBezTo>
                  <a:lnTo>
                    <a:pt x="-5375" y="27929"/>
                  </a:lnTo>
                  <a:cubicBezTo>
                    <a:pt x="5516" y="19038"/>
                    <a:pt x="16199" y="9871"/>
                    <a:pt x="26951" y="773"/>
                  </a:cubicBezTo>
                  <a:cubicBezTo>
                    <a:pt x="27365" y="6080"/>
                    <a:pt x="28123" y="16763"/>
                    <a:pt x="28536" y="22071"/>
                  </a:cubicBezTo>
                  <a:cubicBezTo>
                    <a:pt x="21988" y="30135"/>
                    <a:pt x="15372" y="38130"/>
                    <a:pt x="8824" y="46125"/>
                  </a:cubicBezTo>
                  <a:cubicBezTo>
                    <a:pt x="13580" y="45850"/>
                    <a:pt x="23022" y="45298"/>
                    <a:pt x="27778" y="45023"/>
                  </a:cubicBezTo>
                  <a:cubicBezTo>
                    <a:pt x="27571" y="51088"/>
                    <a:pt x="27227" y="63150"/>
                    <a:pt x="27089" y="69146"/>
                  </a:cubicBezTo>
                  <a:cubicBezTo>
                    <a:pt x="27365" y="86722"/>
                    <a:pt x="19783" y="102712"/>
                    <a:pt x="11512" y="117669"/>
                  </a:cubicBezTo>
                  <a:lnTo>
                    <a:pt x="8066" y="124010"/>
                  </a:lnTo>
                  <a:close/>
                  <a:moveTo>
                    <a:pt x="6336863" y="1063453"/>
                  </a:moveTo>
                  <a:cubicBezTo>
                    <a:pt x="6340515" y="1063108"/>
                    <a:pt x="6347684" y="1062419"/>
                    <a:pt x="6351337" y="1062005"/>
                  </a:cubicBezTo>
                  <a:cubicBezTo>
                    <a:pt x="6348373" y="1061178"/>
                    <a:pt x="6342377" y="1059386"/>
                    <a:pt x="6339413" y="1058559"/>
                  </a:cubicBezTo>
                  <a:lnTo>
                    <a:pt x="6336863" y="1063453"/>
                  </a:lnTo>
                  <a:moveTo>
                    <a:pt x="6502006" y="2647272"/>
                  </a:moveTo>
                  <a:cubicBezTo>
                    <a:pt x="6505590" y="2643136"/>
                    <a:pt x="6505590" y="2643136"/>
                    <a:pt x="6502006" y="2647272"/>
                  </a:cubicBezTo>
                </a:path>
              </a:pathLst>
            </a:custGeom>
            <a:grpFill/>
            <a:ln w="689" cap="flat">
              <a:noFill/>
              <a:prstDash val="solid"/>
              <a:miter/>
            </a:ln>
          </p:spPr>
          <p:txBody>
            <a:bodyPr rtlCol="0" anchor="ctr"/>
            <a:lstStyle/>
            <a:p>
              <a:endParaRPr lang="en-US" sz="2400" dirty="0"/>
            </a:p>
          </p:txBody>
        </p:sp>
        <p:sp>
          <p:nvSpPr>
            <p:cNvPr id="18" name="Graphic 8">
              <a:extLst>
                <a:ext uri="{FF2B5EF4-FFF2-40B4-BE49-F238E27FC236}">
                  <a16:creationId xmlns:a16="http://schemas.microsoft.com/office/drawing/2014/main" id="{996B4BDA-175F-4002-9C77-BFBDC093137B}"/>
                </a:ext>
              </a:extLst>
            </p:cNvPr>
            <p:cNvSpPr/>
            <p:nvPr/>
          </p:nvSpPr>
          <p:spPr>
            <a:xfrm flipV="1">
              <a:off x="3775403" y="1132431"/>
              <a:ext cx="4741442" cy="1775391"/>
            </a:xfrm>
            <a:custGeom>
              <a:avLst/>
              <a:gdLst>
                <a:gd name="connsiteX0" fmla="*/ 625599 w 4741442"/>
                <a:gd name="connsiteY0" fmla="*/ 12986 h 1775391"/>
                <a:gd name="connsiteX1" fmla="*/ 637109 w 4741442"/>
                <a:gd name="connsiteY1" fmla="*/ -3280 h 1775391"/>
                <a:gd name="connsiteX2" fmla="*/ 625599 w 4741442"/>
                <a:gd name="connsiteY2" fmla="*/ 12986 h 1775391"/>
                <a:gd name="connsiteX3" fmla="*/ 4725580 w 4741442"/>
                <a:gd name="connsiteY3" fmla="*/ 130296 h 1775391"/>
                <a:gd name="connsiteX4" fmla="*/ 4725580 w 4741442"/>
                <a:gd name="connsiteY4" fmla="*/ 130296 h 1775391"/>
                <a:gd name="connsiteX5" fmla="*/ -7612 w 4741442"/>
                <a:gd name="connsiteY5" fmla="*/ 484706 h 1775391"/>
                <a:gd name="connsiteX6" fmla="*/ -7612 w 4741442"/>
                <a:gd name="connsiteY6" fmla="*/ 484706 h 1775391"/>
                <a:gd name="connsiteX7" fmla="*/ 1975901 w 4741442"/>
                <a:gd name="connsiteY7" fmla="*/ 1440140 h 1775391"/>
                <a:gd name="connsiteX8" fmla="*/ 1975901 w 4741442"/>
                <a:gd name="connsiteY8" fmla="*/ 1440140 h 1775391"/>
                <a:gd name="connsiteX9" fmla="*/ 4224154 w 4741442"/>
                <a:gd name="connsiteY9" fmla="*/ 1771253 h 1775391"/>
                <a:gd name="connsiteX10" fmla="*/ 4224154 w 4741442"/>
                <a:gd name="connsiteY10" fmla="*/ 1771253 h 177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41442" h="1775391">
                  <a:moveTo>
                    <a:pt x="625599" y="12986"/>
                  </a:moveTo>
                  <a:cubicBezTo>
                    <a:pt x="633939" y="17260"/>
                    <a:pt x="641934" y="3406"/>
                    <a:pt x="637109" y="-3280"/>
                  </a:cubicBezTo>
                  <a:cubicBezTo>
                    <a:pt x="628632" y="-7760"/>
                    <a:pt x="619947" y="6438"/>
                    <a:pt x="625599" y="12986"/>
                  </a:cubicBezTo>
                  <a:close/>
                  <a:moveTo>
                    <a:pt x="4725580" y="130296"/>
                  </a:moveTo>
                  <a:cubicBezTo>
                    <a:pt x="4748188" y="130503"/>
                    <a:pt x="4716138" y="108929"/>
                    <a:pt x="4725580" y="130296"/>
                  </a:cubicBezTo>
                  <a:moveTo>
                    <a:pt x="-7612" y="484706"/>
                  </a:moveTo>
                  <a:cubicBezTo>
                    <a:pt x="13272" y="494838"/>
                    <a:pt x="-6922" y="461961"/>
                    <a:pt x="-7612" y="484706"/>
                  </a:cubicBezTo>
                  <a:moveTo>
                    <a:pt x="1975901" y="1440140"/>
                  </a:moveTo>
                  <a:cubicBezTo>
                    <a:pt x="1998440" y="1439450"/>
                    <a:pt x="1965907" y="1419049"/>
                    <a:pt x="1975901" y="1440140"/>
                  </a:cubicBezTo>
                  <a:moveTo>
                    <a:pt x="4224154" y="1771253"/>
                  </a:moveTo>
                  <a:cubicBezTo>
                    <a:pt x="4227393" y="1767394"/>
                    <a:pt x="4227393" y="1767394"/>
                    <a:pt x="4224154" y="1771253"/>
                  </a:cubicBezTo>
                </a:path>
              </a:pathLst>
            </a:custGeom>
            <a:grpFill/>
            <a:ln w="689" cap="flat">
              <a:noFill/>
              <a:prstDash val="solid"/>
              <a:miter/>
            </a:ln>
          </p:spPr>
          <p:txBody>
            <a:bodyPr rtlCol="0" anchor="ctr"/>
            <a:lstStyle/>
            <a:p>
              <a:endParaRPr lang="en-US" sz="2400" dirty="0"/>
            </a:p>
          </p:txBody>
        </p:sp>
        <p:sp>
          <p:nvSpPr>
            <p:cNvPr id="19" name="Graphic 8">
              <a:extLst>
                <a:ext uri="{FF2B5EF4-FFF2-40B4-BE49-F238E27FC236}">
                  <a16:creationId xmlns:a16="http://schemas.microsoft.com/office/drawing/2014/main" id="{A4F38361-F135-4DB7-A57C-8B0CBA44D08E}"/>
                </a:ext>
              </a:extLst>
            </p:cNvPr>
            <p:cNvSpPr/>
            <p:nvPr/>
          </p:nvSpPr>
          <p:spPr>
            <a:xfrm flipV="1">
              <a:off x="479772" y="1132914"/>
              <a:ext cx="8133621" cy="1939194"/>
            </a:xfrm>
            <a:custGeom>
              <a:avLst/>
              <a:gdLst>
                <a:gd name="connsiteX0" fmla="*/ -5600 w 8133621"/>
                <a:gd name="connsiteY0" fmla="*/ -1315 h 1939194"/>
                <a:gd name="connsiteX1" fmla="*/ -5600 w 8133621"/>
                <a:gd name="connsiteY1" fmla="*/ -1315 h 1939194"/>
                <a:gd name="connsiteX2" fmla="*/ 4902453 w 8133621"/>
                <a:gd name="connsiteY2" fmla="*/ 510795 h 1939194"/>
                <a:gd name="connsiteX3" fmla="*/ 4913688 w 8133621"/>
                <a:gd name="connsiteY3" fmla="*/ 499629 h 1939194"/>
                <a:gd name="connsiteX4" fmla="*/ 4902453 w 8133621"/>
                <a:gd name="connsiteY4" fmla="*/ 510795 h 1939194"/>
                <a:gd name="connsiteX5" fmla="*/ 4833322 w 8133621"/>
                <a:gd name="connsiteY5" fmla="*/ 1226440 h 1939194"/>
                <a:gd name="connsiteX6" fmla="*/ 4833322 w 8133621"/>
                <a:gd name="connsiteY6" fmla="*/ 1226440 h 1939194"/>
                <a:gd name="connsiteX7" fmla="*/ 4218032 w 8133621"/>
                <a:gd name="connsiteY7" fmla="*/ 1687752 h 1939194"/>
                <a:gd name="connsiteX8" fmla="*/ 4218032 w 8133621"/>
                <a:gd name="connsiteY8" fmla="*/ 1687752 h 1939194"/>
                <a:gd name="connsiteX9" fmla="*/ 5024657 w 8133621"/>
                <a:gd name="connsiteY9" fmla="*/ 1708223 h 1939194"/>
                <a:gd name="connsiteX10" fmla="*/ 5024657 w 8133621"/>
                <a:gd name="connsiteY10" fmla="*/ 1708223 h 1939194"/>
                <a:gd name="connsiteX11" fmla="*/ 4716219 w 8133621"/>
                <a:gd name="connsiteY11" fmla="*/ 1763914 h 1939194"/>
                <a:gd name="connsiteX12" fmla="*/ 4716219 w 8133621"/>
                <a:gd name="connsiteY12" fmla="*/ 1763914 h 1939194"/>
                <a:gd name="connsiteX13" fmla="*/ 8120062 w 8133621"/>
                <a:gd name="connsiteY13" fmla="*/ 1935191 h 1939194"/>
                <a:gd name="connsiteX14" fmla="*/ 8120062 w 8133621"/>
                <a:gd name="connsiteY14" fmla="*/ 1935191 h 193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33621" h="1939194">
                  <a:moveTo>
                    <a:pt x="-5600" y="-1315"/>
                  </a:moveTo>
                  <a:cubicBezTo>
                    <a:pt x="-2017" y="-4899"/>
                    <a:pt x="-2017" y="-4899"/>
                    <a:pt x="-5600" y="-1315"/>
                  </a:cubicBezTo>
                  <a:close/>
                  <a:moveTo>
                    <a:pt x="4902453" y="510795"/>
                  </a:moveTo>
                  <a:cubicBezTo>
                    <a:pt x="4913895" y="514448"/>
                    <a:pt x="4917686" y="510726"/>
                    <a:pt x="4913688" y="499629"/>
                  </a:cubicBezTo>
                  <a:cubicBezTo>
                    <a:pt x="4902178" y="496045"/>
                    <a:pt x="4898456" y="499767"/>
                    <a:pt x="4902453" y="510795"/>
                  </a:cubicBezTo>
                  <a:moveTo>
                    <a:pt x="4833322" y="1226440"/>
                  </a:moveTo>
                  <a:cubicBezTo>
                    <a:pt x="4856136" y="1224992"/>
                    <a:pt x="4822432" y="1205900"/>
                    <a:pt x="4833322" y="1226440"/>
                  </a:cubicBezTo>
                  <a:moveTo>
                    <a:pt x="4218032" y="1687752"/>
                  </a:moveTo>
                  <a:cubicBezTo>
                    <a:pt x="4240777" y="1686305"/>
                    <a:pt x="4207349" y="1667213"/>
                    <a:pt x="4218032" y="1687752"/>
                  </a:cubicBezTo>
                  <a:moveTo>
                    <a:pt x="5024657" y="1708223"/>
                  </a:moveTo>
                  <a:cubicBezTo>
                    <a:pt x="5047471" y="1708843"/>
                    <a:pt x="5015076" y="1686856"/>
                    <a:pt x="5024657" y="1708223"/>
                  </a:cubicBezTo>
                  <a:moveTo>
                    <a:pt x="4716219" y="1763914"/>
                  </a:moveTo>
                  <a:cubicBezTo>
                    <a:pt x="4719596" y="1760192"/>
                    <a:pt x="4719596" y="1760192"/>
                    <a:pt x="4716219" y="1763914"/>
                  </a:cubicBezTo>
                  <a:moveTo>
                    <a:pt x="8120062" y="1935191"/>
                  </a:moveTo>
                  <a:cubicBezTo>
                    <a:pt x="8142669" y="1933468"/>
                    <a:pt x="8108758" y="1914721"/>
                    <a:pt x="8120062" y="1935191"/>
                  </a:cubicBezTo>
                </a:path>
              </a:pathLst>
            </a:custGeom>
            <a:grpFill/>
            <a:ln w="689" cap="flat">
              <a:noFill/>
              <a:prstDash val="solid"/>
              <a:miter/>
            </a:ln>
          </p:spPr>
          <p:txBody>
            <a:bodyPr rtlCol="0" anchor="ctr"/>
            <a:lstStyle/>
            <a:p>
              <a:endParaRPr lang="en-US" sz="2400" dirty="0"/>
            </a:p>
          </p:txBody>
        </p:sp>
        <p:sp>
          <p:nvSpPr>
            <p:cNvPr id="20" name="Graphic 8">
              <a:extLst>
                <a:ext uri="{FF2B5EF4-FFF2-40B4-BE49-F238E27FC236}">
                  <a16:creationId xmlns:a16="http://schemas.microsoft.com/office/drawing/2014/main" id="{0C7F9C8C-EDF3-43A0-A5C8-A674C2A5727D}"/>
                </a:ext>
              </a:extLst>
            </p:cNvPr>
            <p:cNvSpPr/>
            <p:nvPr/>
          </p:nvSpPr>
          <p:spPr>
            <a:xfrm flipV="1">
              <a:off x="7942186" y="1138703"/>
              <a:ext cx="10339" cy="9476"/>
            </a:xfrm>
            <a:custGeom>
              <a:avLst/>
              <a:gdLst>
                <a:gd name="connsiteX0" fmla="*/ -7547 w 10339"/>
                <a:gd name="connsiteY0" fmla="*/ 3897 h 9476"/>
                <a:gd name="connsiteX1" fmla="*/ -7547 w 10339"/>
                <a:gd name="connsiteY1" fmla="*/ 3897 h 9476"/>
                <a:gd name="connsiteX2" fmla="*/ -7547 w 10339"/>
                <a:gd name="connsiteY2" fmla="*/ 3897 h 9476"/>
              </a:gdLst>
              <a:ahLst/>
              <a:cxnLst>
                <a:cxn ang="0">
                  <a:pos x="connsiteX0" y="connsiteY0"/>
                </a:cxn>
                <a:cxn ang="0">
                  <a:pos x="connsiteX1" y="connsiteY1"/>
                </a:cxn>
                <a:cxn ang="0">
                  <a:pos x="connsiteX2" y="connsiteY2"/>
                </a:cxn>
              </a:cxnLst>
              <a:rect l="l" t="t" r="r" b="b"/>
              <a:pathLst>
                <a:path w="10339" h="9476">
                  <a:moveTo>
                    <a:pt x="-7547" y="3897"/>
                  </a:moveTo>
                  <a:cubicBezTo>
                    <a:pt x="15129" y="2243"/>
                    <a:pt x="-18713" y="-16573"/>
                    <a:pt x="-7547" y="3897"/>
                  </a:cubicBezTo>
                  <a:lnTo>
                    <a:pt x="-7547" y="3897"/>
                  </a:lnTo>
                </a:path>
              </a:pathLst>
            </a:custGeom>
            <a:grpFill/>
            <a:ln w="689" cap="flat">
              <a:noFill/>
              <a:prstDash val="solid"/>
              <a:miter/>
            </a:ln>
          </p:spPr>
          <p:txBody>
            <a:bodyPr rtlCol="0" anchor="ctr"/>
            <a:lstStyle/>
            <a:p>
              <a:endParaRPr lang="en-US" sz="2400" dirty="0"/>
            </a:p>
          </p:txBody>
        </p:sp>
        <p:sp>
          <p:nvSpPr>
            <p:cNvPr id="21" name="Graphic 8">
              <a:extLst>
                <a:ext uri="{FF2B5EF4-FFF2-40B4-BE49-F238E27FC236}">
                  <a16:creationId xmlns:a16="http://schemas.microsoft.com/office/drawing/2014/main" id="{26A5976E-52A1-4026-917C-B1A2378EFAB4}"/>
                </a:ext>
              </a:extLst>
            </p:cNvPr>
            <p:cNvSpPr/>
            <p:nvPr/>
          </p:nvSpPr>
          <p:spPr>
            <a:xfrm flipV="1">
              <a:off x="1629940" y="1146093"/>
              <a:ext cx="6553882" cy="1551272"/>
            </a:xfrm>
            <a:custGeom>
              <a:avLst/>
              <a:gdLst>
                <a:gd name="connsiteX0" fmla="*/ 6520466 w 6553882"/>
                <a:gd name="connsiteY0" fmla="*/ 56767 h 1551272"/>
                <a:gd name="connsiteX1" fmla="*/ 6544521 w 6553882"/>
                <a:gd name="connsiteY1" fmla="*/ 38985 h 1551272"/>
                <a:gd name="connsiteX2" fmla="*/ 6547829 w 6553882"/>
                <a:gd name="connsiteY2" fmla="*/ 21616 h 1551272"/>
                <a:gd name="connsiteX3" fmla="*/ 6537490 w 6553882"/>
                <a:gd name="connsiteY3" fmla="*/ -4300 h 1551272"/>
                <a:gd name="connsiteX4" fmla="*/ 6522189 w 6553882"/>
                <a:gd name="connsiteY4" fmla="*/ 23132 h 1551272"/>
                <a:gd name="connsiteX5" fmla="*/ 6520466 w 6553882"/>
                <a:gd name="connsiteY5" fmla="*/ 56767 h 1551272"/>
                <a:gd name="connsiteX6" fmla="*/ 2173045 w 6553882"/>
                <a:gd name="connsiteY6" fmla="*/ 58835 h 1551272"/>
                <a:gd name="connsiteX7" fmla="*/ 2172908 w 6553882"/>
                <a:gd name="connsiteY7" fmla="*/ 38847 h 1551272"/>
                <a:gd name="connsiteX8" fmla="*/ 2173045 w 6553882"/>
                <a:gd name="connsiteY8" fmla="*/ 58835 h 1551272"/>
                <a:gd name="connsiteX9" fmla="*/ -5455 w 6553882"/>
                <a:gd name="connsiteY9" fmla="*/ 118799 h 1551272"/>
                <a:gd name="connsiteX10" fmla="*/ 5366 w 6553882"/>
                <a:gd name="connsiteY10" fmla="*/ 108667 h 1551272"/>
                <a:gd name="connsiteX11" fmla="*/ -5455 w 6553882"/>
                <a:gd name="connsiteY11" fmla="*/ 118799 h 1551272"/>
                <a:gd name="connsiteX12" fmla="*/ 1215476 w 6553882"/>
                <a:gd name="connsiteY12" fmla="*/ 1196780 h 1551272"/>
                <a:gd name="connsiteX13" fmla="*/ 1221541 w 6553882"/>
                <a:gd name="connsiteY13" fmla="*/ 1221180 h 1551272"/>
                <a:gd name="connsiteX14" fmla="*/ 1206240 w 6553882"/>
                <a:gd name="connsiteY14" fmla="*/ 1167901 h 1551272"/>
                <a:gd name="connsiteX15" fmla="*/ 1215476 w 6553882"/>
                <a:gd name="connsiteY15" fmla="*/ 1196780 h 1551272"/>
                <a:gd name="connsiteX16" fmla="*/ 6086861 w 6553882"/>
                <a:gd name="connsiteY16" fmla="*/ 1544781 h 1551272"/>
                <a:gd name="connsiteX17" fmla="*/ 6104712 w 6553882"/>
                <a:gd name="connsiteY17" fmla="*/ 1536372 h 1551272"/>
                <a:gd name="connsiteX18" fmla="*/ 6086861 w 6553882"/>
                <a:gd name="connsiteY18" fmla="*/ 1544781 h 155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53882" h="1551272">
                  <a:moveTo>
                    <a:pt x="6520466" y="56767"/>
                  </a:moveTo>
                  <a:cubicBezTo>
                    <a:pt x="6528392" y="50840"/>
                    <a:pt x="6536595" y="45119"/>
                    <a:pt x="6544521" y="38985"/>
                  </a:cubicBezTo>
                  <a:cubicBezTo>
                    <a:pt x="6546657" y="33402"/>
                    <a:pt x="6547691" y="27612"/>
                    <a:pt x="6547829" y="21616"/>
                  </a:cubicBezTo>
                  <a:cubicBezTo>
                    <a:pt x="6544521" y="12931"/>
                    <a:pt x="6540868" y="4384"/>
                    <a:pt x="6537490" y="-4300"/>
                  </a:cubicBezTo>
                  <a:cubicBezTo>
                    <a:pt x="6532252" y="4936"/>
                    <a:pt x="6527220" y="13965"/>
                    <a:pt x="6522189" y="23132"/>
                  </a:cubicBezTo>
                  <a:cubicBezTo>
                    <a:pt x="6521362" y="34367"/>
                    <a:pt x="6520880" y="45601"/>
                    <a:pt x="6520466" y="56767"/>
                  </a:cubicBezTo>
                  <a:close/>
                  <a:moveTo>
                    <a:pt x="2173045" y="58835"/>
                  </a:moveTo>
                  <a:cubicBezTo>
                    <a:pt x="2184142" y="58835"/>
                    <a:pt x="2183522" y="39398"/>
                    <a:pt x="2172908" y="38847"/>
                  </a:cubicBezTo>
                  <a:cubicBezTo>
                    <a:pt x="2162017" y="39605"/>
                    <a:pt x="2163120" y="57525"/>
                    <a:pt x="2173045" y="58835"/>
                  </a:cubicBezTo>
                  <a:moveTo>
                    <a:pt x="-5455" y="118799"/>
                  </a:moveTo>
                  <a:cubicBezTo>
                    <a:pt x="3781" y="121901"/>
                    <a:pt x="7434" y="118524"/>
                    <a:pt x="5366" y="108667"/>
                  </a:cubicBezTo>
                  <a:cubicBezTo>
                    <a:pt x="-4008" y="105566"/>
                    <a:pt x="-7592" y="108943"/>
                    <a:pt x="-5455" y="118799"/>
                  </a:cubicBezTo>
                  <a:moveTo>
                    <a:pt x="1215476" y="1196780"/>
                  </a:moveTo>
                  <a:cubicBezTo>
                    <a:pt x="1220438" y="1204913"/>
                    <a:pt x="1205481" y="1219595"/>
                    <a:pt x="1221541" y="1221180"/>
                  </a:cubicBezTo>
                  <a:cubicBezTo>
                    <a:pt x="1228847" y="1206568"/>
                    <a:pt x="1227675" y="1171692"/>
                    <a:pt x="1206240" y="1167901"/>
                  </a:cubicBezTo>
                  <a:cubicBezTo>
                    <a:pt x="1205275" y="1178653"/>
                    <a:pt x="1208307" y="1188716"/>
                    <a:pt x="1215476" y="1196780"/>
                  </a:cubicBezTo>
                  <a:moveTo>
                    <a:pt x="6086861" y="1544781"/>
                  </a:moveTo>
                  <a:cubicBezTo>
                    <a:pt x="6092444" y="1550019"/>
                    <a:pt x="6108021" y="1545332"/>
                    <a:pt x="6104712" y="1536372"/>
                  </a:cubicBezTo>
                  <a:cubicBezTo>
                    <a:pt x="6098923" y="1530238"/>
                    <a:pt x="6082175" y="1535407"/>
                    <a:pt x="6086861" y="1544781"/>
                  </a:cubicBezTo>
                </a:path>
              </a:pathLst>
            </a:custGeom>
            <a:grpFill/>
            <a:ln w="689" cap="flat">
              <a:noFill/>
              <a:prstDash val="solid"/>
              <a:miter/>
            </a:ln>
          </p:spPr>
          <p:txBody>
            <a:bodyPr rtlCol="0" anchor="ctr"/>
            <a:lstStyle/>
            <a:p>
              <a:endParaRPr lang="en-US" sz="2400" dirty="0"/>
            </a:p>
          </p:txBody>
        </p:sp>
        <p:sp>
          <p:nvSpPr>
            <p:cNvPr id="22" name="Graphic 8">
              <a:extLst>
                <a:ext uri="{FF2B5EF4-FFF2-40B4-BE49-F238E27FC236}">
                  <a16:creationId xmlns:a16="http://schemas.microsoft.com/office/drawing/2014/main" id="{E0609FB1-1A98-44C1-A14D-0D48A765385A}"/>
                </a:ext>
              </a:extLst>
            </p:cNvPr>
            <p:cNvSpPr/>
            <p:nvPr/>
          </p:nvSpPr>
          <p:spPr>
            <a:xfrm flipV="1">
              <a:off x="773473" y="1143309"/>
              <a:ext cx="8088677" cy="2673286"/>
            </a:xfrm>
            <a:custGeom>
              <a:avLst/>
              <a:gdLst>
                <a:gd name="connsiteX0" fmla="*/ -3818 w 8088677"/>
                <a:gd name="connsiteY0" fmla="*/ 6025 h 2673286"/>
                <a:gd name="connsiteX1" fmla="*/ -3818 w 8088677"/>
                <a:gd name="connsiteY1" fmla="*/ 6025 h 2673286"/>
                <a:gd name="connsiteX2" fmla="*/ 314270 w 8088677"/>
                <a:gd name="connsiteY2" fmla="*/ 40901 h 2673286"/>
                <a:gd name="connsiteX3" fmla="*/ 321645 w 8088677"/>
                <a:gd name="connsiteY3" fmla="*/ 27392 h 2673286"/>
                <a:gd name="connsiteX4" fmla="*/ 314270 w 8088677"/>
                <a:gd name="connsiteY4" fmla="*/ 40901 h 2673286"/>
                <a:gd name="connsiteX5" fmla="*/ 8074907 w 8088677"/>
                <a:gd name="connsiteY5" fmla="*/ 744759 h 2673286"/>
                <a:gd name="connsiteX6" fmla="*/ 8074356 w 8088677"/>
                <a:gd name="connsiteY6" fmla="*/ 724771 h 2673286"/>
                <a:gd name="connsiteX7" fmla="*/ 8074907 w 8088677"/>
                <a:gd name="connsiteY7" fmla="*/ 744759 h 2673286"/>
                <a:gd name="connsiteX8" fmla="*/ 4173360 w 8088677"/>
                <a:gd name="connsiteY8" fmla="*/ 978551 h 2673286"/>
                <a:gd name="connsiteX9" fmla="*/ 4173360 w 8088677"/>
                <a:gd name="connsiteY9" fmla="*/ 978551 h 2673286"/>
                <a:gd name="connsiteX10" fmla="*/ 1264603 w 8088677"/>
                <a:gd name="connsiteY10" fmla="*/ 1460335 h 2673286"/>
                <a:gd name="connsiteX11" fmla="*/ 1264603 w 8088677"/>
                <a:gd name="connsiteY11" fmla="*/ 1460335 h 2673286"/>
                <a:gd name="connsiteX12" fmla="*/ 4580566 w 8088677"/>
                <a:gd name="connsiteY12" fmla="*/ 1466676 h 2673286"/>
                <a:gd name="connsiteX13" fmla="*/ 4591250 w 8088677"/>
                <a:gd name="connsiteY13" fmla="*/ 1456475 h 2673286"/>
                <a:gd name="connsiteX14" fmla="*/ 4580566 w 8088677"/>
                <a:gd name="connsiteY14" fmla="*/ 1466676 h 2673286"/>
                <a:gd name="connsiteX15" fmla="*/ 7495320 w 8088677"/>
                <a:gd name="connsiteY15" fmla="*/ 1633473 h 2673286"/>
                <a:gd name="connsiteX16" fmla="*/ 7500627 w 8088677"/>
                <a:gd name="connsiteY16" fmla="*/ 1620033 h 2673286"/>
                <a:gd name="connsiteX17" fmla="*/ 7495320 w 8088677"/>
                <a:gd name="connsiteY17" fmla="*/ 1633473 h 2673286"/>
                <a:gd name="connsiteX18" fmla="*/ 947205 w 8088677"/>
                <a:gd name="connsiteY18" fmla="*/ 1743822 h 2673286"/>
                <a:gd name="connsiteX19" fmla="*/ 947205 w 8088677"/>
                <a:gd name="connsiteY19" fmla="*/ 1743822 h 2673286"/>
                <a:gd name="connsiteX20" fmla="*/ 3601975 w 8088677"/>
                <a:gd name="connsiteY20" fmla="*/ 1833355 h 2673286"/>
                <a:gd name="connsiteX21" fmla="*/ 3589361 w 8088677"/>
                <a:gd name="connsiteY21" fmla="*/ 1816123 h 2673286"/>
                <a:gd name="connsiteX22" fmla="*/ 3601975 w 8088677"/>
                <a:gd name="connsiteY22" fmla="*/ 1833355 h 2673286"/>
                <a:gd name="connsiteX23" fmla="*/ 7261803 w 8088677"/>
                <a:gd name="connsiteY23" fmla="*/ 1930538 h 2673286"/>
                <a:gd name="connsiteX24" fmla="*/ 7261803 w 8088677"/>
                <a:gd name="connsiteY24" fmla="*/ 1930538 h 2673286"/>
                <a:gd name="connsiteX25" fmla="*/ 6097873 w 8088677"/>
                <a:gd name="connsiteY25" fmla="*/ 1978648 h 2673286"/>
                <a:gd name="connsiteX26" fmla="*/ 6114553 w 8088677"/>
                <a:gd name="connsiteY26" fmla="*/ 1968585 h 2673286"/>
                <a:gd name="connsiteX27" fmla="*/ 6097873 w 8088677"/>
                <a:gd name="connsiteY27" fmla="*/ 1978648 h 2673286"/>
                <a:gd name="connsiteX28" fmla="*/ 4945247 w 8088677"/>
                <a:gd name="connsiteY28" fmla="*/ 2348084 h 2673286"/>
                <a:gd name="connsiteX29" fmla="*/ 4962547 w 8088677"/>
                <a:gd name="connsiteY29" fmla="*/ 2339537 h 2673286"/>
                <a:gd name="connsiteX30" fmla="*/ 4945247 w 8088677"/>
                <a:gd name="connsiteY30" fmla="*/ 2348084 h 2673286"/>
                <a:gd name="connsiteX31" fmla="*/ 7063507 w 8088677"/>
                <a:gd name="connsiteY31" fmla="*/ 2668997 h 2673286"/>
                <a:gd name="connsiteX32" fmla="*/ 7073294 w 8088677"/>
                <a:gd name="connsiteY32" fmla="*/ 2658382 h 2673286"/>
                <a:gd name="connsiteX33" fmla="*/ 7063507 w 8088677"/>
                <a:gd name="connsiteY33" fmla="*/ 2668997 h 267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088677" h="2673286">
                  <a:moveTo>
                    <a:pt x="-3818" y="6025"/>
                  </a:moveTo>
                  <a:cubicBezTo>
                    <a:pt x="18997" y="5198"/>
                    <a:pt x="-14364" y="-14721"/>
                    <a:pt x="-3818" y="6025"/>
                  </a:cubicBezTo>
                  <a:close/>
                  <a:moveTo>
                    <a:pt x="314270" y="40901"/>
                  </a:moveTo>
                  <a:cubicBezTo>
                    <a:pt x="323368" y="49103"/>
                    <a:pt x="329296" y="32492"/>
                    <a:pt x="321645" y="27392"/>
                  </a:cubicBezTo>
                  <a:cubicBezTo>
                    <a:pt x="312960" y="18569"/>
                    <a:pt x="306275" y="36007"/>
                    <a:pt x="314270" y="40901"/>
                  </a:cubicBezTo>
                  <a:moveTo>
                    <a:pt x="8074907" y="744759"/>
                  </a:moveTo>
                  <a:cubicBezTo>
                    <a:pt x="8086073" y="744690"/>
                    <a:pt x="8084763" y="725322"/>
                    <a:pt x="8074356" y="724771"/>
                  </a:cubicBezTo>
                  <a:cubicBezTo>
                    <a:pt x="8063259" y="725529"/>
                    <a:pt x="8065051" y="743449"/>
                    <a:pt x="8074907" y="744759"/>
                  </a:cubicBezTo>
                  <a:moveTo>
                    <a:pt x="4173360" y="978551"/>
                  </a:moveTo>
                  <a:cubicBezTo>
                    <a:pt x="4196036" y="977173"/>
                    <a:pt x="4162614" y="958012"/>
                    <a:pt x="4173360" y="978551"/>
                  </a:cubicBezTo>
                  <a:moveTo>
                    <a:pt x="1264603" y="1460335"/>
                  </a:moveTo>
                  <a:cubicBezTo>
                    <a:pt x="1287348" y="1459508"/>
                    <a:pt x="1254195" y="1439519"/>
                    <a:pt x="1264603" y="1460335"/>
                  </a:cubicBezTo>
                  <a:moveTo>
                    <a:pt x="4580566" y="1466676"/>
                  </a:moveTo>
                  <a:cubicBezTo>
                    <a:pt x="4589940" y="1469639"/>
                    <a:pt x="4593524" y="1466262"/>
                    <a:pt x="4591250" y="1456475"/>
                  </a:cubicBezTo>
                  <a:cubicBezTo>
                    <a:pt x="4581669" y="1453511"/>
                    <a:pt x="4578154" y="1456888"/>
                    <a:pt x="4580566" y="1466676"/>
                  </a:cubicBezTo>
                  <a:moveTo>
                    <a:pt x="7495320" y="1633473"/>
                  </a:moveTo>
                  <a:cubicBezTo>
                    <a:pt x="7504556" y="1637747"/>
                    <a:pt x="7512069" y="1622239"/>
                    <a:pt x="7500627" y="1620033"/>
                  </a:cubicBezTo>
                  <a:cubicBezTo>
                    <a:pt x="7490564" y="1615277"/>
                    <a:pt x="7483396" y="1631405"/>
                    <a:pt x="7495320" y="1633473"/>
                  </a:cubicBezTo>
                  <a:moveTo>
                    <a:pt x="947205" y="1743822"/>
                  </a:moveTo>
                  <a:cubicBezTo>
                    <a:pt x="969950" y="1743408"/>
                    <a:pt x="937004" y="1722869"/>
                    <a:pt x="947205" y="1743822"/>
                  </a:cubicBezTo>
                  <a:moveTo>
                    <a:pt x="3601975" y="1833355"/>
                  </a:moveTo>
                  <a:cubicBezTo>
                    <a:pt x="3616724" y="1829288"/>
                    <a:pt x="3599493" y="1805578"/>
                    <a:pt x="3589361" y="1816123"/>
                  </a:cubicBezTo>
                  <a:cubicBezTo>
                    <a:pt x="3583572" y="1824119"/>
                    <a:pt x="3593979" y="1833630"/>
                    <a:pt x="3601975" y="1833355"/>
                  </a:cubicBezTo>
                  <a:moveTo>
                    <a:pt x="7261803" y="1930538"/>
                  </a:moveTo>
                  <a:cubicBezTo>
                    <a:pt x="7281722" y="1942324"/>
                    <a:pt x="7264215" y="1907793"/>
                    <a:pt x="7261803" y="1930538"/>
                  </a:cubicBezTo>
                  <a:moveTo>
                    <a:pt x="6097873" y="1978648"/>
                  </a:moveTo>
                  <a:cubicBezTo>
                    <a:pt x="6103939" y="1986919"/>
                    <a:pt x="6121521" y="1978303"/>
                    <a:pt x="6114553" y="1968585"/>
                  </a:cubicBezTo>
                  <a:cubicBezTo>
                    <a:pt x="6108212" y="1961141"/>
                    <a:pt x="6091463" y="1969136"/>
                    <a:pt x="6097873" y="1978648"/>
                  </a:cubicBezTo>
                  <a:moveTo>
                    <a:pt x="4945247" y="2348084"/>
                  </a:moveTo>
                  <a:cubicBezTo>
                    <a:pt x="4950761" y="2354011"/>
                    <a:pt x="4966131" y="2348497"/>
                    <a:pt x="4962547" y="2339537"/>
                  </a:cubicBezTo>
                  <a:cubicBezTo>
                    <a:pt x="4956895" y="2332852"/>
                    <a:pt x="4941111" y="2338917"/>
                    <a:pt x="4945247" y="2348084"/>
                  </a:cubicBezTo>
                  <a:moveTo>
                    <a:pt x="7063507" y="2668997"/>
                  </a:moveTo>
                  <a:cubicBezTo>
                    <a:pt x="7072881" y="2671754"/>
                    <a:pt x="7076120" y="2668238"/>
                    <a:pt x="7073294" y="2658382"/>
                  </a:cubicBezTo>
                  <a:cubicBezTo>
                    <a:pt x="7063783" y="2655625"/>
                    <a:pt x="7060474" y="2659210"/>
                    <a:pt x="7063507" y="2668997"/>
                  </a:cubicBezTo>
                </a:path>
              </a:pathLst>
            </a:custGeom>
            <a:grpFill/>
            <a:ln w="689" cap="flat">
              <a:noFill/>
              <a:prstDash val="solid"/>
              <a:miter/>
            </a:ln>
          </p:spPr>
          <p:txBody>
            <a:bodyPr rtlCol="0" anchor="ctr"/>
            <a:lstStyle/>
            <a:p>
              <a:endParaRPr lang="en-US" sz="2400" dirty="0"/>
            </a:p>
          </p:txBody>
        </p:sp>
        <p:sp>
          <p:nvSpPr>
            <p:cNvPr id="23" name="Graphic 8">
              <a:extLst>
                <a:ext uri="{FF2B5EF4-FFF2-40B4-BE49-F238E27FC236}">
                  <a16:creationId xmlns:a16="http://schemas.microsoft.com/office/drawing/2014/main" id="{55E6E5F6-9F2D-4A7B-8161-B7E42C8CDEE8}"/>
                </a:ext>
              </a:extLst>
            </p:cNvPr>
            <p:cNvSpPr/>
            <p:nvPr/>
          </p:nvSpPr>
          <p:spPr>
            <a:xfrm flipV="1">
              <a:off x="1262984" y="1146900"/>
              <a:ext cx="7049933" cy="2276327"/>
            </a:xfrm>
            <a:custGeom>
              <a:avLst/>
              <a:gdLst>
                <a:gd name="connsiteX0" fmla="*/ 4952582 w 7049933"/>
                <a:gd name="connsiteY0" fmla="*/ -1066 h 2276327"/>
                <a:gd name="connsiteX1" fmla="*/ 4952582 w 7049933"/>
                <a:gd name="connsiteY1" fmla="*/ -1066 h 2276327"/>
                <a:gd name="connsiteX2" fmla="*/ 4870906 w 7049933"/>
                <a:gd name="connsiteY2" fmla="*/ 104940 h 2276327"/>
                <a:gd name="connsiteX3" fmla="*/ 4870906 w 7049933"/>
                <a:gd name="connsiteY3" fmla="*/ 104940 h 2276327"/>
                <a:gd name="connsiteX4" fmla="*/ 4899785 w 7049933"/>
                <a:gd name="connsiteY4" fmla="*/ 144847 h 2276327"/>
                <a:gd name="connsiteX5" fmla="*/ 4963333 w 7049933"/>
                <a:gd name="connsiteY5" fmla="*/ 131338 h 2276327"/>
                <a:gd name="connsiteX6" fmla="*/ 4942656 w 7049933"/>
                <a:gd name="connsiteY6" fmla="*/ 113831 h 2276327"/>
                <a:gd name="connsiteX7" fmla="*/ 4942587 w 7049933"/>
                <a:gd name="connsiteY7" fmla="*/ 130717 h 2276327"/>
                <a:gd name="connsiteX8" fmla="*/ 4933075 w 7049933"/>
                <a:gd name="connsiteY8" fmla="*/ 122998 h 2276327"/>
                <a:gd name="connsiteX9" fmla="*/ 4908814 w 7049933"/>
                <a:gd name="connsiteY9" fmla="*/ 138093 h 2276327"/>
                <a:gd name="connsiteX10" fmla="*/ 4915293 w 7049933"/>
                <a:gd name="connsiteY10" fmla="*/ 116381 h 2276327"/>
                <a:gd name="connsiteX11" fmla="*/ 4953753 w 7049933"/>
                <a:gd name="connsiteY11" fmla="*/ 112452 h 2276327"/>
                <a:gd name="connsiteX12" fmla="*/ 4883036 w 7049933"/>
                <a:gd name="connsiteY12" fmla="*/ 111901 h 2276327"/>
                <a:gd name="connsiteX13" fmla="*/ 4885655 w 7049933"/>
                <a:gd name="connsiteY13" fmla="*/ 93981 h 2276327"/>
                <a:gd name="connsiteX14" fmla="*/ 4753596 w 7049933"/>
                <a:gd name="connsiteY14" fmla="*/ 86950 h 2276327"/>
                <a:gd name="connsiteX15" fmla="*/ 4753251 w 7049933"/>
                <a:gd name="connsiteY15" fmla="*/ 87571 h 2276327"/>
                <a:gd name="connsiteX16" fmla="*/ 4795019 w 7049933"/>
                <a:gd name="connsiteY16" fmla="*/ 119207 h 2276327"/>
                <a:gd name="connsiteX17" fmla="*/ 4795364 w 7049933"/>
                <a:gd name="connsiteY17" fmla="*/ 135542 h 2276327"/>
                <a:gd name="connsiteX18" fmla="*/ 4813216 w 7049933"/>
                <a:gd name="connsiteY18" fmla="*/ 137748 h 2276327"/>
                <a:gd name="connsiteX19" fmla="*/ 4802532 w 7049933"/>
                <a:gd name="connsiteY19" fmla="*/ 125135 h 2276327"/>
                <a:gd name="connsiteX20" fmla="*/ 4812802 w 7049933"/>
                <a:gd name="connsiteY20" fmla="*/ 94739 h 2276327"/>
                <a:gd name="connsiteX21" fmla="*/ 4830309 w 7049933"/>
                <a:gd name="connsiteY21" fmla="*/ 108593 h 2276327"/>
                <a:gd name="connsiteX22" fmla="*/ 4858981 w 7049933"/>
                <a:gd name="connsiteY22" fmla="*/ 121344 h 2276327"/>
                <a:gd name="connsiteX23" fmla="*/ 4888344 w 7049933"/>
                <a:gd name="connsiteY23" fmla="*/ 116106 h 2276327"/>
                <a:gd name="connsiteX24" fmla="*/ 4893375 w 7049933"/>
                <a:gd name="connsiteY24" fmla="*/ 108110 h 2276327"/>
                <a:gd name="connsiteX25" fmla="*/ 4899785 w 7049933"/>
                <a:gd name="connsiteY25" fmla="*/ 144847 h 2276327"/>
                <a:gd name="connsiteX26" fmla="*/ -3995 w 7049933"/>
                <a:gd name="connsiteY26" fmla="*/ 357273 h 2276327"/>
                <a:gd name="connsiteX27" fmla="*/ -3995 w 7049933"/>
                <a:gd name="connsiteY27" fmla="*/ 357273 h 2276327"/>
                <a:gd name="connsiteX28" fmla="*/ 3526531 w 7049933"/>
                <a:gd name="connsiteY28" fmla="*/ 674326 h 2276327"/>
                <a:gd name="connsiteX29" fmla="*/ 3526531 w 7049933"/>
                <a:gd name="connsiteY29" fmla="*/ 674326 h 2276327"/>
                <a:gd name="connsiteX30" fmla="*/ 1833880 w 7049933"/>
                <a:gd name="connsiteY30" fmla="*/ 756071 h 2276327"/>
                <a:gd name="connsiteX31" fmla="*/ 1823128 w 7049933"/>
                <a:gd name="connsiteY31" fmla="*/ 777299 h 2276327"/>
                <a:gd name="connsiteX32" fmla="*/ 1833880 w 7049933"/>
                <a:gd name="connsiteY32" fmla="*/ 756071 h 2276327"/>
                <a:gd name="connsiteX33" fmla="*/ 2511409 w 7049933"/>
                <a:gd name="connsiteY33" fmla="*/ 818654 h 2276327"/>
                <a:gd name="connsiteX34" fmla="*/ 2511409 w 7049933"/>
                <a:gd name="connsiteY34" fmla="*/ 818654 h 2276327"/>
                <a:gd name="connsiteX35" fmla="*/ 6839668 w 7049933"/>
                <a:gd name="connsiteY35" fmla="*/ 983246 h 2276327"/>
                <a:gd name="connsiteX36" fmla="*/ 6839668 w 7049933"/>
                <a:gd name="connsiteY36" fmla="*/ 983246 h 2276327"/>
                <a:gd name="connsiteX37" fmla="*/ 5828200 w 7049933"/>
                <a:gd name="connsiteY37" fmla="*/ 1040798 h 2276327"/>
                <a:gd name="connsiteX38" fmla="*/ 5828200 w 7049933"/>
                <a:gd name="connsiteY38" fmla="*/ 1040798 h 2276327"/>
                <a:gd name="connsiteX39" fmla="*/ 5028812 w 7049933"/>
                <a:gd name="connsiteY39" fmla="*/ 1088287 h 2276327"/>
                <a:gd name="connsiteX40" fmla="*/ 5028812 w 7049933"/>
                <a:gd name="connsiteY40" fmla="*/ 1088287 h 2276327"/>
                <a:gd name="connsiteX41" fmla="*/ 5221456 w 7049933"/>
                <a:gd name="connsiteY41" fmla="*/ 1136328 h 2276327"/>
                <a:gd name="connsiteX42" fmla="*/ 5221456 w 7049933"/>
                <a:gd name="connsiteY42" fmla="*/ 1136328 h 2276327"/>
                <a:gd name="connsiteX43" fmla="*/ 5876653 w 7049933"/>
                <a:gd name="connsiteY43" fmla="*/ 1219520 h 2276327"/>
                <a:gd name="connsiteX44" fmla="*/ 5876653 w 7049933"/>
                <a:gd name="connsiteY44" fmla="*/ 1219520 h 2276327"/>
                <a:gd name="connsiteX45" fmla="*/ 7041342 w 7049933"/>
                <a:gd name="connsiteY45" fmla="*/ 1466339 h 2276327"/>
                <a:gd name="connsiteX46" fmla="*/ 7041342 w 7049933"/>
                <a:gd name="connsiteY46" fmla="*/ 1466339 h 2276327"/>
                <a:gd name="connsiteX47" fmla="*/ 2926817 w 7049933"/>
                <a:gd name="connsiteY47" fmla="*/ 1999471 h 2276327"/>
                <a:gd name="connsiteX48" fmla="*/ 2926817 w 7049933"/>
                <a:gd name="connsiteY48" fmla="*/ 1999471 h 2276327"/>
                <a:gd name="connsiteX49" fmla="*/ 3705390 w 7049933"/>
                <a:gd name="connsiteY49" fmla="*/ 2025731 h 2276327"/>
                <a:gd name="connsiteX50" fmla="*/ 3705390 w 7049933"/>
                <a:gd name="connsiteY50" fmla="*/ 2025731 h 2276327"/>
                <a:gd name="connsiteX51" fmla="*/ 3579741 w 7049933"/>
                <a:gd name="connsiteY51" fmla="*/ 2059918 h 2276327"/>
                <a:gd name="connsiteX52" fmla="*/ 3579741 w 7049933"/>
                <a:gd name="connsiteY52" fmla="*/ 2059918 h 2276327"/>
                <a:gd name="connsiteX53" fmla="*/ 6701957 w 7049933"/>
                <a:gd name="connsiteY53" fmla="*/ 2272619 h 2276327"/>
                <a:gd name="connsiteX54" fmla="*/ 6701957 w 7049933"/>
                <a:gd name="connsiteY54" fmla="*/ 2272619 h 227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049933" h="2276327">
                  <a:moveTo>
                    <a:pt x="4952582" y="-1066"/>
                  </a:moveTo>
                  <a:cubicBezTo>
                    <a:pt x="4956165" y="-4581"/>
                    <a:pt x="4956165" y="-4581"/>
                    <a:pt x="4952582" y="-1066"/>
                  </a:cubicBezTo>
                  <a:close/>
                  <a:moveTo>
                    <a:pt x="4870906" y="104940"/>
                  </a:moveTo>
                  <a:cubicBezTo>
                    <a:pt x="4874972" y="101149"/>
                    <a:pt x="4874972" y="101149"/>
                    <a:pt x="4870906" y="104940"/>
                  </a:cubicBezTo>
                  <a:moveTo>
                    <a:pt x="4899785" y="144847"/>
                  </a:moveTo>
                  <a:cubicBezTo>
                    <a:pt x="4921014" y="142504"/>
                    <a:pt x="4947825" y="150637"/>
                    <a:pt x="4963333" y="131338"/>
                  </a:cubicBezTo>
                  <a:cubicBezTo>
                    <a:pt x="4956372" y="125548"/>
                    <a:pt x="4949480" y="119690"/>
                    <a:pt x="4942656" y="113831"/>
                  </a:cubicBezTo>
                  <a:cubicBezTo>
                    <a:pt x="4942656" y="118035"/>
                    <a:pt x="4942587" y="126513"/>
                    <a:pt x="4942587" y="130717"/>
                  </a:cubicBezTo>
                  <a:cubicBezTo>
                    <a:pt x="4940244" y="128788"/>
                    <a:pt x="4935488" y="124928"/>
                    <a:pt x="4933075" y="122998"/>
                  </a:cubicBezTo>
                  <a:cubicBezTo>
                    <a:pt x="4924804" y="127892"/>
                    <a:pt x="4916671" y="132992"/>
                    <a:pt x="4908814" y="138093"/>
                  </a:cubicBezTo>
                  <a:cubicBezTo>
                    <a:pt x="4910606" y="130786"/>
                    <a:pt x="4912743" y="123549"/>
                    <a:pt x="4915293" y="116381"/>
                  </a:cubicBezTo>
                  <a:cubicBezTo>
                    <a:pt x="4927975" y="114314"/>
                    <a:pt x="4940864" y="114107"/>
                    <a:pt x="4953753" y="112452"/>
                  </a:cubicBezTo>
                  <a:cubicBezTo>
                    <a:pt x="4937349" y="88811"/>
                    <a:pt x="4901370" y="92258"/>
                    <a:pt x="4883036" y="111901"/>
                  </a:cubicBezTo>
                  <a:cubicBezTo>
                    <a:pt x="4883726" y="107421"/>
                    <a:pt x="4884966" y="98461"/>
                    <a:pt x="4885655" y="93981"/>
                  </a:cubicBezTo>
                  <a:cubicBezTo>
                    <a:pt x="4841337" y="95911"/>
                    <a:pt x="4797638" y="89570"/>
                    <a:pt x="4753596" y="86950"/>
                  </a:cubicBezTo>
                  <a:lnTo>
                    <a:pt x="4753251" y="87571"/>
                  </a:lnTo>
                  <a:cubicBezTo>
                    <a:pt x="4771999" y="91982"/>
                    <a:pt x="4777858" y="112384"/>
                    <a:pt x="4795019" y="119207"/>
                  </a:cubicBezTo>
                  <a:cubicBezTo>
                    <a:pt x="4795157" y="123274"/>
                    <a:pt x="4795295" y="131476"/>
                    <a:pt x="4795364" y="135542"/>
                  </a:cubicBezTo>
                  <a:cubicBezTo>
                    <a:pt x="4799844" y="136094"/>
                    <a:pt x="4808736" y="137197"/>
                    <a:pt x="4813216" y="137748"/>
                  </a:cubicBezTo>
                  <a:cubicBezTo>
                    <a:pt x="4810527" y="134646"/>
                    <a:pt x="4805220" y="128305"/>
                    <a:pt x="4802532" y="125135"/>
                  </a:cubicBezTo>
                  <a:cubicBezTo>
                    <a:pt x="4805909" y="115072"/>
                    <a:pt x="4809425" y="104940"/>
                    <a:pt x="4812802" y="94739"/>
                  </a:cubicBezTo>
                  <a:cubicBezTo>
                    <a:pt x="4819832" y="97772"/>
                    <a:pt x="4825622" y="102390"/>
                    <a:pt x="4830309" y="108593"/>
                  </a:cubicBezTo>
                  <a:cubicBezTo>
                    <a:pt x="4839820" y="112797"/>
                    <a:pt x="4849401" y="117002"/>
                    <a:pt x="4858981" y="121344"/>
                  </a:cubicBezTo>
                  <a:cubicBezTo>
                    <a:pt x="4868080" y="116588"/>
                    <a:pt x="4877867" y="113211"/>
                    <a:pt x="4888344" y="116106"/>
                  </a:cubicBezTo>
                  <a:lnTo>
                    <a:pt x="4893375" y="108110"/>
                  </a:lnTo>
                  <a:cubicBezTo>
                    <a:pt x="4898820" y="119690"/>
                    <a:pt x="4900061" y="132303"/>
                    <a:pt x="4899785" y="144847"/>
                  </a:cubicBezTo>
                  <a:moveTo>
                    <a:pt x="-3995" y="357273"/>
                  </a:moveTo>
                  <a:cubicBezTo>
                    <a:pt x="18819" y="356997"/>
                    <a:pt x="-13852" y="336182"/>
                    <a:pt x="-3995" y="357273"/>
                  </a:cubicBezTo>
                  <a:moveTo>
                    <a:pt x="3526531" y="674326"/>
                  </a:moveTo>
                  <a:cubicBezTo>
                    <a:pt x="3530115" y="670811"/>
                    <a:pt x="3530115" y="670811"/>
                    <a:pt x="3526531" y="674326"/>
                  </a:cubicBezTo>
                  <a:moveTo>
                    <a:pt x="1833880" y="756071"/>
                  </a:moveTo>
                  <a:cubicBezTo>
                    <a:pt x="1824851" y="754210"/>
                    <a:pt x="1804449" y="775783"/>
                    <a:pt x="1823128" y="777299"/>
                  </a:cubicBezTo>
                  <a:cubicBezTo>
                    <a:pt x="1836085" y="782331"/>
                    <a:pt x="1839531" y="764273"/>
                    <a:pt x="1833880" y="756071"/>
                  </a:cubicBezTo>
                  <a:moveTo>
                    <a:pt x="2511409" y="818654"/>
                  </a:moveTo>
                  <a:cubicBezTo>
                    <a:pt x="2534085" y="817758"/>
                    <a:pt x="2500795" y="797839"/>
                    <a:pt x="2511409" y="818654"/>
                  </a:cubicBezTo>
                  <a:moveTo>
                    <a:pt x="6839668" y="983246"/>
                  </a:moveTo>
                  <a:cubicBezTo>
                    <a:pt x="6862413" y="982764"/>
                    <a:pt x="6829330" y="962293"/>
                    <a:pt x="6839668" y="983246"/>
                  </a:cubicBezTo>
                  <a:moveTo>
                    <a:pt x="5828200" y="1040798"/>
                  </a:moveTo>
                  <a:cubicBezTo>
                    <a:pt x="5831715" y="1037214"/>
                    <a:pt x="5831715" y="1037214"/>
                    <a:pt x="5828200" y="1040798"/>
                  </a:cubicBezTo>
                  <a:moveTo>
                    <a:pt x="5028812" y="1088287"/>
                  </a:moveTo>
                  <a:cubicBezTo>
                    <a:pt x="5032396" y="1084841"/>
                    <a:pt x="5032396" y="1084841"/>
                    <a:pt x="5028812" y="1088287"/>
                  </a:cubicBezTo>
                  <a:moveTo>
                    <a:pt x="5221456" y="1136328"/>
                  </a:moveTo>
                  <a:cubicBezTo>
                    <a:pt x="5224971" y="1132744"/>
                    <a:pt x="5224971" y="1132744"/>
                    <a:pt x="5221456" y="1136328"/>
                  </a:cubicBezTo>
                  <a:moveTo>
                    <a:pt x="5876653" y="1219520"/>
                  </a:moveTo>
                  <a:cubicBezTo>
                    <a:pt x="5880307" y="1216143"/>
                    <a:pt x="5880307" y="1216143"/>
                    <a:pt x="5876653" y="1219520"/>
                  </a:cubicBezTo>
                  <a:moveTo>
                    <a:pt x="7041342" y="1466339"/>
                  </a:moveTo>
                  <a:cubicBezTo>
                    <a:pt x="7044926" y="1462893"/>
                    <a:pt x="7044926" y="1462893"/>
                    <a:pt x="7041342" y="1466339"/>
                  </a:cubicBezTo>
                  <a:moveTo>
                    <a:pt x="2926817" y="1999471"/>
                  </a:moveTo>
                  <a:cubicBezTo>
                    <a:pt x="2947771" y="2009465"/>
                    <a:pt x="2927162" y="1976657"/>
                    <a:pt x="2926817" y="1999471"/>
                  </a:cubicBezTo>
                  <a:moveTo>
                    <a:pt x="3705390" y="2025731"/>
                  </a:moveTo>
                  <a:cubicBezTo>
                    <a:pt x="3708836" y="2022078"/>
                    <a:pt x="3708836" y="2022078"/>
                    <a:pt x="3705390" y="2025731"/>
                  </a:cubicBezTo>
                  <a:moveTo>
                    <a:pt x="3579741" y="2059918"/>
                  </a:moveTo>
                  <a:cubicBezTo>
                    <a:pt x="3602417" y="2058608"/>
                    <a:pt x="3569195" y="2039171"/>
                    <a:pt x="3579741" y="2059918"/>
                  </a:cubicBezTo>
                  <a:moveTo>
                    <a:pt x="6701957" y="2272619"/>
                  </a:moveTo>
                  <a:cubicBezTo>
                    <a:pt x="6724496" y="2273033"/>
                    <a:pt x="6692859" y="2251046"/>
                    <a:pt x="6701957" y="2272619"/>
                  </a:cubicBezTo>
                </a:path>
              </a:pathLst>
            </a:custGeom>
            <a:grpFill/>
            <a:ln w="689" cap="flat">
              <a:noFill/>
              <a:prstDash val="solid"/>
              <a:miter/>
            </a:ln>
          </p:spPr>
          <p:txBody>
            <a:bodyPr rtlCol="0" anchor="ctr"/>
            <a:lstStyle/>
            <a:p>
              <a:endParaRPr lang="en-US" sz="2400" dirty="0"/>
            </a:p>
          </p:txBody>
        </p:sp>
        <p:sp>
          <p:nvSpPr>
            <p:cNvPr id="24" name="Graphic 8">
              <a:extLst>
                <a:ext uri="{FF2B5EF4-FFF2-40B4-BE49-F238E27FC236}">
                  <a16:creationId xmlns:a16="http://schemas.microsoft.com/office/drawing/2014/main" id="{EEE80D14-0638-46A8-8AED-66647C4F2A55}"/>
                </a:ext>
              </a:extLst>
            </p:cNvPr>
            <p:cNvSpPr/>
            <p:nvPr/>
          </p:nvSpPr>
          <p:spPr>
            <a:xfrm flipV="1">
              <a:off x="8303475" y="1145182"/>
              <a:ext cx="29982" cy="38599"/>
            </a:xfrm>
            <a:custGeom>
              <a:avLst/>
              <a:gdLst>
                <a:gd name="connsiteX0" fmla="*/ -7931 w 29982"/>
                <a:gd name="connsiteY0" fmla="*/ 33055 h 38599"/>
                <a:gd name="connsiteX1" fmla="*/ 9645 w 29982"/>
                <a:gd name="connsiteY1" fmla="*/ 8380 h 38599"/>
                <a:gd name="connsiteX2" fmla="*/ 19639 w 29982"/>
                <a:gd name="connsiteY2" fmla="*/ 11550 h 38599"/>
                <a:gd name="connsiteX3" fmla="*/ -10343 w 29982"/>
                <a:gd name="connsiteY3" fmla="*/ 109 h 38599"/>
                <a:gd name="connsiteX4" fmla="*/ -7931 w 29982"/>
                <a:gd name="connsiteY4" fmla="*/ 33055 h 38599"/>
                <a:gd name="connsiteX5" fmla="*/ -7931 w 29982"/>
                <a:gd name="connsiteY5" fmla="*/ 33055 h 3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82" h="38599">
                  <a:moveTo>
                    <a:pt x="-7931" y="33055"/>
                  </a:moveTo>
                  <a:cubicBezTo>
                    <a:pt x="1512" y="27265"/>
                    <a:pt x="14814" y="23061"/>
                    <a:pt x="9645" y="8380"/>
                  </a:cubicBezTo>
                  <a:cubicBezTo>
                    <a:pt x="12195" y="9138"/>
                    <a:pt x="17158" y="10723"/>
                    <a:pt x="19639" y="11550"/>
                  </a:cubicBezTo>
                  <a:cubicBezTo>
                    <a:pt x="13091" y="-1339"/>
                    <a:pt x="2546" y="-12780"/>
                    <a:pt x="-10343" y="109"/>
                  </a:cubicBezTo>
                  <a:cubicBezTo>
                    <a:pt x="-9585" y="11068"/>
                    <a:pt x="-8827" y="22096"/>
                    <a:pt x="-7931" y="33055"/>
                  </a:cubicBezTo>
                  <a:lnTo>
                    <a:pt x="-7931" y="33055"/>
                  </a:lnTo>
                </a:path>
              </a:pathLst>
            </a:custGeom>
            <a:grpFill/>
            <a:ln w="689" cap="flat">
              <a:noFill/>
              <a:prstDash val="solid"/>
              <a:miter/>
            </a:ln>
          </p:spPr>
          <p:txBody>
            <a:bodyPr rtlCol="0" anchor="ctr"/>
            <a:lstStyle/>
            <a:p>
              <a:endParaRPr lang="en-US" sz="2400" dirty="0"/>
            </a:p>
          </p:txBody>
        </p:sp>
        <p:sp>
          <p:nvSpPr>
            <p:cNvPr id="25" name="Graphic 8">
              <a:extLst>
                <a:ext uri="{FF2B5EF4-FFF2-40B4-BE49-F238E27FC236}">
                  <a16:creationId xmlns:a16="http://schemas.microsoft.com/office/drawing/2014/main" id="{FAA9B4E2-3E50-49E2-9F59-9BAF5946E180}"/>
                </a:ext>
              </a:extLst>
            </p:cNvPr>
            <p:cNvSpPr/>
            <p:nvPr/>
          </p:nvSpPr>
          <p:spPr>
            <a:xfrm flipV="1">
              <a:off x="456042" y="1153453"/>
              <a:ext cx="7580626" cy="2621506"/>
            </a:xfrm>
            <a:custGeom>
              <a:avLst/>
              <a:gdLst>
                <a:gd name="connsiteX0" fmla="*/ 817482 w 7580626"/>
                <a:gd name="connsiteY0" fmla="*/ 7923 h 2621506"/>
                <a:gd name="connsiteX1" fmla="*/ 817482 w 7580626"/>
                <a:gd name="connsiteY1" fmla="*/ 7923 h 2621506"/>
                <a:gd name="connsiteX2" fmla="*/ 1135155 w 7580626"/>
                <a:gd name="connsiteY2" fmla="*/ 13644 h 2621506"/>
                <a:gd name="connsiteX3" fmla="*/ 1147010 w 7580626"/>
                <a:gd name="connsiteY3" fmla="*/ -2622 h 2621506"/>
                <a:gd name="connsiteX4" fmla="*/ 1135155 w 7580626"/>
                <a:gd name="connsiteY4" fmla="*/ 13644 h 2621506"/>
                <a:gd name="connsiteX5" fmla="*/ 1535814 w 7580626"/>
                <a:gd name="connsiteY5" fmla="*/ 915454 h 2621506"/>
                <a:gd name="connsiteX6" fmla="*/ 1531058 w 7580626"/>
                <a:gd name="connsiteY6" fmla="*/ 884851 h 2621506"/>
                <a:gd name="connsiteX7" fmla="*/ 1535814 w 7580626"/>
                <a:gd name="connsiteY7" fmla="*/ 915454 h 2621506"/>
                <a:gd name="connsiteX8" fmla="*/ -3204 w 7580626"/>
                <a:gd name="connsiteY8" fmla="*/ 1267452 h 2621506"/>
                <a:gd name="connsiteX9" fmla="*/ -3204 w 7580626"/>
                <a:gd name="connsiteY9" fmla="*/ 1267452 h 2621506"/>
                <a:gd name="connsiteX10" fmla="*/ 5807349 w 7580626"/>
                <a:gd name="connsiteY10" fmla="*/ 1680655 h 2621506"/>
                <a:gd name="connsiteX11" fmla="*/ 5812173 w 7580626"/>
                <a:gd name="connsiteY11" fmla="*/ 1664527 h 2621506"/>
                <a:gd name="connsiteX12" fmla="*/ 5807349 w 7580626"/>
                <a:gd name="connsiteY12" fmla="*/ 1680655 h 2621506"/>
                <a:gd name="connsiteX13" fmla="*/ 7566994 w 7580626"/>
                <a:gd name="connsiteY13" fmla="*/ 2618099 h 2621506"/>
                <a:gd name="connsiteX14" fmla="*/ 7561894 w 7580626"/>
                <a:gd name="connsiteY14" fmla="*/ 2587221 h 2621506"/>
                <a:gd name="connsiteX15" fmla="*/ 7566994 w 7580626"/>
                <a:gd name="connsiteY15" fmla="*/ 2618099 h 2621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80626" h="2621506">
                  <a:moveTo>
                    <a:pt x="817482" y="7923"/>
                  </a:moveTo>
                  <a:cubicBezTo>
                    <a:pt x="840158" y="7165"/>
                    <a:pt x="807074" y="-12961"/>
                    <a:pt x="817482" y="7923"/>
                  </a:cubicBezTo>
                  <a:close/>
                  <a:moveTo>
                    <a:pt x="1135155" y="13644"/>
                  </a:moveTo>
                  <a:cubicBezTo>
                    <a:pt x="1143357" y="17780"/>
                    <a:pt x="1152455" y="4132"/>
                    <a:pt x="1147010" y="-2622"/>
                  </a:cubicBezTo>
                  <a:cubicBezTo>
                    <a:pt x="1138533" y="-6827"/>
                    <a:pt x="1130193" y="6889"/>
                    <a:pt x="1135155" y="13644"/>
                  </a:cubicBezTo>
                  <a:moveTo>
                    <a:pt x="1535814" y="915454"/>
                  </a:moveTo>
                  <a:cubicBezTo>
                    <a:pt x="1545119" y="910767"/>
                    <a:pt x="1550909" y="876167"/>
                    <a:pt x="1531058" y="884851"/>
                  </a:cubicBezTo>
                  <a:cubicBezTo>
                    <a:pt x="1528508" y="894570"/>
                    <a:pt x="1532092" y="906287"/>
                    <a:pt x="1535814" y="915454"/>
                  </a:cubicBezTo>
                  <a:moveTo>
                    <a:pt x="-3204" y="1267452"/>
                  </a:moveTo>
                  <a:cubicBezTo>
                    <a:pt x="19539" y="1267383"/>
                    <a:pt x="-13405" y="1246292"/>
                    <a:pt x="-3204" y="1267452"/>
                  </a:cubicBezTo>
                  <a:moveTo>
                    <a:pt x="5807349" y="1680655"/>
                  </a:moveTo>
                  <a:cubicBezTo>
                    <a:pt x="5816102" y="1678587"/>
                    <a:pt x="5817687" y="1673211"/>
                    <a:pt x="5812173" y="1664527"/>
                  </a:cubicBezTo>
                  <a:cubicBezTo>
                    <a:pt x="5803213" y="1666663"/>
                    <a:pt x="5801559" y="1672039"/>
                    <a:pt x="5807349" y="1680655"/>
                  </a:cubicBezTo>
                  <a:moveTo>
                    <a:pt x="7566994" y="2618099"/>
                  </a:moveTo>
                  <a:cubicBezTo>
                    <a:pt x="7576231" y="2613688"/>
                    <a:pt x="7581882" y="2578605"/>
                    <a:pt x="7561894" y="2587221"/>
                  </a:cubicBezTo>
                  <a:cubicBezTo>
                    <a:pt x="7559413" y="2597008"/>
                    <a:pt x="7563548" y="2608725"/>
                    <a:pt x="7566994" y="2618099"/>
                  </a:cubicBezTo>
                </a:path>
              </a:pathLst>
            </a:custGeom>
            <a:grpFill/>
            <a:ln w="689" cap="flat">
              <a:noFill/>
              <a:prstDash val="solid"/>
              <a:miter/>
            </a:ln>
          </p:spPr>
          <p:txBody>
            <a:bodyPr rtlCol="0" anchor="ctr"/>
            <a:lstStyle/>
            <a:p>
              <a:endParaRPr lang="en-US" sz="2400" dirty="0"/>
            </a:p>
          </p:txBody>
        </p:sp>
        <p:sp>
          <p:nvSpPr>
            <p:cNvPr id="26" name="Graphic 8">
              <a:extLst>
                <a:ext uri="{FF2B5EF4-FFF2-40B4-BE49-F238E27FC236}">
                  <a16:creationId xmlns:a16="http://schemas.microsoft.com/office/drawing/2014/main" id="{4141320D-F923-4C08-BE5D-BA6735FD733A}"/>
                </a:ext>
              </a:extLst>
            </p:cNvPr>
            <p:cNvSpPr/>
            <p:nvPr/>
          </p:nvSpPr>
          <p:spPr>
            <a:xfrm flipV="1">
              <a:off x="7372176" y="1164588"/>
              <a:ext cx="14510" cy="13759"/>
            </a:xfrm>
            <a:custGeom>
              <a:avLst/>
              <a:gdLst>
                <a:gd name="connsiteX0" fmla="*/ -7449 w 14510"/>
                <a:gd name="connsiteY0" fmla="*/ 6815 h 13759"/>
                <a:gd name="connsiteX1" fmla="*/ 3716 w 14510"/>
                <a:gd name="connsiteY1" fmla="*/ -4075 h 13759"/>
                <a:gd name="connsiteX2" fmla="*/ -7449 w 14510"/>
                <a:gd name="connsiteY2" fmla="*/ 6815 h 13759"/>
                <a:gd name="connsiteX3" fmla="*/ -7449 w 14510"/>
                <a:gd name="connsiteY3" fmla="*/ 6815 h 13759"/>
              </a:gdLst>
              <a:ahLst/>
              <a:cxnLst>
                <a:cxn ang="0">
                  <a:pos x="connsiteX0" y="connsiteY0"/>
                </a:cxn>
                <a:cxn ang="0">
                  <a:pos x="connsiteX1" y="connsiteY1"/>
                </a:cxn>
                <a:cxn ang="0">
                  <a:pos x="connsiteX2" y="connsiteY2"/>
                </a:cxn>
                <a:cxn ang="0">
                  <a:pos x="connsiteX3" y="connsiteY3"/>
                </a:cxn>
              </a:cxnLst>
              <a:rect l="l" t="t" r="r" b="b"/>
              <a:pathLst>
                <a:path w="14510" h="13759">
                  <a:moveTo>
                    <a:pt x="-7449" y="6815"/>
                  </a:moveTo>
                  <a:cubicBezTo>
                    <a:pt x="4130" y="10537"/>
                    <a:pt x="7852" y="6884"/>
                    <a:pt x="3716" y="-4075"/>
                  </a:cubicBezTo>
                  <a:cubicBezTo>
                    <a:pt x="-8001" y="-7866"/>
                    <a:pt x="-11723" y="-4281"/>
                    <a:pt x="-7449" y="6815"/>
                  </a:cubicBezTo>
                  <a:lnTo>
                    <a:pt x="-7449" y="6815"/>
                  </a:lnTo>
                </a:path>
              </a:pathLst>
            </a:custGeom>
            <a:grpFill/>
            <a:ln w="689" cap="flat">
              <a:noFill/>
              <a:prstDash val="solid"/>
              <a:miter/>
            </a:ln>
          </p:spPr>
          <p:txBody>
            <a:bodyPr rtlCol="0" anchor="ctr"/>
            <a:lstStyle/>
            <a:p>
              <a:endParaRPr lang="en-US" sz="2400" dirty="0"/>
            </a:p>
          </p:txBody>
        </p:sp>
        <p:sp>
          <p:nvSpPr>
            <p:cNvPr id="27" name="Graphic 8">
              <a:extLst>
                <a:ext uri="{FF2B5EF4-FFF2-40B4-BE49-F238E27FC236}">
                  <a16:creationId xmlns:a16="http://schemas.microsoft.com/office/drawing/2014/main" id="{B58F19FC-354B-484C-B7A4-98E6D002E61F}"/>
                </a:ext>
              </a:extLst>
            </p:cNvPr>
            <p:cNvSpPr/>
            <p:nvPr/>
          </p:nvSpPr>
          <p:spPr>
            <a:xfrm flipV="1">
              <a:off x="7715868" y="1166623"/>
              <a:ext cx="11936" cy="12335"/>
            </a:xfrm>
            <a:custGeom>
              <a:avLst/>
              <a:gdLst>
                <a:gd name="connsiteX0" fmla="*/ -8672 w 11936"/>
                <a:gd name="connsiteY0" fmla="*/ 5775 h 12335"/>
                <a:gd name="connsiteX1" fmla="*/ 1528 w 11936"/>
                <a:gd name="connsiteY1" fmla="*/ -4494 h 12335"/>
                <a:gd name="connsiteX2" fmla="*/ -8672 w 11936"/>
                <a:gd name="connsiteY2" fmla="*/ 5775 h 12335"/>
                <a:gd name="connsiteX3" fmla="*/ -8672 w 11936"/>
                <a:gd name="connsiteY3" fmla="*/ 5775 h 12335"/>
              </a:gdLst>
              <a:ahLst/>
              <a:cxnLst>
                <a:cxn ang="0">
                  <a:pos x="connsiteX0" y="connsiteY0"/>
                </a:cxn>
                <a:cxn ang="0">
                  <a:pos x="connsiteX1" y="connsiteY1"/>
                </a:cxn>
                <a:cxn ang="0">
                  <a:pos x="connsiteX2" y="connsiteY2"/>
                </a:cxn>
                <a:cxn ang="0">
                  <a:pos x="connsiteX3" y="connsiteY3"/>
                </a:cxn>
              </a:cxnLst>
              <a:rect l="l" t="t" r="r" b="b"/>
              <a:pathLst>
                <a:path w="11936" h="12335">
                  <a:moveTo>
                    <a:pt x="-8672" y="5775"/>
                  </a:moveTo>
                  <a:cubicBezTo>
                    <a:pt x="632" y="8739"/>
                    <a:pt x="4079" y="5293"/>
                    <a:pt x="1528" y="-4494"/>
                  </a:cubicBezTo>
                  <a:cubicBezTo>
                    <a:pt x="-7983" y="-7458"/>
                    <a:pt x="-11429" y="-4081"/>
                    <a:pt x="-8672" y="5775"/>
                  </a:cubicBezTo>
                  <a:lnTo>
                    <a:pt x="-8672" y="5775"/>
                  </a:lnTo>
                </a:path>
              </a:pathLst>
            </a:custGeom>
            <a:grpFill/>
            <a:ln w="689" cap="flat">
              <a:noFill/>
              <a:prstDash val="solid"/>
              <a:miter/>
            </a:ln>
          </p:spPr>
          <p:txBody>
            <a:bodyPr rtlCol="0" anchor="ctr"/>
            <a:lstStyle/>
            <a:p>
              <a:endParaRPr lang="en-US" sz="2400" dirty="0"/>
            </a:p>
          </p:txBody>
        </p:sp>
        <p:sp>
          <p:nvSpPr>
            <p:cNvPr id="28" name="Graphic 8">
              <a:extLst>
                <a:ext uri="{FF2B5EF4-FFF2-40B4-BE49-F238E27FC236}">
                  <a16:creationId xmlns:a16="http://schemas.microsoft.com/office/drawing/2014/main" id="{ACB5DBE1-609A-43DF-A20E-3FE4DE9F168F}"/>
                </a:ext>
              </a:extLst>
            </p:cNvPr>
            <p:cNvSpPr/>
            <p:nvPr/>
          </p:nvSpPr>
          <p:spPr>
            <a:xfrm flipV="1">
              <a:off x="825222" y="1164470"/>
              <a:ext cx="7630009" cy="2520550"/>
            </a:xfrm>
            <a:custGeom>
              <a:avLst/>
              <a:gdLst>
                <a:gd name="connsiteX0" fmla="*/ 1179579 w 7630009"/>
                <a:gd name="connsiteY0" fmla="*/ -681 h 2520550"/>
                <a:gd name="connsiteX1" fmla="*/ 1179579 w 7630009"/>
                <a:gd name="connsiteY1" fmla="*/ -681 h 2520550"/>
                <a:gd name="connsiteX2" fmla="*/ 3640808 w 7630009"/>
                <a:gd name="connsiteY2" fmla="*/ 288595 h 2520550"/>
                <a:gd name="connsiteX3" fmla="*/ 3640808 w 7630009"/>
                <a:gd name="connsiteY3" fmla="*/ 288595 h 2520550"/>
                <a:gd name="connsiteX4" fmla="*/ -5718 w 7630009"/>
                <a:gd name="connsiteY4" fmla="*/ 460700 h 2520550"/>
                <a:gd name="connsiteX5" fmla="*/ -5718 w 7630009"/>
                <a:gd name="connsiteY5" fmla="*/ 460700 h 2520550"/>
                <a:gd name="connsiteX6" fmla="*/ 7065673 w 7630009"/>
                <a:gd name="connsiteY6" fmla="*/ 1474650 h 2520550"/>
                <a:gd name="connsiteX7" fmla="*/ 7074426 w 7630009"/>
                <a:gd name="connsiteY7" fmla="*/ 1465276 h 2520550"/>
                <a:gd name="connsiteX8" fmla="*/ 7065673 w 7630009"/>
                <a:gd name="connsiteY8" fmla="*/ 1474650 h 2520550"/>
                <a:gd name="connsiteX9" fmla="*/ 3446372 w 7630009"/>
                <a:gd name="connsiteY9" fmla="*/ 1518624 h 2520550"/>
                <a:gd name="connsiteX10" fmla="*/ 3453333 w 7630009"/>
                <a:gd name="connsiteY10" fmla="*/ 1457901 h 2520550"/>
                <a:gd name="connsiteX11" fmla="*/ 3489381 w 7630009"/>
                <a:gd name="connsiteY11" fmla="*/ 1508423 h 2520550"/>
                <a:gd name="connsiteX12" fmla="*/ 3496480 w 7630009"/>
                <a:gd name="connsiteY12" fmla="*/ 1513179 h 2520550"/>
                <a:gd name="connsiteX13" fmla="*/ 3498134 w 7630009"/>
                <a:gd name="connsiteY13" fmla="*/ 1514282 h 2520550"/>
                <a:gd name="connsiteX14" fmla="*/ 3513091 w 7630009"/>
                <a:gd name="connsiteY14" fmla="*/ 1514695 h 2520550"/>
                <a:gd name="connsiteX15" fmla="*/ 3514263 w 7630009"/>
                <a:gd name="connsiteY15" fmla="*/ 1489951 h 2520550"/>
                <a:gd name="connsiteX16" fmla="*/ 3494826 w 7630009"/>
                <a:gd name="connsiteY16" fmla="*/ 1488021 h 2520550"/>
                <a:gd name="connsiteX17" fmla="*/ 3498479 w 7630009"/>
                <a:gd name="connsiteY17" fmla="*/ 1474857 h 2520550"/>
                <a:gd name="connsiteX18" fmla="*/ 3486141 w 7630009"/>
                <a:gd name="connsiteY18" fmla="*/ 1492915 h 2520550"/>
                <a:gd name="connsiteX19" fmla="*/ 3474700 w 7630009"/>
                <a:gd name="connsiteY19" fmla="*/ 1422543 h 2520550"/>
                <a:gd name="connsiteX20" fmla="*/ 3499582 w 7630009"/>
                <a:gd name="connsiteY20" fmla="*/ 1437982 h 2520550"/>
                <a:gd name="connsiteX21" fmla="*/ 3501718 w 7630009"/>
                <a:gd name="connsiteY21" fmla="*/ 1460314 h 2520550"/>
                <a:gd name="connsiteX22" fmla="*/ 3505923 w 7630009"/>
                <a:gd name="connsiteY22" fmla="*/ 1453835 h 2520550"/>
                <a:gd name="connsiteX23" fmla="*/ 3507163 w 7630009"/>
                <a:gd name="connsiteY23" fmla="*/ 1420820 h 2520550"/>
                <a:gd name="connsiteX24" fmla="*/ 3486831 w 7630009"/>
                <a:gd name="connsiteY24" fmla="*/ 1428471 h 2520550"/>
                <a:gd name="connsiteX25" fmla="*/ 3495584 w 7630009"/>
                <a:gd name="connsiteY25" fmla="*/ 1415926 h 2520550"/>
                <a:gd name="connsiteX26" fmla="*/ 3485176 w 7630009"/>
                <a:gd name="connsiteY26" fmla="*/ 1401107 h 2520550"/>
                <a:gd name="connsiteX27" fmla="*/ 3483109 w 7630009"/>
                <a:gd name="connsiteY27" fmla="*/ 1393457 h 2520550"/>
                <a:gd name="connsiteX28" fmla="*/ 3490621 w 7630009"/>
                <a:gd name="connsiteY28" fmla="*/ 1392078 h 2520550"/>
                <a:gd name="connsiteX29" fmla="*/ 3466498 w 7630009"/>
                <a:gd name="connsiteY29" fmla="*/ 1373676 h 2520550"/>
                <a:gd name="connsiteX30" fmla="*/ 3454712 w 7630009"/>
                <a:gd name="connsiteY30" fmla="*/ 1456730 h 2520550"/>
                <a:gd name="connsiteX31" fmla="*/ 3451679 w 7630009"/>
                <a:gd name="connsiteY31" fmla="*/ 1427850 h 2520550"/>
                <a:gd name="connsiteX32" fmla="*/ 3446372 w 7630009"/>
                <a:gd name="connsiteY32" fmla="*/ 1518624 h 2520550"/>
                <a:gd name="connsiteX33" fmla="*/ 7237640 w 7630009"/>
                <a:gd name="connsiteY33" fmla="*/ 1550949 h 2520550"/>
                <a:gd name="connsiteX34" fmla="*/ 7237640 w 7630009"/>
                <a:gd name="connsiteY34" fmla="*/ 1550949 h 2520550"/>
                <a:gd name="connsiteX35" fmla="*/ 6210732 w 7630009"/>
                <a:gd name="connsiteY35" fmla="*/ 1832231 h 2520550"/>
                <a:gd name="connsiteX36" fmla="*/ 6210732 w 7630009"/>
                <a:gd name="connsiteY36" fmla="*/ 1832231 h 2520550"/>
                <a:gd name="connsiteX37" fmla="*/ 1544604 w 7630009"/>
                <a:gd name="connsiteY37" fmla="*/ 1989448 h 2520550"/>
                <a:gd name="connsiteX38" fmla="*/ 1557079 w 7630009"/>
                <a:gd name="connsiteY38" fmla="*/ 2003578 h 2520550"/>
                <a:gd name="connsiteX39" fmla="*/ 1544604 w 7630009"/>
                <a:gd name="connsiteY39" fmla="*/ 1989448 h 2520550"/>
                <a:gd name="connsiteX40" fmla="*/ 7127292 w 7630009"/>
                <a:gd name="connsiteY40" fmla="*/ 2474057 h 2520550"/>
                <a:gd name="connsiteX41" fmla="*/ 7138733 w 7630009"/>
                <a:gd name="connsiteY41" fmla="*/ 2462960 h 2520550"/>
                <a:gd name="connsiteX42" fmla="*/ 7127292 w 7630009"/>
                <a:gd name="connsiteY42" fmla="*/ 2474057 h 2520550"/>
                <a:gd name="connsiteX43" fmla="*/ 7612107 w 7630009"/>
                <a:gd name="connsiteY43" fmla="*/ 2516446 h 2520550"/>
                <a:gd name="connsiteX44" fmla="*/ 7621826 w 7630009"/>
                <a:gd name="connsiteY44" fmla="*/ 2498732 h 2520550"/>
                <a:gd name="connsiteX45" fmla="*/ 7612107 w 7630009"/>
                <a:gd name="connsiteY45" fmla="*/ 2516446 h 252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7630009" h="2520550">
                  <a:moveTo>
                    <a:pt x="1179579" y="-681"/>
                  </a:moveTo>
                  <a:cubicBezTo>
                    <a:pt x="1183301" y="-4403"/>
                    <a:pt x="1183301" y="-4403"/>
                    <a:pt x="1179579" y="-681"/>
                  </a:cubicBezTo>
                  <a:close/>
                  <a:moveTo>
                    <a:pt x="3640808" y="288595"/>
                  </a:moveTo>
                  <a:cubicBezTo>
                    <a:pt x="3644599" y="285218"/>
                    <a:pt x="3644599" y="285218"/>
                    <a:pt x="3640808" y="288595"/>
                  </a:cubicBezTo>
                  <a:moveTo>
                    <a:pt x="-5718" y="460700"/>
                  </a:moveTo>
                  <a:cubicBezTo>
                    <a:pt x="-1720" y="457323"/>
                    <a:pt x="-1720" y="457323"/>
                    <a:pt x="-5718" y="460700"/>
                  </a:cubicBezTo>
                  <a:moveTo>
                    <a:pt x="7065673" y="1474650"/>
                  </a:moveTo>
                  <a:cubicBezTo>
                    <a:pt x="7075529" y="1478165"/>
                    <a:pt x="7078424" y="1475064"/>
                    <a:pt x="7074426" y="1465276"/>
                  </a:cubicBezTo>
                  <a:cubicBezTo>
                    <a:pt x="7064501" y="1461692"/>
                    <a:pt x="7061607" y="1464863"/>
                    <a:pt x="7065673" y="1474650"/>
                  </a:cubicBezTo>
                  <a:moveTo>
                    <a:pt x="3446372" y="1518624"/>
                  </a:moveTo>
                  <a:cubicBezTo>
                    <a:pt x="3448440" y="1498429"/>
                    <a:pt x="3450714" y="1478165"/>
                    <a:pt x="3453333" y="1457901"/>
                  </a:cubicBezTo>
                  <a:cubicBezTo>
                    <a:pt x="3470702" y="1470515"/>
                    <a:pt x="3478215" y="1490985"/>
                    <a:pt x="3489381" y="1508423"/>
                  </a:cubicBezTo>
                  <a:lnTo>
                    <a:pt x="3496480" y="1513179"/>
                  </a:lnTo>
                  <a:lnTo>
                    <a:pt x="3498134" y="1514282"/>
                  </a:lnTo>
                  <a:cubicBezTo>
                    <a:pt x="3501856" y="1514419"/>
                    <a:pt x="3509369" y="1514557"/>
                    <a:pt x="3513091" y="1514695"/>
                  </a:cubicBezTo>
                  <a:cubicBezTo>
                    <a:pt x="3513366" y="1508492"/>
                    <a:pt x="3513987" y="1496154"/>
                    <a:pt x="3514263" y="1489951"/>
                  </a:cubicBezTo>
                  <a:cubicBezTo>
                    <a:pt x="3509438" y="1489469"/>
                    <a:pt x="3499720" y="1488504"/>
                    <a:pt x="3494826" y="1488021"/>
                  </a:cubicBezTo>
                  <a:lnTo>
                    <a:pt x="3498479" y="1474857"/>
                  </a:lnTo>
                  <a:cubicBezTo>
                    <a:pt x="3495377" y="1479406"/>
                    <a:pt x="3489243" y="1488435"/>
                    <a:pt x="3486141" y="1492915"/>
                  </a:cubicBezTo>
                  <a:cubicBezTo>
                    <a:pt x="3469462" y="1472651"/>
                    <a:pt x="3472494" y="1446805"/>
                    <a:pt x="3474700" y="1422543"/>
                  </a:cubicBezTo>
                  <a:cubicBezTo>
                    <a:pt x="3480283" y="1431917"/>
                    <a:pt x="3487589" y="1439292"/>
                    <a:pt x="3499582" y="1437982"/>
                  </a:cubicBezTo>
                  <a:cubicBezTo>
                    <a:pt x="3500133" y="1443565"/>
                    <a:pt x="3501236" y="1454731"/>
                    <a:pt x="3501718" y="1460314"/>
                  </a:cubicBezTo>
                  <a:lnTo>
                    <a:pt x="3505923" y="1453835"/>
                  </a:lnTo>
                  <a:cubicBezTo>
                    <a:pt x="3507784" y="1442945"/>
                    <a:pt x="3507026" y="1431848"/>
                    <a:pt x="3507163" y="1420820"/>
                  </a:cubicBezTo>
                  <a:cubicBezTo>
                    <a:pt x="3500340" y="1423439"/>
                    <a:pt x="3493585" y="1425989"/>
                    <a:pt x="3486831" y="1428471"/>
                  </a:cubicBezTo>
                  <a:cubicBezTo>
                    <a:pt x="3489036" y="1425300"/>
                    <a:pt x="3493378" y="1419028"/>
                    <a:pt x="3495584" y="1415926"/>
                  </a:cubicBezTo>
                  <a:cubicBezTo>
                    <a:pt x="3492965" y="1412204"/>
                    <a:pt x="3487795" y="1404829"/>
                    <a:pt x="3485176" y="1401107"/>
                  </a:cubicBezTo>
                  <a:cubicBezTo>
                    <a:pt x="3484694" y="1399247"/>
                    <a:pt x="3483660" y="1395387"/>
                    <a:pt x="3483109" y="1393457"/>
                  </a:cubicBezTo>
                  <a:lnTo>
                    <a:pt x="3490621" y="1392078"/>
                  </a:lnTo>
                  <a:cubicBezTo>
                    <a:pt x="3483384" y="1384979"/>
                    <a:pt x="3474907" y="1379259"/>
                    <a:pt x="3466498" y="1373676"/>
                  </a:cubicBezTo>
                  <a:cubicBezTo>
                    <a:pt x="3470358" y="1402004"/>
                    <a:pt x="3467187" y="1430814"/>
                    <a:pt x="3454712" y="1456730"/>
                  </a:cubicBezTo>
                  <a:cubicBezTo>
                    <a:pt x="3453402" y="1447149"/>
                    <a:pt x="3452437" y="1437568"/>
                    <a:pt x="3451679" y="1427850"/>
                  </a:cubicBezTo>
                  <a:cubicBezTo>
                    <a:pt x="3446923" y="1457901"/>
                    <a:pt x="3446234" y="1488366"/>
                    <a:pt x="3446372" y="1518624"/>
                  </a:cubicBezTo>
                  <a:moveTo>
                    <a:pt x="7237640" y="1550949"/>
                  </a:moveTo>
                  <a:cubicBezTo>
                    <a:pt x="7260385" y="1549916"/>
                    <a:pt x="7227094" y="1530203"/>
                    <a:pt x="7237640" y="1550949"/>
                  </a:cubicBezTo>
                  <a:moveTo>
                    <a:pt x="6210732" y="1832231"/>
                  </a:moveTo>
                  <a:cubicBezTo>
                    <a:pt x="6214523" y="1828647"/>
                    <a:pt x="6214523" y="1828647"/>
                    <a:pt x="6210732" y="1832231"/>
                  </a:cubicBezTo>
                  <a:moveTo>
                    <a:pt x="1544604" y="1989448"/>
                  </a:moveTo>
                  <a:cubicBezTo>
                    <a:pt x="1538607" y="1996410"/>
                    <a:pt x="1549359" y="2008471"/>
                    <a:pt x="1557079" y="2003578"/>
                  </a:cubicBezTo>
                  <a:cubicBezTo>
                    <a:pt x="1563833" y="1996685"/>
                    <a:pt x="1552116" y="1984830"/>
                    <a:pt x="1544604" y="1989448"/>
                  </a:cubicBezTo>
                  <a:moveTo>
                    <a:pt x="7127292" y="2474057"/>
                  </a:moveTo>
                  <a:cubicBezTo>
                    <a:pt x="7138595" y="2477710"/>
                    <a:pt x="7142386" y="2474057"/>
                    <a:pt x="7138733" y="2462960"/>
                  </a:cubicBezTo>
                  <a:cubicBezTo>
                    <a:pt x="7127222" y="2459238"/>
                    <a:pt x="7123363" y="2462960"/>
                    <a:pt x="7127292" y="2474057"/>
                  </a:cubicBezTo>
                  <a:moveTo>
                    <a:pt x="7612107" y="2516446"/>
                  </a:moveTo>
                  <a:cubicBezTo>
                    <a:pt x="7621136" y="2520374"/>
                    <a:pt x="7628236" y="2504935"/>
                    <a:pt x="7621826" y="2498732"/>
                  </a:cubicBezTo>
                  <a:cubicBezTo>
                    <a:pt x="7613210" y="2496113"/>
                    <a:pt x="7607007" y="2510380"/>
                    <a:pt x="7612107" y="2516446"/>
                  </a:cubicBezTo>
                </a:path>
              </a:pathLst>
            </a:custGeom>
            <a:grpFill/>
            <a:ln w="689" cap="flat">
              <a:noFill/>
              <a:prstDash val="solid"/>
              <a:miter/>
            </a:ln>
          </p:spPr>
          <p:txBody>
            <a:bodyPr rtlCol="0" anchor="ctr"/>
            <a:lstStyle/>
            <a:p>
              <a:endParaRPr lang="en-US" sz="2400" dirty="0"/>
            </a:p>
          </p:txBody>
        </p:sp>
        <p:sp>
          <p:nvSpPr>
            <p:cNvPr id="29" name="Graphic 8">
              <a:extLst>
                <a:ext uri="{FF2B5EF4-FFF2-40B4-BE49-F238E27FC236}">
                  <a16:creationId xmlns:a16="http://schemas.microsoft.com/office/drawing/2014/main" id="{3F291C0A-CD42-4889-9325-7754F62A3459}"/>
                </a:ext>
              </a:extLst>
            </p:cNvPr>
            <p:cNvSpPr/>
            <p:nvPr/>
          </p:nvSpPr>
          <p:spPr>
            <a:xfrm flipV="1">
              <a:off x="605834" y="1162344"/>
              <a:ext cx="8110568" cy="2132756"/>
            </a:xfrm>
            <a:custGeom>
              <a:avLst/>
              <a:gdLst>
                <a:gd name="connsiteX0" fmla="*/ 5665238 w 8110568"/>
                <a:gd name="connsiteY0" fmla="*/ 8082 h 2132756"/>
                <a:gd name="connsiteX1" fmla="*/ 5675645 w 8110568"/>
                <a:gd name="connsiteY1" fmla="*/ -3084 h 2132756"/>
                <a:gd name="connsiteX2" fmla="*/ 5665238 w 8110568"/>
                <a:gd name="connsiteY2" fmla="*/ 8082 h 2132756"/>
                <a:gd name="connsiteX3" fmla="*/ 8051201 w 8110568"/>
                <a:gd name="connsiteY3" fmla="*/ 564304 h 2132756"/>
                <a:gd name="connsiteX4" fmla="*/ 8073464 w 8110568"/>
                <a:gd name="connsiteY4" fmla="*/ 578295 h 2132756"/>
                <a:gd name="connsiteX5" fmla="*/ 8104825 w 8110568"/>
                <a:gd name="connsiteY5" fmla="*/ 576572 h 2132756"/>
                <a:gd name="connsiteX6" fmla="*/ 8103032 w 8110568"/>
                <a:gd name="connsiteY6" fmla="*/ 569749 h 2132756"/>
                <a:gd name="connsiteX7" fmla="*/ 8096554 w 8110568"/>
                <a:gd name="connsiteY7" fmla="*/ 544660 h 2132756"/>
                <a:gd name="connsiteX8" fmla="*/ 8082148 w 8110568"/>
                <a:gd name="connsiteY8" fmla="*/ 547348 h 2132756"/>
                <a:gd name="connsiteX9" fmla="*/ 8073257 w 8110568"/>
                <a:gd name="connsiteY9" fmla="*/ 495103 h 2132756"/>
                <a:gd name="connsiteX10" fmla="*/ 8073670 w 8110568"/>
                <a:gd name="connsiteY10" fmla="*/ 515505 h 2132756"/>
                <a:gd name="connsiteX11" fmla="*/ 8069052 w 8110568"/>
                <a:gd name="connsiteY11" fmla="*/ 509991 h 2132756"/>
                <a:gd name="connsiteX12" fmla="*/ 8067674 w 8110568"/>
                <a:gd name="connsiteY12" fmla="*/ 506200 h 2132756"/>
                <a:gd name="connsiteX13" fmla="*/ 8067743 w 8110568"/>
                <a:gd name="connsiteY13" fmla="*/ 486832 h 2132756"/>
                <a:gd name="connsiteX14" fmla="*/ 8051201 w 8110568"/>
                <a:gd name="connsiteY14" fmla="*/ 564304 h 2132756"/>
                <a:gd name="connsiteX15" fmla="*/ 2170690 w 8110568"/>
                <a:gd name="connsiteY15" fmla="*/ 670930 h 2132756"/>
                <a:gd name="connsiteX16" fmla="*/ 2179926 w 8110568"/>
                <a:gd name="connsiteY16" fmla="*/ 661556 h 2132756"/>
                <a:gd name="connsiteX17" fmla="*/ 2170690 w 8110568"/>
                <a:gd name="connsiteY17" fmla="*/ 670930 h 2132756"/>
                <a:gd name="connsiteX18" fmla="*/ 3375561 w 8110568"/>
                <a:gd name="connsiteY18" fmla="*/ 719453 h 2132756"/>
                <a:gd name="connsiteX19" fmla="*/ 3387416 w 8110568"/>
                <a:gd name="connsiteY19" fmla="*/ 708081 h 2132756"/>
                <a:gd name="connsiteX20" fmla="*/ 3375561 w 8110568"/>
                <a:gd name="connsiteY20" fmla="*/ 719453 h 2132756"/>
                <a:gd name="connsiteX21" fmla="*/ 7147 w 8110568"/>
                <a:gd name="connsiteY21" fmla="*/ 718488 h 2132756"/>
                <a:gd name="connsiteX22" fmla="*/ 7147 w 8110568"/>
                <a:gd name="connsiteY22" fmla="*/ 718488 h 2132756"/>
                <a:gd name="connsiteX23" fmla="*/ -5744 w 8110568"/>
                <a:gd name="connsiteY23" fmla="*/ 729585 h 2132756"/>
                <a:gd name="connsiteX24" fmla="*/ 7007 w 8110568"/>
                <a:gd name="connsiteY24" fmla="*/ 729998 h 2132756"/>
                <a:gd name="connsiteX25" fmla="*/ 19551 w 8110568"/>
                <a:gd name="connsiteY25" fmla="*/ 728275 h 2132756"/>
                <a:gd name="connsiteX26" fmla="*/ 17486 w 8110568"/>
                <a:gd name="connsiteY26" fmla="*/ 707047 h 2132756"/>
                <a:gd name="connsiteX27" fmla="*/ 6522 w 8110568"/>
                <a:gd name="connsiteY27" fmla="*/ 696777 h 2132756"/>
                <a:gd name="connsiteX28" fmla="*/ -5744 w 8110568"/>
                <a:gd name="connsiteY28" fmla="*/ 729585 h 2132756"/>
                <a:gd name="connsiteX29" fmla="*/ 6231177 w 8110568"/>
                <a:gd name="connsiteY29" fmla="*/ 1533384 h 2132756"/>
                <a:gd name="connsiteX30" fmla="*/ 6246203 w 8110568"/>
                <a:gd name="connsiteY30" fmla="*/ 1528215 h 2132756"/>
                <a:gd name="connsiteX31" fmla="*/ 6231177 w 8110568"/>
                <a:gd name="connsiteY31" fmla="*/ 1533384 h 2132756"/>
                <a:gd name="connsiteX32" fmla="*/ 466804 w 8110568"/>
                <a:gd name="connsiteY32" fmla="*/ 1549375 h 2132756"/>
                <a:gd name="connsiteX33" fmla="*/ 504575 w 8110568"/>
                <a:gd name="connsiteY33" fmla="*/ 1545928 h 2132756"/>
                <a:gd name="connsiteX34" fmla="*/ 512432 w 8110568"/>
                <a:gd name="connsiteY34" fmla="*/ 1530282 h 2132756"/>
                <a:gd name="connsiteX35" fmla="*/ 525942 w 8110568"/>
                <a:gd name="connsiteY35" fmla="*/ 1555164 h 2132756"/>
                <a:gd name="connsiteX36" fmla="*/ 535384 w 8110568"/>
                <a:gd name="connsiteY36" fmla="*/ 1539863 h 2132756"/>
                <a:gd name="connsiteX37" fmla="*/ 557509 w 8110568"/>
                <a:gd name="connsiteY37" fmla="*/ 1525802 h 2132756"/>
                <a:gd name="connsiteX38" fmla="*/ 530973 w 8110568"/>
                <a:gd name="connsiteY38" fmla="*/ 1537726 h 2132756"/>
                <a:gd name="connsiteX39" fmla="*/ 542690 w 8110568"/>
                <a:gd name="connsiteY39" fmla="*/ 1505194 h 2132756"/>
                <a:gd name="connsiteX40" fmla="*/ 526769 w 8110568"/>
                <a:gd name="connsiteY40" fmla="*/ 1529179 h 2132756"/>
                <a:gd name="connsiteX41" fmla="*/ 523254 w 8110568"/>
                <a:gd name="connsiteY41" fmla="*/ 1505814 h 2132756"/>
                <a:gd name="connsiteX42" fmla="*/ 501404 w 8110568"/>
                <a:gd name="connsiteY42" fmla="*/ 1505194 h 2132756"/>
                <a:gd name="connsiteX43" fmla="*/ 503886 w 8110568"/>
                <a:gd name="connsiteY43" fmla="*/ 1526836 h 2132756"/>
                <a:gd name="connsiteX44" fmla="*/ 481623 w 8110568"/>
                <a:gd name="connsiteY44" fmla="*/ 1502850 h 2132756"/>
                <a:gd name="connsiteX45" fmla="*/ 487206 w 8110568"/>
                <a:gd name="connsiteY45" fmla="*/ 1523734 h 2132756"/>
                <a:gd name="connsiteX46" fmla="*/ 471422 w 8110568"/>
                <a:gd name="connsiteY46" fmla="*/ 1531661 h 2132756"/>
                <a:gd name="connsiteX47" fmla="*/ 466804 w 8110568"/>
                <a:gd name="connsiteY47" fmla="*/ 1549375 h 2132756"/>
                <a:gd name="connsiteX48" fmla="*/ 3283271 w 8110568"/>
                <a:gd name="connsiteY48" fmla="*/ 1678746 h 2132756"/>
                <a:gd name="connsiteX49" fmla="*/ 3305465 w 8110568"/>
                <a:gd name="connsiteY49" fmla="*/ 1698941 h 2132756"/>
                <a:gd name="connsiteX50" fmla="*/ 3316286 w 8110568"/>
                <a:gd name="connsiteY50" fmla="*/ 1680469 h 2132756"/>
                <a:gd name="connsiteX51" fmla="*/ 3283271 w 8110568"/>
                <a:gd name="connsiteY51" fmla="*/ 1678746 h 2132756"/>
                <a:gd name="connsiteX52" fmla="*/ 998971 w 8110568"/>
                <a:gd name="connsiteY52" fmla="*/ 1759595 h 2132756"/>
                <a:gd name="connsiteX53" fmla="*/ 997455 w 8110568"/>
                <a:gd name="connsiteY53" fmla="*/ 1739262 h 2132756"/>
                <a:gd name="connsiteX54" fmla="*/ 998971 w 8110568"/>
                <a:gd name="connsiteY54" fmla="*/ 1759595 h 2132756"/>
                <a:gd name="connsiteX55" fmla="*/ 8046514 w 8110568"/>
                <a:gd name="connsiteY55" fmla="*/ 2098083 h 2132756"/>
                <a:gd name="connsiteX56" fmla="*/ 8061057 w 8110568"/>
                <a:gd name="connsiteY56" fmla="*/ 2128962 h 2132756"/>
                <a:gd name="connsiteX57" fmla="*/ 8069948 w 8110568"/>
                <a:gd name="connsiteY57" fmla="*/ 2101461 h 2132756"/>
                <a:gd name="connsiteX58" fmla="*/ 8065882 w 8110568"/>
                <a:gd name="connsiteY58" fmla="*/ 2046941 h 2132756"/>
                <a:gd name="connsiteX59" fmla="*/ 8059886 w 8110568"/>
                <a:gd name="connsiteY59" fmla="*/ 2067136 h 2132756"/>
                <a:gd name="connsiteX60" fmla="*/ 8047134 w 8110568"/>
                <a:gd name="connsiteY60" fmla="*/ 2078302 h 2132756"/>
                <a:gd name="connsiteX61" fmla="*/ 8042310 w 8110568"/>
                <a:gd name="connsiteY61" fmla="*/ 2084574 h 2132756"/>
                <a:gd name="connsiteX62" fmla="*/ 8046514 w 8110568"/>
                <a:gd name="connsiteY62" fmla="*/ 2098083 h 213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110568" h="2132756">
                  <a:moveTo>
                    <a:pt x="5665238" y="8082"/>
                  </a:moveTo>
                  <a:cubicBezTo>
                    <a:pt x="5674611" y="10632"/>
                    <a:pt x="5678057" y="6910"/>
                    <a:pt x="5675645" y="-3084"/>
                  </a:cubicBezTo>
                  <a:cubicBezTo>
                    <a:pt x="5666271" y="-5496"/>
                    <a:pt x="5662825" y="-1774"/>
                    <a:pt x="5665238" y="8082"/>
                  </a:cubicBezTo>
                  <a:close/>
                  <a:moveTo>
                    <a:pt x="8051201" y="564304"/>
                  </a:moveTo>
                  <a:cubicBezTo>
                    <a:pt x="8058507" y="568991"/>
                    <a:pt x="8065951" y="573678"/>
                    <a:pt x="8073464" y="578295"/>
                  </a:cubicBezTo>
                  <a:cubicBezTo>
                    <a:pt x="8083803" y="577675"/>
                    <a:pt x="8094279" y="577055"/>
                    <a:pt x="8104825" y="576572"/>
                  </a:cubicBezTo>
                  <a:lnTo>
                    <a:pt x="8103032" y="569749"/>
                  </a:lnTo>
                  <a:cubicBezTo>
                    <a:pt x="8100758" y="561409"/>
                    <a:pt x="8098552" y="553069"/>
                    <a:pt x="8096554" y="544660"/>
                  </a:cubicBezTo>
                  <a:cubicBezTo>
                    <a:pt x="8092969" y="545280"/>
                    <a:pt x="8085732" y="546659"/>
                    <a:pt x="8082148" y="547348"/>
                  </a:cubicBezTo>
                  <a:cubicBezTo>
                    <a:pt x="8081114" y="529772"/>
                    <a:pt x="8082631" y="510887"/>
                    <a:pt x="8073257" y="495103"/>
                  </a:cubicBezTo>
                  <a:cubicBezTo>
                    <a:pt x="8073394" y="500204"/>
                    <a:pt x="8073602" y="510405"/>
                    <a:pt x="8073670" y="515505"/>
                  </a:cubicBezTo>
                  <a:lnTo>
                    <a:pt x="8069052" y="509991"/>
                  </a:lnTo>
                  <a:cubicBezTo>
                    <a:pt x="8068708" y="509026"/>
                    <a:pt x="8068019" y="507096"/>
                    <a:pt x="8067674" y="506200"/>
                  </a:cubicBezTo>
                  <a:lnTo>
                    <a:pt x="8067743" y="486832"/>
                  </a:lnTo>
                  <a:cubicBezTo>
                    <a:pt x="8045618" y="507923"/>
                    <a:pt x="8066295" y="540111"/>
                    <a:pt x="8051201" y="564304"/>
                  </a:cubicBezTo>
                  <a:moveTo>
                    <a:pt x="2170690" y="670930"/>
                  </a:moveTo>
                  <a:cubicBezTo>
                    <a:pt x="2180408" y="674583"/>
                    <a:pt x="2183510" y="671413"/>
                    <a:pt x="2179926" y="661556"/>
                  </a:cubicBezTo>
                  <a:cubicBezTo>
                    <a:pt x="2170139" y="658041"/>
                    <a:pt x="2167106" y="661143"/>
                    <a:pt x="2170690" y="670930"/>
                  </a:cubicBezTo>
                  <a:moveTo>
                    <a:pt x="3375561" y="719453"/>
                  </a:moveTo>
                  <a:cubicBezTo>
                    <a:pt x="3386451" y="723313"/>
                    <a:pt x="3390449" y="719591"/>
                    <a:pt x="3387416" y="708081"/>
                  </a:cubicBezTo>
                  <a:cubicBezTo>
                    <a:pt x="3376457" y="704221"/>
                    <a:pt x="3372460" y="708012"/>
                    <a:pt x="3375561" y="719453"/>
                  </a:cubicBezTo>
                  <a:moveTo>
                    <a:pt x="7147" y="718488"/>
                  </a:moveTo>
                  <a:cubicBezTo>
                    <a:pt x="11005" y="715180"/>
                    <a:pt x="11005" y="715180"/>
                    <a:pt x="7147" y="718488"/>
                  </a:cubicBezTo>
                  <a:moveTo>
                    <a:pt x="-5744" y="729585"/>
                  </a:moveTo>
                  <a:lnTo>
                    <a:pt x="7007" y="729998"/>
                  </a:lnTo>
                  <a:cubicBezTo>
                    <a:pt x="10179" y="729585"/>
                    <a:pt x="16452" y="728689"/>
                    <a:pt x="19551" y="728275"/>
                  </a:cubicBezTo>
                  <a:cubicBezTo>
                    <a:pt x="19004" y="722968"/>
                    <a:pt x="18037" y="712354"/>
                    <a:pt x="17486" y="707047"/>
                  </a:cubicBezTo>
                  <a:cubicBezTo>
                    <a:pt x="14796" y="704496"/>
                    <a:pt x="9282" y="699327"/>
                    <a:pt x="6522" y="696777"/>
                  </a:cubicBezTo>
                  <a:cubicBezTo>
                    <a:pt x="1978" y="707598"/>
                    <a:pt x="-2225" y="718488"/>
                    <a:pt x="-5744" y="729585"/>
                  </a:cubicBezTo>
                  <a:moveTo>
                    <a:pt x="6231177" y="1533384"/>
                  </a:moveTo>
                  <a:cubicBezTo>
                    <a:pt x="6239724" y="1539105"/>
                    <a:pt x="6244687" y="1537381"/>
                    <a:pt x="6246203" y="1528215"/>
                  </a:cubicBezTo>
                  <a:cubicBezTo>
                    <a:pt x="6237450" y="1522494"/>
                    <a:pt x="6232487" y="1524217"/>
                    <a:pt x="6231177" y="1533384"/>
                  </a:cubicBezTo>
                  <a:moveTo>
                    <a:pt x="466804" y="1549375"/>
                  </a:moveTo>
                  <a:cubicBezTo>
                    <a:pt x="479555" y="1553303"/>
                    <a:pt x="492306" y="1549857"/>
                    <a:pt x="504575" y="1545928"/>
                  </a:cubicBezTo>
                  <a:cubicBezTo>
                    <a:pt x="506574" y="1542068"/>
                    <a:pt x="510434" y="1534211"/>
                    <a:pt x="512432" y="1530282"/>
                  </a:cubicBezTo>
                  <a:cubicBezTo>
                    <a:pt x="512295" y="1541724"/>
                    <a:pt x="512019" y="1553717"/>
                    <a:pt x="525942" y="1555164"/>
                  </a:cubicBezTo>
                  <a:cubicBezTo>
                    <a:pt x="528354" y="1551373"/>
                    <a:pt x="533041" y="1543654"/>
                    <a:pt x="535384" y="1539863"/>
                  </a:cubicBezTo>
                  <a:cubicBezTo>
                    <a:pt x="544896" y="1538415"/>
                    <a:pt x="555510" y="1537588"/>
                    <a:pt x="557509" y="1525802"/>
                  </a:cubicBezTo>
                  <a:cubicBezTo>
                    <a:pt x="548549" y="1529593"/>
                    <a:pt x="539727" y="1533522"/>
                    <a:pt x="530973" y="1537726"/>
                  </a:cubicBezTo>
                  <a:cubicBezTo>
                    <a:pt x="536556" y="1527594"/>
                    <a:pt x="541588" y="1516980"/>
                    <a:pt x="542690" y="1505194"/>
                  </a:cubicBezTo>
                  <a:cubicBezTo>
                    <a:pt x="528905" y="1505538"/>
                    <a:pt x="530215" y="1519806"/>
                    <a:pt x="526769" y="1529179"/>
                  </a:cubicBezTo>
                  <a:cubicBezTo>
                    <a:pt x="525459" y="1521391"/>
                    <a:pt x="524287" y="1513602"/>
                    <a:pt x="523254" y="1505814"/>
                  </a:cubicBezTo>
                  <a:cubicBezTo>
                    <a:pt x="517809" y="1505676"/>
                    <a:pt x="506918" y="1505331"/>
                    <a:pt x="501404" y="1505194"/>
                  </a:cubicBezTo>
                  <a:cubicBezTo>
                    <a:pt x="502025" y="1510570"/>
                    <a:pt x="503265" y="1521460"/>
                    <a:pt x="503886" y="1526836"/>
                  </a:cubicBezTo>
                  <a:cubicBezTo>
                    <a:pt x="484587" y="1533522"/>
                    <a:pt x="494650" y="1507951"/>
                    <a:pt x="481623" y="1502850"/>
                  </a:cubicBezTo>
                  <a:cubicBezTo>
                    <a:pt x="483002" y="1508088"/>
                    <a:pt x="485827" y="1518496"/>
                    <a:pt x="487206" y="1523734"/>
                  </a:cubicBezTo>
                  <a:cubicBezTo>
                    <a:pt x="483277" y="1525733"/>
                    <a:pt x="475351" y="1529662"/>
                    <a:pt x="471422" y="1531661"/>
                  </a:cubicBezTo>
                  <a:cubicBezTo>
                    <a:pt x="470251" y="1536072"/>
                    <a:pt x="467976" y="1544963"/>
                    <a:pt x="466804" y="1549375"/>
                  </a:cubicBezTo>
                  <a:moveTo>
                    <a:pt x="3283271" y="1678746"/>
                  </a:moveTo>
                  <a:cubicBezTo>
                    <a:pt x="3288923" y="1687292"/>
                    <a:pt x="3292025" y="1701629"/>
                    <a:pt x="3305465" y="1698941"/>
                  </a:cubicBezTo>
                  <a:cubicBezTo>
                    <a:pt x="3309187" y="1692944"/>
                    <a:pt x="3312840" y="1686741"/>
                    <a:pt x="3316286" y="1680469"/>
                  </a:cubicBezTo>
                  <a:cubicBezTo>
                    <a:pt x="3305258" y="1679849"/>
                    <a:pt x="3294230" y="1679297"/>
                    <a:pt x="3283271" y="1678746"/>
                  </a:cubicBezTo>
                  <a:moveTo>
                    <a:pt x="998971" y="1759595"/>
                  </a:moveTo>
                  <a:cubicBezTo>
                    <a:pt x="1010275" y="1759043"/>
                    <a:pt x="1007173" y="1740158"/>
                    <a:pt x="997455" y="1739262"/>
                  </a:cubicBezTo>
                  <a:cubicBezTo>
                    <a:pt x="985945" y="1739951"/>
                    <a:pt x="989529" y="1758285"/>
                    <a:pt x="998971" y="1759595"/>
                  </a:cubicBezTo>
                  <a:moveTo>
                    <a:pt x="8046514" y="2098083"/>
                  </a:moveTo>
                  <a:cubicBezTo>
                    <a:pt x="8041000" y="2112351"/>
                    <a:pt x="8045825" y="2124619"/>
                    <a:pt x="8061057" y="2128962"/>
                  </a:cubicBezTo>
                  <a:cubicBezTo>
                    <a:pt x="8063676" y="2119795"/>
                    <a:pt x="8067191" y="2110697"/>
                    <a:pt x="8069948" y="2101461"/>
                  </a:cubicBezTo>
                  <a:cubicBezTo>
                    <a:pt x="8064366" y="2083609"/>
                    <a:pt x="8069811" y="2064862"/>
                    <a:pt x="8065882" y="2046941"/>
                  </a:cubicBezTo>
                  <a:cubicBezTo>
                    <a:pt x="8047066" y="2036396"/>
                    <a:pt x="8056163" y="2057694"/>
                    <a:pt x="8059886" y="2067136"/>
                  </a:cubicBezTo>
                  <a:cubicBezTo>
                    <a:pt x="8056715" y="2069893"/>
                    <a:pt x="8050305" y="2075476"/>
                    <a:pt x="8047134" y="2078302"/>
                  </a:cubicBezTo>
                  <a:cubicBezTo>
                    <a:pt x="8045963" y="2079887"/>
                    <a:pt x="8043482" y="2082989"/>
                    <a:pt x="8042310" y="2084574"/>
                  </a:cubicBezTo>
                  <a:cubicBezTo>
                    <a:pt x="8043344" y="2087951"/>
                    <a:pt x="8045480" y="2094706"/>
                    <a:pt x="8046514" y="2098083"/>
                  </a:cubicBezTo>
                </a:path>
              </a:pathLst>
            </a:custGeom>
            <a:grpFill/>
            <a:ln w="689" cap="flat">
              <a:noFill/>
              <a:prstDash val="solid"/>
              <a:miter/>
            </a:ln>
          </p:spPr>
          <p:txBody>
            <a:bodyPr rtlCol="0" anchor="ctr"/>
            <a:lstStyle/>
            <a:p>
              <a:endParaRPr lang="en-US" sz="2400" dirty="0"/>
            </a:p>
          </p:txBody>
        </p:sp>
        <p:sp>
          <p:nvSpPr>
            <p:cNvPr id="30" name="Graphic 8">
              <a:extLst>
                <a:ext uri="{FF2B5EF4-FFF2-40B4-BE49-F238E27FC236}">
                  <a16:creationId xmlns:a16="http://schemas.microsoft.com/office/drawing/2014/main" id="{85EE5C14-4C41-481D-916A-1BE43590344A}"/>
                </a:ext>
              </a:extLst>
            </p:cNvPr>
            <p:cNvSpPr/>
            <p:nvPr/>
          </p:nvSpPr>
          <p:spPr>
            <a:xfrm flipV="1">
              <a:off x="7062763" y="1162896"/>
              <a:ext cx="1697707" cy="2106336"/>
            </a:xfrm>
            <a:custGeom>
              <a:avLst/>
              <a:gdLst>
                <a:gd name="connsiteX0" fmla="*/ 29318 w 1697707"/>
                <a:gd name="connsiteY0" fmla="*/ 30784 h 2106336"/>
                <a:gd name="connsiteX1" fmla="*/ 38071 w 1697707"/>
                <a:gd name="connsiteY1" fmla="*/ 35540 h 2106336"/>
                <a:gd name="connsiteX2" fmla="*/ 27526 w 1697707"/>
                <a:gd name="connsiteY2" fmla="*/ 8453 h 2106336"/>
                <a:gd name="connsiteX3" fmla="*/ 9054 w 1697707"/>
                <a:gd name="connsiteY3" fmla="*/ 1009 h 2106336"/>
                <a:gd name="connsiteX4" fmla="*/ -9832 w 1697707"/>
                <a:gd name="connsiteY4" fmla="*/ -3816 h 2106336"/>
                <a:gd name="connsiteX5" fmla="*/ 4987 w 1697707"/>
                <a:gd name="connsiteY5" fmla="*/ 27889 h 2106336"/>
                <a:gd name="connsiteX6" fmla="*/ 10708 w 1697707"/>
                <a:gd name="connsiteY6" fmla="*/ 20239 h 2106336"/>
                <a:gd name="connsiteX7" fmla="*/ 29318 w 1697707"/>
                <a:gd name="connsiteY7" fmla="*/ 30784 h 2106336"/>
                <a:gd name="connsiteX8" fmla="*/ 1673859 w 1697707"/>
                <a:gd name="connsiteY8" fmla="*/ 2101142 h 2106336"/>
                <a:gd name="connsiteX9" fmla="*/ 1675031 w 1697707"/>
                <a:gd name="connsiteY9" fmla="*/ 2102520 h 2106336"/>
                <a:gd name="connsiteX10" fmla="*/ 1686679 w 1697707"/>
                <a:gd name="connsiteY10" fmla="*/ 2068196 h 2106336"/>
                <a:gd name="connsiteX11" fmla="*/ 1660074 w 1697707"/>
                <a:gd name="connsiteY11" fmla="*/ 2050138 h 2106336"/>
                <a:gd name="connsiteX12" fmla="*/ 1664624 w 1697707"/>
                <a:gd name="connsiteY12" fmla="*/ 2010299 h 2106336"/>
                <a:gd name="connsiteX13" fmla="*/ 1635813 w 1697707"/>
                <a:gd name="connsiteY13" fmla="*/ 2032975 h 2106336"/>
                <a:gd name="connsiteX14" fmla="*/ 1673859 w 1697707"/>
                <a:gd name="connsiteY14" fmla="*/ 2101142 h 210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97707" h="2106336">
                  <a:moveTo>
                    <a:pt x="29318" y="30784"/>
                  </a:moveTo>
                  <a:lnTo>
                    <a:pt x="38071" y="35540"/>
                  </a:lnTo>
                  <a:cubicBezTo>
                    <a:pt x="38898" y="24719"/>
                    <a:pt x="35383" y="15690"/>
                    <a:pt x="27526" y="8453"/>
                  </a:cubicBezTo>
                  <a:cubicBezTo>
                    <a:pt x="21253" y="5971"/>
                    <a:pt x="15188" y="3421"/>
                    <a:pt x="9054" y="1009"/>
                  </a:cubicBezTo>
                  <a:cubicBezTo>
                    <a:pt x="4367" y="-232"/>
                    <a:pt x="-5075" y="-2575"/>
                    <a:pt x="-9832" y="-3816"/>
                  </a:cubicBezTo>
                  <a:cubicBezTo>
                    <a:pt x="-6109" y="7350"/>
                    <a:pt x="-940" y="17826"/>
                    <a:pt x="4987" y="27889"/>
                  </a:cubicBezTo>
                  <a:lnTo>
                    <a:pt x="10708" y="20239"/>
                  </a:lnTo>
                  <a:cubicBezTo>
                    <a:pt x="16773" y="23823"/>
                    <a:pt x="22976" y="27338"/>
                    <a:pt x="29318" y="30784"/>
                  </a:cubicBezTo>
                  <a:close/>
                  <a:moveTo>
                    <a:pt x="1673859" y="2101142"/>
                  </a:moveTo>
                  <a:lnTo>
                    <a:pt x="1675031" y="2102520"/>
                  </a:lnTo>
                  <a:cubicBezTo>
                    <a:pt x="1681510" y="2092113"/>
                    <a:pt x="1691297" y="2081498"/>
                    <a:pt x="1686679" y="2068196"/>
                  </a:cubicBezTo>
                  <a:cubicBezTo>
                    <a:pt x="1677650" y="2062268"/>
                    <a:pt x="1668828" y="2056272"/>
                    <a:pt x="1660074" y="2050138"/>
                  </a:cubicBezTo>
                  <a:cubicBezTo>
                    <a:pt x="1661659" y="2036904"/>
                    <a:pt x="1663107" y="2023602"/>
                    <a:pt x="1664624" y="2010299"/>
                  </a:cubicBezTo>
                  <a:cubicBezTo>
                    <a:pt x="1654630" y="2017467"/>
                    <a:pt x="1644497" y="2024429"/>
                    <a:pt x="1635813" y="2032975"/>
                  </a:cubicBezTo>
                  <a:cubicBezTo>
                    <a:pt x="1644773" y="2057375"/>
                    <a:pt x="1655801" y="2082050"/>
                    <a:pt x="1673859" y="2101142"/>
                  </a:cubicBezTo>
                </a:path>
              </a:pathLst>
            </a:custGeom>
            <a:grpFill/>
            <a:ln w="689" cap="flat">
              <a:noFill/>
              <a:prstDash val="solid"/>
              <a:miter/>
            </a:ln>
          </p:spPr>
          <p:txBody>
            <a:bodyPr rtlCol="0" anchor="ctr"/>
            <a:lstStyle/>
            <a:p>
              <a:endParaRPr lang="en-US" sz="2400" dirty="0"/>
            </a:p>
          </p:txBody>
        </p:sp>
        <p:sp>
          <p:nvSpPr>
            <p:cNvPr id="31" name="Graphic 8">
              <a:extLst>
                <a:ext uri="{FF2B5EF4-FFF2-40B4-BE49-F238E27FC236}">
                  <a16:creationId xmlns:a16="http://schemas.microsoft.com/office/drawing/2014/main" id="{044EFDDA-56AF-411A-9438-9BB040AE6691}"/>
                </a:ext>
              </a:extLst>
            </p:cNvPr>
            <p:cNvSpPr/>
            <p:nvPr/>
          </p:nvSpPr>
          <p:spPr>
            <a:xfrm flipV="1">
              <a:off x="1204170" y="1173579"/>
              <a:ext cx="7133971" cy="1987837"/>
            </a:xfrm>
            <a:custGeom>
              <a:avLst/>
              <a:gdLst>
                <a:gd name="connsiteX0" fmla="*/ -5883 w 7133971"/>
                <a:gd name="connsiteY0" fmla="*/ -1156 h 1987837"/>
                <a:gd name="connsiteX1" fmla="*/ -5883 w 7133971"/>
                <a:gd name="connsiteY1" fmla="*/ -1156 h 1987837"/>
                <a:gd name="connsiteX2" fmla="*/ 3288714 w 7133971"/>
                <a:gd name="connsiteY2" fmla="*/ 67493 h 1987837"/>
                <a:gd name="connsiteX3" fmla="*/ 3288714 w 7133971"/>
                <a:gd name="connsiteY3" fmla="*/ 67493 h 1987837"/>
                <a:gd name="connsiteX4" fmla="*/ 820593 w 7133971"/>
                <a:gd name="connsiteY4" fmla="*/ 178944 h 1987837"/>
                <a:gd name="connsiteX5" fmla="*/ 820593 w 7133971"/>
                <a:gd name="connsiteY5" fmla="*/ 178944 h 1987837"/>
                <a:gd name="connsiteX6" fmla="*/ 428411 w 7133971"/>
                <a:gd name="connsiteY6" fmla="*/ 447405 h 1987837"/>
                <a:gd name="connsiteX7" fmla="*/ 428411 w 7133971"/>
                <a:gd name="connsiteY7" fmla="*/ 447405 h 1987837"/>
                <a:gd name="connsiteX8" fmla="*/ 6954471 w 7133971"/>
                <a:gd name="connsiteY8" fmla="*/ 572572 h 1987837"/>
                <a:gd name="connsiteX9" fmla="*/ 6954471 w 7133971"/>
                <a:gd name="connsiteY9" fmla="*/ 572572 h 1987837"/>
                <a:gd name="connsiteX10" fmla="*/ 3136046 w 7133971"/>
                <a:gd name="connsiteY10" fmla="*/ 667826 h 1987837"/>
                <a:gd name="connsiteX11" fmla="*/ 3137907 w 7133971"/>
                <a:gd name="connsiteY11" fmla="*/ 644874 h 1987837"/>
                <a:gd name="connsiteX12" fmla="*/ 3136046 w 7133971"/>
                <a:gd name="connsiteY12" fmla="*/ 667826 h 1987837"/>
                <a:gd name="connsiteX13" fmla="*/ 4918644 w 7133971"/>
                <a:gd name="connsiteY13" fmla="*/ 725241 h 1987837"/>
                <a:gd name="connsiteX14" fmla="*/ 4926777 w 7133971"/>
                <a:gd name="connsiteY14" fmla="*/ 726068 h 1987837"/>
                <a:gd name="connsiteX15" fmla="*/ 4927880 w 7133971"/>
                <a:gd name="connsiteY15" fmla="*/ 711249 h 1987837"/>
                <a:gd name="connsiteX16" fmla="*/ 4941803 w 7133971"/>
                <a:gd name="connsiteY16" fmla="*/ 710904 h 1987837"/>
                <a:gd name="connsiteX17" fmla="*/ 4939528 w 7133971"/>
                <a:gd name="connsiteY17" fmla="*/ 688917 h 1987837"/>
                <a:gd name="connsiteX18" fmla="*/ 4918644 w 7133971"/>
                <a:gd name="connsiteY18" fmla="*/ 725241 h 1987837"/>
                <a:gd name="connsiteX19" fmla="*/ 7119958 w 7133971"/>
                <a:gd name="connsiteY19" fmla="*/ 777416 h 1987837"/>
                <a:gd name="connsiteX20" fmla="*/ 7119958 w 7133971"/>
                <a:gd name="connsiteY20" fmla="*/ 777416 h 1987837"/>
                <a:gd name="connsiteX21" fmla="*/ 2619525 w 7133971"/>
                <a:gd name="connsiteY21" fmla="*/ 1183727 h 1987837"/>
                <a:gd name="connsiteX22" fmla="*/ 2623798 w 7133971"/>
                <a:gd name="connsiteY22" fmla="*/ 1168012 h 1987837"/>
                <a:gd name="connsiteX23" fmla="*/ 2619525 w 7133971"/>
                <a:gd name="connsiteY23" fmla="*/ 1183727 h 1987837"/>
                <a:gd name="connsiteX24" fmla="*/ 4984536 w 7133971"/>
                <a:gd name="connsiteY24" fmla="*/ 1729472 h 1987837"/>
                <a:gd name="connsiteX25" fmla="*/ 5002112 w 7133971"/>
                <a:gd name="connsiteY25" fmla="*/ 1719547 h 1987837"/>
                <a:gd name="connsiteX26" fmla="*/ 4984536 w 7133971"/>
                <a:gd name="connsiteY26" fmla="*/ 1729472 h 1987837"/>
                <a:gd name="connsiteX27" fmla="*/ 4406052 w 7133971"/>
                <a:gd name="connsiteY27" fmla="*/ 1866701 h 1987837"/>
                <a:gd name="connsiteX28" fmla="*/ 4406052 w 7133971"/>
                <a:gd name="connsiteY28" fmla="*/ 1866701 h 1987837"/>
                <a:gd name="connsiteX29" fmla="*/ 6604127 w 7133971"/>
                <a:gd name="connsiteY29" fmla="*/ 1935350 h 1987837"/>
                <a:gd name="connsiteX30" fmla="*/ 6607780 w 7133971"/>
                <a:gd name="connsiteY30" fmla="*/ 1919842 h 1987837"/>
                <a:gd name="connsiteX31" fmla="*/ 6604127 w 7133971"/>
                <a:gd name="connsiteY31" fmla="*/ 1935350 h 1987837"/>
                <a:gd name="connsiteX32" fmla="*/ 6548643 w 7133971"/>
                <a:gd name="connsiteY32" fmla="*/ 1983942 h 1987837"/>
                <a:gd name="connsiteX33" fmla="*/ 6552847 w 7133971"/>
                <a:gd name="connsiteY33" fmla="*/ 1968158 h 1987837"/>
                <a:gd name="connsiteX34" fmla="*/ 6548643 w 7133971"/>
                <a:gd name="connsiteY34" fmla="*/ 1983942 h 198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33971" h="1987837">
                  <a:moveTo>
                    <a:pt x="-5883" y="-1156"/>
                  </a:moveTo>
                  <a:cubicBezTo>
                    <a:pt x="-2436" y="-4809"/>
                    <a:pt x="-2436" y="-4809"/>
                    <a:pt x="-5883" y="-1156"/>
                  </a:cubicBezTo>
                  <a:close/>
                  <a:moveTo>
                    <a:pt x="3288714" y="67493"/>
                  </a:moveTo>
                  <a:cubicBezTo>
                    <a:pt x="3292023" y="63702"/>
                    <a:pt x="3292023" y="63702"/>
                    <a:pt x="3288714" y="67493"/>
                  </a:cubicBezTo>
                  <a:moveTo>
                    <a:pt x="820593" y="178944"/>
                  </a:moveTo>
                  <a:cubicBezTo>
                    <a:pt x="843338" y="178048"/>
                    <a:pt x="810323" y="158129"/>
                    <a:pt x="820593" y="178944"/>
                  </a:cubicBezTo>
                  <a:moveTo>
                    <a:pt x="428411" y="447405"/>
                  </a:moveTo>
                  <a:cubicBezTo>
                    <a:pt x="432133" y="444028"/>
                    <a:pt x="432133" y="444028"/>
                    <a:pt x="428411" y="447405"/>
                  </a:cubicBezTo>
                  <a:moveTo>
                    <a:pt x="6954471" y="572572"/>
                  </a:moveTo>
                  <a:cubicBezTo>
                    <a:pt x="6976182" y="570711"/>
                    <a:pt x="6943994" y="550930"/>
                    <a:pt x="6954471" y="572572"/>
                  </a:cubicBezTo>
                  <a:moveTo>
                    <a:pt x="3136046" y="667826"/>
                  </a:moveTo>
                  <a:cubicBezTo>
                    <a:pt x="3150727" y="670997"/>
                    <a:pt x="3148797" y="646184"/>
                    <a:pt x="3137907" y="644874"/>
                  </a:cubicBezTo>
                  <a:cubicBezTo>
                    <a:pt x="3131153" y="649492"/>
                    <a:pt x="3125018" y="664587"/>
                    <a:pt x="3136046" y="667826"/>
                  </a:cubicBezTo>
                  <a:moveTo>
                    <a:pt x="4918644" y="725241"/>
                  </a:moveTo>
                  <a:lnTo>
                    <a:pt x="4926777" y="726068"/>
                  </a:lnTo>
                  <a:cubicBezTo>
                    <a:pt x="4927053" y="722346"/>
                    <a:pt x="4927604" y="714971"/>
                    <a:pt x="4927880" y="711249"/>
                  </a:cubicBezTo>
                  <a:cubicBezTo>
                    <a:pt x="4931326" y="711180"/>
                    <a:pt x="4938357" y="711042"/>
                    <a:pt x="4941803" y="710904"/>
                  </a:cubicBezTo>
                  <a:cubicBezTo>
                    <a:pt x="4941251" y="705459"/>
                    <a:pt x="4940080" y="694431"/>
                    <a:pt x="4939528" y="688917"/>
                  </a:cubicBezTo>
                  <a:cubicBezTo>
                    <a:pt x="4926915" y="697188"/>
                    <a:pt x="4920643" y="710697"/>
                    <a:pt x="4918644" y="725241"/>
                  </a:cubicBezTo>
                  <a:moveTo>
                    <a:pt x="7119958" y="777416"/>
                  </a:moveTo>
                  <a:cubicBezTo>
                    <a:pt x="7142566" y="776796"/>
                    <a:pt x="7109758" y="756394"/>
                    <a:pt x="7119958" y="777416"/>
                  </a:cubicBezTo>
                  <a:moveTo>
                    <a:pt x="2619525" y="1183727"/>
                  </a:moveTo>
                  <a:cubicBezTo>
                    <a:pt x="2628348" y="1181797"/>
                    <a:pt x="2629795" y="1176559"/>
                    <a:pt x="2623798" y="1168012"/>
                  </a:cubicBezTo>
                  <a:cubicBezTo>
                    <a:pt x="2614907" y="1170011"/>
                    <a:pt x="2613460" y="1175249"/>
                    <a:pt x="2619525" y="1183727"/>
                  </a:cubicBezTo>
                  <a:moveTo>
                    <a:pt x="4984536" y="1729472"/>
                  </a:moveTo>
                  <a:cubicBezTo>
                    <a:pt x="4990808" y="1738777"/>
                    <a:pt x="5010865" y="1730299"/>
                    <a:pt x="5002112" y="1719547"/>
                  </a:cubicBezTo>
                  <a:cubicBezTo>
                    <a:pt x="4995495" y="1710587"/>
                    <a:pt x="4975921" y="1718789"/>
                    <a:pt x="4984536" y="1729472"/>
                  </a:cubicBezTo>
                  <a:moveTo>
                    <a:pt x="4406052" y="1866701"/>
                  </a:moveTo>
                  <a:cubicBezTo>
                    <a:pt x="4409567" y="1863117"/>
                    <a:pt x="4409567" y="1863117"/>
                    <a:pt x="4406052" y="1866701"/>
                  </a:cubicBezTo>
                  <a:moveTo>
                    <a:pt x="6604127" y="1935350"/>
                  </a:moveTo>
                  <a:cubicBezTo>
                    <a:pt x="6612949" y="1933282"/>
                    <a:pt x="6614190" y="1928113"/>
                    <a:pt x="6607780" y="1919842"/>
                  </a:cubicBezTo>
                  <a:cubicBezTo>
                    <a:pt x="6598751" y="1922048"/>
                    <a:pt x="6597510" y="1927217"/>
                    <a:pt x="6604127" y="1935350"/>
                  </a:cubicBezTo>
                  <a:moveTo>
                    <a:pt x="6548643" y="1983942"/>
                  </a:moveTo>
                  <a:cubicBezTo>
                    <a:pt x="6557465" y="1982012"/>
                    <a:pt x="6558843" y="1976774"/>
                    <a:pt x="6552847" y="1968158"/>
                  </a:cubicBezTo>
                  <a:cubicBezTo>
                    <a:pt x="6543886" y="1970226"/>
                    <a:pt x="6542508" y="1975464"/>
                    <a:pt x="6548643" y="1983942"/>
                  </a:cubicBezTo>
                </a:path>
              </a:pathLst>
            </a:custGeom>
            <a:grpFill/>
            <a:ln w="689" cap="flat">
              <a:noFill/>
              <a:prstDash val="solid"/>
              <a:miter/>
            </a:ln>
          </p:spPr>
          <p:txBody>
            <a:bodyPr rtlCol="0" anchor="ctr"/>
            <a:lstStyle/>
            <a:p>
              <a:endParaRPr lang="en-US" sz="2400" dirty="0"/>
            </a:p>
          </p:txBody>
        </p:sp>
        <p:sp>
          <p:nvSpPr>
            <p:cNvPr id="32" name="Graphic 8">
              <a:extLst>
                <a:ext uri="{FF2B5EF4-FFF2-40B4-BE49-F238E27FC236}">
                  <a16:creationId xmlns:a16="http://schemas.microsoft.com/office/drawing/2014/main" id="{DB6284C7-605B-4173-87F4-9666EB82DBC3}"/>
                </a:ext>
              </a:extLst>
            </p:cNvPr>
            <p:cNvSpPr/>
            <p:nvPr/>
          </p:nvSpPr>
          <p:spPr>
            <a:xfrm flipV="1">
              <a:off x="2937539" y="1174958"/>
              <a:ext cx="5436583" cy="2323312"/>
            </a:xfrm>
            <a:custGeom>
              <a:avLst/>
              <a:gdLst>
                <a:gd name="connsiteX0" fmla="*/ -4980 w 5436583"/>
                <a:gd name="connsiteY0" fmla="*/ 5757 h 2323312"/>
                <a:gd name="connsiteX1" fmla="*/ -4980 w 5436583"/>
                <a:gd name="connsiteY1" fmla="*/ 5757 h 2323312"/>
                <a:gd name="connsiteX2" fmla="*/ 5405190 w 5436583"/>
                <a:gd name="connsiteY2" fmla="*/ 757311 h 2323312"/>
                <a:gd name="connsiteX3" fmla="*/ 5429589 w 5436583"/>
                <a:gd name="connsiteY3" fmla="*/ 755864 h 2323312"/>
                <a:gd name="connsiteX4" fmla="*/ 5405190 w 5436583"/>
                <a:gd name="connsiteY4" fmla="*/ 757311 h 2323312"/>
                <a:gd name="connsiteX5" fmla="*/ 1216916 w 5436583"/>
                <a:gd name="connsiteY5" fmla="*/ 1934268 h 2323312"/>
                <a:gd name="connsiteX6" fmla="*/ 1213952 w 5436583"/>
                <a:gd name="connsiteY6" fmla="*/ 1927996 h 2323312"/>
                <a:gd name="connsiteX7" fmla="*/ 1216916 w 5436583"/>
                <a:gd name="connsiteY7" fmla="*/ 1934268 h 2323312"/>
                <a:gd name="connsiteX8" fmla="*/ 4897560 w 5436583"/>
                <a:gd name="connsiteY8" fmla="*/ 2319694 h 2323312"/>
                <a:gd name="connsiteX9" fmla="*/ 4897560 w 5436583"/>
                <a:gd name="connsiteY9" fmla="*/ 2319694 h 2323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6583" h="2323312">
                  <a:moveTo>
                    <a:pt x="-4980" y="5757"/>
                  </a:moveTo>
                  <a:cubicBezTo>
                    <a:pt x="17834" y="5206"/>
                    <a:pt x="-15181" y="-15058"/>
                    <a:pt x="-4980" y="5757"/>
                  </a:cubicBezTo>
                  <a:close/>
                  <a:moveTo>
                    <a:pt x="5405190" y="757311"/>
                  </a:moveTo>
                  <a:cubicBezTo>
                    <a:pt x="5408567" y="769718"/>
                    <a:pt x="5424489" y="763445"/>
                    <a:pt x="5429589" y="755864"/>
                  </a:cubicBezTo>
                  <a:cubicBezTo>
                    <a:pt x="5427039" y="745594"/>
                    <a:pt x="5399469" y="739804"/>
                    <a:pt x="5405190" y="757311"/>
                  </a:cubicBezTo>
                  <a:moveTo>
                    <a:pt x="1216916" y="1934268"/>
                  </a:moveTo>
                  <a:cubicBezTo>
                    <a:pt x="1232493" y="1940678"/>
                    <a:pt x="1217536" y="1910282"/>
                    <a:pt x="1213952" y="1927996"/>
                  </a:cubicBezTo>
                  <a:lnTo>
                    <a:pt x="1216916" y="1934268"/>
                  </a:lnTo>
                  <a:moveTo>
                    <a:pt x="4897560" y="2319694"/>
                  </a:moveTo>
                  <a:cubicBezTo>
                    <a:pt x="4901213" y="2316317"/>
                    <a:pt x="4901213" y="2316317"/>
                    <a:pt x="4897560" y="2319694"/>
                  </a:cubicBezTo>
                </a:path>
              </a:pathLst>
            </a:custGeom>
            <a:grpFill/>
            <a:ln w="689" cap="flat">
              <a:noFill/>
              <a:prstDash val="solid"/>
              <a:miter/>
            </a:ln>
          </p:spPr>
          <p:txBody>
            <a:bodyPr rtlCol="0" anchor="ctr"/>
            <a:lstStyle/>
            <a:p>
              <a:endParaRPr lang="en-US" sz="2400" dirty="0"/>
            </a:p>
          </p:txBody>
        </p:sp>
        <p:sp>
          <p:nvSpPr>
            <p:cNvPr id="33" name="Graphic 8">
              <a:extLst>
                <a:ext uri="{FF2B5EF4-FFF2-40B4-BE49-F238E27FC236}">
                  <a16:creationId xmlns:a16="http://schemas.microsoft.com/office/drawing/2014/main" id="{D8AEF962-7E58-446C-9341-D2DDEA664162}"/>
                </a:ext>
              </a:extLst>
            </p:cNvPr>
            <p:cNvSpPr/>
            <p:nvPr/>
          </p:nvSpPr>
          <p:spPr>
            <a:xfrm flipV="1">
              <a:off x="4701957" y="1181850"/>
              <a:ext cx="2747224" cy="1223756"/>
            </a:xfrm>
            <a:custGeom>
              <a:avLst/>
              <a:gdLst>
                <a:gd name="connsiteX0" fmla="*/ -4008 w 2747224"/>
                <a:gd name="connsiteY0" fmla="*/ 19889 h 1223756"/>
                <a:gd name="connsiteX1" fmla="*/ 679 w 2747224"/>
                <a:gd name="connsiteY1" fmla="*/ -4511 h 1223756"/>
                <a:gd name="connsiteX2" fmla="*/ -4008 w 2747224"/>
                <a:gd name="connsiteY2" fmla="*/ 19889 h 1223756"/>
                <a:gd name="connsiteX3" fmla="*/ 2731541 w 2747224"/>
                <a:gd name="connsiteY3" fmla="*/ 1219246 h 1223756"/>
                <a:gd name="connsiteX4" fmla="*/ 2736366 w 2747224"/>
                <a:gd name="connsiteY4" fmla="*/ 1203738 h 1223756"/>
                <a:gd name="connsiteX5" fmla="*/ 2731541 w 2747224"/>
                <a:gd name="connsiteY5" fmla="*/ 1219246 h 1223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7224" h="1223756">
                  <a:moveTo>
                    <a:pt x="-4008" y="19889"/>
                  </a:moveTo>
                  <a:cubicBezTo>
                    <a:pt x="7984" y="23059"/>
                    <a:pt x="13436" y="-2029"/>
                    <a:pt x="679" y="-4511"/>
                  </a:cubicBezTo>
                  <a:cubicBezTo>
                    <a:pt x="-8971" y="-1754"/>
                    <a:pt x="-9522" y="13134"/>
                    <a:pt x="-4008" y="19889"/>
                  </a:cubicBezTo>
                  <a:close/>
                  <a:moveTo>
                    <a:pt x="2731541" y="1219246"/>
                  </a:moveTo>
                  <a:cubicBezTo>
                    <a:pt x="2740433" y="1217454"/>
                    <a:pt x="2742086" y="1212285"/>
                    <a:pt x="2736366" y="1203738"/>
                  </a:cubicBezTo>
                  <a:cubicBezTo>
                    <a:pt x="2727199" y="1205599"/>
                    <a:pt x="2725614" y="1210768"/>
                    <a:pt x="2731541" y="1219246"/>
                  </a:cubicBezTo>
                </a:path>
              </a:pathLst>
            </a:custGeom>
            <a:grpFill/>
            <a:ln w="689" cap="flat">
              <a:noFill/>
              <a:prstDash val="solid"/>
              <a:miter/>
            </a:ln>
          </p:spPr>
          <p:txBody>
            <a:bodyPr rtlCol="0" anchor="ctr"/>
            <a:lstStyle/>
            <a:p>
              <a:endParaRPr lang="en-US" sz="2400" dirty="0"/>
            </a:p>
          </p:txBody>
        </p:sp>
        <p:sp>
          <p:nvSpPr>
            <p:cNvPr id="34" name="Graphic 8">
              <a:extLst>
                <a:ext uri="{FF2B5EF4-FFF2-40B4-BE49-F238E27FC236}">
                  <a16:creationId xmlns:a16="http://schemas.microsoft.com/office/drawing/2014/main" id="{8D63519A-FBBA-4642-8E02-9C71344121D1}"/>
                </a:ext>
              </a:extLst>
            </p:cNvPr>
            <p:cNvSpPr/>
            <p:nvPr/>
          </p:nvSpPr>
          <p:spPr>
            <a:xfrm flipV="1">
              <a:off x="7969236" y="1179920"/>
              <a:ext cx="10204" cy="9581"/>
            </a:xfrm>
            <a:custGeom>
              <a:avLst/>
              <a:gdLst>
                <a:gd name="connsiteX0" fmla="*/ -7681 w 10204"/>
                <a:gd name="connsiteY0" fmla="*/ 4069 h 9581"/>
                <a:gd name="connsiteX1" fmla="*/ -7681 w 10204"/>
                <a:gd name="connsiteY1" fmla="*/ 4069 h 9581"/>
                <a:gd name="connsiteX2" fmla="*/ -7681 w 10204"/>
                <a:gd name="connsiteY2" fmla="*/ 4069 h 9581"/>
              </a:gdLst>
              <a:ahLst/>
              <a:cxnLst>
                <a:cxn ang="0">
                  <a:pos x="connsiteX0" y="connsiteY0"/>
                </a:cxn>
                <a:cxn ang="0">
                  <a:pos x="connsiteX1" y="connsiteY1"/>
                </a:cxn>
                <a:cxn ang="0">
                  <a:pos x="connsiteX2" y="connsiteY2"/>
                </a:cxn>
              </a:cxnLst>
              <a:rect l="l" t="t" r="r" b="b"/>
              <a:pathLst>
                <a:path w="10204" h="9581">
                  <a:moveTo>
                    <a:pt x="-7681" y="4069"/>
                  </a:moveTo>
                  <a:cubicBezTo>
                    <a:pt x="14789" y="2622"/>
                    <a:pt x="-18502" y="-16746"/>
                    <a:pt x="-7681" y="4069"/>
                  </a:cubicBezTo>
                  <a:lnTo>
                    <a:pt x="-7681" y="4069"/>
                  </a:lnTo>
                </a:path>
              </a:pathLst>
            </a:custGeom>
            <a:grpFill/>
            <a:ln w="689" cap="flat">
              <a:noFill/>
              <a:prstDash val="solid"/>
              <a:miter/>
            </a:ln>
          </p:spPr>
          <p:txBody>
            <a:bodyPr rtlCol="0" anchor="ctr"/>
            <a:lstStyle/>
            <a:p>
              <a:endParaRPr lang="en-US" sz="2400" dirty="0"/>
            </a:p>
          </p:txBody>
        </p:sp>
        <p:sp>
          <p:nvSpPr>
            <p:cNvPr id="35" name="Graphic 8">
              <a:extLst>
                <a:ext uri="{FF2B5EF4-FFF2-40B4-BE49-F238E27FC236}">
                  <a16:creationId xmlns:a16="http://schemas.microsoft.com/office/drawing/2014/main" id="{362A3931-1CCB-43DC-BC42-21E8BE92BC55}"/>
                </a:ext>
              </a:extLst>
            </p:cNvPr>
            <p:cNvSpPr/>
            <p:nvPr/>
          </p:nvSpPr>
          <p:spPr>
            <a:xfrm flipV="1">
              <a:off x="405471" y="1187295"/>
              <a:ext cx="8024429" cy="2263174"/>
            </a:xfrm>
            <a:custGeom>
              <a:avLst/>
              <a:gdLst>
                <a:gd name="connsiteX0" fmla="*/ 6430606 w 8024429"/>
                <a:gd name="connsiteY0" fmla="*/ -1062 h 2263174"/>
                <a:gd name="connsiteX1" fmla="*/ 6430606 w 8024429"/>
                <a:gd name="connsiteY1" fmla="*/ -1062 h 2263174"/>
                <a:gd name="connsiteX2" fmla="*/ 5997208 w 8024429"/>
                <a:gd name="connsiteY2" fmla="*/ 40017 h 2263174"/>
                <a:gd name="connsiteX3" fmla="*/ 5997208 w 8024429"/>
                <a:gd name="connsiteY3" fmla="*/ 40017 h 2263174"/>
                <a:gd name="connsiteX4" fmla="*/ 8016355 w 8024429"/>
                <a:gd name="connsiteY4" fmla="*/ 177866 h 2263174"/>
                <a:gd name="connsiteX5" fmla="*/ 8016355 w 8024429"/>
                <a:gd name="connsiteY5" fmla="*/ 177866 h 2263174"/>
                <a:gd name="connsiteX6" fmla="*/ 6477268 w 8024429"/>
                <a:gd name="connsiteY6" fmla="*/ 605130 h 2263174"/>
                <a:gd name="connsiteX7" fmla="*/ 6477268 w 8024429"/>
                <a:gd name="connsiteY7" fmla="*/ 605130 h 2263174"/>
                <a:gd name="connsiteX8" fmla="*/ 1502082 w 8024429"/>
                <a:gd name="connsiteY8" fmla="*/ 604785 h 2263174"/>
                <a:gd name="connsiteX9" fmla="*/ 1502082 w 8024429"/>
                <a:gd name="connsiteY9" fmla="*/ 604785 h 2263174"/>
                <a:gd name="connsiteX10" fmla="*/ 3473395 w 8024429"/>
                <a:gd name="connsiteY10" fmla="*/ 701555 h 2263174"/>
                <a:gd name="connsiteX11" fmla="*/ 3473395 w 8024429"/>
                <a:gd name="connsiteY11" fmla="*/ 701555 h 2263174"/>
                <a:gd name="connsiteX12" fmla="*/ 4548275 w 8024429"/>
                <a:gd name="connsiteY12" fmla="*/ 798463 h 2263174"/>
                <a:gd name="connsiteX13" fmla="*/ 4548275 w 8024429"/>
                <a:gd name="connsiteY13" fmla="*/ 798463 h 2263174"/>
                <a:gd name="connsiteX14" fmla="*/ -5438 w 8024429"/>
                <a:gd name="connsiteY14" fmla="*/ 1039837 h 2263174"/>
                <a:gd name="connsiteX15" fmla="*/ -5438 w 8024429"/>
                <a:gd name="connsiteY15" fmla="*/ 1039837 h 2263174"/>
                <a:gd name="connsiteX16" fmla="*/ 3895076 w 8024429"/>
                <a:gd name="connsiteY16" fmla="*/ 1059274 h 2263174"/>
                <a:gd name="connsiteX17" fmla="*/ 3899832 w 8024429"/>
                <a:gd name="connsiteY17" fmla="*/ 1043904 h 2263174"/>
                <a:gd name="connsiteX18" fmla="*/ 3895076 w 8024429"/>
                <a:gd name="connsiteY18" fmla="*/ 1059274 h 2263174"/>
                <a:gd name="connsiteX19" fmla="*/ 28408 w 8024429"/>
                <a:gd name="connsiteY19" fmla="*/ 1121789 h 2263174"/>
                <a:gd name="connsiteX20" fmla="*/ 33025 w 8024429"/>
                <a:gd name="connsiteY20" fmla="*/ 1106350 h 2263174"/>
                <a:gd name="connsiteX21" fmla="*/ 28408 w 8024429"/>
                <a:gd name="connsiteY21" fmla="*/ 1121789 h 2263174"/>
                <a:gd name="connsiteX22" fmla="*/ 12964 w 8024429"/>
                <a:gd name="connsiteY22" fmla="*/ 1190093 h 2263174"/>
                <a:gd name="connsiteX23" fmla="*/ 25026 w 8024429"/>
                <a:gd name="connsiteY23" fmla="*/ 1174378 h 2263174"/>
                <a:gd name="connsiteX24" fmla="*/ 12964 w 8024429"/>
                <a:gd name="connsiteY24" fmla="*/ 1190093 h 2263174"/>
                <a:gd name="connsiteX25" fmla="*/ 5122968 w 8024429"/>
                <a:gd name="connsiteY25" fmla="*/ 1233653 h 2263174"/>
                <a:gd name="connsiteX26" fmla="*/ 5122968 w 8024429"/>
                <a:gd name="connsiteY26" fmla="*/ 1233653 h 2263174"/>
                <a:gd name="connsiteX27" fmla="*/ 4555581 w 8024429"/>
                <a:gd name="connsiteY27" fmla="*/ 1417820 h 2263174"/>
                <a:gd name="connsiteX28" fmla="*/ 4555581 w 8024429"/>
                <a:gd name="connsiteY28" fmla="*/ 1417820 h 2263174"/>
                <a:gd name="connsiteX29" fmla="*/ 758041 w 8024429"/>
                <a:gd name="connsiteY29" fmla="*/ 1894847 h 2263174"/>
                <a:gd name="connsiteX30" fmla="*/ 758041 w 8024429"/>
                <a:gd name="connsiteY30" fmla="*/ 1894847 h 2263174"/>
                <a:gd name="connsiteX31" fmla="*/ 986043 w 8024429"/>
                <a:gd name="connsiteY31" fmla="*/ 1918144 h 2263174"/>
                <a:gd name="connsiteX32" fmla="*/ 1009133 w 8024429"/>
                <a:gd name="connsiteY32" fmla="*/ 1910769 h 2263174"/>
                <a:gd name="connsiteX33" fmla="*/ 1000173 w 8024429"/>
                <a:gd name="connsiteY33" fmla="*/ 1896502 h 2263174"/>
                <a:gd name="connsiteX34" fmla="*/ 1016163 w 8024429"/>
                <a:gd name="connsiteY34" fmla="*/ 1888920 h 2263174"/>
                <a:gd name="connsiteX35" fmla="*/ 1039873 w 8024429"/>
                <a:gd name="connsiteY35" fmla="*/ 1900223 h 2263174"/>
                <a:gd name="connsiteX36" fmla="*/ 1033808 w 8024429"/>
                <a:gd name="connsiteY36" fmla="*/ 1882648 h 2263174"/>
                <a:gd name="connsiteX37" fmla="*/ 1045732 w 8024429"/>
                <a:gd name="connsiteY37" fmla="*/ 1884646 h 2263174"/>
                <a:gd name="connsiteX38" fmla="*/ 1051315 w 8024429"/>
                <a:gd name="connsiteY38" fmla="*/ 1895536 h 2263174"/>
                <a:gd name="connsiteX39" fmla="*/ 1060964 w 8024429"/>
                <a:gd name="connsiteY39" fmla="*/ 1888851 h 2263174"/>
                <a:gd name="connsiteX40" fmla="*/ 1059172 w 8024429"/>
                <a:gd name="connsiteY40" fmla="*/ 1869621 h 2263174"/>
                <a:gd name="connsiteX41" fmla="*/ 1056760 w 8024429"/>
                <a:gd name="connsiteY41" fmla="*/ 1849977 h 2263174"/>
                <a:gd name="connsiteX42" fmla="*/ 1043871 w 8024429"/>
                <a:gd name="connsiteY42" fmla="*/ 1843981 h 2263174"/>
                <a:gd name="connsiteX43" fmla="*/ 1041734 w 8024429"/>
                <a:gd name="connsiteY43" fmla="*/ 1813103 h 2263174"/>
                <a:gd name="connsiteX44" fmla="*/ 1032292 w 8024429"/>
                <a:gd name="connsiteY44" fmla="*/ 1827577 h 2263174"/>
                <a:gd name="connsiteX45" fmla="*/ 1039460 w 8024429"/>
                <a:gd name="connsiteY45" fmla="*/ 1865485 h 2263174"/>
                <a:gd name="connsiteX46" fmla="*/ 1023952 w 8024429"/>
                <a:gd name="connsiteY46" fmla="*/ 1874170 h 2263174"/>
                <a:gd name="connsiteX47" fmla="*/ 1024434 w 8024429"/>
                <a:gd name="connsiteY47" fmla="*/ 1880097 h 2263174"/>
                <a:gd name="connsiteX48" fmla="*/ 1014027 w 8024429"/>
                <a:gd name="connsiteY48" fmla="*/ 1882027 h 2263174"/>
                <a:gd name="connsiteX49" fmla="*/ 1012097 w 8024429"/>
                <a:gd name="connsiteY49" fmla="*/ 1877478 h 2263174"/>
                <a:gd name="connsiteX50" fmla="*/ 993763 w 8024429"/>
                <a:gd name="connsiteY50" fmla="*/ 1887610 h 2263174"/>
                <a:gd name="connsiteX51" fmla="*/ 986043 w 8024429"/>
                <a:gd name="connsiteY51" fmla="*/ 1918144 h 2263174"/>
                <a:gd name="connsiteX52" fmla="*/ 6754414 w 8024429"/>
                <a:gd name="connsiteY52" fmla="*/ 2259527 h 2263174"/>
                <a:gd name="connsiteX53" fmla="*/ 6754414 w 8024429"/>
                <a:gd name="connsiteY53" fmla="*/ 2259527 h 2263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8024429" h="2263174">
                  <a:moveTo>
                    <a:pt x="6430606" y="-1062"/>
                  </a:moveTo>
                  <a:cubicBezTo>
                    <a:pt x="6434259" y="-4509"/>
                    <a:pt x="6434259" y="-4509"/>
                    <a:pt x="6430606" y="-1062"/>
                  </a:cubicBezTo>
                  <a:close/>
                  <a:moveTo>
                    <a:pt x="5997208" y="40017"/>
                  </a:moveTo>
                  <a:cubicBezTo>
                    <a:pt x="6000585" y="36364"/>
                    <a:pt x="6000585" y="36364"/>
                    <a:pt x="5997208" y="40017"/>
                  </a:cubicBezTo>
                  <a:moveTo>
                    <a:pt x="8016355" y="177866"/>
                  </a:moveTo>
                  <a:cubicBezTo>
                    <a:pt x="8019870" y="174351"/>
                    <a:pt x="8019870" y="174351"/>
                    <a:pt x="8016355" y="177866"/>
                  </a:cubicBezTo>
                  <a:moveTo>
                    <a:pt x="6477268" y="605130"/>
                  </a:moveTo>
                  <a:cubicBezTo>
                    <a:pt x="6500013" y="604302"/>
                    <a:pt x="6467060" y="584314"/>
                    <a:pt x="6477268" y="605130"/>
                  </a:cubicBezTo>
                  <a:moveTo>
                    <a:pt x="1502082" y="604785"/>
                  </a:moveTo>
                  <a:cubicBezTo>
                    <a:pt x="1524758" y="604716"/>
                    <a:pt x="1492364" y="583556"/>
                    <a:pt x="1502082" y="604785"/>
                  </a:cubicBezTo>
                  <a:moveTo>
                    <a:pt x="3473395" y="701555"/>
                  </a:moveTo>
                  <a:cubicBezTo>
                    <a:pt x="3496071" y="701142"/>
                    <a:pt x="3463470" y="680464"/>
                    <a:pt x="3473395" y="701555"/>
                  </a:cubicBezTo>
                  <a:moveTo>
                    <a:pt x="4548275" y="798463"/>
                  </a:moveTo>
                  <a:cubicBezTo>
                    <a:pt x="4570882" y="797981"/>
                    <a:pt x="4538419" y="777303"/>
                    <a:pt x="4548275" y="798463"/>
                  </a:cubicBezTo>
                  <a:moveTo>
                    <a:pt x="-5438" y="1039837"/>
                  </a:moveTo>
                  <a:cubicBezTo>
                    <a:pt x="-1992" y="1036115"/>
                    <a:pt x="-1992" y="1036115"/>
                    <a:pt x="-5438" y="1039837"/>
                  </a:cubicBezTo>
                  <a:moveTo>
                    <a:pt x="3895076" y="1059274"/>
                  </a:moveTo>
                  <a:cubicBezTo>
                    <a:pt x="3904174" y="1057275"/>
                    <a:pt x="3905759" y="1052106"/>
                    <a:pt x="3899832" y="1043904"/>
                  </a:cubicBezTo>
                  <a:cubicBezTo>
                    <a:pt x="3890596" y="1045971"/>
                    <a:pt x="3889011" y="1051072"/>
                    <a:pt x="3895076" y="1059274"/>
                  </a:cubicBezTo>
                  <a:moveTo>
                    <a:pt x="28408" y="1121789"/>
                  </a:moveTo>
                  <a:cubicBezTo>
                    <a:pt x="37503" y="1119859"/>
                    <a:pt x="39018" y="1114689"/>
                    <a:pt x="33025" y="1106350"/>
                  </a:cubicBezTo>
                  <a:cubicBezTo>
                    <a:pt x="23995" y="1108348"/>
                    <a:pt x="22409" y="1113518"/>
                    <a:pt x="28408" y="1121789"/>
                  </a:cubicBezTo>
                  <a:moveTo>
                    <a:pt x="12964" y="1190093"/>
                  </a:moveTo>
                  <a:cubicBezTo>
                    <a:pt x="21095" y="1194297"/>
                    <a:pt x="30131" y="1181271"/>
                    <a:pt x="25026" y="1174378"/>
                  </a:cubicBezTo>
                  <a:cubicBezTo>
                    <a:pt x="16893" y="1169829"/>
                    <a:pt x="7246" y="1183269"/>
                    <a:pt x="12964" y="1190093"/>
                  </a:cubicBezTo>
                  <a:moveTo>
                    <a:pt x="5122968" y="1233653"/>
                  </a:moveTo>
                  <a:cubicBezTo>
                    <a:pt x="5143783" y="1243854"/>
                    <a:pt x="5123657" y="1210839"/>
                    <a:pt x="5122968" y="1233653"/>
                  </a:cubicBezTo>
                  <a:moveTo>
                    <a:pt x="4555581" y="1417820"/>
                  </a:moveTo>
                  <a:cubicBezTo>
                    <a:pt x="4578257" y="1416166"/>
                    <a:pt x="4544690" y="1397280"/>
                    <a:pt x="4555581" y="1417820"/>
                  </a:cubicBezTo>
                  <a:moveTo>
                    <a:pt x="758041" y="1894847"/>
                  </a:moveTo>
                  <a:cubicBezTo>
                    <a:pt x="780855" y="1894296"/>
                    <a:pt x="748253" y="1873825"/>
                    <a:pt x="758041" y="1894847"/>
                  </a:cubicBezTo>
                  <a:moveTo>
                    <a:pt x="986043" y="1918144"/>
                  </a:moveTo>
                  <a:cubicBezTo>
                    <a:pt x="993763" y="1915800"/>
                    <a:pt x="1001413" y="1913319"/>
                    <a:pt x="1009133" y="1910769"/>
                  </a:cubicBezTo>
                  <a:cubicBezTo>
                    <a:pt x="1006100" y="1906082"/>
                    <a:pt x="1003137" y="1901326"/>
                    <a:pt x="1000173" y="1896502"/>
                  </a:cubicBezTo>
                  <a:cubicBezTo>
                    <a:pt x="1005480" y="1894020"/>
                    <a:pt x="1010787" y="1891470"/>
                    <a:pt x="1016163" y="1888920"/>
                  </a:cubicBezTo>
                  <a:cubicBezTo>
                    <a:pt x="1020505" y="1899258"/>
                    <a:pt x="1029672" y="1901740"/>
                    <a:pt x="1039873" y="1900223"/>
                  </a:cubicBezTo>
                  <a:cubicBezTo>
                    <a:pt x="1028018" y="1901326"/>
                    <a:pt x="1026019" y="1889126"/>
                    <a:pt x="1033808" y="1882648"/>
                  </a:cubicBezTo>
                  <a:cubicBezTo>
                    <a:pt x="1036014" y="1867760"/>
                    <a:pt x="1063583" y="1874239"/>
                    <a:pt x="1045732" y="1884646"/>
                  </a:cubicBezTo>
                  <a:cubicBezTo>
                    <a:pt x="1047179" y="1887403"/>
                    <a:pt x="1049936" y="1892848"/>
                    <a:pt x="1051315" y="1895536"/>
                  </a:cubicBezTo>
                  <a:cubicBezTo>
                    <a:pt x="1053727" y="1893882"/>
                    <a:pt x="1058552" y="1890505"/>
                    <a:pt x="1060964" y="1888851"/>
                  </a:cubicBezTo>
                  <a:cubicBezTo>
                    <a:pt x="1060482" y="1884026"/>
                    <a:pt x="1059586" y="1874446"/>
                    <a:pt x="1059172" y="1869621"/>
                  </a:cubicBezTo>
                  <a:cubicBezTo>
                    <a:pt x="1058552" y="1864727"/>
                    <a:pt x="1057380" y="1854871"/>
                    <a:pt x="1056760" y="1849977"/>
                  </a:cubicBezTo>
                  <a:cubicBezTo>
                    <a:pt x="1053520" y="1848530"/>
                    <a:pt x="1047110" y="1845497"/>
                    <a:pt x="1043871" y="1843981"/>
                  </a:cubicBezTo>
                  <a:cubicBezTo>
                    <a:pt x="1045181" y="1833642"/>
                    <a:pt x="1045456" y="1823097"/>
                    <a:pt x="1041734" y="1813103"/>
                  </a:cubicBezTo>
                  <a:cubicBezTo>
                    <a:pt x="1039391" y="1816687"/>
                    <a:pt x="1034635" y="1823924"/>
                    <a:pt x="1032292" y="1827577"/>
                  </a:cubicBezTo>
                  <a:cubicBezTo>
                    <a:pt x="1034153" y="1840328"/>
                    <a:pt x="1036841" y="1852941"/>
                    <a:pt x="1039460" y="1865485"/>
                  </a:cubicBezTo>
                  <a:cubicBezTo>
                    <a:pt x="1035600" y="1867691"/>
                    <a:pt x="1027812" y="1872033"/>
                    <a:pt x="1023952" y="1874170"/>
                  </a:cubicBezTo>
                  <a:lnTo>
                    <a:pt x="1024434" y="1880097"/>
                  </a:lnTo>
                  <a:cubicBezTo>
                    <a:pt x="1021815" y="1880580"/>
                    <a:pt x="1016646" y="1881545"/>
                    <a:pt x="1014027" y="1882027"/>
                  </a:cubicBezTo>
                  <a:lnTo>
                    <a:pt x="1012097" y="1877478"/>
                  </a:lnTo>
                  <a:cubicBezTo>
                    <a:pt x="1005962" y="1880855"/>
                    <a:pt x="999897" y="1884233"/>
                    <a:pt x="993763" y="1887610"/>
                  </a:cubicBezTo>
                  <a:cubicBezTo>
                    <a:pt x="991213" y="1897811"/>
                    <a:pt x="988593" y="1907943"/>
                    <a:pt x="986043" y="1918144"/>
                  </a:cubicBezTo>
                  <a:moveTo>
                    <a:pt x="6754414" y="2259527"/>
                  </a:moveTo>
                  <a:cubicBezTo>
                    <a:pt x="6776952" y="2257804"/>
                    <a:pt x="6743317" y="2238919"/>
                    <a:pt x="6754414" y="2259527"/>
                  </a:cubicBezTo>
                </a:path>
              </a:pathLst>
            </a:custGeom>
            <a:grpFill/>
            <a:ln w="689" cap="flat">
              <a:noFill/>
              <a:prstDash val="solid"/>
              <a:miter/>
            </a:ln>
          </p:spPr>
          <p:txBody>
            <a:bodyPr rtlCol="0" anchor="ctr"/>
            <a:lstStyle/>
            <a:p>
              <a:endParaRPr lang="en-US" sz="2400" dirty="0"/>
            </a:p>
          </p:txBody>
        </p:sp>
        <p:sp>
          <p:nvSpPr>
            <p:cNvPr id="36" name="Graphic 8">
              <a:extLst>
                <a:ext uri="{FF2B5EF4-FFF2-40B4-BE49-F238E27FC236}">
                  <a16:creationId xmlns:a16="http://schemas.microsoft.com/office/drawing/2014/main" id="{92AF960D-C0F9-4F04-A6A8-946F5D42B1F8}"/>
                </a:ext>
              </a:extLst>
            </p:cNvPr>
            <p:cNvSpPr/>
            <p:nvPr/>
          </p:nvSpPr>
          <p:spPr>
            <a:xfrm flipV="1">
              <a:off x="3318258" y="1188329"/>
              <a:ext cx="5473429" cy="2434765"/>
            </a:xfrm>
            <a:custGeom>
              <a:avLst/>
              <a:gdLst>
                <a:gd name="connsiteX0" fmla="*/ 669793 w 5473429"/>
                <a:gd name="connsiteY0" fmla="*/ 18348 h 2434765"/>
                <a:gd name="connsiteX1" fmla="*/ 673171 w 5473429"/>
                <a:gd name="connsiteY1" fmla="*/ -3501 h 2434765"/>
                <a:gd name="connsiteX2" fmla="*/ 669793 w 5473429"/>
                <a:gd name="connsiteY2" fmla="*/ 18348 h 2434765"/>
                <a:gd name="connsiteX3" fmla="*/ -6426 w 5473429"/>
                <a:gd name="connsiteY3" fmla="*/ 137450 h 2434765"/>
                <a:gd name="connsiteX4" fmla="*/ 17146 w 5473429"/>
                <a:gd name="connsiteY4" fmla="*/ 126077 h 2434765"/>
                <a:gd name="connsiteX5" fmla="*/ -6426 w 5473429"/>
                <a:gd name="connsiteY5" fmla="*/ 137450 h 2434765"/>
                <a:gd name="connsiteX6" fmla="*/ 1145993 w 5473429"/>
                <a:gd name="connsiteY6" fmla="*/ 226638 h 2434765"/>
                <a:gd name="connsiteX7" fmla="*/ 1145993 w 5473429"/>
                <a:gd name="connsiteY7" fmla="*/ 226638 h 2434765"/>
                <a:gd name="connsiteX8" fmla="*/ 1187417 w 5473429"/>
                <a:gd name="connsiteY8" fmla="*/ 233255 h 2434765"/>
                <a:gd name="connsiteX9" fmla="*/ 1225119 w 5473429"/>
                <a:gd name="connsiteY9" fmla="*/ 244214 h 2434765"/>
                <a:gd name="connsiteX10" fmla="*/ 1222293 w 5473429"/>
                <a:gd name="connsiteY10" fmla="*/ 226225 h 2434765"/>
                <a:gd name="connsiteX11" fmla="*/ 1244211 w 5473429"/>
                <a:gd name="connsiteY11" fmla="*/ 235047 h 2434765"/>
                <a:gd name="connsiteX12" fmla="*/ 1248071 w 5473429"/>
                <a:gd name="connsiteY12" fmla="*/ 194244 h 2434765"/>
                <a:gd name="connsiteX13" fmla="*/ 1197342 w 5473429"/>
                <a:gd name="connsiteY13" fmla="*/ 219746 h 2434765"/>
                <a:gd name="connsiteX14" fmla="*/ 1208439 w 5473429"/>
                <a:gd name="connsiteY14" fmla="*/ 203893 h 2434765"/>
                <a:gd name="connsiteX15" fmla="*/ 1239318 w 5473429"/>
                <a:gd name="connsiteY15" fmla="*/ 194451 h 2434765"/>
                <a:gd name="connsiteX16" fmla="*/ 1185212 w 5473429"/>
                <a:gd name="connsiteY16" fmla="*/ 191969 h 2434765"/>
                <a:gd name="connsiteX17" fmla="*/ 1104915 w 5473429"/>
                <a:gd name="connsiteY17" fmla="*/ 187351 h 2434765"/>
                <a:gd name="connsiteX18" fmla="*/ 1107603 w 5473429"/>
                <a:gd name="connsiteY18" fmla="*/ 214232 h 2434765"/>
                <a:gd name="connsiteX19" fmla="*/ 1110980 w 5473429"/>
                <a:gd name="connsiteY19" fmla="*/ 214645 h 2434765"/>
                <a:gd name="connsiteX20" fmla="*/ 1131175 w 5473429"/>
                <a:gd name="connsiteY20" fmla="*/ 216920 h 2434765"/>
                <a:gd name="connsiteX21" fmla="*/ 1136068 w 5473429"/>
                <a:gd name="connsiteY21" fmla="*/ 238287 h 2434765"/>
                <a:gd name="connsiteX22" fmla="*/ 1161915 w 5473429"/>
                <a:gd name="connsiteY22" fmla="*/ 229671 h 2434765"/>
                <a:gd name="connsiteX23" fmla="*/ 1160881 w 5473429"/>
                <a:gd name="connsiteY23" fmla="*/ 242767 h 2434765"/>
                <a:gd name="connsiteX24" fmla="*/ 1180180 w 5473429"/>
                <a:gd name="connsiteY24" fmla="*/ 207684 h 2434765"/>
                <a:gd name="connsiteX25" fmla="*/ 1187417 w 5473429"/>
                <a:gd name="connsiteY25" fmla="*/ 233255 h 2434765"/>
                <a:gd name="connsiteX26" fmla="*/ 2571769 w 5473429"/>
                <a:gd name="connsiteY26" fmla="*/ 307280 h 2434765"/>
                <a:gd name="connsiteX27" fmla="*/ 2587897 w 5473429"/>
                <a:gd name="connsiteY27" fmla="*/ 327268 h 2434765"/>
                <a:gd name="connsiteX28" fmla="*/ 2592308 w 5473429"/>
                <a:gd name="connsiteY28" fmla="*/ 322995 h 2434765"/>
                <a:gd name="connsiteX29" fmla="*/ 2610504 w 5473429"/>
                <a:gd name="connsiteY29" fmla="*/ 320514 h 2434765"/>
                <a:gd name="connsiteX30" fmla="*/ 2615880 w 5473429"/>
                <a:gd name="connsiteY30" fmla="*/ 290463 h 2434765"/>
                <a:gd name="connsiteX31" fmla="*/ 2571010 w 5473429"/>
                <a:gd name="connsiteY31" fmla="*/ 288326 h 2434765"/>
                <a:gd name="connsiteX32" fmla="*/ 2528002 w 5473429"/>
                <a:gd name="connsiteY32" fmla="*/ 274748 h 2434765"/>
                <a:gd name="connsiteX33" fmla="*/ 2526760 w 5473429"/>
                <a:gd name="connsiteY33" fmla="*/ 287706 h 2434765"/>
                <a:gd name="connsiteX34" fmla="*/ 2569632 w 5473429"/>
                <a:gd name="connsiteY34" fmla="*/ 300663 h 2434765"/>
                <a:gd name="connsiteX35" fmla="*/ 2557846 w 5473429"/>
                <a:gd name="connsiteY35" fmla="*/ 305902 h 2434765"/>
                <a:gd name="connsiteX36" fmla="*/ 2553434 w 5473429"/>
                <a:gd name="connsiteY36" fmla="*/ 308521 h 2434765"/>
                <a:gd name="connsiteX37" fmla="*/ 2548816 w 5473429"/>
                <a:gd name="connsiteY37" fmla="*/ 321548 h 2434765"/>
                <a:gd name="connsiteX38" fmla="*/ 2571769 w 5473429"/>
                <a:gd name="connsiteY38" fmla="*/ 307280 h 2434765"/>
                <a:gd name="connsiteX39" fmla="*/ 5404363 w 5473429"/>
                <a:gd name="connsiteY39" fmla="*/ 350014 h 2434765"/>
                <a:gd name="connsiteX40" fmla="*/ 5415047 w 5473429"/>
                <a:gd name="connsiteY40" fmla="*/ 322444 h 2434765"/>
                <a:gd name="connsiteX41" fmla="*/ 5450130 w 5473429"/>
                <a:gd name="connsiteY41" fmla="*/ 323478 h 2434765"/>
                <a:gd name="connsiteX42" fmla="*/ 5457711 w 5473429"/>
                <a:gd name="connsiteY42" fmla="*/ 297493 h 2434765"/>
                <a:gd name="connsiteX43" fmla="*/ 5457367 w 5473429"/>
                <a:gd name="connsiteY43" fmla="*/ 295908 h 2434765"/>
                <a:gd name="connsiteX44" fmla="*/ 5445443 w 5473429"/>
                <a:gd name="connsiteY44" fmla="*/ 287361 h 2434765"/>
                <a:gd name="connsiteX45" fmla="*/ 5428625 w 5473429"/>
                <a:gd name="connsiteY45" fmla="*/ 297079 h 2434765"/>
                <a:gd name="connsiteX46" fmla="*/ 5436621 w 5473429"/>
                <a:gd name="connsiteY46" fmla="*/ 287706 h 2434765"/>
                <a:gd name="connsiteX47" fmla="*/ 5409809 w 5473429"/>
                <a:gd name="connsiteY47" fmla="*/ 275299 h 2434765"/>
                <a:gd name="connsiteX48" fmla="*/ 5422077 w 5473429"/>
                <a:gd name="connsiteY48" fmla="*/ 301766 h 2434765"/>
                <a:gd name="connsiteX49" fmla="*/ 5412842 w 5473429"/>
                <a:gd name="connsiteY49" fmla="*/ 317757 h 2434765"/>
                <a:gd name="connsiteX50" fmla="*/ 5403399 w 5473429"/>
                <a:gd name="connsiteY50" fmla="*/ 298113 h 2434765"/>
                <a:gd name="connsiteX51" fmla="*/ 5399539 w 5473429"/>
                <a:gd name="connsiteY51" fmla="*/ 325683 h 2434765"/>
                <a:gd name="connsiteX52" fmla="*/ 5404363 w 5473429"/>
                <a:gd name="connsiteY52" fmla="*/ 350014 h 2434765"/>
                <a:gd name="connsiteX53" fmla="*/ 2895852 w 5473429"/>
                <a:gd name="connsiteY53" fmla="*/ 805054 h 2434765"/>
                <a:gd name="connsiteX54" fmla="*/ 2899367 w 5473429"/>
                <a:gd name="connsiteY54" fmla="*/ 782791 h 2434765"/>
                <a:gd name="connsiteX55" fmla="*/ 2895852 w 5473429"/>
                <a:gd name="connsiteY55" fmla="*/ 805054 h 2434765"/>
                <a:gd name="connsiteX56" fmla="*/ 3129782 w 5473429"/>
                <a:gd name="connsiteY56" fmla="*/ 1154295 h 2434765"/>
                <a:gd name="connsiteX57" fmla="*/ 3150528 w 5473429"/>
                <a:gd name="connsiteY57" fmla="*/ 1124451 h 2434765"/>
                <a:gd name="connsiteX58" fmla="*/ 3134400 w 5473429"/>
                <a:gd name="connsiteY58" fmla="*/ 1049254 h 2434765"/>
                <a:gd name="connsiteX59" fmla="*/ 3129782 w 5473429"/>
                <a:gd name="connsiteY59" fmla="*/ 1154295 h 2434765"/>
                <a:gd name="connsiteX60" fmla="*/ 4758333 w 5473429"/>
                <a:gd name="connsiteY60" fmla="*/ 1314407 h 2434765"/>
                <a:gd name="connsiteX61" fmla="*/ 4786592 w 5473429"/>
                <a:gd name="connsiteY61" fmla="*/ 1308204 h 2434765"/>
                <a:gd name="connsiteX62" fmla="*/ 4758333 w 5473429"/>
                <a:gd name="connsiteY62" fmla="*/ 1314407 h 2434765"/>
                <a:gd name="connsiteX63" fmla="*/ 5445994 w 5473429"/>
                <a:gd name="connsiteY63" fmla="*/ 1467213 h 2434765"/>
                <a:gd name="connsiteX64" fmla="*/ 5465362 w 5473429"/>
                <a:gd name="connsiteY64" fmla="*/ 1496643 h 2434765"/>
                <a:gd name="connsiteX65" fmla="*/ 5449578 w 5473429"/>
                <a:gd name="connsiteY65" fmla="*/ 1463767 h 2434765"/>
                <a:gd name="connsiteX66" fmla="*/ 5445994 w 5473429"/>
                <a:gd name="connsiteY66" fmla="*/ 1467213 h 2434765"/>
                <a:gd name="connsiteX67" fmla="*/ 331856 w 5473429"/>
                <a:gd name="connsiteY67" fmla="*/ 1592104 h 2434765"/>
                <a:gd name="connsiteX68" fmla="*/ 343022 w 5473429"/>
                <a:gd name="connsiteY68" fmla="*/ 1580318 h 2434765"/>
                <a:gd name="connsiteX69" fmla="*/ 331856 w 5473429"/>
                <a:gd name="connsiteY69" fmla="*/ 1592104 h 2434765"/>
                <a:gd name="connsiteX70" fmla="*/ 2937414 w 5473429"/>
                <a:gd name="connsiteY70" fmla="*/ 1679776 h 2434765"/>
                <a:gd name="connsiteX71" fmla="*/ 2941205 w 5473429"/>
                <a:gd name="connsiteY71" fmla="*/ 1657858 h 2434765"/>
                <a:gd name="connsiteX72" fmla="*/ 2937414 w 5473429"/>
                <a:gd name="connsiteY72" fmla="*/ 1679776 h 2434765"/>
                <a:gd name="connsiteX73" fmla="*/ 5459848 w 5473429"/>
                <a:gd name="connsiteY73" fmla="*/ 2040321 h 2434765"/>
                <a:gd name="connsiteX74" fmla="*/ 5457229 w 5473429"/>
                <a:gd name="connsiteY74" fmla="*/ 2022194 h 2434765"/>
                <a:gd name="connsiteX75" fmla="*/ 5459848 w 5473429"/>
                <a:gd name="connsiteY75" fmla="*/ 2040321 h 2434765"/>
                <a:gd name="connsiteX76" fmla="*/ 2592239 w 5473429"/>
                <a:gd name="connsiteY76" fmla="*/ 2326772 h 2434765"/>
                <a:gd name="connsiteX77" fmla="*/ 2608229 w 5473429"/>
                <a:gd name="connsiteY77" fmla="*/ 2310230 h 2434765"/>
                <a:gd name="connsiteX78" fmla="*/ 2592239 w 5473429"/>
                <a:gd name="connsiteY78" fmla="*/ 2326772 h 2434765"/>
                <a:gd name="connsiteX79" fmla="*/ 4239607 w 5473429"/>
                <a:gd name="connsiteY79" fmla="*/ 2431261 h 2434765"/>
                <a:gd name="connsiteX80" fmla="*/ 4235954 w 5473429"/>
                <a:gd name="connsiteY80" fmla="*/ 2407965 h 2434765"/>
                <a:gd name="connsiteX81" fmla="*/ 4239607 w 5473429"/>
                <a:gd name="connsiteY81" fmla="*/ 2431261 h 243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5473429" h="2434765">
                  <a:moveTo>
                    <a:pt x="669793" y="18348"/>
                  </a:moveTo>
                  <a:cubicBezTo>
                    <a:pt x="679374" y="18555"/>
                    <a:pt x="678754" y="1600"/>
                    <a:pt x="673171" y="-3501"/>
                  </a:cubicBezTo>
                  <a:cubicBezTo>
                    <a:pt x="663176" y="-3777"/>
                    <a:pt x="664073" y="13386"/>
                    <a:pt x="669793" y="18348"/>
                  </a:cubicBezTo>
                  <a:close/>
                  <a:moveTo>
                    <a:pt x="-6426" y="137450"/>
                  </a:moveTo>
                  <a:cubicBezTo>
                    <a:pt x="1914" y="141103"/>
                    <a:pt x="18042" y="137726"/>
                    <a:pt x="17146" y="126077"/>
                  </a:cubicBezTo>
                  <a:cubicBezTo>
                    <a:pt x="12459" y="112224"/>
                    <a:pt x="-12974" y="126767"/>
                    <a:pt x="-6426" y="137450"/>
                  </a:cubicBezTo>
                  <a:moveTo>
                    <a:pt x="1145993" y="226638"/>
                  </a:moveTo>
                  <a:cubicBezTo>
                    <a:pt x="1149784" y="223261"/>
                    <a:pt x="1149784" y="223261"/>
                    <a:pt x="1145993" y="226638"/>
                  </a:cubicBezTo>
                  <a:moveTo>
                    <a:pt x="1187417" y="233255"/>
                  </a:moveTo>
                  <a:cubicBezTo>
                    <a:pt x="1201685" y="228499"/>
                    <a:pt x="1213195" y="238424"/>
                    <a:pt x="1225119" y="244214"/>
                  </a:cubicBezTo>
                  <a:cubicBezTo>
                    <a:pt x="1224430" y="239665"/>
                    <a:pt x="1222982" y="230705"/>
                    <a:pt x="1222293" y="226225"/>
                  </a:cubicBezTo>
                  <a:cubicBezTo>
                    <a:pt x="1229530" y="229189"/>
                    <a:pt x="1236836" y="232152"/>
                    <a:pt x="1244211" y="235047"/>
                  </a:cubicBezTo>
                  <a:cubicBezTo>
                    <a:pt x="1245314" y="221469"/>
                    <a:pt x="1246486" y="207891"/>
                    <a:pt x="1248071" y="194244"/>
                  </a:cubicBezTo>
                  <a:cubicBezTo>
                    <a:pt x="1233114" y="206581"/>
                    <a:pt x="1213816" y="210372"/>
                    <a:pt x="1197342" y="219746"/>
                  </a:cubicBezTo>
                  <a:cubicBezTo>
                    <a:pt x="1200858" y="214370"/>
                    <a:pt x="1204579" y="209131"/>
                    <a:pt x="1208439" y="203893"/>
                  </a:cubicBezTo>
                  <a:cubicBezTo>
                    <a:pt x="1218296" y="198724"/>
                    <a:pt x="1233114" y="206788"/>
                    <a:pt x="1239318" y="194451"/>
                  </a:cubicBezTo>
                  <a:cubicBezTo>
                    <a:pt x="1222087" y="189902"/>
                    <a:pt x="1198514" y="205203"/>
                    <a:pt x="1185212" y="191969"/>
                  </a:cubicBezTo>
                  <a:cubicBezTo>
                    <a:pt x="1158400" y="190660"/>
                    <a:pt x="1131657" y="188247"/>
                    <a:pt x="1104915" y="187351"/>
                  </a:cubicBezTo>
                  <a:cubicBezTo>
                    <a:pt x="1106086" y="196312"/>
                    <a:pt x="1106844" y="205341"/>
                    <a:pt x="1107603" y="214232"/>
                  </a:cubicBezTo>
                  <a:lnTo>
                    <a:pt x="1110980" y="214645"/>
                  </a:lnTo>
                  <a:cubicBezTo>
                    <a:pt x="1116011" y="215197"/>
                    <a:pt x="1126143" y="216300"/>
                    <a:pt x="1131175" y="216920"/>
                  </a:cubicBezTo>
                  <a:cubicBezTo>
                    <a:pt x="1132416" y="222227"/>
                    <a:pt x="1134828" y="232910"/>
                    <a:pt x="1136068" y="238287"/>
                  </a:cubicBezTo>
                  <a:cubicBezTo>
                    <a:pt x="1146752" y="239872"/>
                    <a:pt x="1155367" y="237046"/>
                    <a:pt x="1161915" y="229671"/>
                  </a:cubicBezTo>
                  <a:cubicBezTo>
                    <a:pt x="1161708" y="232979"/>
                    <a:pt x="1161157" y="239527"/>
                    <a:pt x="1160881" y="242767"/>
                  </a:cubicBezTo>
                  <a:cubicBezTo>
                    <a:pt x="1190450" y="241871"/>
                    <a:pt x="1152817" y="209752"/>
                    <a:pt x="1180180" y="207684"/>
                  </a:cubicBezTo>
                  <a:cubicBezTo>
                    <a:pt x="1182524" y="216231"/>
                    <a:pt x="1184936" y="224778"/>
                    <a:pt x="1187417" y="233255"/>
                  </a:cubicBezTo>
                  <a:moveTo>
                    <a:pt x="2571769" y="307280"/>
                  </a:moveTo>
                  <a:cubicBezTo>
                    <a:pt x="2562946" y="324167"/>
                    <a:pt x="2578385" y="326510"/>
                    <a:pt x="2587897" y="327268"/>
                  </a:cubicBezTo>
                  <a:lnTo>
                    <a:pt x="2592308" y="322995"/>
                  </a:lnTo>
                  <a:cubicBezTo>
                    <a:pt x="2597615" y="319687"/>
                    <a:pt x="2603749" y="318860"/>
                    <a:pt x="2610504" y="320514"/>
                  </a:cubicBezTo>
                  <a:cubicBezTo>
                    <a:pt x="2607678" y="309141"/>
                    <a:pt x="2609470" y="299147"/>
                    <a:pt x="2615880" y="290463"/>
                  </a:cubicBezTo>
                  <a:cubicBezTo>
                    <a:pt x="2607885" y="271164"/>
                    <a:pt x="2584657" y="283777"/>
                    <a:pt x="2571010" y="288326"/>
                  </a:cubicBezTo>
                  <a:cubicBezTo>
                    <a:pt x="2557914" y="280468"/>
                    <a:pt x="2543096" y="276195"/>
                    <a:pt x="2528002" y="274748"/>
                  </a:cubicBezTo>
                  <a:lnTo>
                    <a:pt x="2526760" y="287706"/>
                  </a:lnTo>
                  <a:cubicBezTo>
                    <a:pt x="2540683" y="288602"/>
                    <a:pt x="2569632" y="275988"/>
                    <a:pt x="2569632" y="300663"/>
                  </a:cubicBezTo>
                  <a:cubicBezTo>
                    <a:pt x="2566668" y="301973"/>
                    <a:pt x="2560809" y="304592"/>
                    <a:pt x="2557846" y="305902"/>
                  </a:cubicBezTo>
                  <a:lnTo>
                    <a:pt x="2553434" y="308521"/>
                  </a:lnTo>
                  <a:cubicBezTo>
                    <a:pt x="2552332" y="311760"/>
                    <a:pt x="2549988" y="318308"/>
                    <a:pt x="2548816" y="321548"/>
                  </a:cubicBezTo>
                  <a:cubicBezTo>
                    <a:pt x="2558604" y="321065"/>
                    <a:pt x="2564876" y="313346"/>
                    <a:pt x="2571769" y="307280"/>
                  </a:cubicBezTo>
                  <a:moveTo>
                    <a:pt x="5404363" y="350014"/>
                  </a:moveTo>
                  <a:cubicBezTo>
                    <a:pt x="5413876" y="343672"/>
                    <a:pt x="5414427" y="332782"/>
                    <a:pt x="5415047" y="322444"/>
                  </a:cubicBezTo>
                  <a:cubicBezTo>
                    <a:pt x="5426695" y="322306"/>
                    <a:pt x="5438413" y="322306"/>
                    <a:pt x="5450130" y="323478"/>
                  </a:cubicBezTo>
                  <a:cubicBezTo>
                    <a:pt x="5447441" y="313001"/>
                    <a:pt x="5449992" y="304316"/>
                    <a:pt x="5457711" y="297493"/>
                  </a:cubicBezTo>
                  <a:lnTo>
                    <a:pt x="5457367" y="295908"/>
                  </a:lnTo>
                  <a:cubicBezTo>
                    <a:pt x="5454403" y="293771"/>
                    <a:pt x="5448407" y="289498"/>
                    <a:pt x="5445443" y="287361"/>
                  </a:cubicBezTo>
                  <a:cubicBezTo>
                    <a:pt x="5443995" y="295218"/>
                    <a:pt x="5435104" y="314173"/>
                    <a:pt x="5428625" y="297079"/>
                  </a:cubicBezTo>
                  <a:cubicBezTo>
                    <a:pt x="5430624" y="294736"/>
                    <a:pt x="5434622" y="290049"/>
                    <a:pt x="5436621" y="287706"/>
                  </a:cubicBezTo>
                  <a:cubicBezTo>
                    <a:pt x="5427523" y="283639"/>
                    <a:pt x="5418562" y="279504"/>
                    <a:pt x="5409809" y="275299"/>
                  </a:cubicBezTo>
                  <a:cubicBezTo>
                    <a:pt x="5394232" y="288395"/>
                    <a:pt x="5413531" y="296321"/>
                    <a:pt x="5422077" y="301766"/>
                  </a:cubicBezTo>
                  <a:cubicBezTo>
                    <a:pt x="5418769" y="307073"/>
                    <a:pt x="5415667" y="312381"/>
                    <a:pt x="5412842" y="317757"/>
                  </a:cubicBezTo>
                  <a:cubicBezTo>
                    <a:pt x="5409809" y="311140"/>
                    <a:pt x="5406707" y="304523"/>
                    <a:pt x="5403399" y="298113"/>
                  </a:cubicBezTo>
                  <a:cubicBezTo>
                    <a:pt x="5402434" y="305006"/>
                    <a:pt x="5400504" y="318791"/>
                    <a:pt x="5399539" y="325683"/>
                  </a:cubicBezTo>
                  <a:cubicBezTo>
                    <a:pt x="5400642" y="333885"/>
                    <a:pt x="5402296" y="342018"/>
                    <a:pt x="5404363" y="350014"/>
                  </a:cubicBezTo>
                  <a:moveTo>
                    <a:pt x="2895852" y="805054"/>
                  </a:moveTo>
                  <a:cubicBezTo>
                    <a:pt x="2905570" y="805398"/>
                    <a:pt x="2904605" y="788098"/>
                    <a:pt x="2899367" y="782791"/>
                  </a:cubicBezTo>
                  <a:cubicBezTo>
                    <a:pt x="2889580" y="782653"/>
                    <a:pt x="2890407" y="799885"/>
                    <a:pt x="2895852" y="805054"/>
                  </a:cubicBezTo>
                  <a:moveTo>
                    <a:pt x="3129782" y="1154295"/>
                  </a:moveTo>
                  <a:cubicBezTo>
                    <a:pt x="3138674" y="1145955"/>
                    <a:pt x="3153974" y="1139407"/>
                    <a:pt x="3150528" y="1124451"/>
                  </a:cubicBezTo>
                  <a:cubicBezTo>
                    <a:pt x="3145290" y="1099293"/>
                    <a:pt x="3133022" y="1075583"/>
                    <a:pt x="3134400" y="1049254"/>
                  </a:cubicBezTo>
                  <a:cubicBezTo>
                    <a:pt x="3132539" y="1084268"/>
                    <a:pt x="3130678" y="1119281"/>
                    <a:pt x="3129782" y="1154295"/>
                  </a:cubicBezTo>
                  <a:moveTo>
                    <a:pt x="4758333" y="1314407"/>
                  </a:moveTo>
                  <a:cubicBezTo>
                    <a:pt x="4767293" y="1317508"/>
                    <a:pt x="4779217" y="1314338"/>
                    <a:pt x="4786592" y="1308204"/>
                  </a:cubicBezTo>
                  <a:cubicBezTo>
                    <a:pt x="4784662" y="1295728"/>
                    <a:pt x="4755852" y="1302000"/>
                    <a:pt x="4758333" y="1314407"/>
                  </a:cubicBezTo>
                  <a:moveTo>
                    <a:pt x="5445994" y="1467213"/>
                  </a:moveTo>
                  <a:cubicBezTo>
                    <a:pt x="5443237" y="1482376"/>
                    <a:pt x="5452680" y="1491061"/>
                    <a:pt x="5465362" y="1496643"/>
                  </a:cubicBezTo>
                  <a:cubicBezTo>
                    <a:pt x="5464328" y="1483203"/>
                    <a:pt x="5472392" y="1456598"/>
                    <a:pt x="5449578" y="1463767"/>
                  </a:cubicBezTo>
                  <a:cubicBezTo>
                    <a:pt x="5448683" y="1464663"/>
                    <a:pt x="5446890" y="1466386"/>
                    <a:pt x="5445994" y="1467213"/>
                  </a:cubicBezTo>
                  <a:moveTo>
                    <a:pt x="331856" y="1592104"/>
                  </a:moveTo>
                  <a:cubicBezTo>
                    <a:pt x="343091" y="1595413"/>
                    <a:pt x="346812" y="1591484"/>
                    <a:pt x="343022" y="1580318"/>
                  </a:cubicBezTo>
                  <a:cubicBezTo>
                    <a:pt x="331649" y="1577079"/>
                    <a:pt x="327927" y="1580938"/>
                    <a:pt x="331856" y="1592104"/>
                  </a:cubicBezTo>
                  <a:moveTo>
                    <a:pt x="2937414" y="1679776"/>
                  </a:moveTo>
                  <a:cubicBezTo>
                    <a:pt x="2946994" y="1680052"/>
                    <a:pt x="2946649" y="1663096"/>
                    <a:pt x="2941205" y="1657858"/>
                  </a:cubicBezTo>
                  <a:cubicBezTo>
                    <a:pt x="2931279" y="1657445"/>
                    <a:pt x="2931831" y="1674607"/>
                    <a:pt x="2937414" y="1679776"/>
                  </a:cubicBezTo>
                  <a:moveTo>
                    <a:pt x="5459848" y="2040321"/>
                  </a:moveTo>
                  <a:cubicBezTo>
                    <a:pt x="5470531" y="2039632"/>
                    <a:pt x="5465500" y="2022883"/>
                    <a:pt x="5457229" y="2022194"/>
                  </a:cubicBezTo>
                  <a:cubicBezTo>
                    <a:pt x="5446959" y="2023228"/>
                    <a:pt x="5451577" y="2039563"/>
                    <a:pt x="5459848" y="2040321"/>
                  </a:cubicBezTo>
                  <a:moveTo>
                    <a:pt x="2592239" y="2326772"/>
                  </a:moveTo>
                  <a:cubicBezTo>
                    <a:pt x="2599752" y="2328081"/>
                    <a:pt x="2610573" y="2318087"/>
                    <a:pt x="2608229" y="2310230"/>
                  </a:cubicBezTo>
                  <a:cubicBezTo>
                    <a:pt x="2598856" y="2302235"/>
                    <a:pt x="2584726" y="2317811"/>
                    <a:pt x="2592239" y="2326772"/>
                  </a:cubicBezTo>
                  <a:moveTo>
                    <a:pt x="4239607" y="2431261"/>
                  </a:moveTo>
                  <a:cubicBezTo>
                    <a:pt x="4251393" y="2431192"/>
                    <a:pt x="4247878" y="2404243"/>
                    <a:pt x="4235954" y="2407965"/>
                  </a:cubicBezTo>
                  <a:cubicBezTo>
                    <a:pt x="4230922" y="2414788"/>
                    <a:pt x="4233610" y="2425816"/>
                    <a:pt x="4239607" y="2431261"/>
                  </a:cubicBezTo>
                </a:path>
              </a:pathLst>
            </a:custGeom>
            <a:grpFill/>
            <a:ln w="689" cap="flat">
              <a:noFill/>
              <a:prstDash val="solid"/>
              <a:miter/>
            </a:ln>
          </p:spPr>
          <p:txBody>
            <a:bodyPr rtlCol="0" anchor="ctr"/>
            <a:lstStyle/>
            <a:p>
              <a:endParaRPr lang="en-US" sz="2400" dirty="0"/>
            </a:p>
          </p:txBody>
        </p:sp>
        <p:sp>
          <p:nvSpPr>
            <p:cNvPr id="37" name="Graphic 8">
              <a:extLst>
                <a:ext uri="{FF2B5EF4-FFF2-40B4-BE49-F238E27FC236}">
                  <a16:creationId xmlns:a16="http://schemas.microsoft.com/office/drawing/2014/main" id="{3FA97559-6445-466B-95AE-F768314427DF}"/>
                </a:ext>
              </a:extLst>
            </p:cNvPr>
            <p:cNvSpPr/>
            <p:nvPr/>
          </p:nvSpPr>
          <p:spPr>
            <a:xfrm flipV="1">
              <a:off x="413130" y="1186813"/>
              <a:ext cx="8295085" cy="2402988"/>
            </a:xfrm>
            <a:custGeom>
              <a:avLst/>
              <a:gdLst>
                <a:gd name="connsiteX0" fmla="*/ 4133022 w 8295085"/>
                <a:gd name="connsiteY0" fmla="*/ 9218 h 2402988"/>
                <a:gd name="connsiteX1" fmla="*/ 4160385 w 8295085"/>
                <a:gd name="connsiteY1" fmla="*/ 1361 h 2402988"/>
                <a:gd name="connsiteX2" fmla="*/ 4133229 w 8295085"/>
                <a:gd name="connsiteY2" fmla="*/ -3533 h 2402988"/>
                <a:gd name="connsiteX3" fmla="*/ 4133022 w 8295085"/>
                <a:gd name="connsiteY3" fmla="*/ 9218 h 2402988"/>
                <a:gd name="connsiteX4" fmla="*/ 3847329 w 8295085"/>
                <a:gd name="connsiteY4" fmla="*/ 60429 h 2402988"/>
                <a:gd name="connsiteX5" fmla="*/ 3863871 w 8295085"/>
                <a:gd name="connsiteY5" fmla="*/ 63462 h 2402988"/>
                <a:gd name="connsiteX6" fmla="*/ 3857323 w 8295085"/>
                <a:gd name="connsiteY6" fmla="*/ 24313 h 2402988"/>
                <a:gd name="connsiteX7" fmla="*/ 3853463 w 8295085"/>
                <a:gd name="connsiteY7" fmla="*/ 23899 h 2402988"/>
                <a:gd name="connsiteX8" fmla="*/ 3847329 w 8295085"/>
                <a:gd name="connsiteY8" fmla="*/ 60429 h 2402988"/>
                <a:gd name="connsiteX9" fmla="*/ 5266487 w 8295085"/>
                <a:gd name="connsiteY9" fmla="*/ 112950 h 2402988"/>
                <a:gd name="connsiteX10" fmla="*/ 5259388 w 8295085"/>
                <a:gd name="connsiteY10" fmla="*/ 88413 h 2402988"/>
                <a:gd name="connsiteX11" fmla="*/ 5266487 w 8295085"/>
                <a:gd name="connsiteY11" fmla="*/ 112950 h 2402988"/>
                <a:gd name="connsiteX12" fmla="*/ 6832386 w 8295085"/>
                <a:gd name="connsiteY12" fmla="*/ 233499 h 2402988"/>
                <a:gd name="connsiteX13" fmla="*/ 6866090 w 8295085"/>
                <a:gd name="connsiteY13" fmla="*/ 234188 h 2402988"/>
                <a:gd name="connsiteX14" fmla="*/ 6869881 w 8295085"/>
                <a:gd name="connsiteY14" fmla="*/ 242735 h 2402988"/>
                <a:gd name="connsiteX15" fmla="*/ 6832386 w 8295085"/>
                <a:gd name="connsiteY15" fmla="*/ 233499 h 2402988"/>
                <a:gd name="connsiteX16" fmla="*/ 8247822 w 8295085"/>
                <a:gd name="connsiteY16" fmla="*/ 302699 h 2402988"/>
                <a:gd name="connsiteX17" fmla="*/ 8260366 w 8295085"/>
                <a:gd name="connsiteY17" fmla="*/ 316691 h 2402988"/>
                <a:gd name="connsiteX18" fmla="*/ 8273255 w 8295085"/>
                <a:gd name="connsiteY18" fmla="*/ 288156 h 2402988"/>
                <a:gd name="connsiteX19" fmla="*/ 8279665 w 8295085"/>
                <a:gd name="connsiteY19" fmla="*/ 290431 h 2402988"/>
                <a:gd name="connsiteX20" fmla="*/ 8289039 w 8295085"/>
                <a:gd name="connsiteY20" fmla="*/ 257760 h 2402988"/>
                <a:gd name="connsiteX21" fmla="*/ 8277597 w 8295085"/>
                <a:gd name="connsiteY21" fmla="*/ 277680 h 2402988"/>
                <a:gd name="connsiteX22" fmla="*/ 8261882 w 8295085"/>
                <a:gd name="connsiteY22" fmla="*/ 269684 h 2402988"/>
                <a:gd name="connsiteX23" fmla="*/ 8261055 w 8295085"/>
                <a:gd name="connsiteY23" fmla="*/ 301183 h 2402988"/>
                <a:gd name="connsiteX24" fmla="*/ 8247822 w 8295085"/>
                <a:gd name="connsiteY24" fmla="*/ 302699 h 2402988"/>
                <a:gd name="connsiteX25" fmla="*/ 5697335 w 8295085"/>
                <a:gd name="connsiteY25" fmla="*/ 309178 h 2402988"/>
                <a:gd name="connsiteX26" fmla="*/ 5732004 w 8295085"/>
                <a:gd name="connsiteY26" fmla="*/ 308282 h 2402988"/>
                <a:gd name="connsiteX27" fmla="*/ 5697335 w 8295085"/>
                <a:gd name="connsiteY27" fmla="*/ 309178 h 2402988"/>
                <a:gd name="connsiteX28" fmla="*/ 6651734 w 8295085"/>
                <a:gd name="connsiteY28" fmla="*/ 369074 h 2402988"/>
                <a:gd name="connsiteX29" fmla="*/ 6683164 w 8295085"/>
                <a:gd name="connsiteY29" fmla="*/ 351636 h 2402988"/>
                <a:gd name="connsiteX30" fmla="*/ 6664554 w 8295085"/>
                <a:gd name="connsiteY30" fmla="*/ 341090 h 2402988"/>
                <a:gd name="connsiteX31" fmla="*/ 6658834 w 8295085"/>
                <a:gd name="connsiteY31" fmla="*/ 348741 h 2402988"/>
                <a:gd name="connsiteX32" fmla="*/ 6644015 w 8295085"/>
                <a:gd name="connsiteY32" fmla="*/ 317036 h 2402988"/>
                <a:gd name="connsiteX33" fmla="*/ 6638569 w 8295085"/>
                <a:gd name="connsiteY33" fmla="*/ 344123 h 2402988"/>
                <a:gd name="connsiteX34" fmla="*/ 6646082 w 8295085"/>
                <a:gd name="connsiteY34" fmla="*/ 350533 h 2402988"/>
                <a:gd name="connsiteX35" fmla="*/ 6651734 w 8295085"/>
                <a:gd name="connsiteY35" fmla="*/ 369074 h 2402988"/>
                <a:gd name="connsiteX36" fmla="*/ 1257349 w 8295085"/>
                <a:gd name="connsiteY36" fmla="*/ 447648 h 2402988"/>
                <a:gd name="connsiteX37" fmla="*/ 1271271 w 8295085"/>
                <a:gd name="connsiteY37" fmla="*/ 440342 h 2402988"/>
                <a:gd name="connsiteX38" fmla="*/ 1256039 w 8295085"/>
                <a:gd name="connsiteY38" fmla="*/ 416425 h 2402988"/>
                <a:gd name="connsiteX39" fmla="*/ 1257349 w 8295085"/>
                <a:gd name="connsiteY39" fmla="*/ 447648 h 2402988"/>
                <a:gd name="connsiteX40" fmla="*/ 1220336 w 8295085"/>
                <a:gd name="connsiteY40" fmla="*/ 531667 h 2402988"/>
                <a:gd name="connsiteX41" fmla="*/ 1253902 w 8295085"/>
                <a:gd name="connsiteY41" fmla="*/ 491346 h 2402988"/>
                <a:gd name="connsiteX42" fmla="*/ 1253558 w 8295085"/>
                <a:gd name="connsiteY42" fmla="*/ 483213 h 2402988"/>
                <a:gd name="connsiteX43" fmla="*/ 1221163 w 8295085"/>
                <a:gd name="connsiteY43" fmla="*/ 507888 h 2402988"/>
                <a:gd name="connsiteX44" fmla="*/ 1220336 w 8295085"/>
                <a:gd name="connsiteY44" fmla="*/ 531667 h 2402988"/>
                <a:gd name="connsiteX45" fmla="*/ 4056102 w 8295085"/>
                <a:gd name="connsiteY45" fmla="*/ 504717 h 2402988"/>
                <a:gd name="connsiteX46" fmla="*/ 4039629 w 8295085"/>
                <a:gd name="connsiteY46" fmla="*/ 541316 h 2402988"/>
                <a:gd name="connsiteX47" fmla="*/ 4044178 w 8295085"/>
                <a:gd name="connsiteY47" fmla="*/ 524223 h 2402988"/>
                <a:gd name="connsiteX48" fmla="*/ 4056102 w 8295085"/>
                <a:gd name="connsiteY48" fmla="*/ 504717 h 2402988"/>
                <a:gd name="connsiteX49" fmla="*/ 983649 w 8295085"/>
                <a:gd name="connsiteY49" fmla="*/ 546417 h 2402988"/>
                <a:gd name="connsiteX50" fmla="*/ 997778 w 8295085"/>
                <a:gd name="connsiteY50" fmla="*/ 533459 h 2402988"/>
                <a:gd name="connsiteX51" fmla="*/ 1013286 w 8295085"/>
                <a:gd name="connsiteY51" fmla="*/ 534631 h 2402988"/>
                <a:gd name="connsiteX52" fmla="*/ 1024039 w 8295085"/>
                <a:gd name="connsiteY52" fmla="*/ 544694 h 2402988"/>
                <a:gd name="connsiteX53" fmla="*/ 1016043 w 8295085"/>
                <a:gd name="connsiteY53" fmla="*/ 499272 h 2402988"/>
                <a:gd name="connsiteX54" fmla="*/ 1005705 w 8295085"/>
                <a:gd name="connsiteY54" fmla="*/ 520777 h 2402988"/>
                <a:gd name="connsiteX55" fmla="*/ 992954 w 8295085"/>
                <a:gd name="connsiteY55" fmla="*/ 512782 h 2402988"/>
                <a:gd name="connsiteX56" fmla="*/ 983649 w 8295085"/>
                <a:gd name="connsiteY56" fmla="*/ 546417 h 2402988"/>
                <a:gd name="connsiteX57" fmla="*/ 1891248 w 8295085"/>
                <a:gd name="connsiteY57" fmla="*/ 562269 h 2402988"/>
                <a:gd name="connsiteX58" fmla="*/ 1901656 w 8295085"/>
                <a:gd name="connsiteY58" fmla="*/ 564613 h 2402988"/>
                <a:gd name="connsiteX59" fmla="*/ 1915785 w 8295085"/>
                <a:gd name="connsiteY59" fmla="*/ 531598 h 2402988"/>
                <a:gd name="connsiteX60" fmla="*/ 1890766 w 8295085"/>
                <a:gd name="connsiteY60" fmla="*/ 546210 h 2402988"/>
                <a:gd name="connsiteX61" fmla="*/ 1891248 w 8295085"/>
                <a:gd name="connsiteY61" fmla="*/ 562269 h 2402988"/>
                <a:gd name="connsiteX62" fmla="*/ 2139584 w 8295085"/>
                <a:gd name="connsiteY62" fmla="*/ 580603 h 2402988"/>
                <a:gd name="connsiteX63" fmla="*/ 2148475 w 8295085"/>
                <a:gd name="connsiteY63" fmla="*/ 526015 h 2402988"/>
                <a:gd name="connsiteX64" fmla="*/ 2164948 w 8295085"/>
                <a:gd name="connsiteY64" fmla="*/ 538146 h 2402988"/>
                <a:gd name="connsiteX65" fmla="*/ 2170255 w 8295085"/>
                <a:gd name="connsiteY65" fmla="*/ 542006 h 2402988"/>
                <a:gd name="connsiteX66" fmla="*/ 2162467 w 8295085"/>
                <a:gd name="connsiteY66" fmla="*/ 512713 h 2402988"/>
                <a:gd name="connsiteX67" fmla="*/ 2150198 w 8295085"/>
                <a:gd name="connsiteY67" fmla="*/ 523189 h 2402988"/>
                <a:gd name="connsiteX68" fmla="*/ 2147993 w 8295085"/>
                <a:gd name="connsiteY68" fmla="*/ 516297 h 2402988"/>
                <a:gd name="connsiteX69" fmla="*/ 2145718 w 8295085"/>
                <a:gd name="connsiteY69" fmla="*/ 509266 h 2402988"/>
                <a:gd name="connsiteX70" fmla="*/ 2138688 w 8295085"/>
                <a:gd name="connsiteY70" fmla="*/ 487900 h 2402988"/>
                <a:gd name="connsiteX71" fmla="*/ 2130141 w 8295085"/>
                <a:gd name="connsiteY71" fmla="*/ 510231 h 2402988"/>
                <a:gd name="connsiteX72" fmla="*/ 2124283 w 8295085"/>
                <a:gd name="connsiteY72" fmla="*/ 520639 h 2402988"/>
                <a:gd name="connsiteX73" fmla="*/ 2127936 w 8295085"/>
                <a:gd name="connsiteY73" fmla="*/ 532976 h 2402988"/>
                <a:gd name="connsiteX74" fmla="*/ 2121319 w 8295085"/>
                <a:gd name="connsiteY74" fmla="*/ 547313 h 2402988"/>
                <a:gd name="connsiteX75" fmla="*/ 2139584 w 8295085"/>
                <a:gd name="connsiteY75" fmla="*/ 580603 h 2402988"/>
                <a:gd name="connsiteX76" fmla="*/ 3398837 w 8295085"/>
                <a:gd name="connsiteY76" fmla="*/ 591218 h 2402988"/>
                <a:gd name="connsiteX77" fmla="*/ 3430473 w 8295085"/>
                <a:gd name="connsiteY77" fmla="*/ 592941 h 2402988"/>
                <a:gd name="connsiteX78" fmla="*/ 3427578 w 8295085"/>
                <a:gd name="connsiteY78" fmla="*/ 560615 h 2402988"/>
                <a:gd name="connsiteX79" fmla="*/ 3421858 w 8295085"/>
                <a:gd name="connsiteY79" fmla="*/ 573228 h 2402988"/>
                <a:gd name="connsiteX80" fmla="*/ 3410692 w 8295085"/>
                <a:gd name="connsiteY80" fmla="*/ 569438 h 2402988"/>
                <a:gd name="connsiteX81" fmla="*/ 3408831 w 8295085"/>
                <a:gd name="connsiteY81" fmla="*/ 588461 h 2402988"/>
                <a:gd name="connsiteX82" fmla="*/ 3398285 w 8295085"/>
                <a:gd name="connsiteY82" fmla="*/ 575296 h 2402988"/>
                <a:gd name="connsiteX83" fmla="*/ 3398837 w 8295085"/>
                <a:gd name="connsiteY83" fmla="*/ 591218 h 2402988"/>
                <a:gd name="connsiteX84" fmla="*/ 2710555 w 8295085"/>
                <a:gd name="connsiteY84" fmla="*/ 615341 h 2402988"/>
                <a:gd name="connsiteX85" fmla="*/ 2713864 w 8295085"/>
                <a:gd name="connsiteY85" fmla="*/ 589219 h 2402988"/>
                <a:gd name="connsiteX86" fmla="*/ 2727787 w 8295085"/>
                <a:gd name="connsiteY86" fmla="*/ 570540 h 2402988"/>
                <a:gd name="connsiteX87" fmla="*/ 2716345 w 8295085"/>
                <a:gd name="connsiteY87" fmla="*/ 574607 h 2402988"/>
                <a:gd name="connsiteX88" fmla="*/ 2708763 w 8295085"/>
                <a:gd name="connsiteY88" fmla="*/ 559374 h 2402988"/>
                <a:gd name="connsiteX89" fmla="*/ 2705110 w 8295085"/>
                <a:gd name="connsiteY89" fmla="*/ 579707 h 2402988"/>
                <a:gd name="connsiteX90" fmla="*/ 2693738 w 8295085"/>
                <a:gd name="connsiteY90" fmla="*/ 565854 h 2402988"/>
                <a:gd name="connsiteX91" fmla="*/ 2687466 w 8295085"/>
                <a:gd name="connsiteY91" fmla="*/ 585152 h 2402988"/>
                <a:gd name="connsiteX92" fmla="*/ 2710555 w 8295085"/>
                <a:gd name="connsiteY92" fmla="*/ 615341 h 2402988"/>
                <a:gd name="connsiteX93" fmla="*/ 6302355 w 8295085"/>
                <a:gd name="connsiteY93" fmla="*/ 656627 h 2402988"/>
                <a:gd name="connsiteX94" fmla="*/ 6314279 w 8295085"/>
                <a:gd name="connsiteY94" fmla="*/ 637535 h 2402988"/>
                <a:gd name="connsiteX95" fmla="*/ 6302355 w 8295085"/>
                <a:gd name="connsiteY95" fmla="*/ 656627 h 2402988"/>
                <a:gd name="connsiteX96" fmla="*/ 6079522 w 8295085"/>
                <a:gd name="connsiteY96" fmla="*/ 687299 h 2402988"/>
                <a:gd name="connsiteX97" fmla="*/ 6102336 w 8295085"/>
                <a:gd name="connsiteY97" fmla="*/ 719555 h 2402988"/>
                <a:gd name="connsiteX98" fmla="*/ 6104611 w 8295085"/>
                <a:gd name="connsiteY98" fmla="*/ 698051 h 2402988"/>
                <a:gd name="connsiteX99" fmla="*/ 6116259 w 8295085"/>
                <a:gd name="connsiteY99" fmla="*/ 677442 h 2402988"/>
                <a:gd name="connsiteX100" fmla="*/ 6098890 w 8295085"/>
                <a:gd name="connsiteY100" fmla="*/ 663313 h 2402988"/>
                <a:gd name="connsiteX101" fmla="*/ 6096409 w 8295085"/>
                <a:gd name="connsiteY101" fmla="*/ 689642 h 2402988"/>
                <a:gd name="connsiteX102" fmla="*/ 6087035 w 8295085"/>
                <a:gd name="connsiteY102" fmla="*/ 662417 h 2402988"/>
                <a:gd name="connsiteX103" fmla="*/ 6079522 w 8295085"/>
                <a:gd name="connsiteY103" fmla="*/ 687299 h 2402988"/>
                <a:gd name="connsiteX104" fmla="*/ 2370757 w 8295085"/>
                <a:gd name="connsiteY104" fmla="*/ 731135 h 2402988"/>
                <a:gd name="connsiteX105" fmla="*/ 2401980 w 8295085"/>
                <a:gd name="connsiteY105" fmla="*/ 724311 h 2402988"/>
                <a:gd name="connsiteX106" fmla="*/ 2392124 w 8295085"/>
                <a:gd name="connsiteY106" fmla="*/ 707011 h 2402988"/>
                <a:gd name="connsiteX107" fmla="*/ 2383991 w 8295085"/>
                <a:gd name="connsiteY107" fmla="*/ 713697 h 2402988"/>
                <a:gd name="connsiteX108" fmla="*/ 2379235 w 8295085"/>
                <a:gd name="connsiteY108" fmla="*/ 698533 h 2402988"/>
                <a:gd name="connsiteX109" fmla="*/ 2379648 w 8295085"/>
                <a:gd name="connsiteY109" fmla="*/ 720038 h 2402988"/>
                <a:gd name="connsiteX110" fmla="*/ 2370757 w 8295085"/>
                <a:gd name="connsiteY110" fmla="*/ 731135 h 2402988"/>
                <a:gd name="connsiteX111" fmla="*/ 4560699 w 8295085"/>
                <a:gd name="connsiteY111" fmla="*/ 764425 h 2402988"/>
                <a:gd name="connsiteX112" fmla="*/ 4577517 w 8295085"/>
                <a:gd name="connsiteY112" fmla="*/ 743817 h 2402988"/>
                <a:gd name="connsiteX113" fmla="*/ 4592611 w 8295085"/>
                <a:gd name="connsiteY113" fmla="*/ 743955 h 2402988"/>
                <a:gd name="connsiteX114" fmla="*/ 4583651 w 8295085"/>
                <a:gd name="connsiteY114" fmla="*/ 735891 h 2402988"/>
                <a:gd name="connsiteX115" fmla="*/ 4595506 w 8295085"/>
                <a:gd name="connsiteY115" fmla="*/ 731273 h 2402988"/>
                <a:gd name="connsiteX116" fmla="*/ 4595230 w 8295085"/>
                <a:gd name="connsiteY116" fmla="*/ 718453 h 2402988"/>
                <a:gd name="connsiteX117" fmla="*/ 4580963 w 8295085"/>
                <a:gd name="connsiteY117" fmla="*/ 732513 h 2402988"/>
                <a:gd name="connsiteX118" fmla="*/ 4560699 w 8295085"/>
                <a:gd name="connsiteY118" fmla="*/ 764425 h 2402988"/>
                <a:gd name="connsiteX119" fmla="*/ 6670482 w 8295085"/>
                <a:gd name="connsiteY119" fmla="*/ 790548 h 2402988"/>
                <a:gd name="connsiteX120" fmla="*/ 6681096 w 8295085"/>
                <a:gd name="connsiteY120" fmla="*/ 755120 h 2402988"/>
                <a:gd name="connsiteX121" fmla="*/ 6665795 w 8295085"/>
                <a:gd name="connsiteY121" fmla="*/ 753397 h 2402988"/>
                <a:gd name="connsiteX122" fmla="*/ 6670482 w 8295085"/>
                <a:gd name="connsiteY122" fmla="*/ 790548 h 2402988"/>
                <a:gd name="connsiteX123" fmla="*/ 75430 w 8295085"/>
                <a:gd name="connsiteY123" fmla="*/ 797233 h 2402988"/>
                <a:gd name="connsiteX124" fmla="*/ 83561 w 8295085"/>
                <a:gd name="connsiteY124" fmla="*/ 775522 h 2402988"/>
                <a:gd name="connsiteX125" fmla="*/ 103410 w 8295085"/>
                <a:gd name="connsiteY125" fmla="*/ 771525 h 2402988"/>
                <a:gd name="connsiteX126" fmla="*/ 103410 w 8295085"/>
                <a:gd name="connsiteY126" fmla="*/ 786343 h 2402988"/>
                <a:gd name="connsiteX127" fmla="*/ 107271 w 8295085"/>
                <a:gd name="connsiteY127" fmla="*/ 786205 h 2402988"/>
                <a:gd name="connsiteX128" fmla="*/ 104654 w 8295085"/>
                <a:gd name="connsiteY128" fmla="*/ 770904 h 2402988"/>
                <a:gd name="connsiteX129" fmla="*/ 80530 w 8295085"/>
                <a:gd name="connsiteY129" fmla="*/ 771938 h 2402988"/>
                <a:gd name="connsiteX130" fmla="*/ 76806 w 8295085"/>
                <a:gd name="connsiteY130" fmla="*/ 753397 h 2402988"/>
                <a:gd name="connsiteX131" fmla="*/ 75430 w 8295085"/>
                <a:gd name="connsiteY131" fmla="*/ 797233 h 2402988"/>
                <a:gd name="connsiteX132" fmla="*/ 2047569 w 8295085"/>
                <a:gd name="connsiteY132" fmla="*/ 818186 h 2402988"/>
                <a:gd name="connsiteX133" fmla="*/ 2046467 w 8295085"/>
                <a:gd name="connsiteY133" fmla="*/ 777935 h 2402988"/>
                <a:gd name="connsiteX134" fmla="*/ 2047569 w 8295085"/>
                <a:gd name="connsiteY134" fmla="*/ 818186 h 2402988"/>
                <a:gd name="connsiteX135" fmla="*/ 7970193 w 8295085"/>
                <a:gd name="connsiteY135" fmla="*/ 828732 h 2402988"/>
                <a:gd name="connsiteX136" fmla="*/ 8013616 w 8295085"/>
                <a:gd name="connsiteY136" fmla="*/ 828043 h 2402988"/>
                <a:gd name="connsiteX137" fmla="*/ 8004242 w 8295085"/>
                <a:gd name="connsiteY137" fmla="*/ 786964 h 2402988"/>
                <a:gd name="connsiteX138" fmla="*/ 7996384 w 8295085"/>
                <a:gd name="connsiteY138" fmla="*/ 815292 h 2402988"/>
                <a:gd name="connsiteX139" fmla="*/ 7982255 w 8295085"/>
                <a:gd name="connsiteY139" fmla="*/ 793374 h 2402988"/>
                <a:gd name="connsiteX140" fmla="*/ 7988321 w 8295085"/>
                <a:gd name="connsiteY140" fmla="*/ 815636 h 2402988"/>
                <a:gd name="connsiteX141" fmla="*/ 7970193 w 8295085"/>
                <a:gd name="connsiteY141" fmla="*/ 828732 h 2402988"/>
                <a:gd name="connsiteX142" fmla="*/ 5721183 w 8295085"/>
                <a:gd name="connsiteY142" fmla="*/ 882149 h 2402988"/>
                <a:gd name="connsiteX143" fmla="*/ 5727938 w 8295085"/>
                <a:gd name="connsiteY143" fmla="*/ 845825 h 2402988"/>
                <a:gd name="connsiteX144" fmla="*/ 5721183 w 8295085"/>
                <a:gd name="connsiteY144" fmla="*/ 882149 h 2402988"/>
                <a:gd name="connsiteX145" fmla="*/ 5670248 w 8295085"/>
                <a:gd name="connsiteY145" fmla="*/ 880425 h 2402988"/>
                <a:gd name="connsiteX146" fmla="*/ 5695819 w 8295085"/>
                <a:gd name="connsiteY146" fmla="*/ 881184 h 2402988"/>
                <a:gd name="connsiteX147" fmla="*/ 5688719 w 8295085"/>
                <a:gd name="connsiteY147" fmla="*/ 858301 h 2402988"/>
                <a:gd name="connsiteX148" fmla="*/ 5670248 w 8295085"/>
                <a:gd name="connsiteY148" fmla="*/ 880425 h 2402988"/>
                <a:gd name="connsiteX149" fmla="*/ 7731990 w 8295085"/>
                <a:gd name="connsiteY149" fmla="*/ 891385 h 2402988"/>
                <a:gd name="connsiteX150" fmla="*/ 7753357 w 8295085"/>
                <a:gd name="connsiteY150" fmla="*/ 860093 h 2402988"/>
                <a:gd name="connsiteX151" fmla="*/ 7731990 w 8295085"/>
                <a:gd name="connsiteY151" fmla="*/ 891385 h 2402988"/>
                <a:gd name="connsiteX152" fmla="*/ 1424422 w 8295085"/>
                <a:gd name="connsiteY152" fmla="*/ 999734 h 2402988"/>
                <a:gd name="connsiteX153" fmla="*/ 1433175 w 8295085"/>
                <a:gd name="connsiteY153" fmla="*/ 1011382 h 2402988"/>
                <a:gd name="connsiteX154" fmla="*/ 1432555 w 8295085"/>
                <a:gd name="connsiteY154" fmla="*/ 995461 h 2402988"/>
                <a:gd name="connsiteX155" fmla="*/ 1470532 w 8295085"/>
                <a:gd name="connsiteY155" fmla="*/ 998218 h 2402988"/>
                <a:gd name="connsiteX156" fmla="*/ 1452819 w 8295085"/>
                <a:gd name="connsiteY156" fmla="*/ 989257 h 2402988"/>
                <a:gd name="connsiteX157" fmla="*/ 1460332 w 8295085"/>
                <a:gd name="connsiteY157" fmla="*/ 938460 h 2402988"/>
                <a:gd name="connsiteX158" fmla="*/ 1462813 w 8295085"/>
                <a:gd name="connsiteY158" fmla="*/ 924813 h 2402988"/>
                <a:gd name="connsiteX159" fmla="*/ 1453991 w 8295085"/>
                <a:gd name="connsiteY159" fmla="*/ 911855 h 2402988"/>
                <a:gd name="connsiteX160" fmla="*/ 1457023 w 8295085"/>
                <a:gd name="connsiteY160" fmla="*/ 955898 h 2402988"/>
                <a:gd name="connsiteX161" fmla="*/ 1446202 w 8295085"/>
                <a:gd name="connsiteY161" fmla="*/ 992152 h 2402988"/>
                <a:gd name="connsiteX162" fmla="*/ 1407742 w 8295085"/>
                <a:gd name="connsiteY162" fmla="*/ 1001388 h 2402988"/>
                <a:gd name="connsiteX163" fmla="*/ 1424422 w 8295085"/>
                <a:gd name="connsiteY163" fmla="*/ 999734 h 2402988"/>
                <a:gd name="connsiteX164" fmla="*/ 5506758 w 8295085"/>
                <a:gd name="connsiteY164" fmla="*/ 1030061 h 2402988"/>
                <a:gd name="connsiteX165" fmla="*/ 5523714 w 8295085"/>
                <a:gd name="connsiteY165" fmla="*/ 1018137 h 2402988"/>
                <a:gd name="connsiteX166" fmla="*/ 5506758 w 8295085"/>
                <a:gd name="connsiteY166" fmla="*/ 1030061 h 2402988"/>
                <a:gd name="connsiteX167" fmla="*/ 43656 w 8295085"/>
                <a:gd name="connsiteY167" fmla="*/ 1015518 h 2402988"/>
                <a:gd name="connsiteX168" fmla="*/ 59780 w 8295085"/>
                <a:gd name="connsiteY168" fmla="*/ 1033852 h 2402988"/>
                <a:gd name="connsiteX169" fmla="*/ 68468 w 8295085"/>
                <a:gd name="connsiteY169" fmla="*/ 974714 h 2402988"/>
                <a:gd name="connsiteX170" fmla="*/ 25943 w 8295085"/>
                <a:gd name="connsiteY170" fmla="*/ 958999 h 2402988"/>
                <a:gd name="connsiteX171" fmla="*/ 52479 w 8295085"/>
                <a:gd name="connsiteY171" fmla="*/ 965754 h 2402988"/>
                <a:gd name="connsiteX172" fmla="*/ 51585 w 8295085"/>
                <a:gd name="connsiteY172" fmla="*/ 949074 h 2402988"/>
                <a:gd name="connsiteX173" fmla="*/ 12017 w 8295085"/>
                <a:gd name="connsiteY173" fmla="*/ 959827 h 2402988"/>
                <a:gd name="connsiteX174" fmla="*/ 11538 w 8295085"/>
                <a:gd name="connsiteY174" fmla="*/ 927777 h 2402988"/>
                <a:gd name="connsiteX175" fmla="*/ 4508 w 8295085"/>
                <a:gd name="connsiteY175" fmla="*/ 932119 h 2402988"/>
                <a:gd name="connsiteX176" fmla="*/ -252 w 8295085"/>
                <a:gd name="connsiteY176" fmla="*/ 989326 h 2402988"/>
                <a:gd name="connsiteX177" fmla="*/ -2457 w 8295085"/>
                <a:gd name="connsiteY177" fmla="*/ 998631 h 2402988"/>
                <a:gd name="connsiteX178" fmla="*/ 22356 w 8295085"/>
                <a:gd name="connsiteY178" fmla="*/ 986225 h 2402988"/>
                <a:gd name="connsiteX179" fmla="*/ 18498 w 8295085"/>
                <a:gd name="connsiteY179" fmla="*/ 969614 h 2402988"/>
                <a:gd name="connsiteX180" fmla="*/ 46547 w 8295085"/>
                <a:gd name="connsiteY180" fmla="*/ 980228 h 2402988"/>
                <a:gd name="connsiteX181" fmla="*/ 43656 w 8295085"/>
                <a:gd name="connsiteY181" fmla="*/ 1015518 h 2402988"/>
                <a:gd name="connsiteX182" fmla="*/ 7710072 w 8295085"/>
                <a:gd name="connsiteY182" fmla="*/ 1020825 h 2402988"/>
                <a:gd name="connsiteX183" fmla="*/ 7714897 w 8295085"/>
                <a:gd name="connsiteY183" fmla="*/ 1035575 h 2402988"/>
                <a:gd name="connsiteX184" fmla="*/ 7713449 w 8295085"/>
                <a:gd name="connsiteY184" fmla="*/ 1017654 h 2402988"/>
                <a:gd name="connsiteX185" fmla="*/ 7738951 w 8295085"/>
                <a:gd name="connsiteY185" fmla="*/ 1009866 h 2402988"/>
                <a:gd name="connsiteX186" fmla="*/ 7716964 w 8295085"/>
                <a:gd name="connsiteY186" fmla="*/ 997804 h 2402988"/>
                <a:gd name="connsiteX187" fmla="*/ 7740399 w 8295085"/>
                <a:gd name="connsiteY187" fmla="*/ 984708 h 2402988"/>
                <a:gd name="connsiteX188" fmla="*/ 7747015 w 8295085"/>
                <a:gd name="connsiteY188" fmla="*/ 962584 h 2402988"/>
                <a:gd name="connsiteX189" fmla="*/ 7761765 w 8295085"/>
                <a:gd name="connsiteY189" fmla="*/ 932188 h 2402988"/>
                <a:gd name="connsiteX190" fmla="*/ 7737711 w 8295085"/>
                <a:gd name="connsiteY190" fmla="*/ 949970 h 2402988"/>
                <a:gd name="connsiteX191" fmla="*/ 7735230 w 8295085"/>
                <a:gd name="connsiteY191" fmla="*/ 951969 h 2402988"/>
                <a:gd name="connsiteX192" fmla="*/ 7719583 w 8295085"/>
                <a:gd name="connsiteY192" fmla="*/ 950729 h 2402988"/>
                <a:gd name="connsiteX193" fmla="*/ 7718550 w 8295085"/>
                <a:gd name="connsiteY193" fmla="*/ 969683 h 2402988"/>
                <a:gd name="connsiteX194" fmla="*/ 7742742 w 8295085"/>
                <a:gd name="connsiteY194" fmla="*/ 959827 h 2402988"/>
                <a:gd name="connsiteX195" fmla="*/ 7705454 w 8295085"/>
                <a:gd name="connsiteY195" fmla="*/ 1009521 h 2402988"/>
                <a:gd name="connsiteX196" fmla="*/ 7689739 w 8295085"/>
                <a:gd name="connsiteY196" fmla="*/ 1014277 h 2402988"/>
                <a:gd name="connsiteX197" fmla="*/ 7696425 w 8295085"/>
                <a:gd name="connsiteY197" fmla="*/ 993669 h 2402988"/>
                <a:gd name="connsiteX198" fmla="*/ 7684570 w 8295085"/>
                <a:gd name="connsiteY198" fmla="*/ 981882 h 2402988"/>
                <a:gd name="connsiteX199" fmla="*/ 7689739 w 8295085"/>
                <a:gd name="connsiteY199" fmla="*/ 963480 h 2402988"/>
                <a:gd name="connsiteX200" fmla="*/ 7656862 w 8295085"/>
                <a:gd name="connsiteY200" fmla="*/ 965892 h 2402988"/>
                <a:gd name="connsiteX201" fmla="*/ 7647764 w 8295085"/>
                <a:gd name="connsiteY201" fmla="*/ 977265 h 2402988"/>
                <a:gd name="connsiteX202" fmla="*/ 7639493 w 8295085"/>
                <a:gd name="connsiteY202" fmla="*/ 995185 h 2402988"/>
                <a:gd name="connsiteX203" fmla="*/ 7592418 w 8295085"/>
                <a:gd name="connsiteY203" fmla="*/ 995667 h 2402988"/>
                <a:gd name="connsiteX204" fmla="*/ 7644180 w 8295085"/>
                <a:gd name="connsiteY204" fmla="*/ 1000423 h 2402988"/>
                <a:gd name="connsiteX205" fmla="*/ 7654036 w 8295085"/>
                <a:gd name="connsiteY205" fmla="*/ 984915 h 2402988"/>
                <a:gd name="connsiteX206" fmla="*/ 7656035 w 8295085"/>
                <a:gd name="connsiteY206" fmla="*/ 1003180 h 2402988"/>
                <a:gd name="connsiteX207" fmla="*/ 7679331 w 8295085"/>
                <a:gd name="connsiteY207" fmla="*/ 978230 h 2402988"/>
                <a:gd name="connsiteX208" fmla="*/ 7683191 w 8295085"/>
                <a:gd name="connsiteY208" fmla="*/ 1029096 h 2402988"/>
                <a:gd name="connsiteX209" fmla="*/ 7710072 w 8295085"/>
                <a:gd name="connsiteY209" fmla="*/ 1020825 h 2402988"/>
                <a:gd name="connsiteX210" fmla="*/ 183228 w 8295085"/>
                <a:gd name="connsiteY210" fmla="*/ 1037298 h 2402988"/>
                <a:gd name="connsiteX211" fmla="*/ 199837 w 8295085"/>
                <a:gd name="connsiteY211" fmla="*/ 1024960 h 2402988"/>
                <a:gd name="connsiteX212" fmla="*/ 187086 w 8295085"/>
                <a:gd name="connsiteY212" fmla="*/ 1024547 h 2402988"/>
                <a:gd name="connsiteX213" fmla="*/ 199352 w 8295085"/>
                <a:gd name="connsiteY213" fmla="*/ 991739 h 2402988"/>
                <a:gd name="connsiteX214" fmla="*/ 210316 w 8295085"/>
                <a:gd name="connsiteY214" fmla="*/ 1002009 h 2402988"/>
                <a:gd name="connsiteX215" fmla="*/ 196735 w 8295085"/>
                <a:gd name="connsiteY215" fmla="*/ 960654 h 2402988"/>
                <a:gd name="connsiteX216" fmla="*/ 218035 w 8295085"/>
                <a:gd name="connsiteY216" fmla="*/ 959068 h 2402988"/>
                <a:gd name="connsiteX217" fmla="*/ 218035 w 8295085"/>
                <a:gd name="connsiteY217" fmla="*/ 948454 h 2402988"/>
                <a:gd name="connsiteX218" fmla="*/ 215412 w 8295085"/>
                <a:gd name="connsiteY218" fmla="*/ 948661 h 2402988"/>
                <a:gd name="connsiteX219" fmla="*/ 184259 w 8295085"/>
                <a:gd name="connsiteY219" fmla="*/ 949970 h 2402988"/>
                <a:gd name="connsiteX220" fmla="*/ 184396 w 8295085"/>
                <a:gd name="connsiteY220" fmla="*/ 957414 h 2402988"/>
                <a:gd name="connsiteX221" fmla="*/ 197150 w 8295085"/>
                <a:gd name="connsiteY221" fmla="*/ 992979 h 2402988"/>
                <a:gd name="connsiteX222" fmla="*/ 169235 w 8295085"/>
                <a:gd name="connsiteY222" fmla="*/ 1008281 h 2402988"/>
                <a:gd name="connsiteX223" fmla="*/ 170888 w 8295085"/>
                <a:gd name="connsiteY223" fmla="*/ 1019791 h 2402988"/>
                <a:gd name="connsiteX224" fmla="*/ 183228 w 8295085"/>
                <a:gd name="connsiteY224" fmla="*/ 1037298 h 2402988"/>
                <a:gd name="connsiteX225" fmla="*/ 7263992 w 8295085"/>
                <a:gd name="connsiteY225" fmla="*/ 1081203 h 2402988"/>
                <a:gd name="connsiteX226" fmla="*/ 7268334 w 8295085"/>
                <a:gd name="connsiteY226" fmla="*/ 1110013 h 2402988"/>
                <a:gd name="connsiteX227" fmla="*/ 7263992 w 8295085"/>
                <a:gd name="connsiteY227" fmla="*/ 1081203 h 2402988"/>
                <a:gd name="connsiteX228" fmla="*/ 6660281 w 8295085"/>
                <a:gd name="connsiteY228" fmla="*/ 1126762 h 2402988"/>
                <a:gd name="connsiteX229" fmla="*/ 6679373 w 8295085"/>
                <a:gd name="connsiteY229" fmla="*/ 1103466 h 2402988"/>
                <a:gd name="connsiteX230" fmla="*/ 6689436 w 8295085"/>
                <a:gd name="connsiteY230" fmla="*/ 1096573 h 2402988"/>
                <a:gd name="connsiteX231" fmla="*/ 6673170 w 8295085"/>
                <a:gd name="connsiteY231" fmla="*/ 1083064 h 2402988"/>
                <a:gd name="connsiteX232" fmla="*/ 6661039 w 8295085"/>
                <a:gd name="connsiteY232" fmla="*/ 1091059 h 2402988"/>
                <a:gd name="connsiteX233" fmla="*/ 6660281 w 8295085"/>
                <a:gd name="connsiteY233" fmla="*/ 1126762 h 2402988"/>
                <a:gd name="connsiteX234" fmla="*/ 3912807 w 8295085"/>
                <a:gd name="connsiteY234" fmla="*/ 1098365 h 2402988"/>
                <a:gd name="connsiteX235" fmla="*/ 3930590 w 8295085"/>
                <a:gd name="connsiteY235" fmla="*/ 1132552 h 2402988"/>
                <a:gd name="connsiteX236" fmla="*/ 3929143 w 8295085"/>
                <a:gd name="connsiteY236" fmla="*/ 1115045 h 2402988"/>
                <a:gd name="connsiteX237" fmla="*/ 3912807 w 8295085"/>
                <a:gd name="connsiteY237" fmla="*/ 1098365 h 2402988"/>
                <a:gd name="connsiteX238" fmla="*/ 5892185 w 8295085"/>
                <a:gd name="connsiteY238" fmla="*/ 1096091 h 2402988"/>
                <a:gd name="connsiteX239" fmla="*/ 5892185 w 8295085"/>
                <a:gd name="connsiteY239" fmla="*/ 1096091 h 2402988"/>
                <a:gd name="connsiteX240" fmla="*/ 5884397 w 8295085"/>
                <a:gd name="connsiteY240" fmla="*/ 1136687 h 2402988"/>
                <a:gd name="connsiteX241" fmla="*/ 5902248 w 8295085"/>
                <a:gd name="connsiteY241" fmla="*/ 1137307 h 2402988"/>
                <a:gd name="connsiteX242" fmla="*/ 5910933 w 8295085"/>
                <a:gd name="connsiteY242" fmla="*/ 1122006 h 2402988"/>
                <a:gd name="connsiteX243" fmla="*/ 5910795 w 8295085"/>
                <a:gd name="connsiteY243" fmla="*/ 1045913 h 2402988"/>
                <a:gd name="connsiteX244" fmla="*/ 5885982 w 8295085"/>
                <a:gd name="connsiteY244" fmla="*/ 1084511 h 2402988"/>
                <a:gd name="connsiteX245" fmla="*/ 5889841 w 8295085"/>
                <a:gd name="connsiteY245" fmla="*/ 1108497 h 2402988"/>
                <a:gd name="connsiteX246" fmla="*/ 5884397 w 8295085"/>
                <a:gd name="connsiteY246" fmla="*/ 1136687 h 2402988"/>
                <a:gd name="connsiteX247" fmla="*/ 51512 w 8295085"/>
                <a:gd name="connsiteY247" fmla="*/ 1152126 h 2402988"/>
                <a:gd name="connsiteX248" fmla="*/ 55440 w 8295085"/>
                <a:gd name="connsiteY248" fmla="*/ 1173148 h 2402988"/>
                <a:gd name="connsiteX249" fmla="*/ 54479 w 8295085"/>
                <a:gd name="connsiteY249" fmla="*/ 1157985 h 2402988"/>
                <a:gd name="connsiteX250" fmla="*/ 73638 w 8295085"/>
                <a:gd name="connsiteY250" fmla="*/ 1151506 h 2402988"/>
                <a:gd name="connsiteX251" fmla="*/ 44272 w 8295085"/>
                <a:gd name="connsiteY251" fmla="*/ 1137928 h 2402988"/>
                <a:gd name="connsiteX252" fmla="*/ 44824 w 8295085"/>
                <a:gd name="connsiteY252" fmla="*/ 1112357 h 2402988"/>
                <a:gd name="connsiteX253" fmla="*/ 25738 w 8295085"/>
                <a:gd name="connsiteY253" fmla="*/ 1125246 h 2402988"/>
                <a:gd name="connsiteX254" fmla="*/ 51512 w 8295085"/>
                <a:gd name="connsiteY254" fmla="*/ 1152126 h 2402988"/>
                <a:gd name="connsiteX255" fmla="*/ 5513100 w 8295085"/>
                <a:gd name="connsiteY255" fmla="*/ 1178869 h 2402988"/>
                <a:gd name="connsiteX256" fmla="*/ 5523232 w 8295085"/>
                <a:gd name="connsiteY256" fmla="*/ 1145923 h 2402988"/>
                <a:gd name="connsiteX257" fmla="*/ 5513100 w 8295085"/>
                <a:gd name="connsiteY257" fmla="*/ 1178869 h 2402988"/>
                <a:gd name="connsiteX258" fmla="*/ 8250924 w 8295085"/>
                <a:gd name="connsiteY258" fmla="*/ 1165842 h 2402988"/>
                <a:gd name="connsiteX259" fmla="*/ 8250924 w 8295085"/>
                <a:gd name="connsiteY259" fmla="*/ 1165842 h 2402988"/>
                <a:gd name="connsiteX260" fmla="*/ 8271463 w 8295085"/>
                <a:gd name="connsiteY260" fmla="*/ 1216571 h 2402988"/>
                <a:gd name="connsiteX261" fmla="*/ 8269671 w 8295085"/>
                <a:gd name="connsiteY261" fmla="*/ 1179627 h 2402988"/>
                <a:gd name="connsiteX262" fmla="*/ 8273048 w 8295085"/>
                <a:gd name="connsiteY262" fmla="*/ 1159915 h 2402988"/>
                <a:gd name="connsiteX263" fmla="*/ 8279941 w 8295085"/>
                <a:gd name="connsiteY263" fmla="*/ 1110289 h 2402988"/>
                <a:gd name="connsiteX264" fmla="*/ 8276426 w 8295085"/>
                <a:gd name="connsiteY264" fmla="*/ 1117388 h 2402988"/>
                <a:gd name="connsiteX265" fmla="*/ 8268775 w 8295085"/>
                <a:gd name="connsiteY265" fmla="*/ 1132965 h 2402988"/>
                <a:gd name="connsiteX266" fmla="*/ 8253267 w 8295085"/>
                <a:gd name="connsiteY266" fmla="*/ 1097193 h 2402988"/>
                <a:gd name="connsiteX267" fmla="*/ 8265053 w 8295085"/>
                <a:gd name="connsiteY267" fmla="*/ 1077205 h 2402988"/>
                <a:gd name="connsiteX268" fmla="*/ 8253681 w 8295085"/>
                <a:gd name="connsiteY268" fmla="*/ 1040882 h 2402988"/>
                <a:gd name="connsiteX269" fmla="*/ 8245410 w 8295085"/>
                <a:gd name="connsiteY269" fmla="*/ 1039641 h 2402988"/>
                <a:gd name="connsiteX270" fmla="*/ 8258091 w 8295085"/>
                <a:gd name="connsiteY270" fmla="*/ 1070864 h 2402988"/>
                <a:gd name="connsiteX271" fmla="*/ 8230798 w 8295085"/>
                <a:gd name="connsiteY271" fmla="*/ 1106567 h 2402988"/>
                <a:gd name="connsiteX272" fmla="*/ 8231004 w 8295085"/>
                <a:gd name="connsiteY272" fmla="*/ 1125039 h 2402988"/>
                <a:gd name="connsiteX273" fmla="*/ 8244858 w 8295085"/>
                <a:gd name="connsiteY273" fmla="*/ 1121248 h 2402988"/>
                <a:gd name="connsiteX274" fmla="*/ 8268017 w 8295085"/>
                <a:gd name="connsiteY274" fmla="*/ 1134550 h 2402988"/>
                <a:gd name="connsiteX275" fmla="*/ 8262847 w 8295085"/>
                <a:gd name="connsiteY275" fmla="*/ 1147577 h 2402988"/>
                <a:gd name="connsiteX276" fmla="*/ 8265742 w 8295085"/>
                <a:gd name="connsiteY276" fmla="*/ 1149163 h 2402988"/>
                <a:gd name="connsiteX277" fmla="*/ 8263537 w 8295085"/>
                <a:gd name="connsiteY277" fmla="*/ 1149714 h 2402988"/>
                <a:gd name="connsiteX278" fmla="*/ 8243549 w 8295085"/>
                <a:gd name="connsiteY278" fmla="*/ 1155090 h 2402988"/>
                <a:gd name="connsiteX279" fmla="*/ 8238173 w 8295085"/>
                <a:gd name="connsiteY279" fmla="*/ 1167152 h 2402988"/>
                <a:gd name="connsiteX280" fmla="*/ 8240722 w 8295085"/>
                <a:gd name="connsiteY280" fmla="*/ 1148887 h 2402988"/>
                <a:gd name="connsiteX281" fmla="*/ 8241412 w 8295085"/>
                <a:gd name="connsiteY281" fmla="*/ 1139996 h 2402988"/>
                <a:gd name="connsiteX282" fmla="*/ 8231625 w 8295085"/>
                <a:gd name="connsiteY282" fmla="*/ 1132965 h 2402988"/>
                <a:gd name="connsiteX283" fmla="*/ 8229970 w 8295085"/>
                <a:gd name="connsiteY283" fmla="*/ 1188794 h 2402988"/>
                <a:gd name="connsiteX284" fmla="*/ 8245961 w 8295085"/>
                <a:gd name="connsiteY284" fmla="*/ 1174527 h 2402988"/>
                <a:gd name="connsiteX285" fmla="*/ 8255266 w 8295085"/>
                <a:gd name="connsiteY285" fmla="*/ 1193274 h 2402988"/>
                <a:gd name="connsiteX286" fmla="*/ 8268223 w 8295085"/>
                <a:gd name="connsiteY286" fmla="*/ 1203268 h 2402988"/>
                <a:gd name="connsiteX287" fmla="*/ 8271463 w 8295085"/>
                <a:gd name="connsiteY287" fmla="*/ 1216571 h 2402988"/>
                <a:gd name="connsiteX288" fmla="*/ 5892668 w 8295085"/>
                <a:gd name="connsiteY288" fmla="*/ 1215054 h 2402988"/>
                <a:gd name="connsiteX289" fmla="*/ 5922236 w 8295085"/>
                <a:gd name="connsiteY289" fmla="*/ 1205750 h 2402988"/>
                <a:gd name="connsiteX290" fmla="*/ 5907693 w 8295085"/>
                <a:gd name="connsiteY290" fmla="*/ 1177766 h 2402988"/>
                <a:gd name="connsiteX291" fmla="*/ 5892668 w 8295085"/>
                <a:gd name="connsiteY291" fmla="*/ 1215054 h 2402988"/>
                <a:gd name="connsiteX292" fmla="*/ 3888753 w 8295085"/>
                <a:gd name="connsiteY292" fmla="*/ 1221120 h 2402988"/>
                <a:gd name="connsiteX293" fmla="*/ 3912049 w 8295085"/>
                <a:gd name="connsiteY293" fmla="*/ 1214779 h 2402988"/>
                <a:gd name="connsiteX294" fmla="*/ 3888753 w 8295085"/>
                <a:gd name="connsiteY294" fmla="*/ 1221120 h 2402988"/>
                <a:gd name="connsiteX295" fmla="*/ 1896487 w 8295085"/>
                <a:gd name="connsiteY295" fmla="*/ 1232699 h 2402988"/>
                <a:gd name="connsiteX296" fmla="*/ 1914062 w 8295085"/>
                <a:gd name="connsiteY296" fmla="*/ 1229529 h 2402988"/>
                <a:gd name="connsiteX297" fmla="*/ 1918405 w 8295085"/>
                <a:gd name="connsiteY297" fmla="*/ 1203544 h 2402988"/>
                <a:gd name="connsiteX298" fmla="*/ 1895108 w 8295085"/>
                <a:gd name="connsiteY298" fmla="*/ 1209334 h 2402988"/>
                <a:gd name="connsiteX299" fmla="*/ 1896487 w 8295085"/>
                <a:gd name="connsiteY299" fmla="*/ 1232699 h 2402988"/>
                <a:gd name="connsiteX300" fmla="*/ 1193386 w 8295085"/>
                <a:gd name="connsiteY300" fmla="*/ 1256823 h 2402988"/>
                <a:gd name="connsiteX301" fmla="*/ 1199314 w 8295085"/>
                <a:gd name="connsiteY301" fmla="*/ 1223188 h 2402988"/>
                <a:gd name="connsiteX302" fmla="*/ 1210687 w 8295085"/>
                <a:gd name="connsiteY302" fmla="*/ 1215606 h 2402988"/>
                <a:gd name="connsiteX303" fmla="*/ 1192628 w 8295085"/>
                <a:gd name="connsiteY303" fmla="*/ 1202510 h 2402988"/>
                <a:gd name="connsiteX304" fmla="*/ 1188424 w 8295085"/>
                <a:gd name="connsiteY304" fmla="*/ 1214158 h 2402988"/>
                <a:gd name="connsiteX305" fmla="*/ 1176155 w 8295085"/>
                <a:gd name="connsiteY305" fmla="*/ 1198995 h 2402988"/>
                <a:gd name="connsiteX306" fmla="*/ 1174984 w 8295085"/>
                <a:gd name="connsiteY306" fmla="*/ 1220913 h 2402988"/>
                <a:gd name="connsiteX307" fmla="*/ 1193800 w 8295085"/>
                <a:gd name="connsiteY307" fmla="*/ 1235939 h 2402988"/>
                <a:gd name="connsiteX308" fmla="*/ 1193386 w 8295085"/>
                <a:gd name="connsiteY308" fmla="*/ 1256823 h 2402988"/>
                <a:gd name="connsiteX309" fmla="*/ 5485047 w 8295085"/>
                <a:gd name="connsiteY309" fmla="*/ 1299005 h 2402988"/>
                <a:gd name="connsiteX310" fmla="*/ 5531709 w 8295085"/>
                <a:gd name="connsiteY310" fmla="*/ 1276329 h 2402988"/>
                <a:gd name="connsiteX311" fmla="*/ 5526609 w 8295085"/>
                <a:gd name="connsiteY311" fmla="*/ 1264611 h 2402988"/>
                <a:gd name="connsiteX312" fmla="*/ 5547769 w 8295085"/>
                <a:gd name="connsiteY312" fmla="*/ 1270332 h 2402988"/>
                <a:gd name="connsiteX313" fmla="*/ 5547837 w 8295085"/>
                <a:gd name="connsiteY313" fmla="*/ 1246829 h 2402988"/>
                <a:gd name="connsiteX314" fmla="*/ 5533708 w 8295085"/>
                <a:gd name="connsiteY314" fmla="*/ 1255444 h 2402988"/>
                <a:gd name="connsiteX315" fmla="*/ 5529021 w 8295085"/>
                <a:gd name="connsiteY315" fmla="*/ 1240488 h 2402988"/>
                <a:gd name="connsiteX316" fmla="*/ 5517924 w 8295085"/>
                <a:gd name="connsiteY316" fmla="*/ 1262612 h 2402988"/>
                <a:gd name="connsiteX317" fmla="*/ 5515443 w 8295085"/>
                <a:gd name="connsiteY317" fmla="*/ 1267162 h 2402988"/>
                <a:gd name="connsiteX318" fmla="*/ 5510411 w 8295085"/>
                <a:gd name="connsiteY318" fmla="*/ 1255444 h 2402988"/>
                <a:gd name="connsiteX319" fmla="*/ 5494628 w 8295085"/>
                <a:gd name="connsiteY319" fmla="*/ 1260683 h 2402988"/>
                <a:gd name="connsiteX320" fmla="*/ 5498074 w 8295085"/>
                <a:gd name="connsiteY320" fmla="*/ 1293353 h 2402988"/>
                <a:gd name="connsiteX321" fmla="*/ 5486081 w 8295085"/>
                <a:gd name="connsiteY321" fmla="*/ 1275019 h 2402988"/>
                <a:gd name="connsiteX322" fmla="*/ 5485047 w 8295085"/>
                <a:gd name="connsiteY322" fmla="*/ 1299005 h 2402988"/>
                <a:gd name="connsiteX323" fmla="*/ 4687176 w 8295085"/>
                <a:gd name="connsiteY323" fmla="*/ 1323680 h 2402988"/>
                <a:gd name="connsiteX324" fmla="*/ 4705923 w 8295085"/>
                <a:gd name="connsiteY324" fmla="*/ 1319958 h 2402988"/>
                <a:gd name="connsiteX325" fmla="*/ 4704407 w 8295085"/>
                <a:gd name="connsiteY325" fmla="*/ 1278327 h 2402988"/>
                <a:gd name="connsiteX326" fmla="*/ 4693241 w 8295085"/>
                <a:gd name="connsiteY326" fmla="*/ 1284737 h 2402988"/>
                <a:gd name="connsiteX327" fmla="*/ 4685453 w 8295085"/>
                <a:gd name="connsiteY327" fmla="*/ 1300728 h 2402988"/>
                <a:gd name="connsiteX328" fmla="*/ 4687176 w 8295085"/>
                <a:gd name="connsiteY328" fmla="*/ 1323680 h 2402988"/>
                <a:gd name="connsiteX329" fmla="*/ 758541 w 8295085"/>
                <a:gd name="connsiteY329" fmla="*/ 1343116 h 2402988"/>
                <a:gd name="connsiteX330" fmla="*/ 751717 w 8295085"/>
                <a:gd name="connsiteY330" fmla="*/ 1315064 h 2402988"/>
                <a:gd name="connsiteX331" fmla="*/ 758541 w 8295085"/>
                <a:gd name="connsiteY331" fmla="*/ 1343116 h 2402988"/>
                <a:gd name="connsiteX332" fmla="*/ 7516462 w 8295085"/>
                <a:gd name="connsiteY332" fmla="*/ 1351732 h 2402988"/>
                <a:gd name="connsiteX333" fmla="*/ 7534108 w 8295085"/>
                <a:gd name="connsiteY333" fmla="*/ 1348079 h 2402988"/>
                <a:gd name="connsiteX334" fmla="*/ 7533349 w 8295085"/>
                <a:gd name="connsiteY334" fmla="*/ 1344288 h 2402988"/>
                <a:gd name="connsiteX335" fmla="*/ 7528731 w 8295085"/>
                <a:gd name="connsiteY335" fmla="*/ 1297213 h 2402988"/>
                <a:gd name="connsiteX336" fmla="*/ 7522528 w 8295085"/>
                <a:gd name="connsiteY336" fmla="*/ 1335466 h 2402988"/>
                <a:gd name="connsiteX337" fmla="*/ 7516462 w 8295085"/>
                <a:gd name="connsiteY337" fmla="*/ 1351732 h 2402988"/>
                <a:gd name="connsiteX338" fmla="*/ 4940543 w 8295085"/>
                <a:gd name="connsiteY338" fmla="*/ 1370962 h 2402988"/>
                <a:gd name="connsiteX339" fmla="*/ 4953432 w 8295085"/>
                <a:gd name="connsiteY339" fmla="*/ 1377785 h 2402988"/>
                <a:gd name="connsiteX340" fmla="*/ 4965218 w 8295085"/>
                <a:gd name="connsiteY340" fmla="*/ 1370480 h 2402988"/>
                <a:gd name="connsiteX341" fmla="*/ 4955506 w 8295085"/>
                <a:gd name="connsiteY341" fmla="*/ 1369721 h 2402988"/>
                <a:gd name="connsiteX342" fmla="*/ 4969560 w 8295085"/>
                <a:gd name="connsiteY342" fmla="*/ 1344219 h 2402988"/>
                <a:gd name="connsiteX343" fmla="*/ 4944609 w 8295085"/>
                <a:gd name="connsiteY343" fmla="*/ 1359520 h 2402988"/>
                <a:gd name="connsiteX344" fmla="*/ 4943644 w 8295085"/>
                <a:gd name="connsiteY344" fmla="*/ 1370135 h 2402988"/>
                <a:gd name="connsiteX345" fmla="*/ 4916557 w 8295085"/>
                <a:gd name="connsiteY345" fmla="*/ 1365448 h 2402988"/>
                <a:gd name="connsiteX346" fmla="*/ 4940543 w 8295085"/>
                <a:gd name="connsiteY346" fmla="*/ 1370962 h 2402988"/>
                <a:gd name="connsiteX347" fmla="*/ 406681 w 8295085"/>
                <a:gd name="connsiteY347" fmla="*/ 1394190 h 2402988"/>
                <a:gd name="connsiteX348" fmla="*/ 417295 w 8295085"/>
                <a:gd name="connsiteY348" fmla="*/ 1373995 h 2402988"/>
                <a:gd name="connsiteX349" fmla="*/ 406681 w 8295085"/>
                <a:gd name="connsiteY349" fmla="*/ 1394190 h 2402988"/>
                <a:gd name="connsiteX350" fmla="*/ 2328437 w 8295085"/>
                <a:gd name="connsiteY350" fmla="*/ 1414729 h 2402988"/>
                <a:gd name="connsiteX351" fmla="*/ 2327610 w 8295085"/>
                <a:gd name="connsiteY351" fmla="*/ 1381301 h 2402988"/>
                <a:gd name="connsiteX352" fmla="*/ 2328437 w 8295085"/>
                <a:gd name="connsiteY352" fmla="*/ 1414729 h 2402988"/>
                <a:gd name="connsiteX353" fmla="*/ 738415 w 8295085"/>
                <a:gd name="connsiteY353" fmla="*/ 1412592 h 2402988"/>
                <a:gd name="connsiteX354" fmla="*/ 755302 w 8295085"/>
                <a:gd name="connsiteY354" fmla="*/ 1414660 h 2402988"/>
                <a:gd name="connsiteX355" fmla="*/ 755508 w 8295085"/>
                <a:gd name="connsiteY355" fmla="*/ 1394121 h 2402988"/>
                <a:gd name="connsiteX356" fmla="*/ 743584 w 8295085"/>
                <a:gd name="connsiteY356" fmla="*/ 1407285 h 2402988"/>
                <a:gd name="connsiteX357" fmla="*/ 738070 w 8295085"/>
                <a:gd name="connsiteY357" fmla="*/ 1388124 h 2402988"/>
                <a:gd name="connsiteX358" fmla="*/ 738415 w 8295085"/>
                <a:gd name="connsiteY358" fmla="*/ 1412592 h 2402988"/>
                <a:gd name="connsiteX359" fmla="*/ 832015 w 8295085"/>
                <a:gd name="connsiteY359" fmla="*/ 1425964 h 2402988"/>
                <a:gd name="connsiteX360" fmla="*/ 841664 w 8295085"/>
                <a:gd name="connsiteY360" fmla="*/ 1440438 h 2402988"/>
                <a:gd name="connsiteX361" fmla="*/ 861239 w 8295085"/>
                <a:gd name="connsiteY361" fmla="*/ 1415625 h 2402988"/>
                <a:gd name="connsiteX362" fmla="*/ 841802 w 8295085"/>
                <a:gd name="connsiteY362" fmla="*/ 1409077 h 2402988"/>
                <a:gd name="connsiteX363" fmla="*/ 843043 w 8295085"/>
                <a:gd name="connsiteY363" fmla="*/ 1425481 h 2402988"/>
                <a:gd name="connsiteX364" fmla="*/ 832015 w 8295085"/>
                <a:gd name="connsiteY364" fmla="*/ 1425964 h 2402988"/>
                <a:gd name="connsiteX365" fmla="*/ 1335233 w 8295085"/>
                <a:gd name="connsiteY365" fmla="*/ 1451535 h 2402988"/>
                <a:gd name="connsiteX366" fmla="*/ 1355084 w 8295085"/>
                <a:gd name="connsiteY366" fmla="*/ 1447124 h 2402988"/>
                <a:gd name="connsiteX367" fmla="*/ 1357841 w 8295085"/>
                <a:gd name="connsiteY367" fmla="*/ 1414453 h 2402988"/>
                <a:gd name="connsiteX368" fmla="*/ 1345296 w 8295085"/>
                <a:gd name="connsiteY368" fmla="*/ 1439335 h 2402988"/>
                <a:gd name="connsiteX369" fmla="*/ 1329099 w 8295085"/>
                <a:gd name="connsiteY369" fmla="*/ 1422242 h 2402988"/>
                <a:gd name="connsiteX370" fmla="*/ 1340885 w 8295085"/>
                <a:gd name="connsiteY370" fmla="*/ 1444574 h 2402988"/>
                <a:gd name="connsiteX371" fmla="*/ 1329306 w 8295085"/>
                <a:gd name="connsiteY371" fmla="*/ 1446434 h 2402988"/>
                <a:gd name="connsiteX372" fmla="*/ 1335233 w 8295085"/>
                <a:gd name="connsiteY372" fmla="*/ 1451535 h 2402988"/>
                <a:gd name="connsiteX373" fmla="*/ 2331608 w 8295085"/>
                <a:gd name="connsiteY373" fmla="*/ 1516186 h 2402988"/>
                <a:gd name="connsiteX374" fmla="*/ 2333193 w 8295085"/>
                <a:gd name="connsiteY374" fmla="*/ 1515842 h 2402988"/>
                <a:gd name="connsiteX375" fmla="*/ 2321476 w 8295085"/>
                <a:gd name="connsiteY375" fmla="*/ 1479518 h 2402988"/>
                <a:gd name="connsiteX376" fmla="*/ 2316238 w 8295085"/>
                <a:gd name="connsiteY376" fmla="*/ 1462770 h 2402988"/>
                <a:gd name="connsiteX377" fmla="*/ 2331608 w 8295085"/>
                <a:gd name="connsiteY377" fmla="*/ 1516186 h 2402988"/>
                <a:gd name="connsiteX378" fmla="*/ 7589661 w 8295085"/>
                <a:gd name="connsiteY378" fmla="*/ 1531625 h 2402988"/>
                <a:gd name="connsiteX379" fmla="*/ 7592280 w 8295085"/>
                <a:gd name="connsiteY379" fmla="*/ 1496543 h 2402988"/>
                <a:gd name="connsiteX380" fmla="*/ 7606892 w 8295085"/>
                <a:gd name="connsiteY380" fmla="*/ 1497094 h 2402988"/>
                <a:gd name="connsiteX381" fmla="*/ 7606547 w 8295085"/>
                <a:gd name="connsiteY381" fmla="*/ 1489857 h 2402988"/>
                <a:gd name="connsiteX382" fmla="*/ 7589040 w 8295085"/>
                <a:gd name="connsiteY382" fmla="*/ 1495440 h 2402988"/>
                <a:gd name="connsiteX383" fmla="*/ 7589661 w 8295085"/>
                <a:gd name="connsiteY383" fmla="*/ 1531625 h 2402988"/>
                <a:gd name="connsiteX384" fmla="*/ 2443128 w 8295085"/>
                <a:gd name="connsiteY384" fmla="*/ 1555473 h 2402988"/>
                <a:gd name="connsiteX385" fmla="*/ 2444989 w 8295085"/>
                <a:gd name="connsiteY385" fmla="*/ 1579873 h 2402988"/>
                <a:gd name="connsiteX386" fmla="*/ 2452088 w 8295085"/>
                <a:gd name="connsiteY386" fmla="*/ 1530729 h 2402988"/>
                <a:gd name="connsiteX387" fmla="*/ 2443128 w 8295085"/>
                <a:gd name="connsiteY387" fmla="*/ 1555473 h 2402988"/>
                <a:gd name="connsiteX388" fmla="*/ 38898 w 8295085"/>
                <a:gd name="connsiteY388" fmla="*/ 1562986 h 2402988"/>
                <a:gd name="connsiteX389" fmla="*/ 42344 w 8295085"/>
                <a:gd name="connsiteY389" fmla="*/ 1580286 h 2402988"/>
                <a:gd name="connsiteX390" fmla="*/ 52960 w 8295085"/>
                <a:gd name="connsiteY390" fmla="*/ 1551889 h 2402988"/>
                <a:gd name="connsiteX391" fmla="*/ 19254 w 8295085"/>
                <a:gd name="connsiteY391" fmla="*/ 1547823 h 2402988"/>
                <a:gd name="connsiteX392" fmla="*/ 21807 w 8295085"/>
                <a:gd name="connsiteY392" fmla="*/ 1552785 h 2402988"/>
                <a:gd name="connsiteX393" fmla="*/ 28008 w 8295085"/>
                <a:gd name="connsiteY393" fmla="*/ 1572635 h 2402988"/>
                <a:gd name="connsiteX394" fmla="*/ 38898 w 8295085"/>
                <a:gd name="connsiteY394" fmla="*/ 1562986 h 2402988"/>
                <a:gd name="connsiteX395" fmla="*/ 6931775 w 8295085"/>
                <a:gd name="connsiteY395" fmla="*/ 1692564 h 2402988"/>
                <a:gd name="connsiteX396" fmla="*/ 6964928 w 8295085"/>
                <a:gd name="connsiteY396" fmla="*/ 1661135 h 2402988"/>
                <a:gd name="connsiteX397" fmla="*/ 6978506 w 8295085"/>
                <a:gd name="connsiteY397" fmla="*/ 1617367 h 2402988"/>
                <a:gd name="connsiteX398" fmla="*/ 6968029 w 8295085"/>
                <a:gd name="connsiteY398" fmla="*/ 1613852 h 2402988"/>
                <a:gd name="connsiteX399" fmla="*/ 6953348 w 8295085"/>
                <a:gd name="connsiteY399" fmla="*/ 1656654 h 2402988"/>
                <a:gd name="connsiteX400" fmla="*/ 6940184 w 8295085"/>
                <a:gd name="connsiteY400" fmla="*/ 1644455 h 2402988"/>
                <a:gd name="connsiteX401" fmla="*/ 6933360 w 8295085"/>
                <a:gd name="connsiteY401" fmla="*/ 1658033 h 2402988"/>
                <a:gd name="connsiteX402" fmla="*/ 6941976 w 8295085"/>
                <a:gd name="connsiteY402" fmla="*/ 1665684 h 2402988"/>
                <a:gd name="connsiteX403" fmla="*/ 6931775 w 8295085"/>
                <a:gd name="connsiteY403" fmla="*/ 1692564 h 2402988"/>
                <a:gd name="connsiteX404" fmla="*/ 7577185 w 8295085"/>
                <a:gd name="connsiteY404" fmla="*/ 1683397 h 2402988"/>
                <a:gd name="connsiteX405" fmla="*/ 7593038 w 8295085"/>
                <a:gd name="connsiteY405" fmla="*/ 1704971 h 2402988"/>
                <a:gd name="connsiteX406" fmla="*/ 7580769 w 8295085"/>
                <a:gd name="connsiteY406" fmla="*/ 1679400 h 2402988"/>
                <a:gd name="connsiteX407" fmla="*/ 7583251 w 8295085"/>
                <a:gd name="connsiteY407" fmla="*/ 1648453 h 2402988"/>
                <a:gd name="connsiteX408" fmla="*/ 7577185 w 8295085"/>
                <a:gd name="connsiteY408" fmla="*/ 1683397 h 2402988"/>
                <a:gd name="connsiteX409" fmla="*/ 7495372 w 8295085"/>
                <a:gd name="connsiteY409" fmla="*/ 1732610 h 2402988"/>
                <a:gd name="connsiteX410" fmla="*/ 7498680 w 8295085"/>
                <a:gd name="connsiteY410" fmla="*/ 1705453 h 2402988"/>
                <a:gd name="connsiteX411" fmla="*/ 7529765 w 8295085"/>
                <a:gd name="connsiteY411" fmla="*/ 1731989 h 2402988"/>
                <a:gd name="connsiteX412" fmla="*/ 7491650 w 8295085"/>
                <a:gd name="connsiteY412" fmla="*/ 1691806 h 2402988"/>
                <a:gd name="connsiteX413" fmla="*/ 7492890 w 8295085"/>
                <a:gd name="connsiteY413" fmla="*/ 1712759 h 2402988"/>
                <a:gd name="connsiteX414" fmla="*/ 7475935 w 8295085"/>
                <a:gd name="connsiteY414" fmla="*/ 1723098 h 2402988"/>
                <a:gd name="connsiteX415" fmla="*/ 7493924 w 8295085"/>
                <a:gd name="connsiteY415" fmla="*/ 1719445 h 2402988"/>
                <a:gd name="connsiteX416" fmla="*/ 7495372 w 8295085"/>
                <a:gd name="connsiteY416" fmla="*/ 1732610 h 2402988"/>
                <a:gd name="connsiteX417" fmla="*/ 5762951 w 8295085"/>
                <a:gd name="connsiteY417" fmla="*/ 1755699 h 2402988"/>
                <a:gd name="connsiteX418" fmla="*/ 5787282 w 8295085"/>
                <a:gd name="connsiteY418" fmla="*/ 1757491 h 2402988"/>
                <a:gd name="connsiteX419" fmla="*/ 5772050 w 8295085"/>
                <a:gd name="connsiteY419" fmla="*/ 1753563 h 2402988"/>
                <a:gd name="connsiteX420" fmla="*/ 5772463 w 8295085"/>
                <a:gd name="connsiteY420" fmla="*/ 1716205 h 2402988"/>
                <a:gd name="connsiteX421" fmla="*/ 5762951 w 8295085"/>
                <a:gd name="connsiteY421" fmla="*/ 1755699 h 2402988"/>
                <a:gd name="connsiteX422" fmla="*/ 6268927 w 8295085"/>
                <a:gd name="connsiteY422" fmla="*/ 1805394 h 2402988"/>
                <a:gd name="connsiteX423" fmla="*/ 6261966 w 8295085"/>
                <a:gd name="connsiteY423" fmla="*/ 1794090 h 2402988"/>
                <a:gd name="connsiteX424" fmla="*/ 6260173 w 8295085"/>
                <a:gd name="connsiteY424" fmla="*/ 1764039 h 2402988"/>
                <a:gd name="connsiteX425" fmla="*/ 6253074 w 8295085"/>
                <a:gd name="connsiteY425" fmla="*/ 1796296 h 2402988"/>
                <a:gd name="connsiteX426" fmla="*/ 6268927 w 8295085"/>
                <a:gd name="connsiteY426" fmla="*/ 1805394 h 2402988"/>
                <a:gd name="connsiteX427" fmla="*/ 7024755 w 8295085"/>
                <a:gd name="connsiteY427" fmla="*/ 1850402 h 2402988"/>
                <a:gd name="connsiteX428" fmla="*/ 7042399 w 8295085"/>
                <a:gd name="connsiteY428" fmla="*/ 1830552 h 2402988"/>
                <a:gd name="connsiteX429" fmla="*/ 7062319 w 8295085"/>
                <a:gd name="connsiteY429" fmla="*/ 1847783 h 2402988"/>
                <a:gd name="connsiteX430" fmla="*/ 7051842 w 8295085"/>
                <a:gd name="connsiteY430" fmla="*/ 1808702 h 2402988"/>
                <a:gd name="connsiteX431" fmla="*/ 7048947 w 8295085"/>
                <a:gd name="connsiteY431" fmla="*/ 1827174 h 2402988"/>
                <a:gd name="connsiteX432" fmla="*/ 7031922 w 8295085"/>
                <a:gd name="connsiteY432" fmla="*/ 1814974 h 2402988"/>
                <a:gd name="connsiteX433" fmla="*/ 7024755 w 8295085"/>
                <a:gd name="connsiteY433" fmla="*/ 1850402 h 2402988"/>
                <a:gd name="connsiteX434" fmla="*/ 1319450 w 8295085"/>
                <a:gd name="connsiteY434" fmla="*/ 1868253 h 2402988"/>
                <a:gd name="connsiteX435" fmla="*/ 1341437 w 8295085"/>
                <a:gd name="connsiteY435" fmla="*/ 1890792 h 2402988"/>
                <a:gd name="connsiteX436" fmla="*/ 1386169 w 8295085"/>
                <a:gd name="connsiteY436" fmla="*/ 1888655 h 2402988"/>
                <a:gd name="connsiteX437" fmla="*/ 1374520 w 8295085"/>
                <a:gd name="connsiteY437" fmla="*/ 1850333 h 2402988"/>
                <a:gd name="connsiteX438" fmla="*/ 1360115 w 8295085"/>
                <a:gd name="connsiteY438" fmla="*/ 1844888 h 2402988"/>
                <a:gd name="connsiteX439" fmla="*/ 1326687 w 8295085"/>
                <a:gd name="connsiteY439" fmla="*/ 1851160 h 2402988"/>
                <a:gd name="connsiteX440" fmla="*/ 1329857 w 8295085"/>
                <a:gd name="connsiteY440" fmla="*/ 1855088 h 2402988"/>
                <a:gd name="connsiteX441" fmla="*/ 1335096 w 8295085"/>
                <a:gd name="connsiteY441" fmla="*/ 1867633 h 2402988"/>
                <a:gd name="connsiteX442" fmla="*/ 1319450 w 8295085"/>
                <a:gd name="connsiteY442" fmla="*/ 1868253 h 2402988"/>
                <a:gd name="connsiteX443" fmla="*/ 56129 w 8295085"/>
                <a:gd name="connsiteY443" fmla="*/ 1931112 h 2402988"/>
                <a:gd name="connsiteX444" fmla="*/ 60195 w 8295085"/>
                <a:gd name="connsiteY444" fmla="*/ 1929596 h 2402988"/>
                <a:gd name="connsiteX445" fmla="*/ 68331 w 8295085"/>
                <a:gd name="connsiteY445" fmla="*/ 1894927 h 2402988"/>
                <a:gd name="connsiteX446" fmla="*/ 88731 w 8295085"/>
                <a:gd name="connsiteY446" fmla="*/ 1897201 h 2402988"/>
                <a:gd name="connsiteX447" fmla="*/ 64333 w 8295085"/>
                <a:gd name="connsiteY447" fmla="*/ 1836823 h 2402988"/>
                <a:gd name="connsiteX448" fmla="*/ 66330 w 8295085"/>
                <a:gd name="connsiteY448" fmla="*/ 1875490 h 2402988"/>
                <a:gd name="connsiteX449" fmla="*/ 56129 w 8295085"/>
                <a:gd name="connsiteY449" fmla="*/ 1931112 h 2402988"/>
                <a:gd name="connsiteX450" fmla="*/ 297712 w 8295085"/>
                <a:gd name="connsiteY450" fmla="*/ 1958062 h 2402988"/>
                <a:gd name="connsiteX451" fmla="*/ 310116 w 8295085"/>
                <a:gd name="connsiteY451" fmla="*/ 1944553 h 2402988"/>
                <a:gd name="connsiteX452" fmla="*/ 297712 w 8295085"/>
                <a:gd name="connsiteY452" fmla="*/ 1958062 h 2402988"/>
                <a:gd name="connsiteX453" fmla="*/ 3865043 w 8295085"/>
                <a:gd name="connsiteY453" fmla="*/ 2014236 h 2402988"/>
                <a:gd name="connsiteX454" fmla="*/ 3879655 w 8295085"/>
                <a:gd name="connsiteY454" fmla="*/ 2020990 h 2402988"/>
                <a:gd name="connsiteX455" fmla="*/ 3889373 w 8295085"/>
                <a:gd name="connsiteY455" fmla="*/ 2001485 h 2402988"/>
                <a:gd name="connsiteX456" fmla="*/ 3905639 w 8295085"/>
                <a:gd name="connsiteY456" fmla="*/ 2000244 h 2402988"/>
                <a:gd name="connsiteX457" fmla="*/ 3864698 w 8295085"/>
                <a:gd name="connsiteY457" fmla="*/ 1996177 h 2402988"/>
                <a:gd name="connsiteX458" fmla="*/ 3864767 w 8295085"/>
                <a:gd name="connsiteY458" fmla="*/ 2001898 h 2402988"/>
                <a:gd name="connsiteX459" fmla="*/ 3865043 w 8295085"/>
                <a:gd name="connsiteY459" fmla="*/ 2014236 h 2402988"/>
                <a:gd name="connsiteX460" fmla="*/ 8198610 w 8295085"/>
                <a:gd name="connsiteY460" fmla="*/ 2009687 h 2402988"/>
                <a:gd name="connsiteX461" fmla="*/ 8202676 w 8295085"/>
                <a:gd name="connsiteY461" fmla="*/ 2030019 h 2402988"/>
                <a:gd name="connsiteX462" fmla="*/ 8226455 w 8295085"/>
                <a:gd name="connsiteY462" fmla="*/ 2019818 h 2402988"/>
                <a:gd name="connsiteX463" fmla="*/ 8219356 w 8295085"/>
                <a:gd name="connsiteY463" fmla="*/ 1947861 h 2402988"/>
                <a:gd name="connsiteX464" fmla="*/ 8206398 w 8295085"/>
                <a:gd name="connsiteY464" fmla="*/ 1947585 h 2402988"/>
                <a:gd name="connsiteX465" fmla="*/ 8212463 w 8295085"/>
                <a:gd name="connsiteY465" fmla="*/ 1965506 h 2402988"/>
                <a:gd name="connsiteX466" fmla="*/ 8205502 w 8295085"/>
                <a:gd name="connsiteY466" fmla="*/ 1970400 h 2402988"/>
                <a:gd name="connsiteX467" fmla="*/ 8224525 w 8295085"/>
                <a:gd name="connsiteY467" fmla="*/ 1970193 h 2402988"/>
                <a:gd name="connsiteX468" fmla="*/ 8224801 w 8295085"/>
                <a:gd name="connsiteY468" fmla="*/ 1991077 h 2402988"/>
                <a:gd name="connsiteX469" fmla="*/ 8206536 w 8295085"/>
                <a:gd name="connsiteY469" fmla="*/ 1983909 h 2402988"/>
                <a:gd name="connsiteX470" fmla="*/ 8176347 w 8295085"/>
                <a:gd name="connsiteY470" fmla="*/ 1974328 h 2402988"/>
                <a:gd name="connsiteX471" fmla="*/ 8198886 w 8295085"/>
                <a:gd name="connsiteY471" fmla="*/ 1964334 h 2402988"/>
                <a:gd name="connsiteX472" fmla="*/ 8182826 w 8295085"/>
                <a:gd name="connsiteY472" fmla="*/ 1963024 h 2402988"/>
                <a:gd name="connsiteX473" fmla="*/ 8177932 w 8295085"/>
                <a:gd name="connsiteY473" fmla="*/ 1943243 h 2402988"/>
                <a:gd name="connsiteX474" fmla="*/ 8173659 w 8295085"/>
                <a:gd name="connsiteY474" fmla="*/ 2004448 h 2402988"/>
                <a:gd name="connsiteX475" fmla="*/ 8180621 w 8295085"/>
                <a:gd name="connsiteY475" fmla="*/ 2018095 h 2402988"/>
                <a:gd name="connsiteX476" fmla="*/ 8195715 w 8295085"/>
                <a:gd name="connsiteY476" fmla="*/ 1996315 h 2402988"/>
                <a:gd name="connsiteX477" fmla="*/ 8222733 w 8295085"/>
                <a:gd name="connsiteY477" fmla="*/ 1994661 h 2402988"/>
                <a:gd name="connsiteX478" fmla="*/ 8222044 w 8295085"/>
                <a:gd name="connsiteY478" fmla="*/ 2018578 h 2402988"/>
                <a:gd name="connsiteX479" fmla="*/ 8198610 w 8295085"/>
                <a:gd name="connsiteY479" fmla="*/ 2009687 h 2402988"/>
                <a:gd name="connsiteX480" fmla="*/ 4948883 w 8295085"/>
                <a:gd name="connsiteY480" fmla="*/ 2116106 h 2402988"/>
                <a:gd name="connsiteX481" fmla="*/ 4994649 w 8295085"/>
                <a:gd name="connsiteY481" fmla="*/ 2109558 h 2402988"/>
                <a:gd name="connsiteX482" fmla="*/ 4995958 w 8295085"/>
                <a:gd name="connsiteY482" fmla="*/ 2097979 h 2402988"/>
                <a:gd name="connsiteX483" fmla="*/ 4970456 w 8295085"/>
                <a:gd name="connsiteY483" fmla="*/ 2103906 h 2402988"/>
                <a:gd name="connsiteX484" fmla="*/ 4955086 w 8295085"/>
                <a:gd name="connsiteY484" fmla="*/ 2081437 h 2402988"/>
                <a:gd name="connsiteX485" fmla="*/ 4929659 w 8295085"/>
                <a:gd name="connsiteY485" fmla="*/ 2098737 h 2402988"/>
                <a:gd name="connsiteX486" fmla="*/ 4934271 w 8295085"/>
                <a:gd name="connsiteY486" fmla="*/ 2097910 h 2402988"/>
                <a:gd name="connsiteX487" fmla="*/ 4953776 w 8295085"/>
                <a:gd name="connsiteY487" fmla="*/ 2093706 h 2402988"/>
                <a:gd name="connsiteX488" fmla="*/ 4953432 w 8295085"/>
                <a:gd name="connsiteY488" fmla="*/ 2110386 h 2402988"/>
                <a:gd name="connsiteX489" fmla="*/ 4946539 w 8295085"/>
                <a:gd name="connsiteY489" fmla="*/ 2101494 h 2402988"/>
                <a:gd name="connsiteX490" fmla="*/ 4948883 w 8295085"/>
                <a:gd name="connsiteY490" fmla="*/ 2116106 h 2402988"/>
                <a:gd name="connsiteX491" fmla="*/ 2259719 w 8295085"/>
                <a:gd name="connsiteY491" fmla="*/ 2102046 h 2402988"/>
                <a:gd name="connsiteX492" fmla="*/ 2277915 w 8295085"/>
                <a:gd name="connsiteY492" fmla="*/ 2117416 h 2402988"/>
                <a:gd name="connsiteX493" fmla="*/ 2280466 w 8295085"/>
                <a:gd name="connsiteY493" fmla="*/ 2099220 h 2402988"/>
                <a:gd name="connsiteX494" fmla="*/ 2303004 w 8295085"/>
                <a:gd name="connsiteY494" fmla="*/ 2093292 h 2402988"/>
                <a:gd name="connsiteX495" fmla="*/ 2306037 w 8295085"/>
                <a:gd name="connsiteY495" fmla="*/ 2075441 h 2402988"/>
                <a:gd name="connsiteX496" fmla="*/ 2290735 w 8295085"/>
                <a:gd name="connsiteY496" fmla="*/ 2090535 h 2402988"/>
                <a:gd name="connsiteX497" fmla="*/ 2279570 w 8295085"/>
                <a:gd name="connsiteY497" fmla="*/ 2081644 h 2402988"/>
                <a:gd name="connsiteX498" fmla="*/ 2290942 w 8295085"/>
                <a:gd name="connsiteY498" fmla="*/ 2069513 h 2402988"/>
                <a:gd name="connsiteX499" fmla="*/ 2283223 w 8295085"/>
                <a:gd name="connsiteY499" fmla="*/ 2043460 h 2402988"/>
                <a:gd name="connsiteX500" fmla="*/ 2266474 w 8295085"/>
                <a:gd name="connsiteY500" fmla="*/ 2074407 h 2402988"/>
                <a:gd name="connsiteX501" fmla="*/ 2235251 w 8295085"/>
                <a:gd name="connsiteY501" fmla="*/ 2091707 h 2402988"/>
                <a:gd name="connsiteX502" fmla="*/ 2261856 w 8295085"/>
                <a:gd name="connsiteY502" fmla="*/ 2089432 h 2402988"/>
                <a:gd name="connsiteX503" fmla="*/ 2259719 w 8295085"/>
                <a:gd name="connsiteY503" fmla="*/ 2102046 h 2402988"/>
                <a:gd name="connsiteX504" fmla="*/ 4333455 w 8295085"/>
                <a:gd name="connsiteY504" fmla="*/ 2189855 h 2402988"/>
                <a:gd name="connsiteX505" fmla="*/ 4332903 w 8295085"/>
                <a:gd name="connsiteY505" fmla="*/ 2149948 h 2402988"/>
                <a:gd name="connsiteX506" fmla="*/ 4333455 w 8295085"/>
                <a:gd name="connsiteY506" fmla="*/ 2189855 h 2402988"/>
                <a:gd name="connsiteX507" fmla="*/ 4859005 w 8295085"/>
                <a:gd name="connsiteY507" fmla="*/ 2237000 h 2402988"/>
                <a:gd name="connsiteX508" fmla="*/ 4869275 w 8295085"/>
                <a:gd name="connsiteY508" fmla="*/ 2203365 h 2402988"/>
                <a:gd name="connsiteX509" fmla="*/ 4860246 w 8295085"/>
                <a:gd name="connsiteY509" fmla="*/ 2202951 h 2402988"/>
                <a:gd name="connsiteX510" fmla="*/ 4859005 w 8295085"/>
                <a:gd name="connsiteY510" fmla="*/ 2237000 h 2402988"/>
                <a:gd name="connsiteX511" fmla="*/ 4657263 w 8295085"/>
                <a:gd name="connsiteY511" fmla="*/ 2249131 h 2402988"/>
                <a:gd name="connsiteX512" fmla="*/ 4692759 w 8295085"/>
                <a:gd name="connsiteY512" fmla="*/ 2238241 h 2402988"/>
                <a:gd name="connsiteX513" fmla="*/ 4656504 w 8295085"/>
                <a:gd name="connsiteY513" fmla="*/ 2233416 h 2402988"/>
                <a:gd name="connsiteX514" fmla="*/ 4657263 w 8295085"/>
                <a:gd name="connsiteY514" fmla="*/ 2249131 h 2402988"/>
                <a:gd name="connsiteX515" fmla="*/ 4243646 w 8295085"/>
                <a:gd name="connsiteY515" fmla="*/ 2240377 h 2402988"/>
                <a:gd name="connsiteX516" fmla="*/ 4257844 w 8295085"/>
                <a:gd name="connsiteY516" fmla="*/ 2254231 h 2402988"/>
                <a:gd name="connsiteX517" fmla="*/ 4285690 w 8295085"/>
                <a:gd name="connsiteY517" fmla="*/ 2250647 h 2402988"/>
                <a:gd name="connsiteX518" fmla="*/ 4298716 w 8295085"/>
                <a:gd name="connsiteY518" fmla="*/ 2242721 h 2402988"/>
                <a:gd name="connsiteX519" fmla="*/ 4267287 w 8295085"/>
                <a:gd name="connsiteY519" fmla="*/ 2232795 h 2402988"/>
                <a:gd name="connsiteX520" fmla="*/ 4268114 w 8295085"/>
                <a:gd name="connsiteY520" fmla="*/ 2195921 h 2402988"/>
                <a:gd name="connsiteX521" fmla="*/ 4284449 w 8295085"/>
                <a:gd name="connsiteY521" fmla="*/ 2143745 h 2402988"/>
                <a:gd name="connsiteX522" fmla="*/ 4265840 w 8295085"/>
                <a:gd name="connsiteY522" fmla="*/ 2196128 h 2402988"/>
                <a:gd name="connsiteX523" fmla="*/ 4251503 w 8295085"/>
                <a:gd name="connsiteY523" fmla="*/ 2174692 h 2402988"/>
                <a:gd name="connsiteX524" fmla="*/ 4244135 w 8295085"/>
                <a:gd name="connsiteY524" fmla="*/ 2186754 h 2402988"/>
                <a:gd name="connsiteX525" fmla="*/ 4255363 w 8295085"/>
                <a:gd name="connsiteY525" fmla="*/ 2200401 h 2402988"/>
                <a:gd name="connsiteX526" fmla="*/ 4243646 w 8295085"/>
                <a:gd name="connsiteY526" fmla="*/ 2240377 h 2402988"/>
                <a:gd name="connsiteX527" fmla="*/ 5984889 w 8295085"/>
                <a:gd name="connsiteY527" fmla="*/ 2296758 h 2402988"/>
                <a:gd name="connsiteX528" fmla="*/ 5983786 w 8295085"/>
                <a:gd name="connsiteY528" fmla="*/ 2273185 h 2402988"/>
                <a:gd name="connsiteX529" fmla="*/ 6001431 w 8295085"/>
                <a:gd name="connsiteY529" fmla="*/ 2271738 h 2402988"/>
                <a:gd name="connsiteX530" fmla="*/ 5973585 w 8295085"/>
                <a:gd name="connsiteY530" fmla="*/ 2263122 h 2402988"/>
                <a:gd name="connsiteX531" fmla="*/ 5984889 w 8295085"/>
                <a:gd name="connsiteY531" fmla="*/ 2296758 h 2402988"/>
                <a:gd name="connsiteX532" fmla="*/ 6777522 w 8295085"/>
                <a:gd name="connsiteY532" fmla="*/ 2338595 h 2402988"/>
                <a:gd name="connsiteX533" fmla="*/ 6795580 w 8295085"/>
                <a:gd name="connsiteY533" fmla="*/ 2354241 h 2402988"/>
                <a:gd name="connsiteX534" fmla="*/ 6781451 w 8295085"/>
                <a:gd name="connsiteY534" fmla="*/ 2334322 h 2402988"/>
                <a:gd name="connsiteX535" fmla="*/ 6785655 w 8295085"/>
                <a:gd name="connsiteY535" fmla="*/ 2303099 h 2402988"/>
                <a:gd name="connsiteX536" fmla="*/ 6779383 w 8295085"/>
                <a:gd name="connsiteY536" fmla="*/ 2324603 h 2402988"/>
                <a:gd name="connsiteX537" fmla="*/ 6777522 w 8295085"/>
                <a:gd name="connsiteY537" fmla="*/ 2338595 h 2402988"/>
                <a:gd name="connsiteX538" fmla="*/ 6305526 w 8295085"/>
                <a:gd name="connsiteY538" fmla="*/ 2379467 h 2402988"/>
                <a:gd name="connsiteX539" fmla="*/ 6315176 w 8295085"/>
                <a:gd name="connsiteY539" fmla="*/ 2360720 h 2402988"/>
                <a:gd name="connsiteX540" fmla="*/ 6305526 w 8295085"/>
                <a:gd name="connsiteY540" fmla="*/ 2379467 h 2402988"/>
                <a:gd name="connsiteX541" fmla="*/ 7398808 w 8295085"/>
                <a:gd name="connsiteY541" fmla="*/ 2399455 h 2402988"/>
                <a:gd name="connsiteX542" fmla="*/ 7413214 w 8295085"/>
                <a:gd name="connsiteY542" fmla="*/ 2386015 h 2402988"/>
                <a:gd name="connsiteX543" fmla="*/ 7393157 w 8295085"/>
                <a:gd name="connsiteY543" fmla="*/ 2373609 h 2402988"/>
                <a:gd name="connsiteX544" fmla="*/ 7398808 w 8295085"/>
                <a:gd name="connsiteY544" fmla="*/ 2399455 h 2402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Lst>
              <a:rect l="l" t="t" r="r" b="b"/>
              <a:pathLst>
                <a:path w="8295085" h="2402988">
                  <a:moveTo>
                    <a:pt x="4133022" y="9218"/>
                  </a:moveTo>
                  <a:cubicBezTo>
                    <a:pt x="4141982" y="6737"/>
                    <a:pt x="4151218" y="3980"/>
                    <a:pt x="4160385" y="1361"/>
                  </a:cubicBezTo>
                  <a:cubicBezTo>
                    <a:pt x="4151287" y="-155"/>
                    <a:pt x="4142189" y="-1810"/>
                    <a:pt x="4133229" y="-3533"/>
                  </a:cubicBezTo>
                  <a:cubicBezTo>
                    <a:pt x="4133160" y="-293"/>
                    <a:pt x="4133091" y="6048"/>
                    <a:pt x="4133022" y="9218"/>
                  </a:cubicBezTo>
                  <a:close/>
                  <a:moveTo>
                    <a:pt x="3847329" y="60429"/>
                  </a:moveTo>
                  <a:cubicBezTo>
                    <a:pt x="3851465" y="61187"/>
                    <a:pt x="3859736" y="62704"/>
                    <a:pt x="3863871" y="63462"/>
                  </a:cubicBezTo>
                  <a:cubicBezTo>
                    <a:pt x="3849121" y="55673"/>
                    <a:pt x="3858288" y="37477"/>
                    <a:pt x="3857323" y="24313"/>
                  </a:cubicBezTo>
                  <a:lnTo>
                    <a:pt x="3853463" y="23899"/>
                  </a:lnTo>
                  <a:cubicBezTo>
                    <a:pt x="3851465" y="36168"/>
                    <a:pt x="3849466" y="48298"/>
                    <a:pt x="3847329" y="60429"/>
                  </a:cubicBezTo>
                  <a:moveTo>
                    <a:pt x="5266487" y="112950"/>
                  </a:moveTo>
                  <a:cubicBezTo>
                    <a:pt x="5280892" y="111433"/>
                    <a:pt x="5270623" y="84484"/>
                    <a:pt x="5259388" y="88413"/>
                  </a:cubicBezTo>
                  <a:cubicBezTo>
                    <a:pt x="5256011" y="96477"/>
                    <a:pt x="5257389" y="109228"/>
                    <a:pt x="5266487" y="112950"/>
                  </a:cubicBezTo>
                  <a:moveTo>
                    <a:pt x="6832386" y="233499"/>
                  </a:moveTo>
                  <a:cubicBezTo>
                    <a:pt x="6843069" y="241701"/>
                    <a:pt x="6855407" y="244596"/>
                    <a:pt x="6866090" y="234188"/>
                  </a:cubicBezTo>
                  <a:lnTo>
                    <a:pt x="6869881" y="242735"/>
                  </a:lnTo>
                  <a:cubicBezTo>
                    <a:pt x="6878772" y="212684"/>
                    <a:pt x="6845551" y="234050"/>
                    <a:pt x="6832386" y="233499"/>
                  </a:cubicBezTo>
                  <a:moveTo>
                    <a:pt x="8247822" y="302699"/>
                  </a:moveTo>
                  <a:cubicBezTo>
                    <a:pt x="8251888" y="307386"/>
                    <a:pt x="8256093" y="312073"/>
                    <a:pt x="8260366" y="316691"/>
                  </a:cubicBezTo>
                  <a:cubicBezTo>
                    <a:pt x="8264639" y="307248"/>
                    <a:pt x="8269051" y="297737"/>
                    <a:pt x="8273255" y="288156"/>
                  </a:cubicBezTo>
                  <a:lnTo>
                    <a:pt x="8279665" y="290431"/>
                  </a:lnTo>
                  <a:cubicBezTo>
                    <a:pt x="8282560" y="279678"/>
                    <a:pt x="8291520" y="269546"/>
                    <a:pt x="8289039" y="257760"/>
                  </a:cubicBezTo>
                  <a:cubicBezTo>
                    <a:pt x="8283180" y="263068"/>
                    <a:pt x="8279389" y="269684"/>
                    <a:pt x="8277597" y="277680"/>
                  </a:cubicBezTo>
                  <a:cubicBezTo>
                    <a:pt x="8273669" y="275681"/>
                    <a:pt x="8265811" y="271683"/>
                    <a:pt x="8261882" y="269684"/>
                  </a:cubicBezTo>
                  <a:cubicBezTo>
                    <a:pt x="8261469" y="280230"/>
                    <a:pt x="8261193" y="290706"/>
                    <a:pt x="8261055" y="301183"/>
                  </a:cubicBezTo>
                  <a:cubicBezTo>
                    <a:pt x="8257747" y="301528"/>
                    <a:pt x="8251130" y="302355"/>
                    <a:pt x="8247822" y="302699"/>
                  </a:cubicBezTo>
                  <a:moveTo>
                    <a:pt x="5697335" y="309178"/>
                  </a:moveTo>
                  <a:cubicBezTo>
                    <a:pt x="5708846" y="309178"/>
                    <a:pt x="5720425" y="308902"/>
                    <a:pt x="5732004" y="308282"/>
                  </a:cubicBezTo>
                  <a:cubicBezTo>
                    <a:pt x="5719804" y="304422"/>
                    <a:pt x="5702228" y="289948"/>
                    <a:pt x="5697335" y="309178"/>
                  </a:cubicBezTo>
                  <a:moveTo>
                    <a:pt x="6651734" y="369074"/>
                  </a:moveTo>
                  <a:cubicBezTo>
                    <a:pt x="6662004" y="363077"/>
                    <a:pt x="6672550" y="357288"/>
                    <a:pt x="6683164" y="351636"/>
                  </a:cubicBezTo>
                  <a:cubicBezTo>
                    <a:pt x="6676823" y="348190"/>
                    <a:pt x="6670619" y="344674"/>
                    <a:pt x="6664554" y="341090"/>
                  </a:cubicBezTo>
                  <a:lnTo>
                    <a:pt x="6658834" y="348741"/>
                  </a:lnTo>
                  <a:cubicBezTo>
                    <a:pt x="6652906" y="338678"/>
                    <a:pt x="6647737" y="328201"/>
                    <a:pt x="6644015" y="317036"/>
                  </a:cubicBezTo>
                  <a:cubicBezTo>
                    <a:pt x="6642360" y="326134"/>
                    <a:pt x="6640431" y="335163"/>
                    <a:pt x="6638569" y="344123"/>
                  </a:cubicBezTo>
                  <a:cubicBezTo>
                    <a:pt x="6640431" y="345708"/>
                    <a:pt x="6644221" y="348948"/>
                    <a:pt x="6646082" y="350533"/>
                  </a:cubicBezTo>
                  <a:cubicBezTo>
                    <a:pt x="6647530" y="355151"/>
                    <a:pt x="6650287" y="364387"/>
                    <a:pt x="6651734" y="369074"/>
                  </a:cubicBezTo>
                  <a:moveTo>
                    <a:pt x="1257349" y="447648"/>
                  </a:moveTo>
                  <a:cubicBezTo>
                    <a:pt x="1261966" y="445235"/>
                    <a:pt x="1266653" y="442823"/>
                    <a:pt x="1271271" y="440342"/>
                  </a:cubicBezTo>
                  <a:cubicBezTo>
                    <a:pt x="1268239" y="431313"/>
                    <a:pt x="1270513" y="414426"/>
                    <a:pt x="1256039" y="416425"/>
                  </a:cubicBezTo>
                  <a:cubicBezTo>
                    <a:pt x="1256452" y="426833"/>
                    <a:pt x="1256935" y="437240"/>
                    <a:pt x="1257349" y="447648"/>
                  </a:cubicBezTo>
                  <a:moveTo>
                    <a:pt x="1220336" y="531667"/>
                  </a:moveTo>
                  <a:cubicBezTo>
                    <a:pt x="1228607" y="515883"/>
                    <a:pt x="1239015" y="501478"/>
                    <a:pt x="1253902" y="491346"/>
                  </a:cubicBezTo>
                  <a:lnTo>
                    <a:pt x="1253558" y="483213"/>
                  </a:lnTo>
                  <a:cubicBezTo>
                    <a:pt x="1242668" y="491346"/>
                    <a:pt x="1231502" y="499134"/>
                    <a:pt x="1221163" y="507888"/>
                  </a:cubicBezTo>
                  <a:cubicBezTo>
                    <a:pt x="1220474" y="515814"/>
                    <a:pt x="1220198" y="523740"/>
                    <a:pt x="1220336" y="531667"/>
                  </a:cubicBezTo>
                  <a:moveTo>
                    <a:pt x="4056102" y="504717"/>
                  </a:moveTo>
                  <a:cubicBezTo>
                    <a:pt x="4044660" y="513746"/>
                    <a:pt x="4035562" y="526015"/>
                    <a:pt x="4039629" y="541316"/>
                  </a:cubicBezTo>
                  <a:cubicBezTo>
                    <a:pt x="4040801" y="537043"/>
                    <a:pt x="4043075" y="528496"/>
                    <a:pt x="4044178" y="524223"/>
                  </a:cubicBezTo>
                  <a:cubicBezTo>
                    <a:pt x="4057067" y="524637"/>
                    <a:pt x="4057274" y="514918"/>
                    <a:pt x="4056102" y="504717"/>
                  </a:cubicBezTo>
                  <a:moveTo>
                    <a:pt x="983649" y="546417"/>
                  </a:moveTo>
                  <a:cubicBezTo>
                    <a:pt x="988336" y="542143"/>
                    <a:pt x="993023" y="537801"/>
                    <a:pt x="997778" y="533459"/>
                  </a:cubicBezTo>
                  <a:cubicBezTo>
                    <a:pt x="1001638" y="533735"/>
                    <a:pt x="1009427" y="534355"/>
                    <a:pt x="1013286" y="534631"/>
                  </a:cubicBezTo>
                  <a:cubicBezTo>
                    <a:pt x="1015975" y="537181"/>
                    <a:pt x="1021351" y="542212"/>
                    <a:pt x="1024039" y="544694"/>
                  </a:cubicBezTo>
                  <a:cubicBezTo>
                    <a:pt x="1016871" y="530426"/>
                    <a:pt x="1010185" y="515401"/>
                    <a:pt x="1016043" y="499272"/>
                  </a:cubicBezTo>
                  <a:cubicBezTo>
                    <a:pt x="1012597" y="506509"/>
                    <a:pt x="1009151" y="513678"/>
                    <a:pt x="1005705" y="520777"/>
                  </a:cubicBezTo>
                  <a:cubicBezTo>
                    <a:pt x="1002465" y="518778"/>
                    <a:pt x="996124" y="514780"/>
                    <a:pt x="992954" y="512782"/>
                  </a:cubicBezTo>
                  <a:cubicBezTo>
                    <a:pt x="994677" y="525050"/>
                    <a:pt x="988818" y="535871"/>
                    <a:pt x="983649" y="546417"/>
                  </a:cubicBezTo>
                  <a:moveTo>
                    <a:pt x="1891248" y="562269"/>
                  </a:moveTo>
                  <a:cubicBezTo>
                    <a:pt x="1893867" y="562821"/>
                    <a:pt x="1899037" y="564061"/>
                    <a:pt x="1901656" y="564613"/>
                  </a:cubicBezTo>
                  <a:cubicBezTo>
                    <a:pt x="1903999" y="552758"/>
                    <a:pt x="1909858" y="542143"/>
                    <a:pt x="1915785" y="531598"/>
                  </a:cubicBezTo>
                  <a:cubicBezTo>
                    <a:pt x="1907515" y="536698"/>
                    <a:pt x="1899244" y="541661"/>
                    <a:pt x="1890766" y="546210"/>
                  </a:cubicBezTo>
                  <a:cubicBezTo>
                    <a:pt x="1890904" y="551655"/>
                    <a:pt x="1891110" y="556962"/>
                    <a:pt x="1891248" y="562269"/>
                  </a:cubicBezTo>
                  <a:moveTo>
                    <a:pt x="2139584" y="580603"/>
                  </a:moveTo>
                  <a:cubicBezTo>
                    <a:pt x="2135173" y="561511"/>
                    <a:pt x="2133932" y="541385"/>
                    <a:pt x="2148475" y="526015"/>
                  </a:cubicBezTo>
                  <a:cubicBezTo>
                    <a:pt x="2152542" y="529048"/>
                    <a:pt x="2160813" y="535113"/>
                    <a:pt x="2164948" y="538146"/>
                  </a:cubicBezTo>
                  <a:lnTo>
                    <a:pt x="2170255" y="542006"/>
                  </a:lnTo>
                  <a:cubicBezTo>
                    <a:pt x="2168670" y="532011"/>
                    <a:pt x="2166051" y="522224"/>
                    <a:pt x="2162467" y="512713"/>
                  </a:cubicBezTo>
                  <a:cubicBezTo>
                    <a:pt x="2159365" y="515332"/>
                    <a:pt x="2153231" y="520570"/>
                    <a:pt x="2150198" y="523189"/>
                  </a:cubicBezTo>
                  <a:cubicBezTo>
                    <a:pt x="2149647" y="521466"/>
                    <a:pt x="2148544" y="518020"/>
                    <a:pt x="2147993" y="516297"/>
                  </a:cubicBezTo>
                  <a:lnTo>
                    <a:pt x="2145718" y="509266"/>
                  </a:lnTo>
                  <a:cubicBezTo>
                    <a:pt x="2143237" y="502236"/>
                    <a:pt x="2140893" y="495068"/>
                    <a:pt x="2138688" y="487900"/>
                  </a:cubicBezTo>
                  <a:cubicBezTo>
                    <a:pt x="2135655" y="495344"/>
                    <a:pt x="2132898" y="502718"/>
                    <a:pt x="2130141" y="510231"/>
                  </a:cubicBezTo>
                  <a:cubicBezTo>
                    <a:pt x="2128694" y="512782"/>
                    <a:pt x="2125730" y="518020"/>
                    <a:pt x="2124283" y="520639"/>
                  </a:cubicBezTo>
                  <a:cubicBezTo>
                    <a:pt x="2125179" y="523740"/>
                    <a:pt x="2127040" y="529875"/>
                    <a:pt x="2127936" y="532976"/>
                  </a:cubicBezTo>
                  <a:cubicBezTo>
                    <a:pt x="2126281" y="536561"/>
                    <a:pt x="2122973" y="543729"/>
                    <a:pt x="2121319" y="547313"/>
                  </a:cubicBezTo>
                  <a:cubicBezTo>
                    <a:pt x="2127522" y="558341"/>
                    <a:pt x="2133656" y="569438"/>
                    <a:pt x="2139584" y="580603"/>
                  </a:cubicBezTo>
                  <a:moveTo>
                    <a:pt x="3398837" y="591218"/>
                  </a:moveTo>
                  <a:cubicBezTo>
                    <a:pt x="3409313" y="592527"/>
                    <a:pt x="3419859" y="593010"/>
                    <a:pt x="3430473" y="592941"/>
                  </a:cubicBezTo>
                  <a:cubicBezTo>
                    <a:pt x="3429439" y="582258"/>
                    <a:pt x="3428543" y="571436"/>
                    <a:pt x="3427578" y="560615"/>
                  </a:cubicBezTo>
                  <a:cubicBezTo>
                    <a:pt x="3426200" y="563786"/>
                    <a:pt x="3423305" y="570058"/>
                    <a:pt x="3421858" y="573228"/>
                  </a:cubicBezTo>
                  <a:cubicBezTo>
                    <a:pt x="3419101" y="572264"/>
                    <a:pt x="3413518" y="570402"/>
                    <a:pt x="3410692" y="569438"/>
                  </a:cubicBezTo>
                  <a:cubicBezTo>
                    <a:pt x="3410209" y="574193"/>
                    <a:pt x="3409313" y="583705"/>
                    <a:pt x="3408831" y="588461"/>
                  </a:cubicBezTo>
                  <a:cubicBezTo>
                    <a:pt x="3406212" y="585152"/>
                    <a:pt x="3400973" y="578605"/>
                    <a:pt x="3398285" y="575296"/>
                  </a:cubicBezTo>
                  <a:cubicBezTo>
                    <a:pt x="3398492" y="580672"/>
                    <a:pt x="3398630" y="585979"/>
                    <a:pt x="3398837" y="591218"/>
                  </a:cubicBezTo>
                  <a:moveTo>
                    <a:pt x="2710555" y="615341"/>
                  </a:moveTo>
                  <a:cubicBezTo>
                    <a:pt x="2711176" y="606726"/>
                    <a:pt x="2707385" y="596456"/>
                    <a:pt x="2713864" y="589219"/>
                  </a:cubicBezTo>
                  <a:cubicBezTo>
                    <a:pt x="2718964" y="583429"/>
                    <a:pt x="2723375" y="576950"/>
                    <a:pt x="2727787" y="570540"/>
                  </a:cubicBezTo>
                  <a:cubicBezTo>
                    <a:pt x="2724961" y="571574"/>
                    <a:pt x="2719240" y="573573"/>
                    <a:pt x="2716345" y="574607"/>
                  </a:cubicBezTo>
                  <a:cubicBezTo>
                    <a:pt x="2714484" y="570747"/>
                    <a:pt x="2710693" y="563165"/>
                    <a:pt x="2708763" y="559374"/>
                  </a:cubicBezTo>
                  <a:cubicBezTo>
                    <a:pt x="2707867" y="564475"/>
                    <a:pt x="2706006" y="574607"/>
                    <a:pt x="2705110" y="579707"/>
                  </a:cubicBezTo>
                  <a:cubicBezTo>
                    <a:pt x="2699941" y="576606"/>
                    <a:pt x="2696150" y="571988"/>
                    <a:pt x="2693738" y="565854"/>
                  </a:cubicBezTo>
                  <a:cubicBezTo>
                    <a:pt x="2691670" y="572332"/>
                    <a:pt x="2689533" y="578811"/>
                    <a:pt x="2687466" y="585152"/>
                  </a:cubicBezTo>
                  <a:cubicBezTo>
                    <a:pt x="2703456" y="585428"/>
                    <a:pt x="2705317" y="604244"/>
                    <a:pt x="2710555" y="615341"/>
                  </a:cubicBezTo>
                  <a:moveTo>
                    <a:pt x="6302355" y="656627"/>
                  </a:moveTo>
                  <a:cubicBezTo>
                    <a:pt x="6313866" y="672411"/>
                    <a:pt x="6318001" y="646151"/>
                    <a:pt x="6314279" y="637535"/>
                  </a:cubicBezTo>
                  <a:cubicBezTo>
                    <a:pt x="6308352" y="642842"/>
                    <a:pt x="6304423" y="649183"/>
                    <a:pt x="6302355" y="656627"/>
                  </a:cubicBezTo>
                  <a:moveTo>
                    <a:pt x="6079522" y="687299"/>
                  </a:moveTo>
                  <a:cubicBezTo>
                    <a:pt x="6095995" y="690607"/>
                    <a:pt x="6103232" y="703496"/>
                    <a:pt x="6102336" y="719555"/>
                  </a:cubicBezTo>
                  <a:cubicBezTo>
                    <a:pt x="6103094" y="712456"/>
                    <a:pt x="6103852" y="705288"/>
                    <a:pt x="6104611" y="698051"/>
                  </a:cubicBezTo>
                  <a:cubicBezTo>
                    <a:pt x="6103439" y="689022"/>
                    <a:pt x="6110194" y="683025"/>
                    <a:pt x="6116259" y="677442"/>
                  </a:cubicBezTo>
                  <a:cubicBezTo>
                    <a:pt x="6110400" y="672824"/>
                    <a:pt x="6104542" y="668138"/>
                    <a:pt x="6098890" y="663313"/>
                  </a:cubicBezTo>
                  <a:cubicBezTo>
                    <a:pt x="6098063" y="672135"/>
                    <a:pt x="6097236" y="680889"/>
                    <a:pt x="6096409" y="689642"/>
                  </a:cubicBezTo>
                  <a:cubicBezTo>
                    <a:pt x="6094065" y="682819"/>
                    <a:pt x="6089378" y="669240"/>
                    <a:pt x="6087035" y="662417"/>
                  </a:cubicBezTo>
                  <a:cubicBezTo>
                    <a:pt x="6084415" y="670757"/>
                    <a:pt x="6081934" y="679028"/>
                    <a:pt x="6079522" y="687299"/>
                  </a:cubicBezTo>
                  <a:moveTo>
                    <a:pt x="2370757" y="731135"/>
                  </a:moveTo>
                  <a:cubicBezTo>
                    <a:pt x="2380544" y="726379"/>
                    <a:pt x="2390952" y="723691"/>
                    <a:pt x="2401980" y="724311"/>
                  </a:cubicBezTo>
                  <a:cubicBezTo>
                    <a:pt x="2398672" y="718590"/>
                    <a:pt x="2395363" y="712801"/>
                    <a:pt x="2392124" y="707011"/>
                  </a:cubicBezTo>
                  <a:cubicBezTo>
                    <a:pt x="2390125" y="708734"/>
                    <a:pt x="2386058" y="712043"/>
                    <a:pt x="2383991" y="713697"/>
                  </a:cubicBezTo>
                  <a:cubicBezTo>
                    <a:pt x="2382819" y="709906"/>
                    <a:pt x="2380406" y="702324"/>
                    <a:pt x="2379235" y="698533"/>
                  </a:cubicBezTo>
                  <a:cubicBezTo>
                    <a:pt x="2379304" y="705701"/>
                    <a:pt x="2379441" y="712870"/>
                    <a:pt x="2379648" y="720038"/>
                  </a:cubicBezTo>
                  <a:cubicBezTo>
                    <a:pt x="2377443" y="722795"/>
                    <a:pt x="2372963" y="728378"/>
                    <a:pt x="2370757" y="731135"/>
                  </a:cubicBezTo>
                  <a:moveTo>
                    <a:pt x="4560699" y="764425"/>
                  </a:moveTo>
                  <a:cubicBezTo>
                    <a:pt x="4566765" y="758015"/>
                    <a:pt x="4572347" y="751123"/>
                    <a:pt x="4577517" y="743817"/>
                  </a:cubicBezTo>
                  <a:cubicBezTo>
                    <a:pt x="4581307" y="743886"/>
                    <a:pt x="4588889" y="743886"/>
                    <a:pt x="4592611" y="743955"/>
                  </a:cubicBezTo>
                  <a:cubicBezTo>
                    <a:pt x="4590406" y="741887"/>
                    <a:pt x="4585926" y="737889"/>
                    <a:pt x="4583651" y="735891"/>
                  </a:cubicBezTo>
                  <a:lnTo>
                    <a:pt x="4595506" y="731273"/>
                  </a:lnTo>
                  <a:cubicBezTo>
                    <a:pt x="4595437" y="728033"/>
                    <a:pt x="4595299" y="721692"/>
                    <a:pt x="4595230" y="718453"/>
                  </a:cubicBezTo>
                  <a:cubicBezTo>
                    <a:pt x="4590406" y="723208"/>
                    <a:pt x="4585650" y="727826"/>
                    <a:pt x="4580963" y="732513"/>
                  </a:cubicBezTo>
                  <a:cubicBezTo>
                    <a:pt x="4565248" y="736442"/>
                    <a:pt x="4558769" y="748642"/>
                    <a:pt x="4560699" y="764425"/>
                  </a:cubicBezTo>
                  <a:moveTo>
                    <a:pt x="6670482" y="790548"/>
                  </a:moveTo>
                  <a:cubicBezTo>
                    <a:pt x="6682268" y="782828"/>
                    <a:pt x="6678408" y="766976"/>
                    <a:pt x="6681096" y="755120"/>
                  </a:cubicBezTo>
                  <a:cubicBezTo>
                    <a:pt x="6677305" y="754707"/>
                    <a:pt x="6669655" y="753811"/>
                    <a:pt x="6665795" y="753397"/>
                  </a:cubicBezTo>
                  <a:cubicBezTo>
                    <a:pt x="6667794" y="765735"/>
                    <a:pt x="6669034" y="778210"/>
                    <a:pt x="6670482" y="790548"/>
                  </a:cubicBezTo>
                  <a:moveTo>
                    <a:pt x="75430" y="797233"/>
                  </a:moveTo>
                  <a:cubicBezTo>
                    <a:pt x="78877" y="790272"/>
                    <a:pt x="81564" y="783104"/>
                    <a:pt x="83561" y="775522"/>
                  </a:cubicBezTo>
                  <a:cubicBezTo>
                    <a:pt x="88526" y="774557"/>
                    <a:pt x="98451" y="772558"/>
                    <a:pt x="103410" y="771525"/>
                  </a:cubicBezTo>
                  <a:cubicBezTo>
                    <a:pt x="103410" y="775247"/>
                    <a:pt x="103410" y="782621"/>
                    <a:pt x="103410" y="786343"/>
                  </a:cubicBezTo>
                  <a:lnTo>
                    <a:pt x="107271" y="786205"/>
                  </a:lnTo>
                  <a:cubicBezTo>
                    <a:pt x="106582" y="782346"/>
                    <a:pt x="105273" y="774695"/>
                    <a:pt x="104654" y="770904"/>
                  </a:cubicBezTo>
                  <a:cubicBezTo>
                    <a:pt x="96590" y="771318"/>
                    <a:pt x="88594" y="771662"/>
                    <a:pt x="80530" y="771938"/>
                  </a:cubicBezTo>
                  <a:cubicBezTo>
                    <a:pt x="79633" y="767320"/>
                    <a:pt x="77773" y="758015"/>
                    <a:pt x="76806" y="753397"/>
                  </a:cubicBezTo>
                  <a:cubicBezTo>
                    <a:pt x="77289" y="768078"/>
                    <a:pt x="76324" y="782690"/>
                    <a:pt x="75430" y="797233"/>
                  </a:cubicBezTo>
                  <a:moveTo>
                    <a:pt x="2047569" y="818186"/>
                  </a:moveTo>
                  <a:cubicBezTo>
                    <a:pt x="2061975" y="811570"/>
                    <a:pt x="2059356" y="785378"/>
                    <a:pt x="2046467" y="777935"/>
                  </a:cubicBezTo>
                  <a:cubicBezTo>
                    <a:pt x="2040263" y="791237"/>
                    <a:pt x="2040884" y="805229"/>
                    <a:pt x="2047569" y="818186"/>
                  </a:cubicBezTo>
                  <a:moveTo>
                    <a:pt x="7970193" y="828732"/>
                  </a:moveTo>
                  <a:cubicBezTo>
                    <a:pt x="7984737" y="823425"/>
                    <a:pt x="8000796" y="813775"/>
                    <a:pt x="8013616" y="828043"/>
                  </a:cubicBezTo>
                  <a:cubicBezTo>
                    <a:pt x="8007826" y="815085"/>
                    <a:pt x="8003966" y="801300"/>
                    <a:pt x="8004242" y="786964"/>
                  </a:cubicBezTo>
                  <a:cubicBezTo>
                    <a:pt x="8002519" y="796682"/>
                    <a:pt x="7999762" y="806194"/>
                    <a:pt x="7996384" y="815292"/>
                  </a:cubicBezTo>
                  <a:cubicBezTo>
                    <a:pt x="7992870" y="809778"/>
                    <a:pt x="7985771" y="798819"/>
                    <a:pt x="7982255" y="793374"/>
                  </a:cubicBezTo>
                  <a:cubicBezTo>
                    <a:pt x="7979223" y="801714"/>
                    <a:pt x="7984254" y="808813"/>
                    <a:pt x="7988321" y="815636"/>
                  </a:cubicBezTo>
                  <a:cubicBezTo>
                    <a:pt x="7982118" y="819979"/>
                    <a:pt x="7976121" y="824390"/>
                    <a:pt x="7970193" y="828732"/>
                  </a:cubicBezTo>
                  <a:moveTo>
                    <a:pt x="5721183" y="882149"/>
                  </a:moveTo>
                  <a:cubicBezTo>
                    <a:pt x="5734072" y="880081"/>
                    <a:pt x="5740413" y="850995"/>
                    <a:pt x="5727938" y="845825"/>
                  </a:cubicBezTo>
                  <a:cubicBezTo>
                    <a:pt x="5722631" y="856440"/>
                    <a:pt x="5719804" y="870500"/>
                    <a:pt x="5721183" y="882149"/>
                  </a:cubicBezTo>
                  <a:moveTo>
                    <a:pt x="5670248" y="880425"/>
                  </a:moveTo>
                  <a:cubicBezTo>
                    <a:pt x="5678725" y="880632"/>
                    <a:pt x="5687203" y="880908"/>
                    <a:pt x="5695819" y="881184"/>
                  </a:cubicBezTo>
                  <a:cubicBezTo>
                    <a:pt x="5693338" y="873602"/>
                    <a:pt x="5690925" y="865951"/>
                    <a:pt x="5688719" y="858301"/>
                  </a:cubicBezTo>
                  <a:cubicBezTo>
                    <a:pt x="5685825" y="868295"/>
                    <a:pt x="5678174" y="874636"/>
                    <a:pt x="5670248" y="880425"/>
                  </a:cubicBezTo>
                  <a:moveTo>
                    <a:pt x="7731990" y="891385"/>
                  </a:moveTo>
                  <a:cubicBezTo>
                    <a:pt x="7747567" y="888696"/>
                    <a:pt x="7752254" y="874222"/>
                    <a:pt x="7753357" y="860093"/>
                  </a:cubicBezTo>
                  <a:cubicBezTo>
                    <a:pt x="7743018" y="868226"/>
                    <a:pt x="7736815" y="879598"/>
                    <a:pt x="7731990" y="891385"/>
                  </a:cubicBezTo>
                  <a:moveTo>
                    <a:pt x="1424422" y="999734"/>
                  </a:moveTo>
                  <a:cubicBezTo>
                    <a:pt x="1426627" y="1002629"/>
                    <a:pt x="1430970" y="1008418"/>
                    <a:pt x="1433175" y="1011382"/>
                  </a:cubicBezTo>
                  <a:cubicBezTo>
                    <a:pt x="1433037" y="1007385"/>
                    <a:pt x="1432693" y="999458"/>
                    <a:pt x="1432555" y="995461"/>
                  </a:cubicBezTo>
                  <a:cubicBezTo>
                    <a:pt x="1445168" y="996495"/>
                    <a:pt x="1457850" y="997390"/>
                    <a:pt x="1470532" y="998218"/>
                  </a:cubicBezTo>
                  <a:cubicBezTo>
                    <a:pt x="1466121" y="996012"/>
                    <a:pt x="1457230" y="991463"/>
                    <a:pt x="1452819" y="989257"/>
                  </a:cubicBezTo>
                  <a:cubicBezTo>
                    <a:pt x="1466052" y="975955"/>
                    <a:pt x="1480871" y="952452"/>
                    <a:pt x="1460332" y="938460"/>
                  </a:cubicBezTo>
                  <a:cubicBezTo>
                    <a:pt x="1460952" y="935014"/>
                    <a:pt x="1462192" y="928190"/>
                    <a:pt x="1462813" y="924813"/>
                  </a:cubicBezTo>
                  <a:cubicBezTo>
                    <a:pt x="1459849" y="920540"/>
                    <a:pt x="1456954" y="916197"/>
                    <a:pt x="1453991" y="911855"/>
                  </a:cubicBezTo>
                  <a:cubicBezTo>
                    <a:pt x="1454749" y="926605"/>
                    <a:pt x="1455783" y="941217"/>
                    <a:pt x="1457023" y="955898"/>
                  </a:cubicBezTo>
                  <a:cubicBezTo>
                    <a:pt x="1440688" y="961412"/>
                    <a:pt x="1447167" y="979194"/>
                    <a:pt x="1446202" y="992152"/>
                  </a:cubicBezTo>
                  <a:cubicBezTo>
                    <a:pt x="1431521" y="986983"/>
                    <a:pt x="1408914" y="975886"/>
                    <a:pt x="1407742" y="1001388"/>
                  </a:cubicBezTo>
                  <a:cubicBezTo>
                    <a:pt x="1411878" y="1000975"/>
                    <a:pt x="1420217" y="1000147"/>
                    <a:pt x="1424422" y="999734"/>
                  </a:cubicBezTo>
                  <a:moveTo>
                    <a:pt x="5506758" y="1030061"/>
                  </a:moveTo>
                  <a:cubicBezTo>
                    <a:pt x="5513651" y="1037849"/>
                    <a:pt x="5529228" y="1027304"/>
                    <a:pt x="5523714" y="1018137"/>
                  </a:cubicBezTo>
                  <a:cubicBezTo>
                    <a:pt x="5516615" y="1011244"/>
                    <a:pt x="5501313" y="1020825"/>
                    <a:pt x="5506758" y="1030061"/>
                  </a:cubicBezTo>
                  <a:moveTo>
                    <a:pt x="43656" y="1015518"/>
                  </a:moveTo>
                  <a:cubicBezTo>
                    <a:pt x="49032" y="1021652"/>
                    <a:pt x="54406" y="1027786"/>
                    <a:pt x="59780" y="1033852"/>
                  </a:cubicBezTo>
                  <a:cubicBezTo>
                    <a:pt x="61713" y="1014070"/>
                    <a:pt x="64470" y="994289"/>
                    <a:pt x="68468" y="974714"/>
                  </a:cubicBezTo>
                  <a:cubicBezTo>
                    <a:pt x="51585" y="979884"/>
                    <a:pt x="35177" y="974921"/>
                    <a:pt x="25943" y="958999"/>
                  </a:cubicBezTo>
                  <a:cubicBezTo>
                    <a:pt x="34832" y="961274"/>
                    <a:pt x="43656" y="963480"/>
                    <a:pt x="52479" y="965754"/>
                  </a:cubicBezTo>
                  <a:cubicBezTo>
                    <a:pt x="52271" y="961619"/>
                    <a:pt x="51789" y="953279"/>
                    <a:pt x="51585" y="949074"/>
                  </a:cubicBezTo>
                  <a:cubicBezTo>
                    <a:pt x="38416" y="952727"/>
                    <a:pt x="25253" y="956242"/>
                    <a:pt x="12017" y="959827"/>
                  </a:cubicBezTo>
                  <a:cubicBezTo>
                    <a:pt x="11880" y="949143"/>
                    <a:pt x="11743" y="938529"/>
                    <a:pt x="11538" y="927777"/>
                  </a:cubicBezTo>
                  <a:lnTo>
                    <a:pt x="4508" y="932119"/>
                  </a:lnTo>
                  <a:cubicBezTo>
                    <a:pt x="-20240" y="946524"/>
                    <a:pt x="9401" y="969131"/>
                    <a:pt x="-252" y="989326"/>
                  </a:cubicBezTo>
                  <a:lnTo>
                    <a:pt x="-2457" y="998631"/>
                  </a:lnTo>
                  <a:cubicBezTo>
                    <a:pt x="5747" y="994427"/>
                    <a:pt x="14085" y="990291"/>
                    <a:pt x="22356" y="986225"/>
                  </a:cubicBezTo>
                  <a:cubicBezTo>
                    <a:pt x="21392" y="982089"/>
                    <a:pt x="19462" y="973749"/>
                    <a:pt x="18498" y="969614"/>
                  </a:cubicBezTo>
                  <a:cubicBezTo>
                    <a:pt x="27870" y="973198"/>
                    <a:pt x="37175" y="976713"/>
                    <a:pt x="46547" y="980228"/>
                  </a:cubicBezTo>
                  <a:cubicBezTo>
                    <a:pt x="45653" y="992014"/>
                    <a:pt x="44687" y="1003800"/>
                    <a:pt x="43656" y="1015518"/>
                  </a:cubicBezTo>
                  <a:moveTo>
                    <a:pt x="7710072" y="1020825"/>
                  </a:moveTo>
                  <a:cubicBezTo>
                    <a:pt x="7711244" y="1024547"/>
                    <a:pt x="7713656" y="1031922"/>
                    <a:pt x="7714897" y="1035575"/>
                  </a:cubicBezTo>
                  <a:cubicBezTo>
                    <a:pt x="7714552" y="1031095"/>
                    <a:pt x="7713863" y="1022135"/>
                    <a:pt x="7713449" y="1017654"/>
                  </a:cubicBezTo>
                  <a:cubicBezTo>
                    <a:pt x="7719859" y="1015724"/>
                    <a:pt x="7732611" y="1011796"/>
                    <a:pt x="7738951" y="1009866"/>
                  </a:cubicBezTo>
                  <a:cubicBezTo>
                    <a:pt x="7731507" y="1005868"/>
                    <a:pt x="7724202" y="1001871"/>
                    <a:pt x="7716964" y="997804"/>
                  </a:cubicBezTo>
                  <a:cubicBezTo>
                    <a:pt x="7724684" y="993531"/>
                    <a:pt x="7732541" y="989189"/>
                    <a:pt x="7740399" y="984708"/>
                  </a:cubicBezTo>
                  <a:cubicBezTo>
                    <a:pt x="7742397" y="977333"/>
                    <a:pt x="7744603" y="970027"/>
                    <a:pt x="7747015" y="962584"/>
                  </a:cubicBezTo>
                  <a:cubicBezTo>
                    <a:pt x="7760042" y="957414"/>
                    <a:pt x="7760387" y="944250"/>
                    <a:pt x="7761765" y="932188"/>
                  </a:cubicBezTo>
                  <a:cubicBezTo>
                    <a:pt x="7753839" y="938322"/>
                    <a:pt x="7745637" y="944043"/>
                    <a:pt x="7737711" y="949970"/>
                  </a:cubicBezTo>
                  <a:cubicBezTo>
                    <a:pt x="7737091" y="950453"/>
                    <a:pt x="7735849" y="951487"/>
                    <a:pt x="7735230" y="951969"/>
                  </a:cubicBezTo>
                  <a:cubicBezTo>
                    <a:pt x="7729922" y="950935"/>
                    <a:pt x="7724753" y="950522"/>
                    <a:pt x="7719583" y="950729"/>
                  </a:cubicBezTo>
                  <a:cubicBezTo>
                    <a:pt x="7719308" y="955484"/>
                    <a:pt x="7718756" y="964927"/>
                    <a:pt x="7718550" y="969683"/>
                  </a:cubicBezTo>
                  <a:cubicBezTo>
                    <a:pt x="7726476" y="966443"/>
                    <a:pt x="7734540" y="963135"/>
                    <a:pt x="7742742" y="959827"/>
                  </a:cubicBezTo>
                  <a:cubicBezTo>
                    <a:pt x="7728337" y="974921"/>
                    <a:pt x="7715172" y="991049"/>
                    <a:pt x="7705454" y="1009521"/>
                  </a:cubicBezTo>
                  <a:cubicBezTo>
                    <a:pt x="7701525" y="1010762"/>
                    <a:pt x="7693668" y="1013105"/>
                    <a:pt x="7689739" y="1014277"/>
                  </a:cubicBezTo>
                  <a:cubicBezTo>
                    <a:pt x="7691462" y="1009108"/>
                    <a:pt x="7694771" y="998838"/>
                    <a:pt x="7696425" y="993669"/>
                  </a:cubicBezTo>
                  <a:cubicBezTo>
                    <a:pt x="7693461" y="990774"/>
                    <a:pt x="7687534" y="984846"/>
                    <a:pt x="7684570" y="981882"/>
                  </a:cubicBezTo>
                  <a:cubicBezTo>
                    <a:pt x="7685810" y="977333"/>
                    <a:pt x="7688429" y="968097"/>
                    <a:pt x="7689739" y="963480"/>
                  </a:cubicBezTo>
                  <a:cubicBezTo>
                    <a:pt x="7678987" y="967891"/>
                    <a:pt x="7666925" y="979057"/>
                    <a:pt x="7656862" y="965892"/>
                  </a:cubicBezTo>
                  <a:cubicBezTo>
                    <a:pt x="7654588" y="968718"/>
                    <a:pt x="7650038" y="974370"/>
                    <a:pt x="7647764" y="977265"/>
                  </a:cubicBezTo>
                  <a:cubicBezTo>
                    <a:pt x="7644249" y="982916"/>
                    <a:pt x="7641423" y="988913"/>
                    <a:pt x="7639493" y="995185"/>
                  </a:cubicBezTo>
                  <a:cubicBezTo>
                    <a:pt x="7623710" y="995530"/>
                    <a:pt x="7607994" y="995530"/>
                    <a:pt x="7592418" y="995667"/>
                  </a:cubicBezTo>
                  <a:cubicBezTo>
                    <a:pt x="7609580" y="997528"/>
                    <a:pt x="7626811" y="999183"/>
                    <a:pt x="7644180" y="1000423"/>
                  </a:cubicBezTo>
                  <a:cubicBezTo>
                    <a:pt x="7646661" y="996563"/>
                    <a:pt x="7651555" y="988844"/>
                    <a:pt x="7654036" y="984915"/>
                  </a:cubicBezTo>
                  <a:cubicBezTo>
                    <a:pt x="7654518" y="989533"/>
                    <a:pt x="7655552" y="998631"/>
                    <a:pt x="7656035" y="1003180"/>
                  </a:cubicBezTo>
                  <a:cubicBezTo>
                    <a:pt x="7663479" y="994633"/>
                    <a:pt x="7671060" y="986294"/>
                    <a:pt x="7679331" y="978230"/>
                  </a:cubicBezTo>
                  <a:cubicBezTo>
                    <a:pt x="7681399" y="995185"/>
                    <a:pt x="7682433" y="1012140"/>
                    <a:pt x="7683191" y="1029096"/>
                  </a:cubicBezTo>
                  <a:cubicBezTo>
                    <a:pt x="7692014" y="1026339"/>
                    <a:pt x="7700974" y="1023582"/>
                    <a:pt x="7710072" y="1020825"/>
                  </a:cubicBezTo>
                  <a:moveTo>
                    <a:pt x="183228" y="1037298"/>
                  </a:moveTo>
                  <a:cubicBezTo>
                    <a:pt x="188672" y="1033162"/>
                    <a:pt x="194256" y="1029027"/>
                    <a:pt x="199837" y="1024960"/>
                  </a:cubicBezTo>
                  <a:lnTo>
                    <a:pt x="187086" y="1024547"/>
                  </a:lnTo>
                  <a:cubicBezTo>
                    <a:pt x="190605" y="1013450"/>
                    <a:pt x="194808" y="1002560"/>
                    <a:pt x="199352" y="991739"/>
                  </a:cubicBezTo>
                  <a:cubicBezTo>
                    <a:pt x="202112" y="994289"/>
                    <a:pt x="207626" y="999458"/>
                    <a:pt x="210316" y="1002009"/>
                  </a:cubicBezTo>
                  <a:cubicBezTo>
                    <a:pt x="211072" y="986845"/>
                    <a:pt x="203765" y="973543"/>
                    <a:pt x="196735" y="960654"/>
                  </a:cubicBezTo>
                  <a:cubicBezTo>
                    <a:pt x="202112" y="960240"/>
                    <a:pt x="212728" y="959482"/>
                    <a:pt x="218035" y="959068"/>
                  </a:cubicBezTo>
                  <a:cubicBezTo>
                    <a:pt x="218035" y="956449"/>
                    <a:pt x="218035" y="951142"/>
                    <a:pt x="218035" y="948454"/>
                  </a:cubicBezTo>
                  <a:lnTo>
                    <a:pt x="215412" y="948661"/>
                  </a:lnTo>
                  <a:cubicBezTo>
                    <a:pt x="205006" y="949419"/>
                    <a:pt x="194667" y="949626"/>
                    <a:pt x="184259" y="949970"/>
                  </a:cubicBezTo>
                  <a:lnTo>
                    <a:pt x="184396" y="957414"/>
                  </a:lnTo>
                  <a:cubicBezTo>
                    <a:pt x="186744" y="969959"/>
                    <a:pt x="194325" y="980711"/>
                    <a:pt x="197150" y="992979"/>
                  </a:cubicBezTo>
                  <a:cubicBezTo>
                    <a:pt x="195219" y="1005248"/>
                    <a:pt x="177851" y="1003387"/>
                    <a:pt x="169235" y="1008281"/>
                  </a:cubicBezTo>
                  <a:cubicBezTo>
                    <a:pt x="169650" y="1011175"/>
                    <a:pt x="170480" y="1016896"/>
                    <a:pt x="170888" y="1019791"/>
                  </a:cubicBezTo>
                  <a:cubicBezTo>
                    <a:pt x="174957" y="1025650"/>
                    <a:pt x="179090" y="1031508"/>
                    <a:pt x="183228" y="1037298"/>
                  </a:cubicBezTo>
                  <a:moveTo>
                    <a:pt x="7263992" y="1081203"/>
                  </a:moveTo>
                  <a:cubicBezTo>
                    <a:pt x="7258271" y="1088991"/>
                    <a:pt x="7256823" y="1107050"/>
                    <a:pt x="7268334" y="1110013"/>
                  </a:cubicBezTo>
                  <a:cubicBezTo>
                    <a:pt x="7281981" y="1106567"/>
                    <a:pt x="7274262" y="1082926"/>
                    <a:pt x="7263992" y="1081203"/>
                  </a:cubicBezTo>
                  <a:moveTo>
                    <a:pt x="6660281" y="1126762"/>
                  </a:moveTo>
                  <a:cubicBezTo>
                    <a:pt x="6667449" y="1119732"/>
                    <a:pt x="6673790" y="1112012"/>
                    <a:pt x="6679373" y="1103466"/>
                  </a:cubicBezTo>
                  <a:cubicBezTo>
                    <a:pt x="6682613" y="1101191"/>
                    <a:pt x="6685990" y="1098848"/>
                    <a:pt x="6689436" y="1096573"/>
                  </a:cubicBezTo>
                  <a:cubicBezTo>
                    <a:pt x="6685370" y="1093196"/>
                    <a:pt x="6677237" y="1086441"/>
                    <a:pt x="6673170" y="1083064"/>
                  </a:cubicBezTo>
                  <a:cubicBezTo>
                    <a:pt x="6670137" y="1085063"/>
                    <a:pt x="6664072" y="1089060"/>
                    <a:pt x="6661039" y="1091059"/>
                  </a:cubicBezTo>
                  <a:cubicBezTo>
                    <a:pt x="6660625" y="1102983"/>
                    <a:pt x="6660350" y="1114907"/>
                    <a:pt x="6660281" y="1126762"/>
                  </a:cubicBezTo>
                  <a:moveTo>
                    <a:pt x="3912807" y="1098365"/>
                  </a:moveTo>
                  <a:cubicBezTo>
                    <a:pt x="3917977" y="1110151"/>
                    <a:pt x="3923904" y="1121593"/>
                    <a:pt x="3930590" y="1132552"/>
                  </a:cubicBezTo>
                  <a:cubicBezTo>
                    <a:pt x="3930177" y="1128209"/>
                    <a:pt x="3929487" y="1119456"/>
                    <a:pt x="3929143" y="1115045"/>
                  </a:cubicBezTo>
                  <a:cubicBezTo>
                    <a:pt x="3923629" y="1109531"/>
                    <a:pt x="3918252" y="1103948"/>
                    <a:pt x="3912807" y="1098365"/>
                  </a:cubicBezTo>
                  <a:moveTo>
                    <a:pt x="5892185" y="1096091"/>
                  </a:moveTo>
                  <a:cubicBezTo>
                    <a:pt x="5895907" y="1092369"/>
                    <a:pt x="5895907" y="1092369"/>
                    <a:pt x="5892185" y="1096091"/>
                  </a:cubicBezTo>
                  <a:moveTo>
                    <a:pt x="5884397" y="1136687"/>
                  </a:moveTo>
                  <a:cubicBezTo>
                    <a:pt x="5888877" y="1136825"/>
                    <a:pt x="5897768" y="1137170"/>
                    <a:pt x="5902248" y="1137307"/>
                  </a:cubicBezTo>
                  <a:cubicBezTo>
                    <a:pt x="5886051" y="1129243"/>
                    <a:pt x="5899560" y="1122695"/>
                    <a:pt x="5910933" y="1122006"/>
                  </a:cubicBezTo>
                  <a:cubicBezTo>
                    <a:pt x="5906315" y="1096780"/>
                    <a:pt x="5908382" y="1071278"/>
                    <a:pt x="5910795" y="1045913"/>
                  </a:cubicBezTo>
                  <a:cubicBezTo>
                    <a:pt x="5901214" y="1057975"/>
                    <a:pt x="5893288" y="1071071"/>
                    <a:pt x="5885982" y="1084511"/>
                  </a:cubicBezTo>
                  <a:cubicBezTo>
                    <a:pt x="5887222" y="1092575"/>
                    <a:pt x="5888601" y="1100502"/>
                    <a:pt x="5889841" y="1108497"/>
                  </a:cubicBezTo>
                  <a:cubicBezTo>
                    <a:pt x="5883087" y="1116699"/>
                    <a:pt x="5883983" y="1126969"/>
                    <a:pt x="5884397" y="1136687"/>
                  </a:cubicBezTo>
                  <a:moveTo>
                    <a:pt x="51512" y="1152126"/>
                  </a:moveTo>
                  <a:cubicBezTo>
                    <a:pt x="39654" y="1161500"/>
                    <a:pt x="44414" y="1168324"/>
                    <a:pt x="55440" y="1173148"/>
                  </a:cubicBezTo>
                  <a:cubicBezTo>
                    <a:pt x="55162" y="1169357"/>
                    <a:pt x="54753" y="1161776"/>
                    <a:pt x="54479" y="1157985"/>
                  </a:cubicBezTo>
                  <a:cubicBezTo>
                    <a:pt x="59301" y="1156400"/>
                    <a:pt x="68816" y="1153091"/>
                    <a:pt x="73638" y="1151506"/>
                  </a:cubicBezTo>
                  <a:cubicBezTo>
                    <a:pt x="65849" y="1142890"/>
                    <a:pt x="56754" y="1135929"/>
                    <a:pt x="44272" y="1137928"/>
                  </a:cubicBezTo>
                  <a:cubicBezTo>
                    <a:pt x="44549" y="1129450"/>
                    <a:pt x="44756" y="1120904"/>
                    <a:pt x="44824" y="1112357"/>
                  </a:cubicBezTo>
                  <a:cubicBezTo>
                    <a:pt x="38760" y="1116630"/>
                    <a:pt x="26424" y="1116010"/>
                    <a:pt x="25738" y="1125246"/>
                  </a:cubicBezTo>
                  <a:cubicBezTo>
                    <a:pt x="34418" y="1134068"/>
                    <a:pt x="43656" y="1142477"/>
                    <a:pt x="51512" y="1152126"/>
                  </a:cubicBezTo>
                  <a:moveTo>
                    <a:pt x="5513100" y="1178869"/>
                  </a:moveTo>
                  <a:cubicBezTo>
                    <a:pt x="5523576" y="1175423"/>
                    <a:pt x="5521577" y="1155848"/>
                    <a:pt x="5523232" y="1145923"/>
                  </a:cubicBezTo>
                  <a:cubicBezTo>
                    <a:pt x="5511170" y="1146681"/>
                    <a:pt x="5506276" y="1169564"/>
                    <a:pt x="5513100" y="1178869"/>
                  </a:cubicBezTo>
                  <a:moveTo>
                    <a:pt x="8250924" y="1165842"/>
                  </a:moveTo>
                  <a:cubicBezTo>
                    <a:pt x="8254301" y="1161983"/>
                    <a:pt x="8254301" y="1161983"/>
                    <a:pt x="8250924" y="1165842"/>
                  </a:cubicBezTo>
                  <a:moveTo>
                    <a:pt x="8271463" y="1216571"/>
                  </a:moveTo>
                  <a:cubicBezTo>
                    <a:pt x="8275667" y="1204371"/>
                    <a:pt x="8273393" y="1191689"/>
                    <a:pt x="8269671" y="1179627"/>
                  </a:cubicBezTo>
                  <a:cubicBezTo>
                    <a:pt x="8267121" y="1172597"/>
                    <a:pt x="8268292" y="1166049"/>
                    <a:pt x="8273048" y="1159915"/>
                  </a:cubicBezTo>
                  <a:cubicBezTo>
                    <a:pt x="8278011" y="1143855"/>
                    <a:pt x="8279458" y="1126969"/>
                    <a:pt x="8279941" y="1110289"/>
                  </a:cubicBezTo>
                  <a:lnTo>
                    <a:pt x="8276426" y="1117388"/>
                  </a:lnTo>
                  <a:cubicBezTo>
                    <a:pt x="8274495" y="1121317"/>
                    <a:pt x="8270636" y="1129106"/>
                    <a:pt x="8268775" y="1132965"/>
                  </a:cubicBezTo>
                  <a:cubicBezTo>
                    <a:pt x="8256506" y="1124763"/>
                    <a:pt x="8255679" y="1110220"/>
                    <a:pt x="8253267" y="1097193"/>
                  </a:cubicBezTo>
                  <a:cubicBezTo>
                    <a:pt x="8257058" y="1090577"/>
                    <a:pt x="8260986" y="1083891"/>
                    <a:pt x="8265053" y="1077205"/>
                  </a:cubicBezTo>
                  <a:cubicBezTo>
                    <a:pt x="8264984" y="1064247"/>
                    <a:pt x="8259470" y="1052255"/>
                    <a:pt x="8253681" y="1040882"/>
                  </a:cubicBezTo>
                  <a:lnTo>
                    <a:pt x="8245410" y="1039641"/>
                  </a:lnTo>
                  <a:cubicBezTo>
                    <a:pt x="8249131" y="1050187"/>
                    <a:pt x="8253473" y="1060595"/>
                    <a:pt x="8258091" y="1070864"/>
                  </a:cubicBezTo>
                  <a:cubicBezTo>
                    <a:pt x="8249476" y="1083202"/>
                    <a:pt x="8240516" y="1095195"/>
                    <a:pt x="8230798" y="1106567"/>
                  </a:cubicBezTo>
                  <a:cubicBezTo>
                    <a:pt x="8230728" y="1112770"/>
                    <a:pt x="8230798" y="1118974"/>
                    <a:pt x="8231004" y="1125039"/>
                  </a:cubicBezTo>
                  <a:cubicBezTo>
                    <a:pt x="8235484" y="1123867"/>
                    <a:pt x="8240102" y="1122558"/>
                    <a:pt x="8244858" y="1121248"/>
                  </a:cubicBezTo>
                  <a:cubicBezTo>
                    <a:pt x="8251268" y="1127796"/>
                    <a:pt x="8258574" y="1133103"/>
                    <a:pt x="8268017" y="1134550"/>
                  </a:cubicBezTo>
                  <a:cubicBezTo>
                    <a:pt x="8266707" y="1137790"/>
                    <a:pt x="8264157" y="1144338"/>
                    <a:pt x="8262847" y="1147577"/>
                  </a:cubicBezTo>
                  <a:cubicBezTo>
                    <a:pt x="8263605" y="1147991"/>
                    <a:pt x="8265053" y="1148749"/>
                    <a:pt x="8265742" y="1149163"/>
                  </a:cubicBezTo>
                  <a:lnTo>
                    <a:pt x="8263537" y="1149714"/>
                  </a:lnTo>
                  <a:cubicBezTo>
                    <a:pt x="8258505" y="1151092"/>
                    <a:pt x="8248511" y="1153781"/>
                    <a:pt x="8243549" y="1155090"/>
                  </a:cubicBezTo>
                  <a:cubicBezTo>
                    <a:pt x="8242170" y="1158123"/>
                    <a:pt x="8239482" y="1164119"/>
                    <a:pt x="8238173" y="1167152"/>
                  </a:cubicBezTo>
                  <a:cubicBezTo>
                    <a:pt x="8228454" y="1164119"/>
                    <a:pt x="8230315" y="1149025"/>
                    <a:pt x="8240722" y="1148887"/>
                  </a:cubicBezTo>
                  <a:lnTo>
                    <a:pt x="8241412" y="1139996"/>
                  </a:lnTo>
                  <a:lnTo>
                    <a:pt x="8231625" y="1132965"/>
                  </a:lnTo>
                  <a:cubicBezTo>
                    <a:pt x="8226662" y="1151299"/>
                    <a:pt x="8226869" y="1170253"/>
                    <a:pt x="8229970" y="1188794"/>
                  </a:cubicBezTo>
                  <a:cubicBezTo>
                    <a:pt x="8235208" y="1184107"/>
                    <a:pt x="8240516" y="1179351"/>
                    <a:pt x="8245961" y="1174527"/>
                  </a:cubicBezTo>
                  <a:cubicBezTo>
                    <a:pt x="8260504" y="1172873"/>
                    <a:pt x="8265811" y="1181488"/>
                    <a:pt x="8255266" y="1193274"/>
                  </a:cubicBezTo>
                  <a:cubicBezTo>
                    <a:pt x="8259608" y="1196514"/>
                    <a:pt x="8263881" y="1199822"/>
                    <a:pt x="8268223" y="1203268"/>
                  </a:cubicBezTo>
                  <a:cubicBezTo>
                    <a:pt x="8269051" y="1206577"/>
                    <a:pt x="8270636" y="1213263"/>
                    <a:pt x="8271463" y="1216571"/>
                  </a:cubicBezTo>
                  <a:moveTo>
                    <a:pt x="5892668" y="1215054"/>
                  </a:moveTo>
                  <a:cubicBezTo>
                    <a:pt x="5902386" y="1211746"/>
                    <a:pt x="5912242" y="1208644"/>
                    <a:pt x="5922236" y="1205750"/>
                  </a:cubicBezTo>
                  <a:cubicBezTo>
                    <a:pt x="5915206" y="1197686"/>
                    <a:pt x="5911346" y="1187691"/>
                    <a:pt x="5907693" y="1177766"/>
                  </a:cubicBezTo>
                  <a:cubicBezTo>
                    <a:pt x="5904798" y="1191000"/>
                    <a:pt x="5899697" y="1203544"/>
                    <a:pt x="5892668" y="1215054"/>
                  </a:cubicBezTo>
                  <a:moveTo>
                    <a:pt x="3888753" y="1221120"/>
                  </a:moveTo>
                  <a:cubicBezTo>
                    <a:pt x="3895576" y="1226909"/>
                    <a:pt x="3910464" y="1224842"/>
                    <a:pt x="3912049" y="1214779"/>
                  </a:cubicBezTo>
                  <a:cubicBezTo>
                    <a:pt x="3910395" y="1199202"/>
                    <a:pt x="3881378" y="1207473"/>
                    <a:pt x="3888753" y="1221120"/>
                  </a:cubicBezTo>
                  <a:moveTo>
                    <a:pt x="1896487" y="1232699"/>
                  </a:moveTo>
                  <a:cubicBezTo>
                    <a:pt x="1902345" y="1231665"/>
                    <a:pt x="1908204" y="1230632"/>
                    <a:pt x="1914062" y="1229529"/>
                  </a:cubicBezTo>
                  <a:cubicBezTo>
                    <a:pt x="1915441" y="1220913"/>
                    <a:pt x="1916888" y="1212229"/>
                    <a:pt x="1918405" y="1203544"/>
                  </a:cubicBezTo>
                  <a:cubicBezTo>
                    <a:pt x="1910616" y="1205543"/>
                    <a:pt x="1902828" y="1207473"/>
                    <a:pt x="1895108" y="1209334"/>
                  </a:cubicBezTo>
                  <a:cubicBezTo>
                    <a:pt x="1895591" y="1217191"/>
                    <a:pt x="1896073" y="1224980"/>
                    <a:pt x="1896487" y="1232699"/>
                  </a:cubicBezTo>
                  <a:moveTo>
                    <a:pt x="1193386" y="1256823"/>
                  </a:moveTo>
                  <a:cubicBezTo>
                    <a:pt x="1196006" y="1245726"/>
                    <a:pt x="1197867" y="1234491"/>
                    <a:pt x="1199314" y="1223188"/>
                  </a:cubicBezTo>
                  <a:cubicBezTo>
                    <a:pt x="1202140" y="1221327"/>
                    <a:pt x="1207861" y="1217467"/>
                    <a:pt x="1210687" y="1215606"/>
                  </a:cubicBezTo>
                  <a:cubicBezTo>
                    <a:pt x="1204690" y="1211195"/>
                    <a:pt x="1198694" y="1206853"/>
                    <a:pt x="1192628" y="1202510"/>
                  </a:cubicBezTo>
                  <a:cubicBezTo>
                    <a:pt x="1191595" y="1205405"/>
                    <a:pt x="1189458" y="1211264"/>
                    <a:pt x="1188424" y="1214158"/>
                  </a:cubicBezTo>
                  <a:cubicBezTo>
                    <a:pt x="1182772" y="1211057"/>
                    <a:pt x="1178706" y="1206025"/>
                    <a:pt x="1176155" y="1198995"/>
                  </a:cubicBezTo>
                  <a:cubicBezTo>
                    <a:pt x="1175880" y="1204440"/>
                    <a:pt x="1175259" y="1215399"/>
                    <a:pt x="1174984" y="1220913"/>
                  </a:cubicBezTo>
                  <a:cubicBezTo>
                    <a:pt x="1181256" y="1225945"/>
                    <a:pt x="1187528" y="1230976"/>
                    <a:pt x="1193800" y="1235939"/>
                  </a:cubicBezTo>
                  <a:cubicBezTo>
                    <a:pt x="1193662" y="1241177"/>
                    <a:pt x="1193524" y="1251585"/>
                    <a:pt x="1193386" y="1256823"/>
                  </a:cubicBezTo>
                  <a:moveTo>
                    <a:pt x="5485047" y="1299005"/>
                  </a:moveTo>
                  <a:cubicBezTo>
                    <a:pt x="5506965" y="1302382"/>
                    <a:pt x="5510618" y="1269160"/>
                    <a:pt x="5531709" y="1276329"/>
                  </a:cubicBezTo>
                  <a:cubicBezTo>
                    <a:pt x="5530399" y="1273365"/>
                    <a:pt x="5527918" y="1267575"/>
                    <a:pt x="5526609" y="1264611"/>
                  </a:cubicBezTo>
                  <a:cubicBezTo>
                    <a:pt x="5534122" y="1263922"/>
                    <a:pt x="5541152" y="1265783"/>
                    <a:pt x="5547769" y="1270332"/>
                  </a:cubicBezTo>
                  <a:cubicBezTo>
                    <a:pt x="5547769" y="1264473"/>
                    <a:pt x="5547837" y="1252687"/>
                    <a:pt x="5547837" y="1246829"/>
                  </a:cubicBezTo>
                  <a:cubicBezTo>
                    <a:pt x="5544322" y="1248965"/>
                    <a:pt x="5537223" y="1253308"/>
                    <a:pt x="5533708" y="1255444"/>
                  </a:cubicBezTo>
                  <a:cubicBezTo>
                    <a:pt x="5532537" y="1251722"/>
                    <a:pt x="5530193" y="1244210"/>
                    <a:pt x="5529021" y="1240488"/>
                  </a:cubicBezTo>
                  <a:cubicBezTo>
                    <a:pt x="5523783" y="1247104"/>
                    <a:pt x="5520543" y="1254824"/>
                    <a:pt x="5517924" y="1262612"/>
                  </a:cubicBezTo>
                  <a:lnTo>
                    <a:pt x="5515443" y="1267162"/>
                  </a:lnTo>
                  <a:lnTo>
                    <a:pt x="5510411" y="1255444"/>
                  </a:lnTo>
                  <a:cubicBezTo>
                    <a:pt x="5506483" y="1256754"/>
                    <a:pt x="5498564" y="1259373"/>
                    <a:pt x="5494628" y="1260683"/>
                  </a:cubicBezTo>
                  <a:cubicBezTo>
                    <a:pt x="5495799" y="1271573"/>
                    <a:pt x="5496971" y="1282463"/>
                    <a:pt x="5498074" y="1293353"/>
                  </a:cubicBezTo>
                  <a:cubicBezTo>
                    <a:pt x="5495110" y="1288735"/>
                    <a:pt x="5489114" y="1279568"/>
                    <a:pt x="5486081" y="1275019"/>
                  </a:cubicBezTo>
                  <a:cubicBezTo>
                    <a:pt x="5485668" y="1283014"/>
                    <a:pt x="5485323" y="1291009"/>
                    <a:pt x="5485047" y="1299005"/>
                  </a:cubicBezTo>
                  <a:moveTo>
                    <a:pt x="4687176" y="1323680"/>
                  </a:moveTo>
                  <a:cubicBezTo>
                    <a:pt x="4693310" y="1322439"/>
                    <a:pt x="4699582" y="1321199"/>
                    <a:pt x="4705923" y="1319958"/>
                  </a:cubicBezTo>
                  <a:cubicBezTo>
                    <a:pt x="4705234" y="1306104"/>
                    <a:pt x="4704821" y="1292181"/>
                    <a:pt x="4704407" y="1278327"/>
                  </a:cubicBezTo>
                  <a:cubicBezTo>
                    <a:pt x="4701581" y="1279912"/>
                    <a:pt x="4696067" y="1283152"/>
                    <a:pt x="4693241" y="1284737"/>
                  </a:cubicBezTo>
                  <a:cubicBezTo>
                    <a:pt x="4691311" y="1288735"/>
                    <a:pt x="4687383" y="1296730"/>
                    <a:pt x="4685453" y="1300728"/>
                  </a:cubicBezTo>
                  <a:cubicBezTo>
                    <a:pt x="4685935" y="1308448"/>
                    <a:pt x="4686486" y="1316098"/>
                    <a:pt x="4687176" y="1323680"/>
                  </a:cubicBezTo>
                  <a:moveTo>
                    <a:pt x="758541" y="1343116"/>
                  </a:moveTo>
                  <a:cubicBezTo>
                    <a:pt x="775152" y="1344771"/>
                    <a:pt x="766054" y="1310791"/>
                    <a:pt x="751717" y="1315064"/>
                  </a:cubicBezTo>
                  <a:cubicBezTo>
                    <a:pt x="749925" y="1324369"/>
                    <a:pt x="753027" y="1335535"/>
                    <a:pt x="758541" y="1343116"/>
                  </a:cubicBezTo>
                  <a:moveTo>
                    <a:pt x="7516462" y="1351732"/>
                  </a:moveTo>
                  <a:cubicBezTo>
                    <a:pt x="7520874" y="1350836"/>
                    <a:pt x="7529696" y="1348975"/>
                    <a:pt x="7534108" y="1348079"/>
                  </a:cubicBezTo>
                  <a:cubicBezTo>
                    <a:pt x="7533900" y="1347114"/>
                    <a:pt x="7533556" y="1345253"/>
                    <a:pt x="7533349" y="1344288"/>
                  </a:cubicBezTo>
                  <a:cubicBezTo>
                    <a:pt x="7529834" y="1328849"/>
                    <a:pt x="7529627" y="1312996"/>
                    <a:pt x="7528731" y="1297213"/>
                  </a:cubicBezTo>
                  <a:cubicBezTo>
                    <a:pt x="7523424" y="1309343"/>
                    <a:pt x="7520529" y="1322301"/>
                    <a:pt x="7522528" y="1335466"/>
                  </a:cubicBezTo>
                  <a:cubicBezTo>
                    <a:pt x="7521012" y="1339532"/>
                    <a:pt x="7517979" y="1347666"/>
                    <a:pt x="7516462" y="1351732"/>
                  </a:cubicBezTo>
                  <a:moveTo>
                    <a:pt x="4940543" y="1370962"/>
                  </a:moveTo>
                  <a:cubicBezTo>
                    <a:pt x="4943782" y="1372685"/>
                    <a:pt x="4950261" y="1376062"/>
                    <a:pt x="4953432" y="1377785"/>
                  </a:cubicBezTo>
                  <a:cubicBezTo>
                    <a:pt x="4957291" y="1375373"/>
                    <a:pt x="4961220" y="1372961"/>
                    <a:pt x="4965218" y="1370480"/>
                  </a:cubicBezTo>
                  <a:lnTo>
                    <a:pt x="4955506" y="1369721"/>
                  </a:lnTo>
                  <a:cubicBezTo>
                    <a:pt x="4960186" y="1361244"/>
                    <a:pt x="4964873" y="1352766"/>
                    <a:pt x="4969560" y="1344219"/>
                  </a:cubicBezTo>
                  <a:cubicBezTo>
                    <a:pt x="4961220" y="1349458"/>
                    <a:pt x="4952949" y="1354627"/>
                    <a:pt x="4944609" y="1359520"/>
                  </a:cubicBezTo>
                  <a:cubicBezTo>
                    <a:pt x="4944403" y="1362209"/>
                    <a:pt x="4943851" y="1367516"/>
                    <a:pt x="4943644" y="1370135"/>
                  </a:cubicBezTo>
                  <a:cubicBezTo>
                    <a:pt x="4936821" y="1368963"/>
                    <a:pt x="4923312" y="1366620"/>
                    <a:pt x="4916557" y="1365448"/>
                  </a:cubicBezTo>
                  <a:cubicBezTo>
                    <a:pt x="4920761" y="1375235"/>
                    <a:pt x="4928757" y="1377096"/>
                    <a:pt x="4940543" y="1370962"/>
                  </a:cubicBezTo>
                  <a:moveTo>
                    <a:pt x="406681" y="1394190"/>
                  </a:moveTo>
                  <a:cubicBezTo>
                    <a:pt x="418674" y="1401702"/>
                    <a:pt x="423636" y="1381439"/>
                    <a:pt x="417295" y="1373995"/>
                  </a:cubicBezTo>
                  <a:cubicBezTo>
                    <a:pt x="407025" y="1355109"/>
                    <a:pt x="400271" y="1387366"/>
                    <a:pt x="406681" y="1394190"/>
                  </a:cubicBezTo>
                  <a:moveTo>
                    <a:pt x="2328437" y="1414729"/>
                  </a:moveTo>
                  <a:cubicBezTo>
                    <a:pt x="2340361" y="1411972"/>
                    <a:pt x="2334985" y="1388124"/>
                    <a:pt x="2327610" y="1381301"/>
                  </a:cubicBezTo>
                  <a:cubicBezTo>
                    <a:pt x="2320166" y="1388607"/>
                    <a:pt x="2323337" y="1406113"/>
                    <a:pt x="2328437" y="1414729"/>
                  </a:cubicBezTo>
                  <a:moveTo>
                    <a:pt x="738415" y="1412592"/>
                  </a:moveTo>
                  <a:cubicBezTo>
                    <a:pt x="742619" y="1413075"/>
                    <a:pt x="751097" y="1414109"/>
                    <a:pt x="755302" y="1414660"/>
                  </a:cubicBezTo>
                  <a:cubicBezTo>
                    <a:pt x="755371" y="1409560"/>
                    <a:pt x="755439" y="1399290"/>
                    <a:pt x="755508" y="1394121"/>
                  </a:cubicBezTo>
                  <a:cubicBezTo>
                    <a:pt x="753854" y="1401427"/>
                    <a:pt x="749857" y="1405769"/>
                    <a:pt x="743584" y="1407285"/>
                  </a:cubicBezTo>
                  <a:cubicBezTo>
                    <a:pt x="742206" y="1402461"/>
                    <a:pt x="739449" y="1392880"/>
                    <a:pt x="738070" y="1388124"/>
                  </a:cubicBezTo>
                  <a:cubicBezTo>
                    <a:pt x="738208" y="1396257"/>
                    <a:pt x="738139" y="1404459"/>
                    <a:pt x="738415" y="1412592"/>
                  </a:cubicBezTo>
                  <a:moveTo>
                    <a:pt x="832015" y="1425964"/>
                  </a:moveTo>
                  <a:cubicBezTo>
                    <a:pt x="835185" y="1430857"/>
                    <a:pt x="838425" y="1435613"/>
                    <a:pt x="841664" y="1440438"/>
                  </a:cubicBezTo>
                  <a:cubicBezTo>
                    <a:pt x="848143" y="1432167"/>
                    <a:pt x="854691" y="1423965"/>
                    <a:pt x="861239" y="1415625"/>
                  </a:cubicBezTo>
                  <a:cubicBezTo>
                    <a:pt x="854760" y="1413489"/>
                    <a:pt x="848281" y="1411283"/>
                    <a:pt x="841802" y="1409077"/>
                  </a:cubicBezTo>
                  <a:cubicBezTo>
                    <a:pt x="842147" y="1413213"/>
                    <a:pt x="842698" y="1421415"/>
                    <a:pt x="843043" y="1425481"/>
                  </a:cubicBezTo>
                  <a:lnTo>
                    <a:pt x="832015" y="1425964"/>
                  </a:lnTo>
                  <a:moveTo>
                    <a:pt x="1335233" y="1451535"/>
                  </a:moveTo>
                  <a:cubicBezTo>
                    <a:pt x="1341781" y="1449743"/>
                    <a:pt x="1348398" y="1448296"/>
                    <a:pt x="1355084" y="1447124"/>
                  </a:cubicBezTo>
                  <a:cubicBezTo>
                    <a:pt x="1354739" y="1436165"/>
                    <a:pt x="1355497" y="1425206"/>
                    <a:pt x="1357841" y="1414453"/>
                  </a:cubicBezTo>
                  <a:cubicBezTo>
                    <a:pt x="1353636" y="1422793"/>
                    <a:pt x="1349432" y="1431133"/>
                    <a:pt x="1345296" y="1439335"/>
                  </a:cubicBezTo>
                  <a:cubicBezTo>
                    <a:pt x="1339920" y="1433614"/>
                    <a:pt x="1334544" y="1427963"/>
                    <a:pt x="1329099" y="1422242"/>
                  </a:cubicBezTo>
                  <a:cubicBezTo>
                    <a:pt x="1332959" y="1429755"/>
                    <a:pt x="1336888" y="1437199"/>
                    <a:pt x="1340885" y="1444574"/>
                  </a:cubicBezTo>
                  <a:lnTo>
                    <a:pt x="1329306" y="1446434"/>
                  </a:lnTo>
                  <a:cubicBezTo>
                    <a:pt x="1330822" y="1447675"/>
                    <a:pt x="1333786" y="1450294"/>
                    <a:pt x="1335233" y="1451535"/>
                  </a:cubicBezTo>
                  <a:moveTo>
                    <a:pt x="2331608" y="1516186"/>
                  </a:moveTo>
                  <a:lnTo>
                    <a:pt x="2333193" y="1515842"/>
                  </a:lnTo>
                  <a:cubicBezTo>
                    <a:pt x="2331332" y="1503160"/>
                    <a:pt x="2330919" y="1489443"/>
                    <a:pt x="2321476" y="1479518"/>
                  </a:cubicBezTo>
                  <a:cubicBezTo>
                    <a:pt x="2320166" y="1475314"/>
                    <a:pt x="2317547" y="1466974"/>
                    <a:pt x="2316238" y="1462770"/>
                  </a:cubicBezTo>
                  <a:cubicBezTo>
                    <a:pt x="2307484" y="1482206"/>
                    <a:pt x="2325818" y="1498541"/>
                    <a:pt x="2331608" y="1516186"/>
                  </a:cubicBezTo>
                  <a:moveTo>
                    <a:pt x="7589661" y="1531625"/>
                  </a:moveTo>
                  <a:cubicBezTo>
                    <a:pt x="7590626" y="1519977"/>
                    <a:pt x="7591384" y="1508260"/>
                    <a:pt x="7592280" y="1496543"/>
                  </a:cubicBezTo>
                  <a:cubicBezTo>
                    <a:pt x="7595932" y="1496680"/>
                    <a:pt x="7603239" y="1496956"/>
                    <a:pt x="7606892" y="1497094"/>
                  </a:cubicBezTo>
                  <a:lnTo>
                    <a:pt x="7606547" y="1489857"/>
                  </a:lnTo>
                  <a:cubicBezTo>
                    <a:pt x="7602136" y="1491235"/>
                    <a:pt x="7593383" y="1493992"/>
                    <a:pt x="7589040" y="1495440"/>
                  </a:cubicBezTo>
                  <a:cubicBezTo>
                    <a:pt x="7589109" y="1507502"/>
                    <a:pt x="7589247" y="1519632"/>
                    <a:pt x="7589661" y="1531625"/>
                  </a:cubicBezTo>
                  <a:moveTo>
                    <a:pt x="2443128" y="1555473"/>
                  </a:moveTo>
                  <a:cubicBezTo>
                    <a:pt x="2425276" y="1554370"/>
                    <a:pt x="2426655" y="1588212"/>
                    <a:pt x="2444989" y="1579873"/>
                  </a:cubicBezTo>
                  <a:cubicBezTo>
                    <a:pt x="2448780" y="1563744"/>
                    <a:pt x="2450296" y="1547202"/>
                    <a:pt x="2452088" y="1530729"/>
                  </a:cubicBezTo>
                  <a:cubicBezTo>
                    <a:pt x="2440716" y="1535967"/>
                    <a:pt x="2434995" y="1543756"/>
                    <a:pt x="2443128" y="1555473"/>
                  </a:cubicBezTo>
                  <a:moveTo>
                    <a:pt x="38898" y="1562986"/>
                  </a:moveTo>
                  <a:cubicBezTo>
                    <a:pt x="39794" y="1567328"/>
                    <a:pt x="41451" y="1575944"/>
                    <a:pt x="42344" y="1580286"/>
                  </a:cubicBezTo>
                  <a:cubicBezTo>
                    <a:pt x="45586" y="1570774"/>
                    <a:pt x="49099" y="1561263"/>
                    <a:pt x="52960" y="1551889"/>
                  </a:cubicBezTo>
                  <a:cubicBezTo>
                    <a:pt x="43656" y="1542171"/>
                    <a:pt x="30834" y="1545272"/>
                    <a:pt x="19254" y="1547823"/>
                  </a:cubicBezTo>
                  <a:lnTo>
                    <a:pt x="21807" y="1552785"/>
                  </a:lnTo>
                  <a:cubicBezTo>
                    <a:pt x="24909" y="1559057"/>
                    <a:pt x="26976" y="1565674"/>
                    <a:pt x="28008" y="1572635"/>
                  </a:cubicBezTo>
                  <a:cubicBezTo>
                    <a:pt x="30697" y="1570223"/>
                    <a:pt x="36141" y="1565398"/>
                    <a:pt x="38898" y="1562986"/>
                  </a:cubicBezTo>
                  <a:moveTo>
                    <a:pt x="6931775" y="1692564"/>
                  </a:moveTo>
                  <a:cubicBezTo>
                    <a:pt x="6942320" y="1681261"/>
                    <a:pt x="6947834" y="1664236"/>
                    <a:pt x="6964928" y="1661135"/>
                  </a:cubicBezTo>
                  <a:cubicBezTo>
                    <a:pt x="6969063" y="1646454"/>
                    <a:pt x="6973474" y="1631842"/>
                    <a:pt x="6978506" y="1617367"/>
                  </a:cubicBezTo>
                  <a:cubicBezTo>
                    <a:pt x="6975887" y="1616541"/>
                    <a:pt x="6970649" y="1614748"/>
                    <a:pt x="6968029" y="1613852"/>
                  </a:cubicBezTo>
                  <a:cubicBezTo>
                    <a:pt x="6965824" y="1629016"/>
                    <a:pt x="6962860" y="1644248"/>
                    <a:pt x="6953348" y="1656654"/>
                  </a:cubicBezTo>
                  <a:cubicBezTo>
                    <a:pt x="6950109" y="1653622"/>
                    <a:pt x="6943492" y="1647488"/>
                    <a:pt x="6940184" y="1644455"/>
                  </a:cubicBezTo>
                  <a:cubicBezTo>
                    <a:pt x="6938461" y="1647901"/>
                    <a:pt x="6935083" y="1654656"/>
                    <a:pt x="6933360" y="1658033"/>
                  </a:cubicBezTo>
                  <a:cubicBezTo>
                    <a:pt x="6942458" y="1653002"/>
                    <a:pt x="6945353" y="1655552"/>
                    <a:pt x="6941976" y="1665684"/>
                  </a:cubicBezTo>
                  <a:cubicBezTo>
                    <a:pt x="6937702" y="1674368"/>
                    <a:pt x="6934394" y="1683397"/>
                    <a:pt x="6931775" y="1692564"/>
                  </a:cubicBezTo>
                  <a:moveTo>
                    <a:pt x="7577185" y="1683397"/>
                  </a:moveTo>
                  <a:cubicBezTo>
                    <a:pt x="7584836" y="1688567"/>
                    <a:pt x="7588420" y="1697251"/>
                    <a:pt x="7593038" y="1704971"/>
                  </a:cubicBezTo>
                  <a:cubicBezTo>
                    <a:pt x="7594692" y="1694081"/>
                    <a:pt x="7596898" y="1678986"/>
                    <a:pt x="7580769" y="1679400"/>
                  </a:cubicBezTo>
                  <a:cubicBezTo>
                    <a:pt x="7582355" y="1669268"/>
                    <a:pt x="7585938" y="1658791"/>
                    <a:pt x="7583251" y="1648453"/>
                  </a:cubicBezTo>
                  <a:cubicBezTo>
                    <a:pt x="7580494" y="1660032"/>
                    <a:pt x="7578633" y="1671611"/>
                    <a:pt x="7577185" y="1683397"/>
                  </a:cubicBezTo>
                  <a:moveTo>
                    <a:pt x="7495372" y="1732610"/>
                  </a:moveTo>
                  <a:cubicBezTo>
                    <a:pt x="7505573" y="1726199"/>
                    <a:pt x="7496544" y="1714620"/>
                    <a:pt x="7498680" y="1705453"/>
                  </a:cubicBezTo>
                  <a:cubicBezTo>
                    <a:pt x="7515360" y="1692082"/>
                    <a:pt x="7520047" y="1722409"/>
                    <a:pt x="7529765" y="1731989"/>
                  </a:cubicBezTo>
                  <a:cubicBezTo>
                    <a:pt x="7528180" y="1711312"/>
                    <a:pt x="7512258" y="1694287"/>
                    <a:pt x="7491650" y="1691806"/>
                  </a:cubicBezTo>
                  <a:cubicBezTo>
                    <a:pt x="7491994" y="1697044"/>
                    <a:pt x="7492615" y="1707521"/>
                    <a:pt x="7492890" y="1712759"/>
                  </a:cubicBezTo>
                  <a:cubicBezTo>
                    <a:pt x="7487170" y="1716274"/>
                    <a:pt x="7481518" y="1719721"/>
                    <a:pt x="7475935" y="1723098"/>
                  </a:cubicBezTo>
                  <a:cubicBezTo>
                    <a:pt x="7480415" y="1722202"/>
                    <a:pt x="7489375" y="1720341"/>
                    <a:pt x="7493924" y="1719445"/>
                  </a:cubicBezTo>
                  <a:lnTo>
                    <a:pt x="7495372" y="1732610"/>
                  </a:lnTo>
                  <a:moveTo>
                    <a:pt x="5762951" y="1755699"/>
                  </a:moveTo>
                  <a:cubicBezTo>
                    <a:pt x="5771016" y="1756320"/>
                    <a:pt x="5779079" y="1756940"/>
                    <a:pt x="5787282" y="1757491"/>
                  </a:cubicBezTo>
                  <a:cubicBezTo>
                    <a:pt x="5783491" y="1756526"/>
                    <a:pt x="5775840" y="1754527"/>
                    <a:pt x="5772050" y="1753563"/>
                  </a:cubicBezTo>
                  <a:cubicBezTo>
                    <a:pt x="5772394" y="1741156"/>
                    <a:pt x="5772670" y="1728681"/>
                    <a:pt x="5772463" y="1716205"/>
                  </a:cubicBezTo>
                  <a:cubicBezTo>
                    <a:pt x="5767983" y="1729094"/>
                    <a:pt x="5765088" y="1742328"/>
                    <a:pt x="5762951" y="1755699"/>
                  </a:cubicBezTo>
                  <a:moveTo>
                    <a:pt x="6268927" y="1805394"/>
                  </a:moveTo>
                  <a:cubicBezTo>
                    <a:pt x="6266514" y="1801672"/>
                    <a:pt x="6264240" y="1797881"/>
                    <a:pt x="6261966" y="1794090"/>
                  </a:cubicBezTo>
                  <a:cubicBezTo>
                    <a:pt x="6261621" y="1784096"/>
                    <a:pt x="6261345" y="1774033"/>
                    <a:pt x="6260173" y="1764039"/>
                  </a:cubicBezTo>
                  <a:cubicBezTo>
                    <a:pt x="6257348" y="1774723"/>
                    <a:pt x="6255211" y="1785475"/>
                    <a:pt x="6253074" y="1796296"/>
                  </a:cubicBezTo>
                  <a:cubicBezTo>
                    <a:pt x="6258244" y="1799328"/>
                    <a:pt x="6263551" y="1802361"/>
                    <a:pt x="6268927" y="1805394"/>
                  </a:cubicBezTo>
                  <a:moveTo>
                    <a:pt x="7024755" y="1850402"/>
                  </a:moveTo>
                  <a:cubicBezTo>
                    <a:pt x="7032060" y="1845163"/>
                    <a:pt x="7037781" y="1838478"/>
                    <a:pt x="7042399" y="1830552"/>
                  </a:cubicBezTo>
                  <a:cubicBezTo>
                    <a:pt x="7048878" y="1836341"/>
                    <a:pt x="7055701" y="1842062"/>
                    <a:pt x="7062319" y="1847783"/>
                  </a:cubicBezTo>
                  <a:cubicBezTo>
                    <a:pt x="7058045" y="1834963"/>
                    <a:pt x="7054461" y="1821936"/>
                    <a:pt x="7051842" y="1808702"/>
                  </a:cubicBezTo>
                  <a:cubicBezTo>
                    <a:pt x="7051083" y="1813320"/>
                    <a:pt x="7049636" y="1822556"/>
                    <a:pt x="7048947" y="1827174"/>
                  </a:cubicBezTo>
                  <a:cubicBezTo>
                    <a:pt x="7043157" y="1823176"/>
                    <a:pt x="7037436" y="1819110"/>
                    <a:pt x="7031922" y="1814974"/>
                  </a:cubicBezTo>
                  <a:cubicBezTo>
                    <a:pt x="7035231" y="1827657"/>
                    <a:pt x="7031233" y="1839512"/>
                    <a:pt x="7024755" y="1850402"/>
                  </a:cubicBezTo>
                  <a:moveTo>
                    <a:pt x="1319450" y="1868253"/>
                  </a:moveTo>
                  <a:cubicBezTo>
                    <a:pt x="1324412" y="1877903"/>
                    <a:pt x="1333097" y="1884450"/>
                    <a:pt x="1341437" y="1890792"/>
                  </a:cubicBezTo>
                  <a:cubicBezTo>
                    <a:pt x="1356324" y="1889482"/>
                    <a:pt x="1371212" y="1888999"/>
                    <a:pt x="1386169" y="1888655"/>
                  </a:cubicBezTo>
                  <a:cubicBezTo>
                    <a:pt x="1381895" y="1876042"/>
                    <a:pt x="1378104" y="1863222"/>
                    <a:pt x="1374520" y="1850333"/>
                  </a:cubicBezTo>
                  <a:cubicBezTo>
                    <a:pt x="1370936" y="1848954"/>
                    <a:pt x="1363699" y="1846266"/>
                    <a:pt x="1360115" y="1844888"/>
                  </a:cubicBezTo>
                  <a:cubicBezTo>
                    <a:pt x="1349708" y="1843027"/>
                    <a:pt x="1323999" y="1831309"/>
                    <a:pt x="1326687" y="1851160"/>
                  </a:cubicBezTo>
                  <a:cubicBezTo>
                    <a:pt x="1327514" y="1852194"/>
                    <a:pt x="1329099" y="1854124"/>
                    <a:pt x="1329857" y="1855088"/>
                  </a:cubicBezTo>
                  <a:cubicBezTo>
                    <a:pt x="1331167" y="1858259"/>
                    <a:pt x="1333786" y="1864531"/>
                    <a:pt x="1335096" y="1867633"/>
                  </a:cubicBezTo>
                  <a:lnTo>
                    <a:pt x="1319450" y="1868253"/>
                  </a:lnTo>
                  <a:moveTo>
                    <a:pt x="56129" y="1931112"/>
                  </a:moveTo>
                  <a:lnTo>
                    <a:pt x="60195" y="1929596"/>
                  </a:lnTo>
                  <a:cubicBezTo>
                    <a:pt x="62747" y="1918086"/>
                    <a:pt x="64678" y="1906300"/>
                    <a:pt x="68331" y="1894927"/>
                  </a:cubicBezTo>
                  <a:cubicBezTo>
                    <a:pt x="73156" y="1898442"/>
                    <a:pt x="96175" y="1910642"/>
                    <a:pt x="88731" y="1897201"/>
                  </a:cubicBezTo>
                  <a:cubicBezTo>
                    <a:pt x="69710" y="1881418"/>
                    <a:pt x="82049" y="1853710"/>
                    <a:pt x="64333" y="1836823"/>
                  </a:cubicBezTo>
                  <a:cubicBezTo>
                    <a:pt x="64403" y="1849781"/>
                    <a:pt x="64885" y="1862670"/>
                    <a:pt x="66330" y="1875490"/>
                  </a:cubicBezTo>
                  <a:cubicBezTo>
                    <a:pt x="60332" y="1893342"/>
                    <a:pt x="43793" y="1912365"/>
                    <a:pt x="56129" y="1931112"/>
                  </a:cubicBezTo>
                  <a:moveTo>
                    <a:pt x="297712" y="1958062"/>
                  </a:moveTo>
                  <a:cubicBezTo>
                    <a:pt x="306877" y="1970124"/>
                    <a:pt x="319561" y="1953513"/>
                    <a:pt x="310116" y="1944553"/>
                  </a:cubicBezTo>
                  <a:cubicBezTo>
                    <a:pt x="302607" y="1933180"/>
                    <a:pt x="289646" y="1950411"/>
                    <a:pt x="297712" y="1958062"/>
                  </a:cubicBezTo>
                  <a:moveTo>
                    <a:pt x="3865043" y="2014236"/>
                  </a:moveTo>
                  <a:cubicBezTo>
                    <a:pt x="3868696" y="2015890"/>
                    <a:pt x="3876002" y="2019336"/>
                    <a:pt x="3879655" y="2020990"/>
                  </a:cubicBezTo>
                  <a:cubicBezTo>
                    <a:pt x="3882894" y="2014580"/>
                    <a:pt x="3886134" y="2008032"/>
                    <a:pt x="3889373" y="2001485"/>
                  </a:cubicBezTo>
                  <a:cubicBezTo>
                    <a:pt x="3893440" y="2001209"/>
                    <a:pt x="3901573" y="2000588"/>
                    <a:pt x="3905639" y="2000244"/>
                  </a:cubicBezTo>
                  <a:cubicBezTo>
                    <a:pt x="3891992" y="1998521"/>
                    <a:pt x="3878345" y="1997280"/>
                    <a:pt x="3864698" y="1996177"/>
                  </a:cubicBezTo>
                  <a:lnTo>
                    <a:pt x="3864767" y="2001898"/>
                  </a:lnTo>
                  <a:cubicBezTo>
                    <a:pt x="3864836" y="2004999"/>
                    <a:pt x="3864974" y="2011134"/>
                    <a:pt x="3865043" y="2014236"/>
                  </a:cubicBezTo>
                  <a:moveTo>
                    <a:pt x="8198610" y="2009687"/>
                  </a:moveTo>
                  <a:cubicBezTo>
                    <a:pt x="8190821" y="2018853"/>
                    <a:pt x="8189373" y="2026780"/>
                    <a:pt x="8202676" y="2030019"/>
                  </a:cubicBezTo>
                  <a:cubicBezTo>
                    <a:pt x="8209569" y="2024643"/>
                    <a:pt x="8217495" y="2021197"/>
                    <a:pt x="8226455" y="2019818"/>
                  </a:cubicBezTo>
                  <a:cubicBezTo>
                    <a:pt x="8227213" y="1995833"/>
                    <a:pt x="8231004" y="1970055"/>
                    <a:pt x="8219356" y="1947861"/>
                  </a:cubicBezTo>
                  <a:cubicBezTo>
                    <a:pt x="8216117" y="1947792"/>
                    <a:pt x="8209638" y="1947654"/>
                    <a:pt x="8206398" y="1947585"/>
                  </a:cubicBezTo>
                  <a:cubicBezTo>
                    <a:pt x="8208190" y="1953651"/>
                    <a:pt x="8210258" y="1959578"/>
                    <a:pt x="8212463" y="1965506"/>
                  </a:cubicBezTo>
                  <a:lnTo>
                    <a:pt x="8205502" y="1970400"/>
                  </a:lnTo>
                  <a:cubicBezTo>
                    <a:pt x="8210258" y="1970331"/>
                    <a:pt x="8219770" y="1970262"/>
                    <a:pt x="8224525" y="1970193"/>
                  </a:cubicBezTo>
                  <a:cubicBezTo>
                    <a:pt x="8224594" y="1975431"/>
                    <a:pt x="8224732" y="1985908"/>
                    <a:pt x="8224801" y="1991077"/>
                  </a:cubicBezTo>
                  <a:cubicBezTo>
                    <a:pt x="8220252" y="1989285"/>
                    <a:pt x="8211154" y="1985701"/>
                    <a:pt x="8206536" y="1983909"/>
                  </a:cubicBezTo>
                  <a:cubicBezTo>
                    <a:pt x="8195646" y="1983840"/>
                    <a:pt x="8185101" y="1980876"/>
                    <a:pt x="8176347" y="1974328"/>
                  </a:cubicBezTo>
                  <a:cubicBezTo>
                    <a:pt x="8181999" y="1971847"/>
                    <a:pt x="8193234" y="1966815"/>
                    <a:pt x="8198886" y="1964334"/>
                  </a:cubicBezTo>
                  <a:cubicBezTo>
                    <a:pt x="8194887" y="1963989"/>
                    <a:pt x="8186824" y="1963369"/>
                    <a:pt x="8182826" y="1963024"/>
                  </a:cubicBezTo>
                  <a:cubicBezTo>
                    <a:pt x="8181585" y="1958062"/>
                    <a:pt x="8179173" y="1948206"/>
                    <a:pt x="8177932" y="1943243"/>
                  </a:cubicBezTo>
                  <a:cubicBezTo>
                    <a:pt x="8177174" y="1963714"/>
                    <a:pt x="8169385" y="1983977"/>
                    <a:pt x="8173659" y="2004448"/>
                  </a:cubicBezTo>
                  <a:cubicBezTo>
                    <a:pt x="8175382" y="2007825"/>
                    <a:pt x="8178897" y="2014649"/>
                    <a:pt x="8180621" y="2018095"/>
                  </a:cubicBezTo>
                  <a:cubicBezTo>
                    <a:pt x="8185583" y="2010927"/>
                    <a:pt x="8190615" y="2003621"/>
                    <a:pt x="8195715" y="1996315"/>
                  </a:cubicBezTo>
                  <a:cubicBezTo>
                    <a:pt x="8204606" y="1995833"/>
                    <a:pt x="8213635" y="1995281"/>
                    <a:pt x="8222733" y="1994661"/>
                  </a:cubicBezTo>
                  <a:cubicBezTo>
                    <a:pt x="8222595" y="2000657"/>
                    <a:pt x="8222251" y="2012581"/>
                    <a:pt x="8222044" y="2018578"/>
                  </a:cubicBezTo>
                  <a:cubicBezTo>
                    <a:pt x="8214186" y="2015614"/>
                    <a:pt x="8206329" y="2012650"/>
                    <a:pt x="8198610" y="2009687"/>
                  </a:cubicBezTo>
                  <a:moveTo>
                    <a:pt x="4948883" y="2116106"/>
                  </a:moveTo>
                  <a:cubicBezTo>
                    <a:pt x="4963977" y="2115279"/>
                    <a:pt x="4981002" y="2117691"/>
                    <a:pt x="4994649" y="2109558"/>
                  </a:cubicBezTo>
                  <a:cubicBezTo>
                    <a:pt x="4994924" y="2106663"/>
                    <a:pt x="4995613" y="2100874"/>
                    <a:pt x="4995958" y="2097979"/>
                  </a:cubicBezTo>
                  <a:cubicBezTo>
                    <a:pt x="4986309" y="2092672"/>
                    <a:pt x="4977900" y="2098530"/>
                    <a:pt x="4970456" y="2103906"/>
                  </a:cubicBezTo>
                  <a:cubicBezTo>
                    <a:pt x="4967699" y="2094877"/>
                    <a:pt x="4962530" y="2087364"/>
                    <a:pt x="4955086" y="2081437"/>
                  </a:cubicBezTo>
                  <a:cubicBezTo>
                    <a:pt x="4945367" y="2085159"/>
                    <a:pt x="4936752" y="2091362"/>
                    <a:pt x="4929659" y="2098737"/>
                  </a:cubicBezTo>
                  <a:lnTo>
                    <a:pt x="4934271" y="2097910"/>
                  </a:lnTo>
                  <a:cubicBezTo>
                    <a:pt x="4940749" y="2096601"/>
                    <a:pt x="4947229" y="2095153"/>
                    <a:pt x="4953776" y="2093706"/>
                  </a:cubicBezTo>
                  <a:cubicBezTo>
                    <a:pt x="4953707" y="2097841"/>
                    <a:pt x="4953569" y="2106250"/>
                    <a:pt x="4953432" y="2110386"/>
                  </a:cubicBezTo>
                  <a:lnTo>
                    <a:pt x="4946539" y="2101494"/>
                  </a:lnTo>
                  <a:lnTo>
                    <a:pt x="4948883" y="2116106"/>
                  </a:lnTo>
                  <a:moveTo>
                    <a:pt x="2259719" y="2102046"/>
                  </a:moveTo>
                  <a:cubicBezTo>
                    <a:pt x="2268266" y="2104113"/>
                    <a:pt x="2274194" y="2109627"/>
                    <a:pt x="2277915" y="2117416"/>
                  </a:cubicBezTo>
                  <a:cubicBezTo>
                    <a:pt x="2278536" y="2112867"/>
                    <a:pt x="2279777" y="2103769"/>
                    <a:pt x="2280466" y="2099220"/>
                  </a:cubicBezTo>
                  <a:cubicBezTo>
                    <a:pt x="2287910" y="2097290"/>
                    <a:pt x="2295422" y="2095291"/>
                    <a:pt x="2303004" y="2093292"/>
                  </a:cubicBezTo>
                  <a:cubicBezTo>
                    <a:pt x="2303762" y="2088812"/>
                    <a:pt x="2305279" y="2079921"/>
                    <a:pt x="2306037" y="2075441"/>
                  </a:cubicBezTo>
                  <a:cubicBezTo>
                    <a:pt x="2299075" y="2078542"/>
                    <a:pt x="2293975" y="2083574"/>
                    <a:pt x="2290735" y="2090535"/>
                  </a:cubicBezTo>
                  <a:cubicBezTo>
                    <a:pt x="2287910" y="2088330"/>
                    <a:pt x="2282327" y="2083850"/>
                    <a:pt x="2279570" y="2081644"/>
                  </a:cubicBezTo>
                  <a:cubicBezTo>
                    <a:pt x="2282396" y="2078611"/>
                    <a:pt x="2288116" y="2072546"/>
                    <a:pt x="2290942" y="2069513"/>
                  </a:cubicBezTo>
                  <a:cubicBezTo>
                    <a:pt x="2288323" y="2060828"/>
                    <a:pt x="2285773" y="2052144"/>
                    <a:pt x="2283223" y="2043460"/>
                  </a:cubicBezTo>
                  <a:cubicBezTo>
                    <a:pt x="2278467" y="2053385"/>
                    <a:pt x="2280190" y="2071236"/>
                    <a:pt x="2266474" y="2074407"/>
                  </a:cubicBezTo>
                  <a:cubicBezTo>
                    <a:pt x="2255446" y="2079369"/>
                    <a:pt x="2236836" y="2075372"/>
                    <a:pt x="2235251" y="2091707"/>
                  </a:cubicBezTo>
                  <a:cubicBezTo>
                    <a:pt x="2241937" y="2091155"/>
                    <a:pt x="2255239" y="2089984"/>
                    <a:pt x="2261856" y="2089432"/>
                  </a:cubicBezTo>
                  <a:cubicBezTo>
                    <a:pt x="2261305" y="2092603"/>
                    <a:pt x="2260271" y="2098944"/>
                    <a:pt x="2259719" y="2102046"/>
                  </a:cubicBezTo>
                  <a:moveTo>
                    <a:pt x="4333455" y="2189855"/>
                  </a:moveTo>
                  <a:cubicBezTo>
                    <a:pt x="4350893" y="2186754"/>
                    <a:pt x="4348411" y="2154842"/>
                    <a:pt x="4332903" y="2149948"/>
                  </a:cubicBezTo>
                  <a:cubicBezTo>
                    <a:pt x="4331456" y="2163251"/>
                    <a:pt x="4331732" y="2176622"/>
                    <a:pt x="4333455" y="2189855"/>
                  </a:cubicBezTo>
                  <a:moveTo>
                    <a:pt x="4859005" y="2237000"/>
                  </a:moveTo>
                  <a:cubicBezTo>
                    <a:pt x="4863761" y="2226248"/>
                    <a:pt x="4866931" y="2214875"/>
                    <a:pt x="4869275" y="2203365"/>
                  </a:cubicBezTo>
                  <a:cubicBezTo>
                    <a:pt x="4867069" y="2203296"/>
                    <a:pt x="4862520" y="2203089"/>
                    <a:pt x="4860246" y="2202951"/>
                  </a:cubicBezTo>
                  <a:cubicBezTo>
                    <a:pt x="4859625" y="2214324"/>
                    <a:pt x="4859005" y="2225627"/>
                    <a:pt x="4859005" y="2237000"/>
                  </a:cubicBezTo>
                  <a:moveTo>
                    <a:pt x="4657263" y="2249131"/>
                  </a:moveTo>
                  <a:cubicBezTo>
                    <a:pt x="4669324" y="2246718"/>
                    <a:pt x="4681869" y="2244651"/>
                    <a:pt x="4692759" y="2238241"/>
                  </a:cubicBezTo>
                  <a:cubicBezTo>
                    <a:pt x="4680628" y="2236380"/>
                    <a:pt x="4668566" y="2234932"/>
                    <a:pt x="4656504" y="2233416"/>
                  </a:cubicBezTo>
                  <a:cubicBezTo>
                    <a:pt x="4656711" y="2237344"/>
                    <a:pt x="4657125" y="2245202"/>
                    <a:pt x="4657263" y="2249131"/>
                  </a:cubicBezTo>
                  <a:moveTo>
                    <a:pt x="4243646" y="2240377"/>
                  </a:moveTo>
                  <a:cubicBezTo>
                    <a:pt x="4247161" y="2243892"/>
                    <a:pt x="4254260" y="2250785"/>
                    <a:pt x="4257844" y="2254231"/>
                  </a:cubicBezTo>
                  <a:cubicBezTo>
                    <a:pt x="4267080" y="2260159"/>
                    <a:pt x="4276385" y="2258987"/>
                    <a:pt x="4285690" y="2250647"/>
                  </a:cubicBezTo>
                  <a:cubicBezTo>
                    <a:pt x="4288929" y="2248648"/>
                    <a:pt x="4295477" y="2244651"/>
                    <a:pt x="4298716" y="2242721"/>
                  </a:cubicBezTo>
                  <a:cubicBezTo>
                    <a:pt x="4288240" y="2239412"/>
                    <a:pt x="4277763" y="2236035"/>
                    <a:pt x="4267287" y="2232795"/>
                  </a:cubicBezTo>
                  <a:cubicBezTo>
                    <a:pt x="4272732" y="2220941"/>
                    <a:pt x="4271285" y="2208190"/>
                    <a:pt x="4268114" y="2195921"/>
                  </a:cubicBezTo>
                  <a:cubicBezTo>
                    <a:pt x="4286931" y="2184962"/>
                    <a:pt x="4287068" y="2162975"/>
                    <a:pt x="4284449" y="2143745"/>
                  </a:cubicBezTo>
                  <a:cubicBezTo>
                    <a:pt x="4279556" y="2161665"/>
                    <a:pt x="4274662" y="2179723"/>
                    <a:pt x="4265840" y="2196128"/>
                  </a:cubicBezTo>
                  <a:cubicBezTo>
                    <a:pt x="4260946" y="2189028"/>
                    <a:pt x="4256190" y="2181860"/>
                    <a:pt x="4251503" y="2174692"/>
                  </a:cubicBezTo>
                  <a:cubicBezTo>
                    <a:pt x="4249642" y="2177725"/>
                    <a:pt x="4245989" y="2183721"/>
                    <a:pt x="4244135" y="2186754"/>
                  </a:cubicBezTo>
                  <a:cubicBezTo>
                    <a:pt x="4246954" y="2190131"/>
                    <a:pt x="4252537" y="2197024"/>
                    <a:pt x="4255363" y="2200401"/>
                  </a:cubicBezTo>
                  <a:cubicBezTo>
                    <a:pt x="4251572" y="2213841"/>
                    <a:pt x="4247712" y="2227144"/>
                    <a:pt x="4243646" y="2240377"/>
                  </a:cubicBezTo>
                  <a:moveTo>
                    <a:pt x="5984889" y="2296758"/>
                  </a:moveTo>
                  <a:cubicBezTo>
                    <a:pt x="5984406" y="2288900"/>
                    <a:pt x="5984061" y="2281112"/>
                    <a:pt x="5983786" y="2273185"/>
                  </a:cubicBezTo>
                  <a:cubicBezTo>
                    <a:pt x="5988197" y="2272841"/>
                    <a:pt x="5997019" y="2272082"/>
                    <a:pt x="6001431" y="2271738"/>
                  </a:cubicBezTo>
                  <a:cubicBezTo>
                    <a:pt x="5992126" y="2268912"/>
                    <a:pt x="5982752" y="2266086"/>
                    <a:pt x="5973585" y="2263122"/>
                  </a:cubicBezTo>
                  <a:cubicBezTo>
                    <a:pt x="5977445" y="2274357"/>
                    <a:pt x="5981236" y="2285523"/>
                    <a:pt x="5984889" y="2296758"/>
                  </a:cubicBezTo>
                  <a:moveTo>
                    <a:pt x="6777522" y="2338595"/>
                  </a:moveTo>
                  <a:cubicBezTo>
                    <a:pt x="6783380" y="2343902"/>
                    <a:pt x="6789377" y="2349071"/>
                    <a:pt x="6795580" y="2354241"/>
                  </a:cubicBezTo>
                  <a:cubicBezTo>
                    <a:pt x="6797717" y="2342110"/>
                    <a:pt x="6793030" y="2335493"/>
                    <a:pt x="6781451" y="2334322"/>
                  </a:cubicBezTo>
                  <a:cubicBezTo>
                    <a:pt x="6783105" y="2323983"/>
                    <a:pt x="6784483" y="2313575"/>
                    <a:pt x="6785655" y="2303099"/>
                  </a:cubicBezTo>
                  <a:cubicBezTo>
                    <a:pt x="6782691" y="2310060"/>
                    <a:pt x="6780623" y="2317228"/>
                    <a:pt x="6779383" y="2324603"/>
                  </a:cubicBezTo>
                  <a:cubicBezTo>
                    <a:pt x="6778694" y="2329290"/>
                    <a:pt x="6778073" y="2333908"/>
                    <a:pt x="6777522" y="2338595"/>
                  </a:cubicBezTo>
                  <a:moveTo>
                    <a:pt x="6305526" y="2379467"/>
                  </a:moveTo>
                  <a:cubicBezTo>
                    <a:pt x="6316485" y="2387187"/>
                    <a:pt x="6322481" y="2367198"/>
                    <a:pt x="6315176" y="2360720"/>
                  </a:cubicBezTo>
                  <a:cubicBezTo>
                    <a:pt x="6304216" y="2351484"/>
                    <a:pt x="6296566" y="2373264"/>
                    <a:pt x="6305526" y="2379467"/>
                  </a:cubicBezTo>
                  <a:moveTo>
                    <a:pt x="7398808" y="2399455"/>
                  </a:moveTo>
                  <a:cubicBezTo>
                    <a:pt x="7403495" y="2394975"/>
                    <a:pt x="7408251" y="2390495"/>
                    <a:pt x="7413214" y="2386015"/>
                  </a:cubicBezTo>
                  <a:cubicBezTo>
                    <a:pt x="7406459" y="2381949"/>
                    <a:pt x="7399773" y="2377813"/>
                    <a:pt x="7393157" y="2373609"/>
                  </a:cubicBezTo>
                  <a:cubicBezTo>
                    <a:pt x="7394949" y="2382293"/>
                    <a:pt x="7396810" y="2390909"/>
                    <a:pt x="7398808" y="2399455"/>
                  </a:cubicBezTo>
                </a:path>
              </a:pathLst>
            </a:custGeom>
            <a:grpFill/>
            <a:ln w="689" cap="flat">
              <a:noFill/>
              <a:prstDash val="solid"/>
              <a:miter/>
            </a:ln>
          </p:spPr>
          <p:txBody>
            <a:bodyPr rtlCol="0" anchor="ctr"/>
            <a:lstStyle/>
            <a:p>
              <a:endParaRPr lang="en-US" sz="2400" dirty="0"/>
            </a:p>
          </p:txBody>
        </p:sp>
        <p:sp>
          <p:nvSpPr>
            <p:cNvPr id="38" name="Graphic 8">
              <a:extLst>
                <a:ext uri="{FF2B5EF4-FFF2-40B4-BE49-F238E27FC236}">
                  <a16:creationId xmlns:a16="http://schemas.microsoft.com/office/drawing/2014/main" id="{84918435-A3FE-448F-839C-228E466F21F1}"/>
                </a:ext>
              </a:extLst>
            </p:cNvPr>
            <p:cNvSpPr/>
            <p:nvPr/>
          </p:nvSpPr>
          <p:spPr>
            <a:xfrm flipV="1">
              <a:off x="4009286" y="1187847"/>
              <a:ext cx="3922892" cy="2207517"/>
            </a:xfrm>
            <a:custGeom>
              <a:avLst/>
              <a:gdLst>
                <a:gd name="connsiteX0" fmla="*/ 654126 w 3922892"/>
                <a:gd name="connsiteY0" fmla="*/ -3692 h 2207517"/>
                <a:gd name="connsiteX1" fmla="*/ 658744 w 3922892"/>
                <a:gd name="connsiteY1" fmla="*/ 12230 h 2207517"/>
                <a:gd name="connsiteX2" fmla="*/ 654126 w 3922892"/>
                <a:gd name="connsiteY2" fmla="*/ -3692 h 2207517"/>
                <a:gd name="connsiteX3" fmla="*/ 1280444 w 3922892"/>
                <a:gd name="connsiteY3" fmla="*/ 61097 h 2207517"/>
                <a:gd name="connsiteX4" fmla="*/ 1343717 w 3922892"/>
                <a:gd name="connsiteY4" fmla="*/ 66267 h 2207517"/>
                <a:gd name="connsiteX5" fmla="*/ 1362533 w 3922892"/>
                <a:gd name="connsiteY5" fmla="*/ 14504 h 2207517"/>
                <a:gd name="connsiteX6" fmla="*/ 1336480 w 3922892"/>
                <a:gd name="connsiteY6" fmla="*/ 42212 h 2207517"/>
                <a:gd name="connsiteX7" fmla="*/ 1322350 w 3922892"/>
                <a:gd name="connsiteY7" fmla="*/ 12850 h 2207517"/>
                <a:gd name="connsiteX8" fmla="*/ 1292919 w 3922892"/>
                <a:gd name="connsiteY8" fmla="*/ 20914 h 2207517"/>
                <a:gd name="connsiteX9" fmla="*/ 1251427 w 3922892"/>
                <a:gd name="connsiteY9" fmla="*/ 12230 h 2207517"/>
                <a:gd name="connsiteX10" fmla="*/ 1275206 w 3922892"/>
                <a:gd name="connsiteY10" fmla="*/ 21466 h 2207517"/>
                <a:gd name="connsiteX11" fmla="*/ 1294573 w 3922892"/>
                <a:gd name="connsiteY11" fmla="*/ 28427 h 2207517"/>
                <a:gd name="connsiteX12" fmla="*/ 1307600 w 3922892"/>
                <a:gd name="connsiteY12" fmla="*/ 55652 h 2207517"/>
                <a:gd name="connsiteX13" fmla="*/ 1279272 w 3922892"/>
                <a:gd name="connsiteY13" fmla="*/ 41729 h 2207517"/>
                <a:gd name="connsiteX14" fmla="*/ 1280444 w 3922892"/>
                <a:gd name="connsiteY14" fmla="*/ 61097 h 2207517"/>
                <a:gd name="connsiteX15" fmla="*/ -5827 w 3922892"/>
                <a:gd name="connsiteY15" fmla="*/ 302264 h 2207517"/>
                <a:gd name="connsiteX16" fmla="*/ 3478 w 3922892"/>
                <a:gd name="connsiteY16" fmla="*/ 292684 h 2207517"/>
                <a:gd name="connsiteX17" fmla="*/ -5827 w 3922892"/>
                <a:gd name="connsiteY17" fmla="*/ 302264 h 2207517"/>
                <a:gd name="connsiteX18" fmla="*/ 421230 w 3922892"/>
                <a:gd name="connsiteY18" fmla="*/ 474438 h 2207517"/>
                <a:gd name="connsiteX19" fmla="*/ 452108 w 3922892"/>
                <a:gd name="connsiteY19" fmla="*/ 461894 h 2207517"/>
                <a:gd name="connsiteX20" fmla="*/ 421230 w 3922892"/>
                <a:gd name="connsiteY20" fmla="*/ 474438 h 2207517"/>
                <a:gd name="connsiteX21" fmla="*/ 743383 w 3922892"/>
                <a:gd name="connsiteY21" fmla="*/ 1487355 h 2207517"/>
                <a:gd name="connsiteX22" fmla="*/ 746899 w 3922892"/>
                <a:gd name="connsiteY22" fmla="*/ 1487079 h 2207517"/>
                <a:gd name="connsiteX23" fmla="*/ 752895 w 3922892"/>
                <a:gd name="connsiteY23" fmla="*/ 1486596 h 2207517"/>
                <a:gd name="connsiteX24" fmla="*/ 763441 w 3922892"/>
                <a:gd name="connsiteY24" fmla="*/ 1461094 h 2207517"/>
                <a:gd name="connsiteX25" fmla="*/ 785703 w 3922892"/>
                <a:gd name="connsiteY25" fmla="*/ 1457303 h 2207517"/>
                <a:gd name="connsiteX26" fmla="*/ 779500 w 3922892"/>
                <a:gd name="connsiteY26" fmla="*/ 1414501 h 2207517"/>
                <a:gd name="connsiteX27" fmla="*/ 763165 w 3922892"/>
                <a:gd name="connsiteY27" fmla="*/ 1426081 h 2207517"/>
                <a:gd name="connsiteX28" fmla="*/ 740695 w 3922892"/>
                <a:gd name="connsiteY28" fmla="*/ 1415742 h 2207517"/>
                <a:gd name="connsiteX29" fmla="*/ 740695 w 3922892"/>
                <a:gd name="connsiteY29" fmla="*/ 1435316 h 2207517"/>
                <a:gd name="connsiteX30" fmla="*/ 756548 w 3922892"/>
                <a:gd name="connsiteY30" fmla="*/ 1434765 h 2207517"/>
                <a:gd name="connsiteX31" fmla="*/ 743383 w 3922892"/>
                <a:gd name="connsiteY31" fmla="*/ 1487355 h 2207517"/>
                <a:gd name="connsiteX32" fmla="*/ 1309048 w 3922892"/>
                <a:gd name="connsiteY32" fmla="*/ 2080451 h 2207517"/>
                <a:gd name="connsiteX33" fmla="*/ 1309048 w 3922892"/>
                <a:gd name="connsiteY33" fmla="*/ 2080451 h 2207517"/>
                <a:gd name="connsiteX34" fmla="*/ 3907231 w 3922892"/>
                <a:gd name="connsiteY34" fmla="*/ 2203826 h 2207517"/>
                <a:gd name="connsiteX35" fmla="*/ 3912400 w 3922892"/>
                <a:gd name="connsiteY35" fmla="*/ 2188456 h 2207517"/>
                <a:gd name="connsiteX36" fmla="*/ 3907231 w 3922892"/>
                <a:gd name="connsiteY36" fmla="*/ 2203826 h 220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922892" h="2207517">
                  <a:moveTo>
                    <a:pt x="654126" y="-3692"/>
                  </a:moveTo>
                  <a:cubicBezTo>
                    <a:pt x="648267" y="4993"/>
                    <a:pt x="649853" y="10300"/>
                    <a:pt x="658744" y="12230"/>
                  </a:cubicBezTo>
                  <a:cubicBezTo>
                    <a:pt x="664534" y="3614"/>
                    <a:pt x="662948" y="-1693"/>
                    <a:pt x="654126" y="-3692"/>
                  </a:cubicBezTo>
                  <a:close/>
                  <a:moveTo>
                    <a:pt x="1280444" y="61097"/>
                  </a:moveTo>
                  <a:cubicBezTo>
                    <a:pt x="1301535" y="62338"/>
                    <a:pt x="1322764" y="63096"/>
                    <a:pt x="1343717" y="66267"/>
                  </a:cubicBezTo>
                  <a:cubicBezTo>
                    <a:pt x="1352408" y="49931"/>
                    <a:pt x="1361224" y="33390"/>
                    <a:pt x="1362533" y="14504"/>
                  </a:cubicBezTo>
                  <a:cubicBezTo>
                    <a:pt x="1347370" y="15125"/>
                    <a:pt x="1343717" y="32149"/>
                    <a:pt x="1336480" y="42212"/>
                  </a:cubicBezTo>
                  <a:cubicBezTo>
                    <a:pt x="1328691" y="34010"/>
                    <a:pt x="1322901" y="24567"/>
                    <a:pt x="1322350" y="12850"/>
                  </a:cubicBezTo>
                  <a:cubicBezTo>
                    <a:pt x="1312287" y="14918"/>
                    <a:pt x="1302500" y="17468"/>
                    <a:pt x="1292919" y="20914"/>
                  </a:cubicBezTo>
                  <a:cubicBezTo>
                    <a:pt x="1280926" y="11265"/>
                    <a:pt x="1266108" y="9886"/>
                    <a:pt x="1251427" y="12230"/>
                  </a:cubicBezTo>
                  <a:cubicBezTo>
                    <a:pt x="1259284" y="15262"/>
                    <a:pt x="1267211" y="18364"/>
                    <a:pt x="1275206" y="21466"/>
                  </a:cubicBezTo>
                  <a:cubicBezTo>
                    <a:pt x="1281547" y="23947"/>
                    <a:pt x="1288026" y="26290"/>
                    <a:pt x="1294573" y="28427"/>
                  </a:cubicBezTo>
                  <a:cubicBezTo>
                    <a:pt x="1298985" y="37456"/>
                    <a:pt x="1303327" y="46554"/>
                    <a:pt x="1307600" y="55652"/>
                  </a:cubicBezTo>
                  <a:cubicBezTo>
                    <a:pt x="1294987" y="58478"/>
                    <a:pt x="1285613" y="51861"/>
                    <a:pt x="1279272" y="41729"/>
                  </a:cubicBezTo>
                  <a:cubicBezTo>
                    <a:pt x="1279548" y="46623"/>
                    <a:pt x="1280168" y="56273"/>
                    <a:pt x="1280444" y="61097"/>
                  </a:cubicBezTo>
                  <a:moveTo>
                    <a:pt x="-5827" y="302264"/>
                  </a:moveTo>
                  <a:cubicBezTo>
                    <a:pt x="4098" y="305504"/>
                    <a:pt x="7130" y="302333"/>
                    <a:pt x="3478" y="292684"/>
                  </a:cubicBezTo>
                  <a:cubicBezTo>
                    <a:pt x="-6517" y="289513"/>
                    <a:pt x="-9618" y="292684"/>
                    <a:pt x="-5827" y="302264"/>
                  </a:cubicBezTo>
                  <a:moveTo>
                    <a:pt x="421230" y="474438"/>
                  </a:moveTo>
                  <a:cubicBezTo>
                    <a:pt x="431637" y="476023"/>
                    <a:pt x="446663" y="471543"/>
                    <a:pt x="452108" y="461894"/>
                  </a:cubicBezTo>
                  <a:cubicBezTo>
                    <a:pt x="446180" y="448178"/>
                    <a:pt x="421988" y="464582"/>
                    <a:pt x="421230" y="474438"/>
                  </a:cubicBezTo>
                  <a:moveTo>
                    <a:pt x="743383" y="1487355"/>
                  </a:moveTo>
                  <a:lnTo>
                    <a:pt x="746899" y="1487079"/>
                  </a:lnTo>
                  <a:cubicBezTo>
                    <a:pt x="748415" y="1487010"/>
                    <a:pt x="751379" y="1486734"/>
                    <a:pt x="752895" y="1486596"/>
                  </a:cubicBezTo>
                  <a:cubicBezTo>
                    <a:pt x="756479" y="1478187"/>
                    <a:pt x="760063" y="1469710"/>
                    <a:pt x="763441" y="1461094"/>
                  </a:cubicBezTo>
                  <a:cubicBezTo>
                    <a:pt x="770746" y="1459854"/>
                    <a:pt x="778190" y="1458544"/>
                    <a:pt x="785703" y="1457303"/>
                  </a:cubicBezTo>
                  <a:cubicBezTo>
                    <a:pt x="780051" y="1443656"/>
                    <a:pt x="777777" y="1429113"/>
                    <a:pt x="779500" y="1414501"/>
                  </a:cubicBezTo>
                  <a:cubicBezTo>
                    <a:pt x="773986" y="1418361"/>
                    <a:pt x="768541" y="1422290"/>
                    <a:pt x="763165" y="1426081"/>
                  </a:cubicBezTo>
                  <a:cubicBezTo>
                    <a:pt x="755583" y="1422634"/>
                    <a:pt x="748139" y="1419188"/>
                    <a:pt x="740695" y="1415742"/>
                  </a:cubicBezTo>
                  <a:cubicBezTo>
                    <a:pt x="740695" y="1420635"/>
                    <a:pt x="740695" y="1430423"/>
                    <a:pt x="740695" y="1435316"/>
                  </a:cubicBezTo>
                  <a:cubicBezTo>
                    <a:pt x="744693" y="1435178"/>
                    <a:pt x="752619" y="1434903"/>
                    <a:pt x="756548" y="1434765"/>
                  </a:cubicBezTo>
                  <a:cubicBezTo>
                    <a:pt x="734354" y="1444001"/>
                    <a:pt x="742694" y="1468538"/>
                    <a:pt x="743383" y="1487355"/>
                  </a:cubicBezTo>
                  <a:moveTo>
                    <a:pt x="1309048" y="2080451"/>
                  </a:moveTo>
                  <a:cubicBezTo>
                    <a:pt x="1312563" y="2076660"/>
                    <a:pt x="1312563" y="2076660"/>
                    <a:pt x="1309048" y="2080451"/>
                  </a:cubicBezTo>
                  <a:moveTo>
                    <a:pt x="3907231" y="2203826"/>
                  </a:moveTo>
                  <a:cubicBezTo>
                    <a:pt x="3916121" y="2202517"/>
                    <a:pt x="3917845" y="2197416"/>
                    <a:pt x="3912400" y="2188456"/>
                  </a:cubicBezTo>
                  <a:cubicBezTo>
                    <a:pt x="3903370" y="2189834"/>
                    <a:pt x="3901647" y="2194935"/>
                    <a:pt x="3907231" y="2203826"/>
                  </a:cubicBezTo>
                </a:path>
              </a:pathLst>
            </a:custGeom>
            <a:grpFill/>
            <a:ln w="689" cap="flat">
              <a:noFill/>
              <a:prstDash val="solid"/>
              <a:miter/>
            </a:ln>
          </p:spPr>
          <p:txBody>
            <a:bodyPr rtlCol="0" anchor="ctr"/>
            <a:lstStyle/>
            <a:p>
              <a:endParaRPr lang="en-US" sz="2400" dirty="0"/>
            </a:p>
          </p:txBody>
        </p:sp>
        <p:sp>
          <p:nvSpPr>
            <p:cNvPr id="39" name="Graphic 8">
              <a:extLst>
                <a:ext uri="{FF2B5EF4-FFF2-40B4-BE49-F238E27FC236}">
                  <a16:creationId xmlns:a16="http://schemas.microsoft.com/office/drawing/2014/main" id="{0A1B0845-3BC1-4B38-ACE6-B8461B86F60C}"/>
                </a:ext>
              </a:extLst>
            </p:cNvPr>
            <p:cNvSpPr/>
            <p:nvPr/>
          </p:nvSpPr>
          <p:spPr>
            <a:xfrm flipV="1">
              <a:off x="7596755" y="1195842"/>
              <a:ext cx="13979" cy="28293"/>
            </a:xfrm>
            <a:custGeom>
              <a:avLst/>
              <a:gdLst>
                <a:gd name="connsiteX0" fmla="*/ -5962 w 13979"/>
                <a:gd name="connsiteY0" fmla="*/ 22823 h 28293"/>
                <a:gd name="connsiteX1" fmla="*/ 3412 w 13979"/>
                <a:gd name="connsiteY1" fmla="*/ -5367 h 28293"/>
                <a:gd name="connsiteX2" fmla="*/ -5962 w 13979"/>
                <a:gd name="connsiteY2" fmla="*/ 22823 h 28293"/>
                <a:gd name="connsiteX3" fmla="*/ -5962 w 13979"/>
                <a:gd name="connsiteY3" fmla="*/ 22823 h 28293"/>
              </a:gdLst>
              <a:ahLst/>
              <a:cxnLst>
                <a:cxn ang="0">
                  <a:pos x="connsiteX0" y="connsiteY0"/>
                </a:cxn>
                <a:cxn ang="0">
                  <a:pos x="connsiteX1" y="connsiteY1"/>
                </a:cxn>
                <a:cxn ang="0">
                  <a:pos x="connsiteX2" y="connsiteY2"/>
                </a:cxn>
                <a:cxn ang="0">
                  <a:pos x="connsiteX3" y="connsiteY3"/>
                </a:cxn>
              </a:cxnLst>
              <a:rect l="l" t="t" r="r" b="b"/>
              <a:pathLst>
                <a:path w="13979" h="28293">
                  <a:moveTo>
                    <a:pt x="-5962" y="22823"/>
                  </a:moveTo>
                  <a:cubicBezTo>
                    <a:pt x="3549" y="20686"/>
                    <a:pt x="6375" y="3179"/>
                    <a:pt x="3412" y="-5367"/>
                  </a:cubicBezTo>
                  <a:cubicBezTo>
                    <a:pt x="-9133" y="-7159"/>
                    <a:pt x="-12993" y="14896"/>
                    <a:pt x="-5962" y="22823"/>
                  </a:cubicBezTo>
                  <a:lnTo>
                    <a:pt x="-5962" y="22823"/>
                  </a:lnTo>
                </a:path>
              </a:pathLst>
            </a:custGeom>
            <a:grpFill/>
            <a:ln w="689" cap="flat">
              <a:noFill/>
              <a:prstDash val="solid"/>
              <a:miter/>
            </a:ln>
          </p:spPr>
          <p:txBody>
            <a:bodyPr rtlCol="0" anchor="ctr"/>
            <a:lstStyle/>
            <a:p>
              <a:endParaRPr lang="en-US" sz="2400" dirty="0"/>
            </a:p>
          </p:txBody>
        </p:sp>
        <p:sp>
          <p:nvSpPr>
            <p:cNvPr id="40" name="Graphic 8">
              <a:extLst>
                <a:ext uri="{FF2B5EF4-FFF2-40B4-BE49-F238E27FC236}">
                  <a16:creationId xmlns:a16="http://schemas.microsoft.com/office/drawing/2014/main" id="{D6DF90E6-A9E9-4CE7-813F-7A506F929C75}"/>
                </a:ext>
              </a:extLst>
            </p:cNvPr>
            <p:cNvSpPr/>
            <p:nvPr/>
          </p:nvSpPr>
          <p:spPr>
            <a:xfrm flipV="1">
              <a:off x="1036752" y="1193981"/>
              <a:ext cx="6979927" cy="593234"/>
            </a:xfrm>
            <a:custGeom>
              <a:avLst/>
              <a:gdLst>
                <a:gd name="connsiteX0" fmla="*/ -2474 w 6979927"/>
                <a:gd name="connsiteY0" fmla="*/ -3079 h 593234"/>
                <a:gd name="connsiteX1" fmla="*/ -5575 w 6979927"/>
                <a:gd name="connsiteY1" fmla="*/ -5009 h 593234"/>
                <a:gd name="connsiteX2" fmla="*/ -2474 w 6979927"/>
                <a:gd name="connsiteY2" fmla="*/ -3079 h 593234"/>
                <a:gd name="connsiteX3" fmla="*/ 1988965 w 6979927"/>
                <a:gd name="connsiteY3" fmla="*/ 285922 h 593234"/>
                <a:gd name="connsiteX4" fmla="*/ 1999235 w 6979927"/>
                <a:gd name="connsiteY4" fmla="*/ 275376 h 593234"/>
                <a:gd name="connsiteX5" fmla="*/ 1988965 w 6979927"/>
                <a:gd name="connsiteY5" fmla="*/ 285922 h 593234"/>
                <a:gd name="connsiteX6" fmla="*/ 6971664 w 6979927"/>
                <a:gd name="connsiteY6" fmla="*/ 588225 h 593234"/>
                <a:gd name="connsiteX7" fmla="*/ 6971664 w 6979927"/>
                <a:gd name="connsiteY7" fmla="*/ 588225 h 59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9927" h="593234">
                  <a:moveTo>
                    <a:pt x="-2474" y="-3079"/>
                  </a:moveTo>
                  <a:cubicBezTo>
                    <a:pt x="-3232" y="-3562"/>
                    <a:pt x="-4748" y="-4526"/>
                    <a:pt x="-5575" y="-5009"/>
                  </a:cubicBezTo>
                  <a:lnTo>
                    <a:pt x="-2474" y="-3079"/>
                  </a:lnTo>
                  <a:close/>
                  <a:moveTo>
                    <a:pt x="1988965" y="285922"/>
                  </a:moveTo>
                  <a:cubicBezTo>
                    <a:pt x="1998546" y="288610"/>
                    <a:pt x="2001923" y="285095"/>
                    <a:pt x="1999235" y="275376"/>
                  </a:cubicBezTo>
                  <a:cubicBezTo>
                    <a:pt x="1989655" y="272757"/>
                    <a:pt x="1986208" y="276272"/>
                    <a:pt x="1988965" y="285922"/>
                  </a:cubicBezTo>
                  <a:moveTo>
                    <a:pt x="6971664" y="588225"/>
                  </a:moveTo>
                  <a:cubicBezTo>
                    <a:pt x="6975248" y="584710"/>
                    <a:pt x="6975248" y="584710"/>
                    <a:pt x="6971664" y="588225"/>
                  </a:cubicBezTo>
                </a:path>
              </a:pathLst>
            </a:custGeom>
            <a:grpFill/>
            <a:ln w="689" cap="flat">
              <a:noFill/>
              <a:prstDash val="solid"/>
              <a:miter/>
            </a:ln>
          </p:spPr>
          <p:txBody>
            <a:bodyPr rtlCol="0" anchor="ctr"/>
            <a:lstStyle/>
            <a:p>
              <a:endParaRPr lang="en-US" sz="2400" dirty="0"/>
            </a:p>
          </p:txBody>
        </p:sp>
        <p:sp>
          <p:nvSpPr>
            <p:cNvPr id="41" name="Graphic 8">
              <a:extLst>
                <a:ext uri="{FF2B5EF4-FFF2-40B4-BE49-F238E27FC236}">
                  <a16:creationId xmlns:a16="http://schemas.microsoft.com/office/drawing/2014/main" id="{B67C861F-732C-42D1-8AF6-36E44098A1F0}"/>
                </a:ext>
              </a:extLst>
            </p:cNvPr>
            <p:cNvSpPr/>
            <p:nvPr/>
          </p:nvSpPr>
          <p:spPr>
            <a:xfrm flipV="1">
              <a:off x="5374110" y="1193223"/>
              <a:ext cx="3283982" cy="1408905"/>
            </a:xfrm>
            <a:custGeom>
              <a:avLst/>
              <a:gdLst>
                <a:gd name="connsiteX0" fmla="*/ 2072060 w 3283982"/>
                <a:gd name="connsiteY0" fmla="*/ 5396 h 1408905"/>
                <a:gd name="connsiteX1" fmla="*/ 2072060 w 3283982"/>
                <a:gd name="connsiteY1" fmla="*/ 5396 h 1408905"/>
                <a:gd name="connsiteX2" fmla="*/ -8705 w 3283982"/>
                <a:gd name="connsiteY2" fmla="*/ 265932 h 1408905"/>
                <a:gd name="connsiteX3" fmla="*/ -8705 w 3283982"/>
                <a:gd name="connsiteY3" fmla="*/ 265932 h 1408905"/>
                <a:gd name="connsiteX4" fmla="*/ 3267627 w 3283982"/>
                <a:gd name="connsiteY4" fmla="*/ 1395813 h 1408905"/>
                <a:gd name="connsiteX5" fmla="*/ 3275277 w 3283982"/>
                <a:gd name="connsiteY5" fmla="*/ 1404566 h 1408905"/>
                <a:gd name="connsiteX6" fmla="*/ 3271073 w 3283982"/>
                <a:gd name="connsiteY6" fmla="*/ 1391057 h 1408905"/>
                <a:gd name="connsiteX7" fmla="*/ 3267627 w 3283982"/>
                <a:gd name="connsiteY7" fmla="*/ 1395813 h 1408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3982" h="1408905">
                  <a:moveTo>
                    <a:pt x="2072060" y="5396"/>
                  </a:moveTo>
                  <a:cubicBezTo>
                    <a:pt x="2094253" y="2915"/>
                    <a:pt x="2060618" y="-15212"/>
                    <a:pt x="2072060" y="5396"/>
                  </a:cubicBezTo>
                  <a:close/>
                  <a:moveTo>
                    <a:pt x="-8705" y="265932"/>
                  </a:moveTo>
                  <a:cubicBezTo>
                    <a:pt x="-5397" y="261934"/>
                    <a:pt x="-5397" y="261934"/>
                    <a:pt x="-8705" y="265932"/>
                  </a:cubicBezTo>
                  <a:moveTo>
                    <a:pt x="3267627" y="1395813"/>
                  </a:moveTo>
                  <a:cubicBezTo>
                    <a:pt x="3269556" y="1398018"/>
                    <a:pt x="3273347" y="1402361"/>
                    <a:pt x="3275277" y="1404566"/>
                  </a:cubicBezTo>
                  <a:cubicBezTo>
                    <a:pt x="3274243" y="1401189"/>
                    <a:pt x="3272107" y="1394434"/>
                    <a:pt x="3271073" y="1391057"/>
                  </a:cubicBezTo>
                  <a:lnTo>
                    <a:pt x="3267627" y="1395813"/>
                  </a:lnTo>
                </a:path>
              </a:pathLst>
            </a:custGeom>
            <a:grpFill/>
            <a:ln w="689" cap="flat">
              <a:noFill/>
              <a:prstDash val="solid"/>
              <a:miter/>
            </a:ln>
          </p:spPr>
          <p:txBody>
            <a:bodyPr rtlCol="0" anchor="ctr"/>
            <a:lstStyle/>
            <a:p>
              <a:endParaRPr lang="en-US" sz="2400" dirty="0"/>
            </a:p>
          </p:txBody>
        </p:sp>
        <p:sp>
          <p:nvSpPr>
            <p:cNvPr id="42" name="Graphic 8">
              <a:extLst>
                <a:ext uri="{FF2B5EF4-FFF2-40B4-BE49-F238E27FC236}">
                  <a16:creationId xmlns:a16="http://schemas.microsoft.com/office/drawing/2014/main" id="{59632ED5-FF8D-460A-A955-F6BFD2F50618}"/>
                </a:ext>
              </a:extLst>
            </p:cNvPr>
            <p:cNvSpPr/>
            <p:nvPr/>
          </p:nvSpPr>
          <p:spPr>
            <a:xfrm flipV="1">
              <a:off x="6855851" y="1201218"/>
              <a:ext cx="2791" cy="2636"/>
            </a:xfrm>
            <a:custGeom>
              <a:avLst/>
              <a:gdLst>
                <a:gd name="connsiteX0" fmla="*/ -8506 w 2791"/>
                <a:gd name="connsiteY0" fmla="*/ -2846 h 2636"/>
                <a:gd name="connsiteX1" fmla="*/ -8506 w 2791"/>
                <a:gd name="connsiteY1" fmla="*/ -2846 h 2636"/>
                <a:gd name="connsiteX2" fmla="*/ -8506 w 2791"/>
                <a:gd name="connsiteY2" fmla="*/ -2846 h 2636"/>
              </a:gdLst>
              <a:ahLst/>
              <a:cxnLst>
                <a:cxn ang="0">
                  <a:pos x="connsiteX0" y="connsiteY0"/>
                </a:cxn>
                <a:cxn ang="0">
                  <a:pos x="connsiteX1" y="connsiteY1"/>
                </a:cxn>
                <a:cxn ang="0">
                  <a:pos x="connsiteX2" y="connsiteY2"/>
                </a:cxn>
              </a:cxnLst>
              <a:rect l="l" t="t" r="r" b="b"/>
              <a:pathLst>
                <a:path w="2791" h="2636">
                  <a:moveTo>
                    <a:pt x="-8506" y="-2846"/>
                  </a:moveTo>
                  <a:cubicBezTo>
                    <a:pt x="-4784" y="-6361"/>
                    <a:pt x="-4784" y="-6361"/>
                    <a:pt x="-8506" y="-2846"/>
                  </a:cubicBezTo>
                  <a:lnTo>
                    <a:pt x="-8506" y="-2846"/>
                  </a:lnTo>
                </a:path>
              </a:pathLst>
            </a:custGeom>
            <a:grpFill/>
            <a:ln w="689" cap="flat">
              <a:noFill/>
              <a:prstDash val="solid"/>
              <a:miter/>
            </a:ln>
          </p:spPr>
          <p:txBody>
            <a:bodyPr rtlCol="0" anchor="ctr"/>
            <a:lstStyle/>
            <a:p>
              <a:endParaRPr lang="en-US" sz="2400" dirty="0"/>
            </a:p>
          </p:txBody>
        </p:sp>
        <p:sp>
          <p:nvSpPr>
            <p:cNvPr id="43" name="Graphic 8">
              <a:extLst>
                <a:ext uri="{FF2B5EF4-FFF2-40B4-BE49-F238E27FC236}">
                  <a16:creationId xmlns:a16="http://schemas.microsoft.com/office/drawing/2014/main" id="{21D87835-EDEF-47BD-95CB-BF3B43AA4CEE}"/>
                </a:ext>
              </a:extLst>
            </p:cNvPr>
            <p:cNvSpPr/>
            <p:nvPr/>
          </p:nvSpPr>
          <p:spPr>
            <a:xfrm flipV="1">
              <a:off x="1326309" y="1195015"/>
              <a:ext cx="7455525" cy="2471534"/>
            </a:xfrm>
            <a:custGeom>
              <a:avLst/>
              <a:gdLst>
                <a:gd name="connsiteX0" fmla="*/ 1994639 w 7455525"/>
                <a:gd name="connsiteY0" fmla="*/ 9254 h 2471534"/>
                <a:gd name="connsiteX1" fmla="*/ 2005391 w 7455525"/>
                <a:gd name="connsiteY1" fmla="*/ -2119 h 2471534"/>
                <a:gd name="connsiteX2" fmla="*/ 1994639 w 7455525"/>
                <a:gd name="connsiteY2" fmla="*/ 9254 h 2471534"/>
                <a:gd name="connsiteX3" fmla="*/ 1828255 w 7455525"/>
                <a:gd name="connsiteY3" fmla="*/ 43027 h 2471534"/>
                <a:gd name="connsiteX4" fmla="*/ 1828255 w 7455525"/>
                <a:gd name="connsiteY4" fmla="*/ 43027 h 2471534"/>
                <a:gd name="connsiteX5" fmla="*/ -5209 w 7455525"/>
                <a:gd name="connsiteY5" fmla="*/ 875912 h 2471534"/>
                <a:gd name="connsiteX6" fmla="*/ 4992 w 7455525"/>
                <a:gd name="connsiteY6" fmla="*/ 865367 h 2471534"/>
                <a:gd name="connsiteX7" fmla="*/ -5209 w 7455525"/>
                <a:gd name="connsiteY7" fmla="*/ 875912 h 2471534"/>
                <a:gd name="connsiteX8" fmla="*/ 7326923 w 7455525"/>
                <a:gd name="connsiteY8" fmla="*/ 1225705 h 2471534"/>
                <a:gd name="connsiteX9" fmla="*/ 7324374 w 7455525"/>
                <a:gd name="connsiteY9" fmla="*/ 1243970 h 2471534"/>
                <a:gd name="connsiteX10" fmla="*/ 7329750 w 7455525"/>
                <a:gd name="connsiteY10" fmla="*/ 1231908 h 2471534"/>
                <a:gd name="connsiteX11" fmla="*/ 7326923 w 7455525"/>
                <a:gd name="connsiteY11" fmla="*/ 1225705 h 2471534"/>
                <a:gd name="connsiteX12" fmla="*/ 958978 w 7455525"/>
                <a:gd name="connsiteY12" fmla="*/ 1296628 h 2471534"/>
                <a:gd name="connsiteX13" fmla="*/ 958978 w 7455525"/>
                <a:gd name="connsiteY13" fmla="*/ 1296628 h 2471534"/>
                <a:gd name="connsiteX14" fmla="*/ 1435936 w 7455525"/>
                <a:gd name="connsiteY14" fmla="*/ 1484517 h 2471534"/>
                <a:gd name="connsiteX15" fmla="*/ 1435591 w 7455525"/>
                <a:gd name="connsiteY15" fmla="*/ 1470456 h 2471534"/>
                <a:gd name="connsiteX16" fmla="*/ 1435936 w 7455525"/>
                <a:gd name="connsiteY16" fmla="*/ 1484517 h 2471534"/>
                <a:gd name="connsiteX17" fmla="*/ 6591153 w 7455525"/>
                <a:gd name="connsiteY17" fmla="*/ 1842029 h 2471534"/>
                <a:gd name="connsiteX18" fmla="*/ 6588465 w 7455525"/>
                <a:gd name="connsiteY18" fmla="*/ 1823626 h 2471534"/>
                <a:gd name="connsiteX19" fmla="*/ 6591153 w 7455525"/>
                <a:gd name="connsiteY19" fmla="*/ 1842029 h 2471534"/>
                <a:gd name="connsiteX20" fmla="*/ 2861711 w 7455525"/>
                <a:gd name="connsiteY20" fmla="*/ 2227662 h 2471534"/>
                <a:gd name="connsiteX21" fmla="*/ 2866604 w 7455525"/>
                <a:gd name="connsiteY21" fmla="*/ 2204779 h 2471534"/>
                <a:gd name="connsiteX22" fmla="*/ 2861711 w 7455525"/>
                <a:gd name="connsiteY22" fmla="*/ 2227662 h 2471534"/>
                <a:gd name="connsiteX23" fmla="*/ 2012697 w 7455525"/>
                <a:gd name="connsiteY23" fmla="*/ 2250545 h 2471534"/>
                <a:gd name="connsiteX24" fmla="*/ 2021451 w 7455525"/>
                <a:gd name="connsiteY24" fmla="*/ 2221666 h 2471534"/>
                <a:gd name="connsiteX25" fmla="*/ 2017315 w 7455525"/>
                <a:gd name="connsiteY25" fmla="*/ 2223526 h 2471534"/>
                <a:gd name="connsiteX26" fmla="*/ 2012697 w 7455525"/>
                <a:gd name="connsiteY26" fmla="*/ 2250545 h 2471534"/>
                <a:gd name="connsiteX27" fmla="*/ 7439891 w 7455525"/>
                <a:gd name="connsiteY27" fmla="*/ 2315748 h 2471534"/>
                <a:gd name="connsiteX28" fmla="*/ 7443269 w 7455525"/>
                <a:gd name="connsiteY28" fmla="*/ 2285972 h 2471534"/>
                <a:gd name="connsiteX29" fmla="*/ 7439891 w 7455525"/>
                <a:gd name="connsiteY29" fmla="*/ 2315748 h 2471534"/>
                <a:gd name="connsiteX30" fmla="*/ 6976786 w 7455525"/>
                <a:gd name="connsiteY30" fmla="*/ 2353518 h 2471534"/>
                <a:gd name="connsiteX31" fmla="*/ 6977200 w 7455525"/>
                <a:gd name="connsiteY31" fmla="*/ 2339044 h 2471534"/>
                <a:gd name="connsiteX32" fmla="*/ 6976786 w 7455525"/>
                <a:gd name="connsiteY32" fmla="*/ 2353518 h 2471534"/>
                <a:gd name="connsiteX33" fmla="*/ 5748826 w 7455525"/>
                <a:gd name="connsiteY33" fmla="*/ 2468071 h 2471534"/>
                <a:gd name="connsiteX34" fmla="*/ 5758475 w 7455525"/>
                <a:gd name="connsiteY34" fmla="*/ 2397148 h 2471534"/>
                <a:gd name="connsiteX35" fmla="*/ 5753168 w 7455525"/>
                <a:gd name="connsiteY35" fmla="*/ 2399629 h 2471534"/>
                <a:gd name="connsiteX36" fmla="*/ 5746964 w 7455525"/>
                <a:gd name="connsiteY36" fmla="*/ 2375781 h 2471534"/>
                <a:gd name="connsiteX37" fmla="*/ 5742002 w 7455525"/>
                <a:gd name="connsiteY37" fmla="*/ 2382467 h 2471534"/>
                <a:gd name="connsiteX38" fmla="*/ 5734351 w 7455525"/>
                <a:gd name="connsiteY38" fmla="*/ 2426647 h 2471534"/>
                <a:gd name="connsiteX39" fmla="*/ 5742484 w 7455525"/>
                <a:gd name="connsiteY39" fmla="*/ 2434849 h 2471534"/>
                <a:gd name="connsiteX40" fmla="*/ 5746000 w 7455525"/>
                <a:gd name="connsiteY40" fmla="*/ 2438365 h 2471534"/>
                <a:gd name="connsiteX41" fmla="*/ 5748826 w 7455525"/>
                <a:gd name="connsiteY41" fmla="*/ 2468071 h 247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455525" h="2471534">
                  <a:moveTo>
                    <a:pt x="1994639" y="9254"/>
                  </a:moveTo>
                  <a:cubicBezTo>
                    <a:pt x="2005874" y="12976"/>
                    <a:pt x="2009458" y="9254"/>
                    <a:pt x="2005391" y="-2119"/>
                  </a:cubicBezTo>
                  <a:cubicBezTo>
                    <a:pt x="1994019" y="-5772"/>
                    <a:pt x="1990435" y="-1981"/>
                    <a:pt x="1994639" y="9254"/>
                  </a:cubicBezTo>
                  <a:close/>
                  <a:moveTo>
                    <a:pt x="1828255" y="43027"/>
                  </a:moveTo>
                  <a:cubicBezTo>
                    <a:pt x="1850931" y="41511"/>
                    <a:pt x="1817158" y="22557"/>
                    <a:pt x="1828255" y="43027"/>
                  </a:cubicBezTo>
                  <a:moveTo>
                    <a:pt x="-5209" y="875912"/>
                  </a:moveTo>
                  <a:cubicBezTo>
                    <a:pt x="4509" y="878394"/>
                    <a:pt x="7887" y="874878"/>
                    <a:pt x="4992" y="865367"/>
                  </a:cubicBezTo>
                  <a:cubicBezTo>
                    <a:pt x="-4726" y="862886"/>
                    <a:pt x="-8173" y="866401"/>
                    <a:pt x="-5209" y="875912"/>
                  </a:cubicBezTo>
                  <a:moveTo>
                    <a:pt x="7326923" y="1225705"/>
                  </a:moveTo>
                  <a:cubicBezTo>
                    <a:pt x="7316516" y="1225842"/>
                    <a:pt x="7314655" y="1240937"/>
                    <a:pt x="7324374" y="1243970"/>
                  </a:cubicBezTo>
                  <a:cubicBezTo>
                    <a:pt x="7325683" y="1240937"/>
                    <a:pt x="7328371" y="1234941"/>
                    <a:pt x="7329750" y="1231908"/>
                  </a:cubicBezTo>
                  <a:lnTo>
                    <a:pt x="7326923" y="1225705"/>
                  </a:lnTo>
                  <a:moveTo>
                    <a:pt x="958978" y="1296628"/>
                  </a:moveTo>
                  <a:cubicBezTo>
                    <a:pt x="981792" y="1296008"/>
                    <a:pt x="948570" y="1275882"/>
                    <a:pt x="958978" y="1296628"/>
                  </a:cubicBezTo>
                  <a:moveTo>
                    <a:pt x="1435936" y="1484517"/>
                  </a:moveTo>
                  <a:cubicBezTo>
                    <a:pt x="1444827" y="1480381"/>
                    <a:pt x="1444690" y="1475694"/>
                    <a:pt x="1435591" y="1470456"/>
                  </a:cubicBezTo>
                  <a:cubicBezTo>
                    <a:pt x="1426700" y="1474660"/>
                    <a:pt x="1426769" y="1479347"/>
                    <a:pt x="1435936" y="1484517"/>
                  </a:cubicBezTo>
                  <a:moveTo>
                    <a:pt x="6591153" y="1842029"/>
                  </a:moveTo>
                  <a:cubicBezTo>
                    <a:pt x="6601699" y="1841477"/>
                    <a:pt x="6596116" y="1824866"/>
                    <a:pt x="6588465" y="1823626"/>
                  </a:cubicBezTo>
                  <a:cubicBezTo>
                    <a:pt x="6577575" y="1824039"/>
                    <a:pt x="6583089" y="1840995"/>
                    <a:pt x="6591153" y="1842029"/>
                  </a:cubicBezTo>
                  <a:moveTo>
                    <a:pt x="2861711" y="2227662"/>
                  </a:moveTo>
                  <a:cubicBezTo>
                    <a:pt x="2872325" y="2227455"/>
                    <a:pt x="2876461" y="2209121"/>
                    <a:pt x="2866604" y="2204779"/>
                  </a:cubicBezTo>
                  <a:cubicBezTo>
                    <a:pt x="2856059" y="2204366"/>
                    <a:pt x="2850062" y="2224767"/>
                    <a:pt x="2861711" y="2227662"/>
                  </a:cubicBezTo>
                  <a:moveTo>
                    <a:pt x="2012697" y="2250545"/>
                  </a:moveTo>
                  <a:cubicBezTo>
                    <a:pt x="2026276" y="2253922"/>
                    <a:pt x="2030273" y="2229247"/>
                    <a:pt x="2021451" y="2221666"/>
                  </a:cubicBezTo>
                  <a:cubicBezTo>
                    <a:pt x="2020417" y="2222148"/>
                    <a:pt x="2018349" y="2223113"/>
                    <a:pt x="2017315" y="2223526"/>
                  </a:cubicBezTo>
                  <a:cubicBezTo>
                    <a:pt x="2016626" y="2232625"/>
                    <a:pt x="2008975" y="2241516"/>
                    <a:pt x="2012697" y="2250545"/>
                  </a:cubicBezTo>
                  <a:moveTo>
                    <a:pt x="7439891" y="2315748"/>
                  </a:moveTo>
                  <a:cubicBezTo>
                    <a:pt x="7447473" y="2311750"/>
                    <a:pt x="7454848" y="2290659"/>
                    <a:pt x="7443269" y="2285972"/>
                  </a:cubicBezTo>
                  <a:cubicBezTo>
                    <a:pt x="7431896" y="2289901"/>
                    <a:pt x="7435273" y="2307546"/>
                    <a:pt x="7439891" y="2315748"/>
                  </a:cubicBezTo>
                  <a:moveTo>
                    <a:pt x="6976786" y="2353518"/>
                  </a:moveTo>
                  <a:cubicBezTo>
                    <a:pt x="6985609" y="2349452"/>
                    <a:pt x="6985747" y="2344627"/>
                    <a:pt x="6977200" y="2339044"/>
                  </a:cubicBezTo>
                  <a:cubicBezTo>
                    <a:pt x="6968240" y="2343111"/>
                    <a:pt x="6968102" y="2347935"/>
                    <a:pt x="6976786" y="2353518"/>
                  </a:cubicBezTo>
                  <a:moveTo>
                    <a:pt x="5748826" y="2468071"/>
                  </a:moveTo>
                  <a:cubicBezTo>
                    <a:pt x="5756752" y="2445326"/>
                    <a:pt x="5759164" y="2421202"/>
                    <a:pt x="5758475" y="2397148"/>
                  </a:cubicBezTo>
                  <a:cubicBezTo>
                    <a:pt x="5757165" y="2397768"/>
                    <a:pt x="5754477" y="2399009"/>
                    <a:pt x="5753168" y="2399629"/>
                  </a:cubicBezTo>
                  <a:cubicBezTo>
                    <a:pt x="5751651" y="2393701"/>
                    <a:pt x="5748550" y="2381708"/>
                    <a:pt x="5746964" y="2375781"/>
                  </a:cubicBezTo>
                  <a:lnTo>
                    <a:pt x="5742002" y="2382467"/>
                  </a:lnTo>
                  <a:cubicBezTo>
                    <a:pt x="5738142" y="2396941"/>
                    <a:pt x="5735730" y="2411760"/>
                    <a:pt x="5734351" y="2426647"/>
                  </a:cubicBezTo>
                  <a:cubicBezTo>
                    <a:pt x="5736350" y="2428646"/>
                    <a:pt x="5740417" y="2432782"/>
                    <a:pt x="5742484" y="2434849"/>
                  </a:cubicBezTo>
                  <a:lnTo>
                    <a:pt x="5746000" y="2438365"/>
                  </a:lnTo>
                  <a:cubicBezTo>
                    <a:pt x="5746413" y="2448290"/>
                    <a:pt x="5747378" y="2458215"/>
                    <a:pt x="5748826" y="2468071"/>
                  </a:cubicBezTo>
                </a:path>
              </a:pathLst>
            </a:custGeom>
            <a:grpFill/>
            <a:ln w="689" cap="flat">
              <a:noFill/>
              <a:prstDash val="solid"/>
              <a:miter/>
            </a:ln>
          </p:spPr>
          <p:txBody>
            <a:bodyPr rtlCol="0" anchor="ctr"/>
            <a:lstStyle/>
            <a:p>
              <a:endParaRPr lang="en-US" sz="2400" dirty="0"/>
            </a:p>
          </p:txBody>
        </p:sp>
        <p:sp>
          <p:nvSpPr>
            <p:cNvPr id="44" name="Graphic 8">
              <a:extLst>
                <a:ext uri="{FF2B5EF4-FFF2-40B4-BE49-F238E27FC236}">
                  <a16:creationId xmlns:a16="http://schemas.microsoft.com/office/drawing/2014/main" id="{23629A17-D2FD-4396-82BF-0B147413A8A6}"/>
                </a:ext>
              </a:extLst>
            </p:cNvPr>
            <p:cNvSpPr/>
            <p:nvPr/>
          </p:nvSpPr>
          <p:spPr>
            <a:xfrm flipV="1">
              <a:off x="1738060" y="1198906"/>
              <a:ext cx="6959130" cy="2401991"/>
            </a:xfrm>
            <a:custGeom>
              <a:avLst/>
              <a:gdLst>
                <a:gd name="connsiteX0" fmla="*/ 15956 w 6959130"/>
                <a:gd name="connsiteY0" fmla="*/ 21644 h 2401991"/>
                <a:gd name="connsiteX1" fmla="*/ 31051 w 6959130"/>
                <a:gd name="connsiteY1" fmla="*/ 33843 h 2401991"/>
                <a:gd name="connsiteX2" fmla="*/ 22297 w 6959130"/>
                <a:gd name="connsiteY2" fmla="*/ -1653 h 2401991"/>
                <a:gd name="connsiteX3" fmla="*/ -6444 w 6959130"/>
                <a:gd name="connsiteY3" fmla="*/ -3514 h 2401991"/>
                <a:gd name="connsiteX4" fmla="*/ -4445 w 6959130"/>
                <a:gd name="connsiteY4" fmla="*/ 19369 h 2401991"/>
                <a:gd name="connsiteX5" fmla="*/ 15956 w 6959130"/>
                <a:gd name="connsiteY5" fmla="*/ 21644 h 2401991"/>
                <a:gd name="connsiteX6" fmla="*/ 4602545 w 6959130"/>
                <a:gd name="connsiteY6" fmla="*/ 331804 h 2401991"/>
                <a:gd name="connsiteX7" fmla="*/ 4600685 w 6959130"/>
                <a:gd name="connsiteY7" fmla="*/ 309266 h 2401991"/>
                <a:gd name="connsiteX8" fmla="*/ 4598548 w 6959130"/>
                <a:gd name="connsiteY8" fmla="*/ 316365 h 2401991"/>
                <a:gd name="connsiteX9" fmla="*/ 4602545 w 6959130"/>
                <a:gd name="connsiteY9" fmla="*/ 331804 h 2401991"/>
                <a:gd name="connsiteX10" fmla="*/ 3410081 w 6959130"/>
                <a:gd name="connsiteY10" fmla="*/ 1002096 h 2401991"/>
                <a:gd name="connsiteX11" fmla="*/ 3431654 w 6959130"/>
                <a:gd name="connsiteY11" fmla="*/ 1000580 h 2401991"/>
                <a:gd name="connsiteX12" fmla="*/ 3410081 w 6959130"/>
                <a:gd name="connsiteY12" fmla="*/ 1002096 h 2401991"/>
                <a:gd name="connsiteX13" fmla="*/ 6943915 w 6959130"/>
                <a:gd name="connsiteY13" fmla="*/ 1190743 h 2401991"/>
                <a:gd name="connsiteX14" fmla="*/ 6947292 w 6959130"/>
                <a:gd name="connsiteY14" fmla="*/ 1171031 h 2401991"/>
                <a:gd name="connsiteX15" fmla="*/ 6943915 w 6959130"/>
                <a:gd name="connsiteY15" fmla="*/ 1190743 h 2401991"/>
                <a:gd name="connsiteX16" fmla="*/ 6914071 w 6959130"/>
                <a:gd name="connsiteY16" fmla="*/ 1332452 h 2401991"/>
                <a:gd name="connsiteX17" fmla="*/ 6942881 w 6959130"/>
                <a:gd name="connsiteY17" fmla="*/ 1344100 h 2401991"/>
                <a:gd name="connsiteX18" fmla="*/ 6936747 w 6959130"/>
                <a:gd name="connsiteY18" fmla="*/ 1306536 h 2401991"/>
                <a:gd name="connsiteX19" fmla="*/ 6943295 w 6959130"/>
                <a:gd name="connsiteY19" fmla="*/ 1275383 h 2401991"/>
                <a:gd name="connsiteX20" fmla="*/ 6938953 w 6959130"/>
                <a:gd name="connsiteY20" fmla="*/ 1275038 h 2401991"/>
                <a:gd name="connsiteX21" fmla="*/ 6918965 w 6959130"/>
                <a:gd name="connsiteY21" fmla="*/ 1289857 h 2401991"/>
                <a:gd name="connsiteX22" fmla="*/ 6947361 w 6959130"/>
                <a:gd name="connsiteY22" fmla="*/ 1264975 h 2401991"/>
                <a:gd name="connsiteX23" fmla="*/ 6945707 w 6959130"/>
                <a:gd name="connsiteY23" fmla="*/ 1227687 h 2401991"/>
                <a:gd name="connsiteX24" fmla="*/ 6942468 w 6959130"/>
                <a:gd name="connsiteY24" fmla="*/ 1214384 h 2401991"/>
                <a:gd name="connsiteX25" fmla="*/ 6929510 w 6959130"/>
                <a:gd name="connsiteY25" fmla="*/ 1204390 h 2401991"/>
                <a:gd name="connsiteX26" fmla="*/ 6917517 w 6959130"/>
                <a:gd name="connsiteY26" fmla="*/ 1196946 h 2401991"/>
                <a:gd name="connsiteX27" fmla="*/ 6921032 w 6959130"/>
                <a:gd name="connsiteY27" fmla="*/ 1209835 h 2401991"/>
                <a:gd name="connsiteX28" fmla="*/ 6915311 w 6959130"/>
                <a:gd name="connsiteY28" fmla="*/ 1228031 h 2401991"/>
                <a:gd name="connsiteX29" fmla="*/ 6922411 w 6959130"/>
                <a:gd name="connsiteY29" fmla="*/ 1221621 h 2401991"/>
                <a:gd name="connsiteX30" fmla="*/ 6940607 w 6959130"/>
                <a:gd name="connsiteY30" fmla="*/ 1239680 h 2401991"/>
                <a:gd name="connsiteX31" fmla="*/ 6922755 w 6959130"/>
                <a:gd name="connsiteY31" fmla="*/ 1255463 h 2401991"/>
                <a:gd name="connsiteX32" fmla="*/ 6918068 w 6959130"/>
                <a:gd name="connsiteY32" fmla="*/ 1233545 h 2401991"/>
                <a:gd name="connsiteX33" fmla="*/ 6914829 w 6959130"/>
                <a:gd name="connsiteY33" fmla="*/ 1246158 h 2401991"/>
                <a:gd name="connsiteX34" fmla="*/ 6898632 w 6959130"/>
                <a:gd name="connsiteY34" fmla="*/ 1243953 h 2401991"/>
                <a:gd name="connsiteX35" fmla="*/ 6914071 w 6959130"/>
                <a:gd name="connsiteY35" fmla="*/ 1265526 h 2401991"/>
                <a:gd name="connsiteX36" fmla="*/ 6894565 w 6959130"/>
                <a:gd name="connsiteY36" fmla="*/ 1265802 h 2401991"/>
                <a:gd name="connsiteX37" fmla="*/ 6926615 w 6959130"/>
                <a:gd name="connsiteY37" fmla="*/ 1311499 h 2401991"/>
                <a:gd name="connsiteX38" fmla="*/ 6938401 w 6959130"/>
                <a:gd name="connsiteY38" fmla="*/ 1332314 h 2401991"/>
                <a:gd name="connsiteX39" fmla="*/ 6914071 w 6959130"/>
                <a:gd name="connsiteY39" fmla="*/ 1332452 h 2401991"/>
                <a:gd name="connsiteX40" fmla="*/ 79160 w 6959130"/>
                <a:gd name="connsiteY40" fmla="*/ 2040584 h 2401991"/>
                <a:gd name="connsiteX41" fmla="*/ 90395 w 6959130"/>
                <a:gd name="connsiteY41" fmla="*/ 2027901 h 2401991"/>
                <a:gd name="connsiteX42" fmla="*/ 96943 w 6959130"/>
                <a:gd name="connsiteY42" fmla="*/ 2033140 h 2401991"/>
                <a:gd name="connsiteX43" fmla="*/ 99079 w 6959130"/>
                <a:gd name="connsiteY43" fmla="*/ 2015495 h 2401991"/>
                <a:gd name="connsiteX44" fmla="*/ 81228 w 6959130"/>
                <a:gd name="connsiteY44" fmla="*/ 2020320 h 2401991"/>
                <a:gd name="connsiteX45" fmla="*/ 101285 w 6959130"/>
                <a:gd name="connsiteY45" fmla="*/ 1980964 h 2401991"/>
                <a:gd name="connsiteX46" fmla="*/ 118930 w 6959130"/>
                <a:gd name="connsiteY46" fmla="*/ 1973865 h 2401991"/>
                <a:gd name="connsiteX47" fmla="*/ 79091 w 6959130"/>
                <a:gd name="connsiteY47" fmla="*/ 1970694 h 2401991"/>
                <a:gd name="connsiteX48" fmla="*/ 72750 w 6959130"/>
                <a:gd name="connsiteY48" fmla="*/ 2006121 h 2401991"/>
                <a:gd name="connsiteX49" fmla="*/ 77299 w 6959130"/>
                <a:gd name="connsiteY49" fmla="*/ 1983238 h 2401991"/>
                <a:gd name="connsiteX50" fmla="*/ 49592 w 6959130"/>
                <a:gd name="connsiteY50" fmla="*/ 1982894 h 2401991"/>
                <a:gd name="connsiteX51" fmla="*/ 64410 w 6959130"/>
                <a:gd name="connsiteY51" fmla="*/ 2006466 h 2401991"/>
                <a:gd name="connsiteX52" fmla="*/ 69580 w 6959130"/>
                <a:gd name="connsiteY52" fmla="*/ 2025144 h 2401991"/>
                <a:gd name="connsiteX53" fmla="*/ 79160 w 6959130"/>
                <a:gd name="connsiteY53" fmla="*/ 2040584 h 2401991"/>
                <a:gd name="connsiteX54" fmla="*/ 2370215 w 6959130"/>
                <a:gd name="connsiteY54" fmla="*/ 2046373 h 2401991"/>
                <a:gd name="connsiteX55" fmla="*/ 2404884 w 6959130"/>
                <a:gd name="connsiteY55" fmla="*/ 2038378 h 2401991"/>
                <a:gd name="connsiteX56" fmla="*/ 2406331 w 6959130"/>
                <a:gd name="connsiteY56" fmla="*/ 2007569 h 2401991"/>
                <a:gd name="connsiteX57" fmla="*/ 2388756 w 6959130"/>
                <a:gd name="connsiteY57" fmla="*/ 2001434 h 2401991"/>
                <a:gd name="connsiteX58" fmla="*/ 2381725 w 6959130"/>
                <a:gd name="connsiteY58" fmla="*/ 2034380 h 2401991"/>
                <a:gd name="connsiteX59" fmla="*/ 2382828 w 6959130"/>
                <a:gd name="connsiteY59" fmla="*/ 2017976 h 2401991"/>
                <a:gd name="connsiteX60" fmla="*/ 2374419 w 6959130"/>
                <a:gd name="connsiteY60" fmla="*/ 2016529 h 2401991"/>
                <a:gd name="connsiteX61" fmla="*/ 2370215 w 6959130"/>
                <a:gd name="connsiteY61" fmla="*/ 2046373 h 2401991"/>
                <a:gd name="connsiteX62" fmla="*/ 2829804 w 6959130"/>
                <a:gd name="connsiteY62" fmla="*/ 2066982 h 2401991"/>
                <a:gd name="connsiteX63" fmla="*/ 2868402 w 6959130"/>
                <a:gd name="connsiteY63" fmla="*/ 2077183 h 2401991"/>
                <a:gd name="connsiteX64" fmla="*/ 2895627 w 6959130"/>
                <a:gd name="connsiteY64" fmla="*/ 2073323 h 2401991"/>
                <a:gd name="connsiteX65" fmla="*/ 2894800 w 6959130"/>
                <a:gd name="connsiteY65" fmla="*/ 2079940 h 2401991"/>
                <a:gd name="connsiteX66" fmla="*/ 2918717 w 6959130"/>
                <a:gd name="connsiteY66" fmla="*/ 2080767 h 2401991"/>
                <a:gd name="connsiteX67" fmla="*/ 2919268 w 6959130"/>
                <a:gd name="connsiteY67" fmla="*/ 2067189 h 2401991"/>
                <a:gd name="connsiteX68" fmla="*/ 2924231 w 6959130"/>
                <a:gd name="connsiteY68" fmla="*/ 2067878 h 2401991"/>
                <a:gd name="connsiteX69" fmla="*/ 2923955 w 6959130"/>
                <a:gd name="connsiteY69" fmla="*/ 2081594 h 2401991"/>
                <a:gd name="connsiteX70" fmla="*/ 2980336 w 6959130"/>
                <a:gd name="connsiteY70" fmla="*/ 2076631 h 2401991"/>
                <a:gd name="connsiteX71" fmla="*/ 2975924 w 6959130"/>
                <a:gd name="connsiteY71" fmla="*/ 2073530 h 2401991"/>
                <a:gd name="connsiteX72" fmla="*/ 2963725 w 6959130"/>
                <a:gd name="connsiteY72" fmla="*/ 2067533 h 2401991"/>
                <a:gd name="connsiteX73" fmla="*/ 2962002 w 6959130"/>
                <a:gd name="connsiteY73" fmla="*/ 2036310 h 2401991"/>
                <a:gd name="connsiteX74" fmla="*/ 2913685 w 6959130"/>
                <a:gd name="connsiteY74" fmla="*/ 2031899 h 2401991"/>
                <a:gd name="connsiteX75" fmla="*/ 2923817 w 6959130"/>
                <a:gd name="connsiteY75" fmla="*/ 2049682 h 2401991"/>
                <a:gd name="connsiteX76" fmla="*/ 2907689 w 6959130"/>
                <a:gd name="connsiteY76" fmla="*/ 2047545 h 2401991"/>
                <a:gd name="connsiteX77" fmla="*/ 2894042 w 6959130"/>
                <a:gd name="connsiteY77" fmla="*/ 2066224 h 2401991"/>
                <a:gd name="connsiteX78" fmla="*/ 2877983 w 6959130"/>
                <a:gd name="connsiteY78" fmla="*/ 2067120 h 2401991"/>
                <a:gd name="connsiteX79" fmla="*/ 2888804 w 6959130"/>
                <a:gd name="connsiteY79" fmla="*/ 2049199 h 2401991"/>
                <a:gd name="connsiteX80" fmla="*/ 2873709 w 6959130"/>
                <a:gd name="connsiteY80" fmla="*/ 2031003 h 2401991"/>
                <a:gd name="connsiteX81" fmla="*/ 2859648 w 6959130"/>
                <a:gd name="connsiteY81" fmla="*/ 2055540 h 2401991"/>
                <a:gd name="connsiteX82" fmla="*/ 2852756 w 6959130"/>
                <a:gd name="connsiteY82" fmla="*/ 2069187 h 2401991"/>
                <a:gd name="connsiteX83" fmla="*/ 2853997 w 6959130"/>
                <a:gd name="connsiteY83" fmla="*/ 2057125 h 2401991"/>
                <a:gd name="connsiteX84" fmla="*/ 2858063 w 6959130"/>
                <a:gd name="connsiteY84" fmla="*/ 2032451 h 2401991"/>
                <a:gd name="connsiteX85" fmla="*/ 2847104 w 6959130"/>
                <a:gd name="connsiteY85" fmla="*/ 2035828 h 2401991"/>
                <a:gd name="connsiteX86" fmla="*/ 2829804 w 6959130"/>
                <a:gd name="connsiteY86" fmla="*/ 2066982 h 2401991"/>
                <a:gd name="connsiteX87" fmla="*/ 5630349 w 6959130"/>
                <a:gd name="connsiteY87" fmla="*/ 2397751 h 2401991"/>
                <a:gd name="connsiteX88" fmla="*/ 5639448 w 6959130"/>
                <a:gd name="connsiteY88" fmla="*/ 2380520 h 2401991"/>
                <a:gd name="connsiteX89" fmla="*/ 5630349 w 6959130"/>
                <a:gd name="connsiteY89" fmla="*/ 2397751 h 240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959130" h="2401991">
                  <a:moveTo>
                    <a:pt x="15956" y="21644"/>
                  </a:moveTo>
                  <a:cubicBezTo>
                    <a:pt x="20988" y="25779"/>
                    <a:pt x="26019" y="29846"/>
                    <a:pt x="31051" y="33843"/>
                  </a:cubicBezTo>
                  <a:cubicBezTo>
                    <a:pt x="28156" y="22057"/>
                    <a:pt x="25192" y="10202"/>
                    <a:pt x="22297" y="-1653"/>
                  </a:cubicBezTo>
                  <a:cubicBezTo>
                    <a:pt x="12717" y="-2204"/>
                    <a:pt x="3136" y="-2825"/>
                    <a:pt x="-6444" y="-3514"/>
                  </a:cubicBezTo>
                  <a:cubicBezTo>
                    <a:pt x="-5893" y="2207"/>
                    <a:pt x="-4928" y="13648"/>
                    <a:pt x="-4445" y="19369"/>
                  </a:cubicBezTo>
                  <a:cubicBezTo>
                    <a:pt x="655" y="19989"/>
                    <a:pt x="10856" y="21092"/>
                    <a:pt x="15956" y="21644"/>
                  </a:cubicBezTo>
                  <a:close/>
                  <a:moveTo>
                    <a:pt x="4602545" y="331804"/>
                  </a:moveTo>
                  <a:cubicBezTo>
                    <a:pt x="4618950" y="330771"/>
                    <a:pt x="4618881" y="304855"/>
                    <a:pt x="4600685" y="309266"/>
                  </a:cubicBezTo>
                  <a:lnTo>
                    <a:pt x="4598548" y="316365"/>
                  </a:lnTo>
                  <a:cubicBezTo>
                    <a:pt x="4599513" y="320225"/>
                    <a:pt x="4601511" y="327945"/>
                    <a:pt x="4602545" y="331804"/>
                  </a:cubicBezTo>
                  <a:moveTo>
                    <a:pt x="3410081" y="1002096"/>
                  </a:moveTo>
                  <a:cubicBezTo>
                    <a:pt x="3411459" y="1014227"/>
                    <a:pt x="3431585" y="1011332"/>
                    <a:pt x="3431654" y="1000580"/>
                  </a:cubicBezTo>
                  <a:cubicBezTo>
                    <a:pt x="3427725" y="992102"/>
                    <a:pt x="3406565" y="987829"/>
                    <a:pt x="3410081" y="1002096"/>
                  </a:cubicBezTo>
                  <a:moveTo>
                    <a:pt x="6943915" y="1190743"/>
                  </a:moveTo>
                  <a:cubicBezTo>
                    <a:pt x="6954323" y="1187021"/>
                    <a:pt x="6955495" y="1180404"/>
                    <a:pt x="6947292" y="1171031"/>
                  </a:cubicBezTo>
                  <a:cubicBezTo>
                    <a:pt x="6942536" y="1177165"/>
                    <a:pt x="6941365" y="1183713"/>
                    <a:pt x="6943915" y="1190743"/>
                  </a:cubicBezTo>
                  <a:moveTo>
                    <a:pt x="6914071" y="1332452"/>
                  </a:moveTo>
                  <a:cubicBezTo>
                    <a:pt x="6925236" y="1331694"/>
                    <a:pt x="6934541" y="1337139"/>
                    <a:pt x="6942881" y="1344100"/>
                  </a:cubicBezTo>
                  <a:cubicBezTo>
                    <a:pt x="6941502" y="1331556"/>
                    <a:pt x="6943433" y="1317909"/>
                    <a:pt x="6936747" y="1306536"/>
                  </a:cubicBezTo>
                  <a:cubicBezTo>
                    <a:pt x="6940607" y="1296611"/>
                    <a:pt x="6941916" y="1285997"/>
                    <a:pt x="6943295" y="1275383"/>
                  </a:cubicBezTo>
                  <a:lnTo>
                    <a:pt x="6938953" y="1275038"/>
                  </a:lnTo>
                  <a:cubicBezTo>
                    <a:pt x="6937781" y="1287375"/>
                    <a:pt x="6931095" y="1292269"/>
                    <a:pt x="6918965" y="1289857"/>
                  </a:cubicBezTo>
                  <a:cubicBezTo>
                    <a:pt x="6912554" y="1274211"/>
                    <a:pt x="6931853" y="1245125"/>
                    <a:pt x="6947361" y="1264975"/>
                  </a:cubicBezTo>
                  <a:cubicBezTo>
                    <a:pt x="6946741" y="1252568"/>
                    <a:pt x="6946948" y="1240093"/>
                    <a:pt x="6945707" y="1227687"/>
                  </a:cubicBezTo>
                  <a:cubicBezTo>
                    <a:pt x="6944880" y="1224378"/>
                    <a:pt x="6943295" y="1217693"/>
                    <a:pt x="6942468" y="1214384"/>
                  </a:cubicBezTo>
                  <a:cubicBezTo>
                    <a:pt x="6938125" y="1210938"/>
                    <a:pt x="6933852" y="1207630"/>
                    <a:pt x="6929510" y="1204390"/>
                  </a:cubicBezTo>
                  <a:cubicBezTo>
                    <a:pt x="6926546" y="1202529"/>
                    <a:pt x="6920480" y="1198807"/>
                    <a:pt x="6917517" y="1196946"/>
                  </a:cubicBezTo>
                  <a:cubicBezTo>
                    <a:pt x="6918413" y="1200117"/>
                    <a:pt x="6920136" y="1206596"/>
                    <a:pt x="6921032" y="1209835"/>
                  </a:cubicBezTo>
                  <a:cubicBezTo>
                    <a:pt x="6909866" y="1209284"/>
                    <a:pt x="6890705" y="1245125"/>
                    <a:pt x="6915311" y="1228031"/>
                  </a:cubicBezTo>
                  <a:lnTo>
                    <a:pt x="6922411" y="1221621"/>
                  </a:lnTo>
                  <a:cubicBezTo>
                    <a:pt x="6928683" y="1227411"/>
                    <a:pt x="6934610" y="1233407"/>
                    <a:pt x="6940607" y="1239680"/>
                  </a:cubicBezTo>
                  <a:cubicBezTo>
                    <a:pt x="6937643" y="1248502"/>
                    <a:pt x="6931646" y="1253740"/>
                    <a:pt x="6922755" y="1255463"/>
                  </a:cubicBezTo>
                  <a:cubicBezTo>
                    <a:pt x="6921584" y="1249949"/>
                    <a:pt x="6919240" y="1238990"/>
                    <a:pt x="6918068" y="1233545"/>
                  </a:cubicBezTo>
                  <a:lnTo>
                    <a:pt x="6914829" y="1246158"/>
                  </a:lnTo>
                  <a:cubicBezTo>
                    <a:pt x="6910762" y="1245607"/>
                    <a:pt x="6902698" y="1244504"/>
                    <a:pt x="6898632" y="1243953"/>
                  </a:cubicBezTo>
                  <a:cubicBezTo>
                    <a:pt x="6903594" y="1251259"/>
                    <a:pt x="6908833" y="1258427"/>
                    <a:pt x="6914071" y="1265526"/>
                  </a:cubicBezTo>
                  <a:cubicBezTo>
                    <a:pt x="6909246" y="1265595"/>
                    <a:pt x="6899458" y="1265733"/>
                    <a:pt x="6894565" y="1265802"/>
                  </a:cubicBezTo>
                  <a:cubicBezTo>
                    <a:pt x="6886570" y="1295026"/>
                    <a:pt x="6926753" y="1285239"/>
                    <a:pt x="6926615" y="1311499"/>
                  </a:cubicBezTo>
                  <a:cubicBezTo>
                    <a:pt x="6935506" y="1314807"/>
                    <a:pt x="6939435" y="1321769"/>
                    <a:pt x="6938401" y="1332314"/>
                  </a:cubicBezTo>
                  <a:cubicBezTo>
                    <a:pt x="6929717" y="1330178"/>
                    <a:pt x="6919033" y="1319701"/>
                    <a:pt x="6914071" y="1332452"/>
                  </a:cubicBezTo>
                  <a:moveTo>
                    <a:pt x="79160" y="2040584"/>
                  </a:moveTo>
                  <a:cubicBezTo>
                    <a:pt x="81986" y="2037413"/>
                    <a:pt x="87569" y="2031072"/>
                    <a:pt x="90395" y="2027901"/>
                  </a:cubicBezTo>
                  <a:cubicBezTo>
                    <a:pt x="92049" y="2029211"/>
                    <a:pt x="95358" y="2031830"/>
                    <a:pt x="96943" y="2033140"/>
                  </a:cubicBezTo>
                  <a:cubicBezTo>
                    <a:pt x="97494" y="2028729"/>
                    <a:pt x="98528" y="2019906"/>
                    <a:pt x="99079" y="2015495"/>
                  </a:cubicBezTo>
                  <a:cubicBezTo>
                    <a:pt x="94599" y="2016736"/>
                    <a:pt x="85708" y="2019148"/>
                    <a:pt x="81228" y="2020320"/>
                  </a:cubicBezTo>
                  <a:cubicBezTo>
                    <a:pt x="92049" y="2009705"/>
                    <a:pt x="103146" y="1997437"/>
                    <a:pt x="101285" y="1980964"/>
                  </a:cubicBezTo>
                  <a:cubicBezTo>
                    <a:pt x="105696" y="1979172"/>
                    <a:pt x="114519" y="1975657"/>
                    <a:pt x="118930" y="1973865"/>
                  </a:cubicBezTo>
                  <a:cubicBezTo>
                    <a:pt x="105627" y="1972969"/>
                    <a:pt x="92325" y="1971935"/>
                    <a:pt x="79091" y="1970694"/>
                  </a:cubicBezTo>
                  <a:cubicBezTo>
                    <a:pt x="83640" y="1981860"/>
                    <a:pt x="88879" y="2002330"/>
                    <a:pt x="72750" y="2006121"/>
                  </a:cubicBezTo>
                  <a:cubicBezTo>
                    <a:pt x="73922" y="2000401"/>
                    <a:pt x="76196" y="1988959"/>
                    <a:pt x="77299" y="1983238"/>
                  </a:cubicBezTo>
                  <a:cubicBezTo>
                    <a:pt x="70407" y="1983100"/>
                    <a:pt x="56484" y="1982963"/>
                    <a:pt x="49592" y="1982894"/>
                  </a:cubicBezTo>
                  <a:cubicBezTo>
                    <a:pt x="54692" y="1990613"/>
                    <a:pt x="60964" y="1997782"/>
                    <a:pt x="64410" y="2006466"/>
                  </a:cubicBezTo>
                  <a:cubicBezTo>
                    <a:pt x="65720" y="2011153"/>
                    <a:pt x="68270" y="2020458"/>
                    <a:pt x="69580" y="2025144"/>
                  </a:cubicBezTo>
                  <a:cubicBezTo>
                    <a:pt x="71992" y="2029004"/>
                    <a:pt x="76748" y="2036724"/>
                    <a:pt x="79160" y="2040584"/>
                  </a:cubicBezTo>
                  <a:moveTo>
                    <a:pt x="2370215" y="2046373"/>
                  </a:moveTo>
                  <a:cubicBezTo>
                    <a:pt x="2382414" y="2047545"/>
                    <a:pt x="2393994" y="2043616"/>
                    <a:pt x="2404884" y="2038378"/>
                  </a:cubicBezTo>
                  <a:cubicBezTo>
                    <a:pt x="2405229" y="2028177"/>
                    <a:pt x="2405642" y="2017838"/>
                    <a:pt x="2406331" y="2007569"/>
                  </a:cubicBezTo>
                  <a:cubicBezTo>
                    <a:pt x="2400404" y="2005570"/>
                    <a:pt x="2394545" y="2003502"/>
                    <a:pt x="2388756" y="2001434"/>
                  </a:cubicBezTo>
                  <a:cubicBezTo>
                    <a:pt x="2388066" y="2012807"/>
                    <a:pt x="2397647" y="2030245"/>
                    <a:pt x="2381725" y="2034380"/>
                  </a:cubicBezTo>
                  <a:cubicBezTo>
                    <a:pt x="2382001" y="2030245"/>
                    <a:pt x="2382552" y="2022112"/>
                    <a:pt x="2382828" y="2017976"/>
                  </a:cubicBezTo>
                  <a:lnTo>
                    <a:pt x="2374419" y="2016529"/>
                  </a:lnTo>
                  <a:cubicBezTo>
                    <a:pt x="2372627" y="2026454"/>
                    <a:pt x="2371180" y="2036379"/>
                    <a:pt x="2370215" y="2046373"/>
                  </a:cubicBezTo>
                  <a:moveTo>
                    <a:pt x="2829804" y="2066982"/>
                  </a:moveTo>
                  <a:cubicBezTo>
                    <a:pt x="2841797" y="2073323"/>
                    <a:pt x="2854686" y="2077252"/>
                    <a:pt x="2868402" y="2077183"/>
                  </a:cubicBezTo>
                  <a:cubicBezTo>
                    <a:pt x="2877362" y="2075597"/>
                    <a:pt x="2886460" y="2074426"/>
                    <a:pt x="2895627" y="2073323"/>
                  </a:cubicBezTo>
                  <a:lnTo>
                    <a:pt x="2894800" y="2079940"/>
                  </a:lnTo>
                  <a:cubicBezTo>
                    <a:pt x="2900797" y="2080147"/>
                    <a:pt x="2912789" y="2080560"/>
                    <a:pt x="2918717" y="2080767"/>
                  </a:cubicBezTo>
                  <a:cubicBezTo>
                    <a:pt x="2918855" y="2077390"/>
                    <a:pt x="2919131" y="2070566"/>
                    <a:pt x="2919268" y="2067189"/>
                  </a:cubicBezTo>
                  <a:lnTo>
                    <a:pt x="2924231" y="2067878"/>
                  </a:lnTo>
                  <a:cubicBezTo>
                    <a:pt x="2924162" y="2071324"/>
                    <a:pt x="2924024" y="2078147"/>
                    <a:pt x="2923955" y="2081594"/>
                  </a:cubicBezTo>
                  <a:cubicBezTo>
                    <a:pt x="2942634" y="2080973"/>
                    <a:pt x="2963863" y="2088969"/>
                    <a:pt x="2980336" y="2076631"/>
                  </a:cubicBezTo>
                  <a:lnTo>
                    <a:pt x="2975924" y="2073530"/>
                  </a:lnTo>
                  <a:cubicBezTo>
                    <a:pt x="2972823" y="2072013"/>
                    <a:pt x="2966757" y="2069050"/>
                    <a:pt x="2963725" y="2067533"/>
                  </a:cubicBezTo>
                  <a:cubicBezTo>
                    <a:pt x="2962905" y="2057125"/>
                    <a:pt x="2962277" y="2046787"/>
                    <a:pt x="2962002" y="2036310"/>
                  </a:cubicBezTo>
                  <a:cubicBezTo>
                    <a:pt x="2945942" y="2034518"/>
                    <a:pt x="2929745" y="2033002"/>
                    <a:pt x="2913685" y="2031899"/>
                  </a:cubicBezTo>
                  <a:cubicBezTo>
                    <a:pt x="2916994" y="2037827"/>
                    <a:pt x="2920371" y="2043754"/>
                    <a:pt x="2923817" y="2049682"/>
                  </a:cubicBezTo>
                  <a:cubicBezTo>
                    <a:pt x="2919820" y="2049130"/>
                    <a:pt x="2911687" y="2048097"/>
                    <a:pt x="2907689" y="2047545"/>
                  </a:cubicBezTo>
                  <a:cubicBezTo>
                    <a:pt x="2903071" y="2053817"/>
                    <a:pt x="2898522" y="2060020"/>
                    <a:pt x="2894042" y="2066224"/>
                  </a:cubicBezTo>
                  <a:cubicBezTo>
                    <a:pt x="2890044" y="2066430"/>
                    <a:pt x="2881980" y="2066913"/>
                    <a:pt x="2877983" y="2067120"/>
                  </a:cubicBezTo>
                  <a:cubicBezTo>
                    <a:pt x="2880670" y="2062639"/>
                    <a:pt x="2886115" y="2053679"/>
                    <a:pt x="2888804" y="2049199"/>
                  </a:cubicBezTo>
                  <a:cubicBezTo>
                    <a:pt x="2877362" y="2051887"/>
                    <a:pt x="2872331" y="2045822"/>
                    <a:pt x="2873709" y="2031003"/>
                  </a:cubicBezTo>
                  <a:cubicBezTo>
                    <a:pt x="2869091" y="2039274"/>
                    <a:pt x="2864404" y="2047476"/>
                    <a:pt x="2859648" y="2055540"/>
                  </a:cubicBezTo>
                  <a:cubicBezTo>
                    <a:pt x="2867161" y="2060848"/>
                    <a:pt x="2859924" y="2081870"/>
                    <a:pt x="2852756" y="2069187"/>
                  </a:cubicBezTo>
                  <a:cubicBezTo>
                    <a:pt x="2853101" y="2066155"/>
                    <a:pt x="2853652" y="2060158"/>
                    <a:pt x="2853997" y="2057125"/>
                  </a:cubicBezTo>
                  <a:cubicBezTo>
                    <a:pt x="2855306" y="2048923"/>
                    <a:pt x="2856685" y="2040722"/>
                    <a:pt x="2858063" y="2032451"/>
                  </a:cubicBezTo>
                  <a:cubicBezTo>
                    <a:pt x="2855306" y="2033278"/>
                    <a:pt x="2849861" y="2034932"/>
                    <a:pt x="2847104" y="2035828"/>
                  </a:cubicBezTo>
                  <a:cubicBezTo>
                    <a:pt x="2843382" y="2047269"/>
                    <a:pt x="2838557" y="2058435"/>
                    <a:pt x="2829804" y="2066982"/>
                  </a:cubicBezTo>
                  <a:moveTo>
                    <a:pt x="5630349" y="2397751"/>
                  </a:moveTo>
                  <a:cubicBezTo>
                    <a:pt x="5639310" y="2402025"/>
                    <a:pt x="5645719" y="2386310"/>
                    <a:pt x="5639448" y="2380520"/>
                  </a:cubicBezTo>
                  <a:cubicBezTo>
                    <a:pt x="5630556" y="2376867"/>
                    <a:pt x="5624629" y="2391962"/>
                    <a:pt x="5630349" y="2397751"/>
                  </a:cubicBezTo>
                </a:path>
              </a:pathLst>
            </a:custGeom>
            <a:grpFill/>
            <a:ln w="689" cap="flat">
              <a:noFill/>
              <a:prstDash val="solid"/>
              <a:miter/>
            </a:ln>
          </p:spPr>
          <p:txBody>
            <a:bodyPr rtlCol="0" anchor="ctr"/>
            <a:lstStyle/>
            <a:p>
              <a:endParaRPr lang="en-US" sz="2400" dirty="0"/>
            </a:p>
          </p:txBody>
        </p:sp>
        <p:sp>
          <p:nvSpPr>
            <p:cNvPr id="45" name="Graphic 8">
              <a:extLst>
                <a:ext uri="{FF2B5EF4-FFF2-40B4-BE49-F238E27FC236}">
                  <a16:creationId xmlns:a16="http://schemas.microsoft.com/office/drawing/2014/main" id="{B266BB39-B389-469C-BF3C-3E05150D7129}"/>
                </a:ext>
              </a:extLst>
            </p:cNvPr>
            <p:cNvSpPr/>
            <p:nvPr/>
          </p:nvSpPr>
          <p:spPr>
            <a:xfrm flipV="1">
              <a:off x="456558" y="1200691"/>
              <a:ext cx="7663690" cy="2580355"/>
            </a:xfrm>
            <a:custGeom>
              <a:avLst/>
              <a:gdLst>
                <a:gd name="connsiteX0" fmla="*/ 878876 w 7663690"/>
                <a:gd name="connsiteY0" fmla="*/ 6059 h 2580355"/>
                <a:gd name="connsiteX1" fmla="*/ 878876 w 7663690"/>
                <a:gd name="connsiteY1" fmla="*/ 6059 h 2580355"/>
                <a:gd name="connsiteX2" fmla="*/ 39030 w 7663690"/>
                <a:gd name="connsiteY2" fmla="*/ 67608 h 2580355"/>
                <a:gd name="connsiteX3" fmla="*/ 39030 w 7663690"/>
                <a:gd name="connsiteY3" fmla="*/ 67608 h 2580355"/>
                <a:gd name="connsiteX4" fmla="*/ 3045521 w 7663690"/>
                <a:gd name="connsiteY4" fmla="*/ 184229 h 2580355"/>
                <a:gd name="connsiteX5" fmla="*/ 3053792 w 7663690"/>
                <a:gd name="connsiteY5" fmla="*/ 168997 h 2580355"/>
                <a:gd name="connsiteX6" fmla="*/ 3045521 w 7663690"/>
                <a:gd name="connsiteY6" fmla="*/ 184229 h 2580355"/>
                <a:gd name="connsiteX7" fmla="*/ -2947 w 7663690"/>
                <a:gd name="connsiteY7" fmla="*/ 385420 h 2580355"/>
                <a:gd name="connsiteX8" fmla="*/ -2947 w 7663690"/>
                <a:gd name="connsiteY8" fmla="*/ 385420 h 2580355"/>
                <a:gd name="connsiteX9" fmla="*/ 6655311 w 7663690"/>
                <a:gd name="connsiteY9" fmla="*/ 405132 h 2580355"/>
                <a:gd name="connsiteX10" fmla="*/ 6666132 w 7663690"/>
                <a:gd name="connsiteY10" fmla="*/ 393415 h 2580355"/>
                <a:gd name="connsiteX11" fmla="*/ 6655311 w 7663690"/>
                <a:gd name="connsiteY11" fmla="*/ 405132 h 2580355"/>
                <a:gd name="connsiteX12" fmla="*/ 7447944 w 7663690"/>
                <a:gd name="connsiteY12" fmla="*/ 481363 h 2580355"/>
                <a:gd name="connsiteX13" fmla="*/ 7457731 w 7663690"/>
                <a:gd name="connsiteY13" fmla="*/ 472403 h 2580355"/>
                <a:gd name="connsiteX14" fmla="*/ 7447944 w 7663690"/>
                <a:gd name="connsiteY14" fmla="*/ 481363 h 2580355"/>
                <a:gd name="connsiteX15" fmla="*/ 6043742 w 7663690"/>
                <a:gd name="connsiteY15" fmla="*/ 487152 h 2580355"/>
                <a:gd name="connsiteX16" fmla="*/ 6043742 w 7663690"/>
                <a:gd name="connsiteY16" fmla="*/ 487152 h 2580355"/>
                <a:gd name="connsiteX17" fmla="*/ 6689704 w 7663690"/>
                <a:gd name="connsiteY17" fmla="*/ 1108784 h 2580355"/>
                <a:gd name="connsiteX18" fmla="*/ 6689704 w 7663690"/>
                <a:gd name="connsiteY18" fmla="*/ 1108784 h 2580355"/>
                <a:gd name="connsiteX19" fmla="*/ 4307187 w 7663690"/>
                <a:gd name="connsiteY19" fmla="*/ 1475670 h 2580355"/>
                <a:gd name="connsiteX20" fmla="*/ 4307187 w 7663690"/>
                <a:gd name="connsiteY20" fmla="*/ 1475670 h 2580355"/>
                <a:gd name="connsiteX21" fmla="*/ 4090350 w 7663690"/>
                <a:gd name="connsiteY21" fmla="*/ 1797892 h 2580355"/>
                <a:gd name="connsiteX22" fmla="*/ 4090350 w 7663690"/>
                <a:gd name="connsiteY22" fmla="*/ 1797892 h 2580355"/>
                <a:gd name="connsiteX23" fmla="*/ 7214565 w 7663690"/>
                <a:gd name="connsiteY23" fmla="*/ 1907758 h 2580355"/>
                <a:gd name="connsiteX24" fmla="*/ 7214565 w 7663690"/>
                <a:gd name="connsiteY24" fmla="*/ 1907758 h 2580355"/>
                <a:gd name="connsiteX25" fmla="*/ 6890275 w 7663690"/>
                <a:gd name="connsiteY25" fmla="*/ 1964483 h 2580355"/>
                <a:gd name="connsiteX26" fmla="*/ 6890275 w 7663690"/>
                <a:gd name="connsiteY26" fmla="*/ 1964483 h 2580355"/>
                <a:gd name="connsiteX27" fmla="*/ 1210748 w 7663690"/>
                <a:gd name="connsiteY27" fmla="*/ 2038370 h 2580355"/>
                <a:gd name="connsiteX28" fmla="*/ 1223912 w 7663690"/>
                <a:gd name="connsiteY28" fmla="*/ 2028927 h 2580355"/>
                <a:gd name="connsiteX29" fmla="*/ 1210748 w 7663690"/>
                <a:gd name="connsiteY29" fmla="*/ 2038370 h 2580355"/>
                <a:gd name="connsiteX30" fmla="*/ 7647549 w 7663690"/>
                <a:gd name="connsiteY30" fmla="*/ 2576189 h 2580355"/>
                <a:gd name="connsiteX31" fmla="*/ 7657475 w 7663690"/>
                <a:gd name="connsiteY31" fmla="*/ 2565506 h 2580355"/>
                <a:gd name="connsiteX32" fmla="*/ 7647549 w 7663690"/>
                <a:gd name="connsiteY32" fmla="*/ 2576189 h 258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663690" h="2580355">
                  <a:moveTo>
                    <a:pt x="878876" y="6059"/>
                  </a:moveTo>
                  <a:cubicBezTo>
                    <a:pt x="901621" y="5163"/>
                    <a:pt x="868468" y="-14688"/>
                    <a:pt x="878876" y="6059"/>
                  </a:cubicBezTo>
                  <a:close/>
                  <a:moveTo>
                    <a:pt x="39030" y="67608"/>
                  </a:moveTo>
                  <a:cubicBezTo>
                    <a:pt x="42409" y="63886"/>
                    <a:pt x="42409" y="63886"/>
                    <a:pt x="39030" y="67608"/>
                  </a:cubicBezTo>
                  <a:moveTo>
                    <a:pt x="3045521" y="184229"/>
                  </a:moveTo>
                  <a:cubicBezTo>
                    <a:pt x="3055584" y="192500"/>
                    <a:pt x="3063304" y="174442"/>
                    <a:pt x="3053792" y="168997"/>
                  </a:cubicBezTo>
                  <a:cubicBezTo>
                    <a:pt x="3043729" y="160657"/>
                    <a:pt x="3036354" y="178922"/>
                    <a:pt x="3045521" y="184229"/>
                  </a:cubicBezTo>
                  <a:moveTo>
                    <a:pt x="-2947" y="385420"/>
                  </a:moveTo>
                  <a:cubicBezTo>
                    <a:pt x="19732" y="383628"/>
                    <a:pt x="-14112" y="365018"/>
                    <a:pt x="-2947" y="385420"/>
                  </a:cubicBezTo>
                  <a:moveTo>
                    <a:pt x="6655311" y="405132"/>
                  </a:moveTo>
                  <a:cubicBezTo>
                    <a:pt x="6666476" y="408510"/>
                    <a:pt x="6670130" y="404581"/>
                    <a:pt x="6666132" y="393415"/>
                  </a:cubicBezTo>
                  <a:cubicBezTo>
                    <a:pt x="6654759" y="390038"/>
                    <a:pt x="6651106" y="393966"/>
                    <a:pt x="6655311" y="405132"/>
                  </a:cubicBezTo>
                  <a:moveTo>
                    <a:pt x="7447944" y="481363"/>
                  </a:moveTo>
                  <a:cubicBezTo>
                    <a:pt x="7457456" y="485223"/>
                    <a:pt x="7460764" y="482259"/>
                    <a:pt x="7457731" y="472403"/>
                  </a:cubicBezTo>
                  <a:cubicBezTo>
                    <a:pt x="7447944" y="468474"/>
                    <a:pt x="7444704" y="471507"/>
                    <a:pt x="7447944" y="481363"/>
                  </a:cubicBezTo>
                  <a:moveTo>
                    <a:pt x="6043742" y="487152"/>
                  </a:moveTo>
                  <a:cubicBezTo>
                    <a:pt x="6047602" y="483017"/>
                    <a:pt x="6047602" y="483017"/>
                    <a:pt x="6043742" y="487152"/>
                  </a:cubicBezTo>
                  <a:moveTo>
                    <a:pt x="6689704" y="1108784"/>
                  </a:moveTo>
                  <a:cubicBezTo>
                    <a:pt x="6712449" y="1107888"/>
                    <a:pt x="6679297" y="1088037"/>
                    <a:pt x="6689704" y="1108784"/>
                  </a:cubicBezTo>
                  <a:moveTo>
                    <a:pt x="4307187" y="1475670"/>
                  </a:moveTo>
                  <a:cubicBezTo>
                    <a:pt x="4327519" y="1486835"/>
                    <a:pt x="4308634" y="1452855"/>
                    <a:pt x="4307187" y="1475670"/>
                  </a:cubicBezTo>
                  <a:moveTo>
                    <a:pt x="4090350" y="1797892"/>
                  </a:moveTo>
                  <a:cubicBezTo>
                    <a:pt x="4113095" y="1797065"/>
                    <a:pt x="4080149" y="1777008"/>
                    <a:pt x="4090350" y="1797892"/>
                  </a:cubicBezTo>
                  <a:moveTo>
                    <a:pt x="7214565" y="1907758"/>
                  </a:moveTo>
                  <a:cubicBezTo>
                    <a:pt x="7218287" y="1904450"/>
                    <a:pt x="7218287" y="1904450"/>
                    <a:pt x="7214565" y="1907758"/>
                  </a:cubicBezTo>
                  <a:moveTo>
                    <a:pt x="6890275" y="1964483"/>
                  </a:moveTo>
                  <a:cubicBezTo>
                    <a:pt x="6910883" y="1974959"/>
                    <a:pt x="6891378" y="1941738"/>
                    <a:pt x="6890275" y="1964483"/>
                  </a:cubicBezTo>
                  <a:moveTo>
                    <a:pt x="1210748" y="2038370"/>
                  </a:moveTo>
                  <a:cubicBezTo>
                    <a:pt x="1223292" y="2042437"/>
                    <a:pt x="1227634" y="2039266"/>
                    <a:pt x="1223912" y="2028927"/>
                  </a:cubicBezTo>
                  <a:cubicBezTo>
                    <a:pt x="1211437" y="2025068"/>
                    <a:pt x="1207026" y="2028238"/>
                    <a:pt x="1210748" y="2038370"/>
                  </a:cubicBezTo>
                  <a:moveTo>
                    <a:pt x="7647549" y="2576189"/>
                  </a:moveTo>
                  <a:cubicBezTo>
                    <a:pt x="7656923" y="2578739"/>
                    <a:pt x="7660232" y="2575224"/>
                    <a:pt x="7657475" y="2565506"/>
                  </a:cubicBezTo>
                  <a:cubicBezTo>
                    <a:pt x="7647756" y="2562887"/>
                    <a:pt x="7644448" y="2566471"/>
                    <a:pt x="7647549" y="2576189"/>
                  </a:cubicBezTo>
                </a:path>
              </a:pathLst>
            </a:custGeom>
            <a:grpFill/>
            <a:ln w="689" cap="flat">
              <a:noFill/>
              <a:prstDash val="solid"/>
              <a:miter/>
            </a:ln>
          </p:spPr>
          <p:txBody>
            <a:bodyPr rtlCol="0" anchor="ctr"/>
            <a:lstStyle/>
            <a:p>
              <a:endParaRPr lang="en-US" sz="2400" dirty="0"/>
            </a:p>
          </p:txBody>
        </p:sp>
        <p:sp>
          <p:nvSpPr>
            <p:cNvPr id="46" name="Graphic 8">
              <a:extLst>
                <a:ext uri="{FF2B5EF4-FFF2-40B4-BE49-F238E27FC236}">
                  <a16:creationId xmlns:a16="http://schemas.microsoft.com/office/drawing/2014/main" id="{ECD0E5C9-3741-4C34-8B61-D5FFEA19FE1A}"/>
                </a:ext>
              </a:extLst>
            </p:cNvPr>
            <p:cNvSpPr/>
            <p:nvPr/>
          </p:nvSpPr>
          <p:spPr>
            <a:xfrm flipV="1">
              <a:off x="4315904" y="1208248"/>
              <a:ext cx="3625078" cy="2318348"/>
            </a:xfrm>
            <a:custGeom>
              <a:avLst/>
              <a:gdLst>
                <a:gd name="connsiteX0" fmla="*/ -4000 w 3625078"/>
                <a:gd name="connsiteY0" fmla="*/ 11665 h 2318348"/>
                <a:gd name="connsiteX1" fmla="*/ 549 w 3625078"/>
                <a:gd name="connsiteY1" fmla="*/ -3567 h 2318348"/>
                <a:gd name="connsiteX2" fmla="*/ -4000 w 3625078"/>
                <a:gd name="connsiteY2" fmla="*/ 11665 h 2318348"/>
                <a:gd name="connsiteX3" fmla="*/ 2582259 w 3625078"/>
                <a:gd name="connsiteY3" fmla="*/ 1061456 h 2318348"/>
                <a:gd name="connsiteX4" fmla="*/ 2592322 w 3625078"/>
                <a:gd name="connsiteY4" fmla="*/ 1050290 h 2318348"/>
                <a:gd name="connsiteX5" fmla="*/ 2582259 w 3625078"/>
                <a:gd name="connsiteY5" fmla="*/ 1061456 h 2318348"/>
                <a:gd name="connsiteX6" fmla="*/ 3614750 w 3625078"/>
                <a:gd name="connsiteY6" fmla="*/ 2314782 h 2318348"/>
                <a:gd name="connsiteX7" fmla="*/ 3614750 w 3625078"/>
                <a:gd name="connsiteY7" fmla="*/ 2314782 h 2318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5078" h="2318348">
                  <a:moveTo>
                    <a:pt x="-4000" y="11665"/>
                  </a:moveTo>
                  <a:cubicBezTo>
                    <a:pt x="4960" y="10287"/>
                    <a:pt x="6477" y="5186"/>
                    <a:pt x="549" y="-3567"/>
                  </a:cubicBezTo>
                  <a:cubicBezTo>
                    <a:pt x="-8480" y="-2051"/>
                    <a:pt x="-9996" y="3050"/>
                    <a:pt x="-4000" y="11665"/>
                  </a:cubicBezTo>
                  <a:close/>
                  <a:moveTo>
                    <a:pt x="2582259" y="1061456"/>
                  </a:moveTo>
                  <a:cubicBezTo>
                    <a:pt x="2591839" y="1063662"/>
                    <a:pt x="2595148" y="1059871"/>
                    <a:pt x="2592322" y="1050290"/>
                  </a:cubicBezTo>
                  <a:cubicBezTo>
                    <a:pt x="2582610" y="1048292"/>
                    <a:pt x="2579295" y="1052013"/>
                    <a:pt x="2582259" y="1061456"/>
                  </a:cubicBezTo>
                  <a:moveTo>
                    <a:pt x="3614750" y="2314782"/>
                  </a:moveTo>
                  <a:cubicBezTo>
                    <a:pt x="3618403" y="2310853"/>
                    <a:pt x="3618403" y="2310853"/>
                    <a:pt x="3614750" y="2314782"/>
                  </a:cubicBezTo>
                </a:path>
              </a:pathLst>
            </a:custGeom>
            <a:grpFill/>
            <a:ln w="689" cap="flat">
              <a:noFill/>
              <a:prstDash val="solid"/>
              <a:miter/>
            </a:ln>
          </p:spPr>
          <p:txBody>
            <a:bodyPr rtlCol="0" anchor="ctr"/>
            <a:lstStyle/>
            <a:p>
              <a:endParaRPr lang="en-US" sz="2400" dirty="0"/>
            </a:p>
          </p:txBody>
        </p:sp>
        <p:sp>
          <p:nvSpPr>
            <p:cNvPr id="47" name="Graphic 8">
              <a:extLst>
                <a:ext uri="{FF2B5EF4-FFF2-40B4-BE49-F238E27FC236}">
                  <a16:creationId xmlns:a16="http://schemas.microsoft.com/office/drawing/2014/main" id="{CED97630-2E10-461A-88B2-507A50B0817D}"/>
                </a:ext>
              </a:extLst>
            </p:cNvPr>
            <p:cNvSpPr/>
            <p:nvPr/>
          </p:nvSpPr>
          <p:spPr>
            <a:xfrm flipV="1">
              <a:off x="2465835" y="1202908"/>
              <a:ext cx="5777096" cy="2462650"/>
            </a:xfrm>
            <a:custGeom>
              <a:avLst/>
              <a:gdLst>
                <a:gd name="connsiteX0" fmla="*/ 833506 w 5777096"/>
                <a:gd name="connsiteY0" fmla="*/ 13163 h 2462650"/>
                <a:gd name="connsiteX1" fmla="*/ 841984 w 5777096"/>
                <a:gd name="connsiteY1" fmla="*/ -1587 h 2462650"/>
                <a:gd name="connsiteX2" fmla="*/ 833506 w 5777096"/>
                <a:gd name="connsiteY2" fmla="*/ 13163 h 2462650"/>
                <a:gd name="connsiteX3" fmla="*/ 4071999 w 5777096"/>
                <a:gd name="connsiteY3" fmla="*/ 410651 h 2462650"/>
                <a:gd name="connsiteX4" fmla="*/ 4147540 w 5777096"/>
                <a:gd name="connsiteY4" fmla="*/ 403690 h 2462650"/>
                <a:gd name="connsiteX5" fmla="*/ 4154708 w 5777096"/>
                <a:gd name="connsiteY5" fmla="*/ 415338 h 2462650"/>
                <a:gd name="connsiteX6" fmla="*/ 4164151 w 5777096"/>
                <a:gd name="connsiteY6" fmla="*/ 412788 h 2462650"/>
                <a:gd name="connsiteX7" fmla="*/ 4184828 w 5777096"/>
                <a:gd name="connsiteY7" fmla="*/ 414511 h 2462650"/>
                <a:gd name="connsiteX8" fmla="*/ 4167942 w 5777096"/>
                <a:gd name="connsiteY8" fmla="*/ 394799 h 2462650"/>
                <a:gd name="connsiteX9" fmla="*/ 4165805 w 5777096"/>
                <a:gd name="connsiteY9" fmla="*/ 374328 h 2462650"/>
                <a:gd name="connsiteX10" fmla="*/ 4147954 w 5777096"/>
                <a:gd name="connsiteY10" fmla="*/ 390387 h 2462650"/>
                <a:gd name="connsiteX11" fmla="*/ 4125002 w 5777096"/>
                <a:gd name="connsiteY11" fmla="*/ 398107 h 2462650"/>
                <a:gd name="connsiteX12" fmla="*/ 4139751 w 5777096"/>
                <a:gd name="connsiteY12" fmla="*/ 386321 h 2462650"/>
                <a:gd name="connsiteX13" fmla="*/ 4156363 w 5777096"/>
                <a:gd name="connsiteY13" fmla="*/ 367367 h 2462650"/>
                <a:gd name="connsiteX14" fmla="*/ 4119350 w 5777096"/>
                <a:gd name="connsiteY14" fmla="*/ 374811 h 2462650"/>
                <a:gd name="connsiteX15" fmla="*/ 4108115 w 5777096"/>
                <a:gd name="connsiteY15" fmla="*/ 396660 h 2462650"/>
                <a:gd name="connsiteX16" fmla="*/ 4117696 w 5777096"/>
                <a:gd name="connsiteY16" fmla="*/ 364403 h 2462650"/>
                <a:gd name="connsiteX17" fmla="*/ 4097501 w 5777096"/>
                <a:gd name="connsiteY17" fmla="*/ 363231 h 2462650"/>
                <a:gd name="connsiteX18" fmla="*/ 4071999 w 5777096"/>
                <a:gd name="connsiteY18" fmla="*/ 410651 h 2462650"/>
                <a:gd name="connsiteX19" fmla="*/ 5762582 w 5777096"/>
                <a:gd name="connsiteY19" fmla="*/ 502114 h 2462650"/>
                <a:gd name="connsiteX20" fmla="*/ 5762582 w 5777096"/>
                <a:gd name="connsiteY20" fmla="*/ 502114 h 2462650"/>
                <a:gd name="connsiteX21" fmla="*/ -6616 w 5777096"/>
                <a:gd name="connsiteY21" fmla="*/ 965632 h 2462650"/>
                <a:gd name="connsiteX22" fmla="*/ -6616 w 5777096"/>
                <a:gd name="connsiteY22" fmla="*/ 965632 h 2462650"/>
                <a:gd name="connsiteX23" fmla="*/ 2625753 w 5777096"/>
                <a:gd name="connsiteY23" fmla="*/ 1337756 h 2462650"/>
                <a:gd name="connsiteX24" fmla="*/ 2625753 w 5777096"/>
                <a:gd name="connsiteY24" fmla="*/ 1337756 h 2462650"/>
                <a:gd name="connsiteX25" fmla="*/ 4162703 w 5777096"/>
                <a:gd name="connsiteY25" fmla="*/ 1406337 h 2462650"/>
                <a:gd name="connsiteX26" fmla="*/ 4162703 w 5777096"/>
                <a:gd name="connsiteY26" fmla="*/ 1406337 h 2462650"/>
                <a:gd name="connsiteX27" fmla="*/ 5231242 w 5777096"/>
                <a:gd name="connsiteY27" fmla="*/ 1509447 h 2462650"/>
                <a:gd name="connsiteX28" fmla="*/ 5231242 w 5777096"/>
                <a:gd name="connsiteY28" fmla="*/ 1509447 h 2462650"/>
                <a:gd name="connsiteX29" fmla="*/ 5721503 w 5777096"/>
                <a:gd name="connsiteY29" fmla="*/ 2455714 h 2462650"/>
                <a:gd name="connsiteX30" fmla="*/ 5736460 w 5777096"/>
                <a:gd name="connsiteY30" fmla="*/ 2450820 h 2462650"/>
                <a:gd name="connsiteX31" fmla="*/ 5721503 w 5777096"/>
                <a:gd name="connsiteY31" fmla="*/ 2455714 h 2462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777096" h="2462650">
                  <a:moveTo>
                    <a:pt x="833506" y="13163"/>
                  </a:moveTo>
                  <a:cubicBezTo>
                    <a:pt x="841984" y="19228"/>
                    <a:pt x="848945" y="3858"/>
                    <a:pt x="841984" y="-1587"/>
                  </a:cubicBezTo>
                  <a:cubicBezTo>
                    <a:pt x="833162" y="-9031"/>
                    <a:pt x="826407" y="7787"/>
                    <a:pt x="833506" y="13163"/>
                  </a:cubicBezTo>
                  <a:close/>
                  <a:moveTo>
                    <a:pt x="4071999" y="410651"/>
                  </a:moveTo>
                  <a:cubicBezTo>
                    <a:pt x="4096811" y="408446"/>
                    <a:pt x="4126311" y="421403"/>
                    <a:pt x="4147540" y="403690"/>
                  </a:cubicBezTo>
                  <a:cubicBezTo>
                    <a:pt x="4149332" y="406585"/>
                    <a:pt x="4152916" y="412443"/>
                    <a:pt x="4154708" y="415338"/>
                  </a:cubicBezTo>
                  <a:cubicBezTo>
                    <a:pt x="4157052" y="414718"/>
                    <a:pt x="4161739" y="413408"/>
                    <a:pt x="4164151" y="412788"/>
                  </a:cubicBezTo>
                  <a:cubicBezTo>
                    <a:pt x="4169320" y="413201"/>
                    <a:pt x="4179659" y="414029"/>
                    <a:pt x="4184828" y="414511"/>
                  </a:cubicBezTo>
                  <a:cubicBezTo>
                    <a:pt x="4179108" y="407963"/>
                    <a:pt x="4173524" y="401346"/>
                    <a:pt x="4167942" y="394799"/>
                  </a:cubicBezTo>
                  <a:cubicBezTo>
                    <a:pt x="4167391" y="389698"/>
                    <a:pt x="4166357" y="379428"/>
                    <a:pt x="4165805" y="374328"/>
                  </a:cubicBezTo>
                  <a:cubicBezTo>
                    <a:pt x="4159188" y="379153"/>
                    <a:pt x="4152296" y="383633"/>
                    <a:pt x="4147954" y="390387"/>
                  </a:cubicBezTo>
                  <a:cubicBezTo>
                    <a:pt x="4140234" y="393076"/>
                    <a:pt x="4132584" y="395626"/>
                    <a:pt x="4125002" y="398107"/>
                  </a:cubicBezTo>
                  <a:cubicBezTo>
                    <a:pt x="4114939" y="385356"/>
                    <a:pt x="4130309" y="383702"/>
                    <a:pt x="4139751" y="386321"/>
                  </a:cubicBezTo>
                  <a:cubicBezTo>
                    <a:pt x="4145265" y="380118"/>
                    <a:pt x="4150779" y="373845"/>
                    <a:pt x="4156363" y="367367"/>
                  </a:cubicBezTo>
                  <a:cubicBezTo>
                    <a:pt x="4142991" y="363645"/>
                    <a:pt x="4130447" y="367642"/>
                    <a:pt x="4119350" y="374811"/>
                  </a:cubicBezTo>
                  <a:cubicBezTo>
                    <a:pt x="4115697" y="382185"/>
                    <a:pt x="4111975" y="389491"/>
                    <a:pt x="4108115" y="396660"/>
                  </a:cubicBezTo>
                  <a:cubicBezTo>
                    <a:pt x="4097087" y="384667"/>
                    <a:pt x="4113215" y="374742"/>
                    <a:pt x="4117696" y="364403"/>
                  </a:cubicBezTo>
                  <a:cubicBezTo>
                    <a:pt x="4112664" y="364058"/>
                    <a:pt x="4102532" y="363507"/>
                    <a:pt x="4097501" y="363231"/>
                  </a:cubicBezTo>
                  <a:cubicBezTo>
                    <a:pt x="4088265" y="378670"/>
                    <a:pt x="4080201" y="394730"/>
                    <a:pt x="4071999" y="410651"/>
                  </a:cubicBezTo>
                  <a:moveTo>
                    <a:pt x="5762582" y="502114"/>
                  </a:moveTo>
                  <a:cubicBezTo>
                    <a:pt x="5784776" y="500460"/>
                    <a:pt x="5752036" y="480679"/>
                    <a:pt x="5762582" y="502114"/>
                  </a:cubicBezTo>
                  <a:moveTo>
                    <a:pt x="-6616" y="965632"/>
                  </a:moveTo>
                  <a:cubicBezTo>
                    <a:pt x="-3239" y="961841"/>
                    <a:pt x="-3239" y="961841"/>
                    <a:pt x="-6616" y="965632"/>
                  </a:cubicBezTo>
                  <a:moveTo>
                    <a:pt x="2625753" y="1337756"/>
                  </a:moveTo>
                  <a:cubicBezTo>
                    <a:pt x="2629337" y="1334172"/>
                    <a:pt x="2629337" y="1334172"/>
                    <a:pt x="2625753" y="1337756"/>
                  </a:cubicBezTo>
                  <a:moveTo>
                    <a:pt x="4162703" y="1406337"/>
                  </a:moveTo>
                  <a:cubicBezTo>
                    <a:pt x="4166287" y="1402821"/>
                    <a:pt x="4166287" y="1402821"/>
                    <a:pt x="4162703" y="1406337"/>
                  </a:cubicBezTo>
                  <a:moveTo>
                    <a:pt x="5231242" y="1509447"/>
                  </a:moveTo>
                  <a:cubicBezTo>
                    <a:pt x="5234964" y="1506001"/>
                    <a:pt x="5234964" y="1506001"/>
                    <a:pt x="5231242" y="1509447"/>
                  </a:cubicBezTo>
                  <a:moveTo>
                    <a:pt x="5721503" y="2455714"/>
                  </a:moveTo>
                  <a:cubicBezTo>
                    <a:pt x="5729981" y="2461641"/>
                    <a:pt x="5734943" y="2459987"/>
                    <a:pt x="5736460" y="2450820"/>
                  </a:cubicBezTo>
                  <a:cubicBezTo>
                    <a:pt x="5727844" y="2444962"/>
                    <a:pt x="5722812" y="2446547"/>
                    <a:pt x="5721503" y="2455714"/>
                  </a:cubicBezTo>
                </a:path>
              </a:pathLst>
            </a:custGeom>
            <a:grpFill/>
            <a:ln w="689" cap="flat">
              <a:noFill/>
              <a:prstDash val="solid"/>
              <a:miter/>
            </a:ln>
          </p:spPr>
          <p:txBody>
            <a:bodyPr rtlCol="0" anchor="ctr"/>
            <a:lstStyle/>
            <a:p>
              <a:endParaRPr lang="en-US" sz="2400" dirty="0"/>
            </a:p>
          </p:txBody>
        </p:sp>
        <p:sp>
          <p:nvSpPr>
            <p:cNvPr id="48" name="Graphic 8">
              <a:extLst>
                <a:ext uri="{FF2B5EF4-FFF2-40B4-BE49-F238E27FC236}">
                  <a16:creationId xmlns:a16="http://schemas.microsoft.com/office/drawing/2014/main" id="{EB315DD5-5CCC-42B2-95BD-A2288BDCC77A}"/>
                </a:ext>
              </a:extLst>
            </p:cNvPr>
            <p:cNvSpPr/>
            <p:nvPr/>
          </p:nvSpPr>
          <p:spPr>
            <a:xfrm flipV="1">
              <a:off x="2059318" y="1216106"/>
              <a:ext cx="5969558" cy="1519730"/>
            </a:xfrm>
            <a:custGeom>
              <a:avLst/>
              <a:gdLst>
                <a:gd name="connsiteX0" fmla="*/ 2915420 w 5969558"/>
                <a:gd name="connsiteY0" fmla="*/ 8207 h 1519730"/>
                <a:gd name="connsiteX1" fmla="*/ 2926310 w 5969558"/>
                <a:gd name="connsiteY1" fmla="*/ -2683 h 1519730"/>
                <a:gd name="connsiteX2" fmla="*/ 2915420 w 5969558"/>
                <a:gd name="connsiteY2" fmla="*/ 8207 h 1519730"/>
                <a:gd name="connsiteX3" fmla="*/ 3638784 w 5969558"/>
                <a:gd name="connsiteY3" fmla="*/ 386672 h 1519730"/>
                <a:gd name="connsiteX4" fmla="*/ 3638784 w 5969558"/>
                <a:gd name="connsiteY4" fmla="*/ 386672 h 1519730"/>
                <a:gd name="connsiteX5" fmla="*/ -6226 w 5969558"/>
                <a:gd name="connsiteY5" fmla="*/ 1220867 h 1519730"/>
                <a:gd name="connsiteX6" fmla="*/ -6226 w 5969558"/>
                <a:gd name="connsiteY6" fmla="*/ 1220867 h 1519730"/>
                <a:gd name="connsiteX7" fmla="*/ 5957408 w 5969558"/>
                <a:gd name="connsiteY7" fmla="*/ 1515520 h 1519730"/>
                <a:gd name="connsiteX8" fmla="*/ 5941280 w 5969558"/>
                <a:gd name="connsiteY8" fmla="*/ 1499805 h 1519730"/>
                <a:gd name="connsiteX9" fmla="*/ 5957408 w 5969558"/>
                <a:gd name="connsiteY9" fmla="*/ 1515520 h 151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69558" h="1519730">
                  <a:moveTo>
                    <a:pt x="2915420" y="8207"/>
                  </a:moveTo>
                  <a:cubicBezTo>
                    <a:pt x="2926793" y="12205"/>
                    <a:pt x="2930446" y="8552"/>
                    <a:pt x="2926310" y="-2683"/>
                  </a:cubicBezTo>
                  <a:cubicBezTo>
                    <a:pt x="2914869" y="-6612"/>
                    <a:pt x="2911216" y="-2959"/>
                    <a:pt x="2915420" y="8207"/>
                  </a:cubicBezTo>
                  <a:close/>
                  <a:moveTo>
                    <a:pt x="3638784" y="386672"/>
                  </a:moveTo>
                  <a:cubicBezTo>
                    <a:pt x="3661322" y="385776"/>
                    <a:pt x="3628445" y="365650"/>
                    <a:pt x="3638784" y="386672"/>
                  </a:cubicBezTo>
                  <a:moveTo>
                    <a:pt x="-6226" y="1220867"/>
                  </a:moveTo>
                  <a:cubicBezTo>
                    <a:pt x="-2435" y="1217076"/>
                    <a:pt x="-2435" y="1217076"/>
                    <a:pt x="-6226" y="1220867"/>
                  </a:cubicBezTo>
                  <a:moveTo>
                    <a:pt x="5957408" y="1515520"/>
                  </a:moveTo>
                  <a:cubicBezTo>
                    <a:pt x="5973950" y="1511591"/>
                    <a:pt x="5951688" y="1485882"/>
                    <a:pt x="5941280" y="1499805"/>
                  </a:cubicBezTo>
                  <a:cubicBezTo>
                    <a:pt x="5934112" y="1510695"/>
                    <a:pt x="5954307" y="1506904"/>
                    <a:pt x="5957408" y="1515520"/>
                  </a:cubicBezTo>
                </a:path>
              </a:pathLst>
            </a:custGeom>
            <a:grpFill/>
            <a:ln w="689" cap="flat">
              <a:noFill/>
              <a:prstDash val="solid"/>
              <a:miter/>
            </a:ln>
          </p:spPr>
          <p:txBody>
            <a:bodyPr rtlCol="0" anchor="ctr"/>
            <a:lstStyle/>
            <a:p>
              <a:endParaRPr lang="en-US" sz="2400" dirty="0"/>
            </a:p>
          </p:txBody>
        </p:sp>
        <p:sp>
          <p:nvSpPr>
            <p:cNvPr id="49" name="Graphic 8">
              <a:extLst>
                <a:ext uri="{FF2B5EF4-FFF2-40B4-BE49-F238E27FC236}">
                  <a16:creationId xmlns:a16="http://schemas.microsoft.com/office/drawing/2014/main" id="{C98B43D4-BBC8-4BA4-ACC8-06019A6E36E6}"/>
                </a:ext>
              </a:extLst>
            </p:cNvPr>
            <p:cNvSpPr/>
            <p:nvPr/>
          </p:nvSpPr>
          <p:spPr>
            <a:xfrm flipV="1">
              <a:off x="458777" y="1222171"/>
              <a:ext cx="7803410" cy="2339215"/>
            </a:xfrm>
            <a:custGeom>
              <a:avLst/>
              <a:gdLst>
                <a:gd name="connsiteX0" fmla="*/ 4317421 w 7803410"/>
                <a:gd name="connsiteY0" fmla="*/ -788 h 2339215"/>
                <a:gd name="connsiteX1" fmla="*/ 4317421 w 7803410"/>
                <a:gd name="connsiteY1" fmla="*/ -788 h 2339215"/>
                <a:gd name="connsiteX2" fmla="*/ 97924 w 7803410"/>
                <a:gd name="connsiteY2" fmla="*/ 100532 h 2339215"/>
                <a:gd name="connsiteX3" fmla="*/ 109918 w 7803410"/>
                <a:gd name="connsiteY3" fmla="*/ 116178 h 2339215"/>
                <a:gd name="connsiteX4" fmla="*/ 97924 w 7803410"/>
                <a:gd name="connsiteY4" fmla="*/ 100532 h 2339215"/>
                <a:gd name="connsiteX5" fmla="*/ 4099757 w 7803410"/>
                <a:gd name="connsiteY5" fmla="*/ 566462 h 2339215"/>
                <a:gd name="connsiteX6" fmla="*/ 4110441 w 7803410"/>
                <a:gd name="connsiteY6" fmla="*/ 568323 h 2339215"/>
                <a:gd name="connsiteX7" fmla="*/ 4108787 w 7803410"/>
                <a:gd name="connsiteY7" fmla="*/ 553366 h 2339215"/>
                <a:gd name="connsiteX8" fmla="*/ 4124088 w 7803410"/>
                <a:gd name="connsiteY8" fmla="*/ 560190 h 2339215"/>
                <a:gd name="connsiteX9" fmla="*/ 4107339 w 7803410"/>
                <a:gd name="connsiteY9" fmla="*/ 534550 h 2339215"/>
                <a:gd name="connsiteX10" fmla="*/ 4099757 w 7803410"/>
                <a:gd name="connsiteY10" fmla="*/ 566462 h 2339215"/>
                <a:gd name="connsiteX11" fmla="*/ 2683701 w 7803410"/>
                <a:gd name="connsiteY11" fmla="*/ 612780 h 2339215"/>
                <a:gd name="connsiteX12" fmla="*/ 2683701 w 7803410"/>
                <a:gd name="connsiteY12" fmla="*/ 612780 h 2339215"/>
                <a:gd name="connsiteX13" fmla="*/ 1946208 w 7803410"/>
                <a:gd name="connsiteY13" fmla="*/ 763587 h 2339215"/>
                <a:gd name="connsiteX14" fmla="*/ 1950826 w 7803410"/>
                <a:gd name="connsiteY14" fmla="*/ 748492 h 2339215"/>
                <a:gd name="connsiteX15" fmla="*/ 1946208 w 7803410"/>
                <a:gd name="connsiteY15" fmla="*/ 763587 h 2339215"/>
                <a:gd name="connsiteX16" fmla="*/ 6425206 w 7803410"/>
                <a:gd name="connsiteY16" fmla="*/ 1081950 h 2339215"/>
                <a:gd name="connsiteX17" fmla="*/ 6437068 w 7803410"/>
                <a:gd name="connsiteY17" fmla="*/ 1071335 h 2339215"/>
                <a:gd name="connsiteX18" fmla="*/ 6425206 w 7803410"/>
                <a:gd name="connsiteY18" fmla="*/ 1081950 h 2339215"/>
                <a:gd name="connsiteX19" fmla="*/ 967340 w 7803410"/>
                <a:gd name="connsiteY19" fmla="*/ 1095183 h 2339215"/>
                <a:gd name="connsiteX20" fmla="*/ 967340 w 7803410"/>
                <a:gd name="connsiteY20" fmla="*/ 1095183 h 2339215"/>
                <a:gd name="connsiteX21" fmla="*/ 3276453 w 7803410"/>
                <a:gd name="connsiteY21" fmla="*/ 1164383 h 2339215"/>
                <a:gd name="connsiteX22" fmla="*/ 3276453 w 7803410"/>
                <a:gd name="connsiteY22" fmla="*/ 1164383 h 2339215"/>
                <a:gd name="connsiteX23" fmla="*/ -3877 w 7803410"/>
                <a:gd name="connsiteY23" fmla="*/ 1310572 h 2339215"/>
                <a:gd name="connsiteX24" fmla="*/ 7013 w 7803410"/>
                <a:gd name="connsiteY24" fmla="*/ 1299131 h 2339215"/>
                <a:gd name="connsiteX25" fmla="*/ -3877 w 7803410"/>
                <a:gd name="connsiteY25" fmla="*/ 1310572 h 2339215"/>
                <a:gd name="connsiteX26" fmla="*/ 1125591 w 7803410"/>
                <a:gd name="connsiteY26" fmla="*/ 1482953 h 2339215"/>
                <a:gd name="connsiteX27" fmla="*/ 1124144 w 7803410"/>
                <a:gd name="connsiteY27" fmla="*/ 1469030 h 2339215"/>
                <a:gd name="connsiteX28" fmla="*/ 1125591 w 7803410"/>
                <a:gd name="connsiteY28" fmla="*/ 1482953 h 2339215"/>
                <a:gd name="connsiteX29" fmla="*/ 3276729 w 7803410"/>
                <a:gd name="connsiteY29" fmla="*/ 1591716 h 2339215"/>
                <a:gd name="connsiteX30" fmla="*/ 3276729 w 7803410"/>
                <a:gd name="connsiteY30" fmla="*/ 1591716 h 2339215"/>
                <a:gd name="connsiteX31" fmla="*/ 7789844 w 7803410"/>
                <a:gd name="connsiteY31" fmla="*/ 1681111 h 2339215"/>
                <a:gd name="connsiteX32" fmla="*/ 7789844 w 7803410"/>
                <a:gd name="connsiteY32" fmla="*/ 1681111 h 2339215"/>
                <a:gd name="connsiteX33" fmla="*/ 1263096 w 7803410"/>
                <a:gd name="connsiteY33" fmla="*/ 1845703 h 2339215"/>
                <a:gd name="connsiteX34" fmla="*/ 1263096 w 7803410"/>
                <a:gd name="connsiteY34" fmla="*/ 1845703 h 2339215"/>
                <a:gd name="connsiteX35" fmla="*/ 2104114 w 7803410"/>
                <a:gd name="connsiteY35" fmla="*/ 2045860 h 2339215"/>
                <a:gd name="connsiteX36" fmla="*/ 2120380 w 7803410"/>
                <a:gd name="connsiteY36" fmla="*/ 2021806 h 2339215"/>
                <a:gd name="connsiteX37" fmla="*/ 2104114 w 7803410"/>
                <a:gd name="connsiteY37" fmla="*/ 2045860 h 2339215"/>
                <a:gd name="connsiteX38" fmla="*/ 6990388 w 7803410"/>
                <a:gd name="connsiteY38" fmla="*/ 2335688 h 2339215"/>
                <a:gd name="connsiteX39" fmla="*/ 6990388 w 7803410"/>
                <a:gd name="connsiteY39" fmla="*/ 2335688 h 233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803410" h="2339215">
                  <a:moveTo>
                    <a:pt x="4317421" y="-788"/>
                  </a:moveTo>
                  <a:cubicBezTo>
                    <a:pt x="4320937" y="-4440"/>
                    <a:pt x="4320937" y="-4440"/>
                    <a:pt x="4317421" y="-788"/>
                  </a:cubicBezTo>
                  <a:close/>
                  <a:moveTo>
                    <a:pt x="97924" y="100532"/>
                  </a:moveTo>
                  <a:cubicBezTo>
                    <a:pt x="92477" y="107355"/>
                    <a:pt x="101785" y="120727"/>
                    <a:pt x="109918" y="116178"/>
                  </a:cubicBezTo>
                  <a:cubicBezTo>
                    <a:pt x="115502" y="109354"/>
                    <a:pt x="106057" y="96190"/>
                    <a:pt x="97924" y="100532"/>
                  </a:cubicBezTo>
                  <a:moveTo>
                    <a:pt x="4099757" y="566462"/>
                  </a:moveTo>
                  <a:lnTo>
                    <a:pt x="4110441" y="568323"/>
                  </a:lnTo>
                  <a:cubicBezTo>
                    <a:pt x="4110027" y="564601"/>
                    <a:pt x="4109200" y="557157"/>
                    <a:pt x="4108787" y="553366"/>
                  </a:cubicBezTo>
                  <a:cubicBezTo>
                    <a:pt x="4112578" y="555090"/>
                    <a:pt x="4120228" y="558467"/>
                    <a:pt x="4124088" y="560190"/>
                  </a:cubicBezTo>
                  <a:cubicBezTo>
                    <a:pt x="4127810" y="546819"/>
                    <a:pt x="4116713" y="540753"/>
                    <a:pt x="4107339" y="534550"/>
                  </a:cubicBezTo>
                  <a:cubicBezTo>
                    <a:pt x="4104720" y="545233"/>
                    <a:pt x="4102170" y="555848"/>
                    <a:pt x="4099757" y="566462"/>
                  </a:cubicBezTo>
                  <a:moveTo>
                    <a:pt x="2683701" y="612780"/>
                  </a:moveTo>
                  <a:cubicBezTo>
                    <a:pt x="2687216" y="609127"/>
                    <a:pt x="2687216" y="609127"/>
                    <a:pt x="2683701" y="612780"/>
                  </a:cubicBezTo>
                  <a:moveTo>
                    <a:pt x="1946208" y="763587"/>
                  </a:moveTo>
                  <a:cubicBezTo>
                    <a:pt x="1955237" y="762139"/>
                    <a:pt x="1956753" y="757108"/>
                    <a:pt x="1950826" y="748492"/>
                  </a:cubicBezTo>
                  <a:cubicBezTo>
                    <a:pt x="1941728" y="749940"/>
                    <a:pt x="1940142" y="754971"/>
                    <a:pt x="1946208" y="763587"/>
                  </a:cubicBezTo>
                  <a:moveTo>
                    <a:pt x="6425206" y="1081950"/>
                  </a:moveTo>
                  <a:cubicBezTo>
                    <a:pt x="6436716" y="1085809"/>
                    <a:pt x="6440644" y="1082294"/>
                    <a:pt x="6437068" y="1071335"/>
                  </a:cubicBezTo>
                  <a:cubicBezTo>
                    <a:pt x="6425343" y="1067544"/>
                    <a:pt x="6421415" y="1071059"/>
                    <a:pt x="6425206" y="1081950"/>
                  </a:cubicBezTo>
                  <a:moveTo>
                    <a:pt x="967340" y="1095183"/>
                  </a:moveTo>
                  <a:cubicBezTo>
                    <a:pt x="971062" y="1091668"/>
                    <a:pt x="971062" y="1091668"/>
                    <a:pt x="967340" y="1095183"/>
                  </a:cubicBezTo>
                  <a:moveTo>
                    <a:pt x="3276453" y="1164383"/>
                  </a:moveTo>
                  <a:cubicBezTo>
                    <a:pt x="3279761" y="1160524"/>
                    <a:pt x="3279761" y="1160524"/>
                    <a:pt x="3276453" y="1164383"/>
                  </a:cubicBezTo>
                  <a:moveTo>
                    <a:pt x="-3877" y="1310572"/>
                  </a:moveTo>
                  <a:cubicBezTo>
                    <a:pt x="7221" y="1314432"/>
                    <a:pt x="10807" y="1310572"/>
                    <a:pt x="7013" y="1299131"/>
                  </a:cubicBezTo>
                  <a:cubicBezTo>
                    <a:pt x="-4085" y="1295271"/>
                    <a:pt x="-7738" y="1299131"/>
                    <a:pt x="-3877" y="1310572"/>
                  </a:cubicBezTo>
                  <a:moveTo>
                    <a:pt x="1125591" y="1482953"/>
                  </a:moveTo>
                  <a:cubicBezTo>
                    <a:pt x="1134138" y="1478611"/>
                    <a:pt x="1133655" y="1473993"/>
                    <a:pt x="1124144" y="1469030"/>
                  </a:cubicBezTo>
                  <a:cubicBezTo>
                    <a:pt x="1115459" y="1473373"/>
                    <a:pt x="1115942" y="1477990"/>
                    <a:pt x="1125591" y="1482953"/>
                  </a:cubicBezTo>
                  <a:moveTo>
                    <a:pt x="3276729" y="1591716"/>
                  </a:moveTo>
                  <a:cubicBezTo>
                    <a:pt x="3280106" y="1587925"/>
                    <a:pt x="3280106" y="1587925"/>
                    <a:pt x="3276729" y="1591716"/>
                  </a:cubicBezTo>
                  <a:moveTo>
                    <a:pt x="7789844" y="1681111"/>
                  </a:moveTo>
                  <a:cubicBezTo>
                    <a:pt x="7812589" y="1681111"/>
                    <a:pt x="7779712" y="1659951"/>
                    <a:pt x="7789844" y="1681111"/>
                  </a:cubicBezTo>
                  <a:moveTo>
                    <a:pt x="1263096" y="1845703"/>
                  </a:moveTo>
                  <a:cubicBezTo>
                    <a:pt x="1286254" y="1845290"/>
                    <a:pt x="1253240" y="1824750"/>
                    <a:pt x="1263096" y="1845703"/>
                  </a:cubicBezTo>
                  <a:moveTo>
                    <a:pt x="2104114" y="2045860"/>
                  </a:moveTo>
                  <a:cubicBezTo>
                    <a:pt x="2113488" y="2045378"/>
                    <a:pt x="2123551" y="2031179"/>
                    <a:pt x="2120380" y="2021806"/>
                  </a:cubicBezTo>
                  <a:cubicBezTo>
                    <a:pt x="2109008" y="2016567"/>
                    <a:pt x="2099979" y="2036969"/>
                    <a:pt x="2104114" y="2045860"/>
                  </a:cubicBezTo>
                  <a:moveTo>
                    <a:pt x="6990388" y="2335688"/>
                  </a:moveTo>
                  <a:cubicBezTo>
                    <a:pt x="7013133" y="2335551"/>
                    <a:pt x="6980118" y="2314666"/>
                    <a:pt x="6990388" y="2335688"/>
                  </a:cubicBezTo>
                </a:path>
              </a:pathLst>
            </a:custGeom>
            <a:grpFill/>
            <a:ln w="689" cap="flat">
              <a:noFill/>
              <a:prstDash val="solid"/>
              <a:miter/>
            </a:ln>
          </p:spPr>
          <p:txBody>
            <a:bodyPr rtlCol="0" anchor="ctr"/>
            <a:lstStyle/>
            <a:p>
              <a:endParaRPr lang="en-US" sz="2400" dirty="0"/>
            </a:p>
          </p:txBody>
        </p:sp>
        <p:sp>
          <p:nvSpPr>
            <p:cNvPr id="50" name="Graphic 8">
              <a:extLst>
                <a:ext uri="{FF2B5EF4-FFF2-40B4-BE49-F238E27FC236}">
                  <a16:creationId xmlns:a16="http://schemas.microsoft.com/office/drawing/2014/main" id="{672CAAF3-9ECB-4C3C-8C53-8B2D8EF1AEC4}"/>
                </a:ext>
              </a:extLst>
            </p:cNvPr>
            <p:cNvSpPr/>
            <p:nvPr/>
          </p:nvSpPr>
          <p:spPr>
            <a:xfrm flipV="1">
              <a:off x="3306654" y="1222139"/>
              <a:ext cx="5155623" cy="2411206"/>
            </a:xfrm>
            <a:custGeom>
              <a:avLst/>
              <a:gdLst>
                <a:gd name="connsiteX0" fmla="*/ 6013 w 5155623"/>
                <a:gd name="connsiteY0" fmla="*/ 15608 h 2411206"/>
                <a:gd name="connsiteX1" fmla="*/ -6049 w 5155623"/>
                <a:gd name="connsiteY1" fmla="*/ -1623 h 2411206"/>
                <a:gd name="connsiteX2" fmla="*/ 6013 w 5155623"/>
                <a:gd name="connsiteY2" fmla="*/ 15608 h 2411206"/>
                <a:gd name="connsiteX3" fmla="*/ 3292891 w 5155623"/>
                <a:gd name="connsiteY3" fmla="*/ 754687 h 2411206"/>
                <a:gd name="connsiteX4" fmla="*/ 3297577 w 5155623"/>
                <a:gd name="connsiteY4" fmla="*/ 737042 h 2411206"/>
                <a:gd name="connsiteX5" fmla="*/ 3292891 w 5155623"/>
                <a:gd name="connsiteY5" fmla="*/ 754687 h 2411206"/>
                <a:gd name="connsiteX6" fmla="*/ 1290148 w 5155623"/>
                <a:gd name="connsiteY6" fmla="*/ 822095 h 2411206"/>
                <a:gd name="connsiteX7" fmla="*/ 1295524 w 5155623"/>
                <a:gd name="connsiteY7" fmla="*/ 792251 h 2411206"/>
                <a:gd name="connsiteX8" fmla="*/ 1290148 w 5155623"/>
                <a:gd name="connsiteY8" fmla="*/ 822095 h 2411206"/>
                <a:gd name="connsiteX9" fmla="*/ 5090307 w 5155623"/>
                <a:gd name="connsiteY9" fmla="*/ 2347949 h 2411206"/>
                <a:gd name="connsiteX10" fmla="*/ 5126079 w 5155623"/>
                <a:gd name="connsiteY10" fmla="*/ 2346295 h 2411206"/>
                <a:gd name="connsiteX11" fmla="*/ 5126906 w 5155623"/>
                <a:gd name="connsiteY11" fmla="*/ 2341470 h 2411206"/>
                <a:gd name="connsiteX12" fmla="*/ 5121392 w 5155623"/>
                <a:gd name="connsiteY12" fmla="*/ 2331751 h 2411206"/>
                <a:gd name="connsiteX13" fmla="*/ 5131800 w 5155623"/>
                <a:gd name="connsiteY13" fmla="*/ 2314658 h 2411206"/>
                <a:gd name="connsiteX14" fmla="*/ 5148341 w 5155623"/>
                <a:gd name="connsiteY14" fmla="*/ 2302114 h 2411206"/>
                <a:gd name="connsiteX15" fmla="*/ 5112294 w 5155623"/>
                <a:gd name="connsiteY15" fmla="*/ 2300873 h 2411206"/>
                <a:gd name="connsiteX16" fmla="*/ 5082312 w 5155623"/>
                <a:gd name="connsiteY16" fmla="*/ 2309971 h 2411206"/>
                <a:gd name="connsiteX17" fmla="*/ 5077900 w 5155623"/>
                <a:gd name="connsiteY17" fmla="*/ 2341056 h 2411206"/>
                <a:gd name="connsiteX18" fmla="*/ 5089618 w 5155623"/>
                <a:gd name="connsiteY18" fmla="*/ 2335611 h 2411206"/>
                <a:gd name="connsiteX19" fmla="*/ 5090307 w 5155623"/>
                <a:gd name="connsiteY19" fmla="*/ 2347949 h 2411206"/>
                <a:gd name="connsiteX20" fmla="*/ 4486803 w 5155623"/>
                <a:gd name="connsiteY20" fmla="*/ 2407706 h 2411206"/>
                <a:gd name="connsiteX21" fmla="*/ 4485631 w 5155623"/>
                <a:gd name="connsiteY21" fmla="*/ 2389579 h 2411206"/>
                <a:gd name="connsiteX22" fmla="*/ 4486803 w 5155623"/>
                <a:gd name="connsiteY22" fmla="*/ 2407706 h 2411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55623" h="2411206">
                  <a:moveTo>
                    <a:pt x="6013" y="15608"/>
                  </a:moveTo>
                  <a:cubicBezTo>
                    <a:pt x="18557" y="11749"/>
                    <a:pt x="3394" y="-9825"/>
                    <a:pt x="-6049" y="-1623"/>
                  </a:cubicBezTo>
                  <a:cubicBezTo>
                    <a:pt x="-10667" y="6097"/>
                    <a:pt x="-1362" y="14850"/>
                    <a:pt x="6013" y="15608"/>
                  </a:cubicBezTo>
                  <a:close/>
                  <a:moveTo>
                    <a:pt x="3292891" y="754687"/>
                  </a:moveTo>
                  <a:cubicBezTo>
                    <a:pt x="3303229" y="757375"/>
                    <a:pt x="3308950" y="739248"/>
                    <a:pt x="3297577" y="737042"/>
                  </a:cubicBezTo>
                  <a:cubicBezTo>
                    <a:pt x="3286619" y="733872"/>
                    <a:pt x="3282001" y="751999"/>
                    <a:pt x="3292891" y="754687"/>
                  </a:cubicBezTo>
                  <a:moveTo>
                    <a:pt x="1290148" y="822095"/>
                  </a:moveTo>
                  <a:cubicBezTo>
                    <a:pt x="1303312" y="825610"/>
                    <a:pt x="1309171" y="793285"/>
                    <a:pt x="1295524" y="792251"/>
                  </a:cubicBezTo>
                  <a:cubicBezTo>
                    <a:pt x="1288356" y="799695"/>
                    <a:pt x="1286288" y="812791"/>
                    <a:pt x="1290148" y="822095"/>
                  </a:cubicBezTo>
                  <a:moveTo>
                    <a:pt x="5090307" y="2347949"/>
                  </a:moveTo>
                  <a:cubicBezTo>
                    <a:pt x="5101541" y="2346226"/>
                    <a:pt x="5116705" y="2354497"/>
                    <a:pt x="5126079" y="2346295"/>
                  </a:cubicBezTo>
                  <a:lnTo>
                    <a:pt x="5126906" y="2341470"/>
                  </a:lnTo>
                  <a:cubicBezTo>
                    <a:pt x="5125528" y="2338989"/>
                    <a:pt x="5122771" y="2334164"/>
                    <a:pt x="5121392" y="2331751"/>
                  </a:cubicBezTo>
                  <a:cubicBezTo>
                    <a:pt x="5124562" y="2326099"/>
                    <a:pt x="5128285" y="2320379"/>
                    <a:pt x="5131800" y="2314658"/>
                  </a:cubicBezTo>
                  <a:cubicBezTo>
                    <a:pt x="5137245" y="2310591"/>
                    <a:pt x="5142759" y="2306387"/>
                    <a:pt x="5148341" y="2302114"/>
                  </a:cubicBezTo>
                  <a:cubicBezTo>
                    <a:pt x="5136211" y="2301562"/>
                    <a:pt x="5124218" y="2301149"/>
                    <a:pt x="5112294" y="2300873"/>
                  </a:cubicBezTo>
                  <a:cubicBezTo>
                    <a:pt x="5102575" y="2305008"/>
                    <a:pt x="5092375" y="2307697"/>
                    <a:pt x="5082312" y="2309971"/>
                  </a:cubicBezTo>
                  <a:cubicBezTo>
                    <a:pt x="5081209" y="2317760"/>
                    <a:pt x="5079004" y="2333337"/>
                    <a:pt x="5077900" y="2341056"/>
                  </a:cubicBezTo>
                  <a:lnTo>
                    <a:pt x="5089618" y="2335611"/>
                  </a:lnTo>
                  <a:cubicBezTo>
                    <a:pt x="5089756" y="2338713"/>
                    <a:pt x="5090100" y="2344847"/>
                    <a:pt x="5090307" y="2347949"/>
                  </a:cubicBezTo>
                  <a:moveTo>
                    <a:pt x="4486803" y="2407706"/>
                  </a:moveTo>
                  <a:cubicBezTo>
                    <a:pt x="4497693" y="2408602"/>
                    <a:pt x="4494109" y="2390682"/>
                    <a:pt x="4485631" y="2389579"/>
                  </a:cubicBezTo>
                  <a:cubicBezTo>
                    <a:pt x="4475086" y="2389441"/>
                    <a:pt x="4479083" y="2405845"/>
                    <a:pt x="4486803" y="2407706"/>
                  </a:cubicBezTo>
                </a:path>
              </a:pathLst>
            </a:custGeom>
            <a:grpFill/>
            <a:ln w="689" cap="flat">
              <a:noFill/>
              <a:prstDash val="solid"/>
              <a:miter/>
            </a:ln>
          </p:spPr>
          <p:txBody>
            <a:bodyPr rtlCol="0" anchor="ctr"/>
            <a:lstStyle/>
            <a:p>
              <a:endParaRPr lang="en-US" sz="2400" dirty="0"/>
            </a:p>
          </p:txBody>
        </p:sp>
        <p:sp>
          <p:nvSpPr>
            <p:cNvPr id="51" name="Graphic 8">
              <a:extLst>
                <a:ext uri="{FF2B5EF4-FFF2-40B4-BE49-F238E27FC236}">
                  <a16:creationId xmlns:a16="http://schemas.microsoft.com/office/drawing/2014/main" id="{6FF6BFCD-AE89-4D0A-BCDA-01C29CEAD787}"/>
                </a:ext>
              </a:extLst>
            </p:cNvPr>
            <p:cNvSpPr/>
            <p:nvPr/>
          </p:nvSpPr>
          <p:spPr>
            <a:xfrm flipV="1">
              <a:off x="3151247" y="1227478"/>
              <a:ext cx="4227948" cy="2188890"/>
            </a:xfrm>
            <a:custGeom>
              <a:avLst/>
              <a:gdLst>
                <a:gd name="connsiteX0" fmla="*/ 2830064 w 4227948"/>
                <a:gd name="connsiteY0" fmla="*/ -695 h 2188890"/>
                <a:gd name="connsiteX1" fmla="*/ 2830064 w 4227948"/>
                <a:gd name="connsiteY1" fmla="*/ -695 h 2188890"/>
                <a:gd name="connsiteX2" fmla="*/ -4117 w 4227948"/>
                <a:gd name="connsiteY2" fmla="*/ 268248 h 2188890"/>
                <a:gd name="connsiteX3" fmla="*/ 8358 w 4227948"/>
                <a:gd name="connsiteY3" fmla="*/ 263493 h 2188890"/>
                <a:gd name="connsiteX4" fmla="*/ -3497 w 4227948"/>
                <a:gd name="connsiteY4" fmla="*/ 241437 h 2188890"/>
                <a:gd name="connsiteX5" fmla="*/ -4117 w 4227948"/>
                <a:gd name="connsiteY5" fmla="*/ 268248 h 2188890"/>
                <a:gd name="connsiteX6" fmla="*/ 1339293 w 4227948"/>
                <a:gd name="connsiteY6" fmla="*/ 1230781 h 2188890"/>
                <a:gd name="connsiteX7" fmla="*/ 1361349 w 4227948"/>
                <a:gd name="connsiteY7" fmla="*/ 1233124 h 2188890"/>
                <a:gd name="connsiteX8" fmla="*/ 1366656 w 4227948"/>
                <a:gd name="connsiteY8" fmla="*/ 1183085 h 2188890"/>
                <a:gd name="connsiteX9" fmla="*/ 1356800 w 4227948"/>
                <a:gd name="connsiteY9" fmla="*/ 1216651 h 2188890"/>
                <a:gd name="connsiteX10" fmla="*/ 1344738 w 4227948"/>
                <a:gd name="connsiteY10" fmla="*/ 1165854 h 2188890"/>
                <a:gd name="connsiteX11" fmla="*/ 1339293 w 4227948"/>
                <a:gd name="connsiteY11" fmla="*/ 1230781 h 2188890"/>
                <a:gd name="connsiteX12" fmla="*/ 4210899 w 4227948"/>
                <a:gd name="connsiteY12" fmla="*/ 1677137 h 2188890"/>
                <a:gd name="connsiteX13" fmla="*/ 4221445 w 4227948"/>
                <a:gd name="connsiteY13" fmla="*/ 1642261 h 2188890"/>
                <a:gd name="connsiteX14" fmla="*/ 4186224 w 4227948"/>
                <a:gd name="connsiteY14" fmla="*/ 1615518 h 2188890"/>
                <a:gd name="connsiteX15" fmla="*/ 4198562 w 4227948"/>
                <a:gd name="connsiteY15" fmla="*/ 1636195 h 2188890"/>
                <a:gd name="connsiteX16" fmla="*/ 4186914 w 4227948"/>
                <a:gd name="connsiteY16" fmla="*/ 1637850 h 2188890"/>
                <a:gd name="connsiteX17" fmla="*/ 4198148 w 4227948"/>
                <a:gd name="connsiteY17" fmla="*/ 1637781 h 2188890"/>
                <a:gd name="connsiteX18" fmla="*/ 4196150 w 4227948"/>
                <a:gd name="connsiteY18" fmla="*/ 1649705 h 2188890"/>
                <a:gd name="connsiteX19" fmla="*/ 4210899 w 4227948"/>
                <a:gd name="connsiteY19" fmla="*/ 1677137 h 2188890"/>
                <a:gd name="connsiteX20" fmla="*/ 1965956 w 4227948"/>
                <a:gd name="connsiteY20" fmla="*/ 1924645 h 2188890"/>
                <a:gd name="connsiteX21" fmla="*/ 2035087 w 4227948"/>
                <a:gd name="connsiteY21" fmla="*/ 1924438 h 2188890"/>
                <a:gd name="connsiteX22" fmla="*/ 2062243 w 4227948"/>
                <a:gd name="connsiteY22" fmla="*/ 1931813 h 2188890"/>
                <a:gd name="connsiteX23" fmla="*/ 2066103 w 4227948"/>
                <a:gd name="connsiteY23" fmla="*/ 1900797 h 2188890"/>
                <a:gd name="connsiteX24" fmla="*/ 2050044 w 4227948"/>
                <a:gd name="connsiteY24" fmla="*/ 1925885 h 2188890"/>
                <a:gd name="connsiteX25" fmla="*/ 2048803 w 4227948"/>
                <a:gd name="connsiteY25" fmla="*/ 1903140 h 2188890"/>
                <a:gd name="connsiteX26" fmla="*/ 2023783 w 4227948"/>
                <a:gd name="connsiteY26" fmla="*/ 1911618 h 2188890"/>
                <a:gd name="connsiteX27" fmla="*/ 2022336 w 4227948"/>
                <a:gd name="connsiteY27" fmla="*/ 1912308 h 2188890"/>
                <a:gd name="connsiteX28" fmla="*/ 2016339 w 4227948"/>
                <a:gd name="connsiteY28" fmla="*/ 1915065 h 2188890"/>
                <a:gd name="connsiteX29" fmla="*/ 2015719 w 4227948"/>
                <a:gd name="connsiteY29" fmla="*/ 1883152 h 2188890"/>
                <a:gd name="connsiteX30" fmla="*/ 1986150 w 4227948"/>
                <a:gd name="connsiteY30" fmla="*/ 1878327 h 2188890"/>
                <a:gd name="connsiteX31" fmla="*/ 2009730 w 4227948"/>
                <a:gd name="connsiteY31" fmla="*/ 1895972 h 2188890"/>
                <a:gd name="connsiteX32" fmla="*/ 1994973 w 4227948"/>
                <a:gd name="connsiteY32" fmla="*/ 1907689 h 2188890"/>
                <a:gd name="connsiteX33" fmla="*/ 2011377 w 4227948"/>
                <a:gd name="connsiteY33" fmla="*/ 1909757 h 2188890"/>
                <a:gd name="connsiteX34" fmla="*/ 1965956 w 4227948"/>
                <a:gd name="connsiteY34" fmla="*/ 1924645 h 2188890"/>
                <a:gd name="connsiteX35" fmla="*/ 3908114 w 4227948"/>
                <a:gd name="connsiteY35" fmla="*/ 2185249 h 2188890"/>
                <a:gd name="connsiteX36" fmla="*/ 3909147 w 4227948"/>
                <a:gd name="connsiteY36" fmla="*/ 2176289 h 2188890"/>
                <a:gd name="connsiteX37" fmla="*/ 3916798 w 4227948"/>
                <a:gd name="connsiteY37" fmla="*/ 2132108 h 2188890"/>
                <a:gd name="connsiteX38" fmla="*/ 3895087 w 4227948"/>
                <a:gd name="connsiteY38" fmla="*/ 2121287 h 2188890"/>
                <a:gd name="connsiteX39" fmla="*/ 3892674 w 4227948"/>
                <a:gd name="connsiteY39" fmla="*/ 2121011 h 2188890"/>
                <a:gd name="connsiteX40" fmla="*/ 3892330 w 4227948"/>
                <a:gd name="connsiteY40" fmla="*/ 2119150 h 2188890"/>
                <a:gd name="connsiteX41" fmla="*/ 3894053 w 4227948"/>
                <a:gd name="connsiteY41" fmla="*/ 2117565 h 2188890"/>
                <a:gd name="connsiteX42" fmla="*/ 3896879 w 4227948"/>
                <a:gd name="connsiteY42" fmla="*/ 2110673 h 2188890"/>
                <a:gd name="connsiteX43" fmla="*/ 3854835 w 4227948"/>
                <a:gd name="connsiteY43" fmla="*/ 2113567 h 2188890"/>
                <a:gd name="connsiteX44" fmla="*/ 3846219 w 4227948"/>
                <a:gd name="connsiteY44" fmla="*/ 2117565 h 2188890"/>
                <a:gd name="connsiteX45" fmla="*/ 3887230 w 4227948"/>
                <a:gd name="connsiteY45" fmla="*/ 2125491 h 2188890"/>
                <a:gd name="connsiteX46" fmla="*/ 3895501 w 4227948"/>
                <a:gd name="connsiteY46" fmla="*/ 2133556 h 2188890"/>
                <a:gd name="connsiteX47" fmla="*/ 3894535 w 4227948"/>
                <a:gd name="connsiteY47" fmla="*/ 2164778 h 2188890"/>
                <a:gd name="connsiteX48" fmla="*/ 3908114 w 4227948"/>
                <a:gd name="connsiteY48" fmla="*/ 2185249 h 218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27948" h="2188890">
                  <a:moveTo>
                    <a:pt x="2830064" y="-695"/>
                  </a:moveTo>
                  <a:cubicBezTo>
                    <a:pt x="2833647" y="-4624"/>
                    <a:pt x="2833647" y="-4624"/>
                    <a:pt x="2830064" y="-695"/>
                  </a:cubicBezTo>
                  <a:close/>
                  <a:moveTo>
                    <a:pt x="-4117" y="268248"/>
                  </a:moveTo>
                  <a:cubicBezTo>
                    <a:pt x="-1015" y="267077"/>
                    <a:pt x="5257" y="264733"/>
                    <a:pt x="8358" y="263493"/>
                  </a:cubicBezTo>
                  <a:cubicBezTo>
                    <a:pt x="6429" y="255222"/>
                    <a:pt x="1397" y="248191"/>
                    <a:pt x="-3497" y="241437"/>
                  </a:cubicBezTo>
                  <a:cubicBezTo>
                    <a:pt x="-7288" y="250397"/>
                    <a:pt x="-7494" y="259288"/>
                    <a:pt x="-4117" y="268248"/>
                  </a:cubicBezTo>
                  <a:moveTo>
                    <a:pt x="1339293" y="1230781"/>
                  </a:moveTo>
                  <a:cubicBezTo>
                    <a:pt x="1346599" y="1231608"/>
                    <a:pt x="1353905" y="1232366"/>
                    <a:pt x="1361349" y="1233124"/>
                  </a:cubicBezTo>
                  <a:cubicBezTo>
                    <a:pt x="1363210" y="1216444"/>
                    <a:pt x="1365278" y="1199834"/>
                    <a:pt x="1366656" y="1183085"/>
                  </a:cubicBezTo>
                  <a:cubicBezTo>
                    <a:pt x="1355146" y="1191080"/>
                    <a:pt x="1353284" y="1203418"/>
                    <a:pt x="1356800" y="1216651"/>
                  </a:cubicBezTo>
                  <a:cubicBezTo>
                    <a:pt x="1336467" y="1208174"/>
                    <a:pt x="1347081" y="1182671"/>
                    <a:pt x="1344738" y="1165854"/>
                  </a:cubicBezTo>
                  <a:cubicBezTo>
                    <a:pt x="1341223" y="1187358"/>
                    <a:pt x="1338535" y="1209001"/>
                    <a:pt x="1339293" y="1230781"/>
                  </a:cubicBezTo>
                  <a:moveTo>
                    <a:pt x="4210899" y="1677137"/>
                  </a:moveTo>
                  <a:cubicBezTo>
                    <a:pt x="4218068" y="1666936"/>
                    <a:pt x="4219860" y="1654460"/>
                    <a:pt x="4221445" y="1642261"/>
                  </a:cubicBezTo>
                  <a:cubicBezTo>
                    <a:pt x="4210280" y="1632611"/>
                    <a:pt x="4198631" y="1623582"/>
                    <a:pt x="4186224" y="1615518"/>
                  </a:cubicBezTo>
                  <a:cubicBezTo>
                    <a:pt x="4190222" y="1622479"/>
                    <a:pt x="4194358" y="1629372"/>
                    <a:pt x="4198562" y="1636195"/>
                  </a:cubicBezTo>
                  <a:lnTo>
                    <a:pt x="4186914" y="1637850"/>
                  </a:lnTo>
                  <a:cubicBezTo>
                    <a:pt x="4189739" y="1637850"/>
                    <a:pt x="4195323" y="1637850"/>
                    <a:pt x="4198148" y="1637781"/>
                  </a:cubicBezTo>
                  <a:cubicBezTo>
                    <a:pt x="4197666" y="1640814"/>
                    <a:pt x="4196632" y="1646741"/>
                    <a:pt x="4196150" y="1649705"/>
                  </a:cubicBezTo>
                  <a:cubicBezTo>
                    <a:pt x="4211244" y="1649498"/>
                    <a:pt x="4206971" y="1667280"/>
                    <a:pt x="4210899" y="1677137"/>
                  </a:cubicBezTo>
                  <a:moveTo>
                    <a:pt x="1965956" y="1924645"/>
                  </a:moveTo>
                  <a:cubicBezTo>
                    <a:pt x="1988356" y="1932640"/>
                    <a:pt x="2012411" y="1929401"/>
                    <a:pt x="2035087" y="1924438"/>
                  </a:cubicBezTo>
                  <a:cubicBezTo>
                    <a:pt x="2043840" y="1927885"/>
                    <a:pt x="2052869" y="1930435"/>
                    <a:pt x="2062243" y="1931813"/>
                  </a:cubicBezTo>
                  <a:cubicBezTo>
                    <a:pt x="2063208" y="1924025"/>
                    <a:pt x="2065138" y="1908517"/>
                    <a:pt x="2066103" y="1900797"/>
                  </a:cubicBezTo>
                  <a:cubicBezTo>
                    <a:pt x="2060658" y="1909137"/>
                    <a:pt x="2055282" y="1917546"/>
                    <a:pt x="2050044" y="1925885"/>
                  </a:cubicBezTo>
                  <a:cubicBezTo>
                    <a:pt x="2049699" y="1920165"/>
                    <a:pt x="2049079" y="1908792"/>
                    <a:pt x="2048803" y="1903140"/>
                  </a:cubicBezTo>
                  <a:cubicBezTo>
                    <a:pt x="2040670" y="1906449"/>
                    <a:pt x="2033226" y="1920371"/>
                    <a:pt x="2023783" y="1911618"/>
                  </a:cubicBezTo>
                  <a:lnTo>
                    <a:pt x="2022336" y="1912308"/>
                  </a:lnTo>
                  <a:cubicBezTo>
                    <a:pt x="2020819" y="1912997"/>
                    <a:pt x="2017856" y="1914375"/>
                    <a:pt x="2016339" y="1915065"/>
                  </a:cubicBezTo>
                  <a:cubicBezTo>
                    <a:pt x="2014823" y="1904450"/>
                    <a:pt x="2015099" y="1893767"/>
                    <a:pt x="2015719" y="1883152"/>
                  </a:cubicBezTo>
                  <a:cubicBezTo>
                    <a:pt x="2011101" y="1871780"/>
                    <a:pt x="1995524" y="1879017"/>
                    <a:pt x="1986150" y="1878327"/>
                  </a:cubicBezTo>
                  <a:cubicBezTo>
                    <a:pt x="1994008" y="1884117"/>
                    <a:pt x="2001865" y="1889976"/>
                    <a:pt x="2009730" y="1895972"/>
                  </a:cubicBezTo>
                  <a:cubicBezTo>
                    <a:pt x="2006001" y="1898936"/>
                    <a:pt x="1998695" y="1904795"/>
                    <a:pt x="1994973" y="1907689"/>
                  </a:cubicBezTo>
                  <a:cubicBezTo>
                    <a:pt x="1999108" y="1908241"/>
                    <a:pt x="2007310" y="1909206"/>
                    <a:pt x="2011377" y="1909757"/>
                  </a:cubicBezTo>
                  <a:cubicBezTo>
                    <a:pt x="2002141" y="1926506"/>
                    <a:pt x="1981946" y="1923818"/>
                    <a:pt x="1965956" y="1924645"/>
                  </a:cubicBezTo>
                  <a:moveTo>
                    <a:pt x="3908114" y="2185249"/>
                  </a:moveTo>
                  <a:cubicBezTo>
                    <a:pt x="3908390" y="2183043"/>
                    <a:pt x="3908872" y="2178494"/>
                    <a:pt x="3909147" y="2176289"/>
                  </a:cubicBezTo>
                  <a:cubicBezTo>
                    <a:pt x="3910526" y="2161401"/>
                    <a:pt x="3912938" y="2146582"/>
                    <a:pt x="3916798" y="2132108"/>
                  </a:cubicBezTo>
                  <a:cubicBezTo>
                    <a:pt x="3911836" y="2124320"/>
                    <a:pt x="3904599" y="2120667"/>
                    <a:pt x="3895087" y="2121287"/>
                  </a:cubicBezTo>
                  <a:lnTo>
                    <a:pt x="3892674" y="2121011"/>
                  </a:lnTo>
                  <a:lnTo>
                    <a:pt x="3892330" y="2119150"/>
                  </a:lnTo>
                  <a:lnTo>
                    <a:pt x="3894053" y="2117565"/>
                  </a:lnTo>
                  <a:lnTo>
                    <a:pt x="3896879" y="2110673"/>
                  </a:lnTo>
                  <a:cubicBezTo>
                    <a:pt x="3882818" y="2110397"/>
                    <a:pt x="3868206" y="2108880"/>
                    <a:pt x="3854835" y="2113567"/>
                  </a:cubicBezTo>
                  <a:lnTo>
                    <a:pt x="3846219" y="2117565"/>
                  </a:lnTo>
                  <a:cubicBezTo>
                    <a:pt x="3860142" y="2117703"/>
                    <a:pt x="3875306" y="2116669"/>
                    <a:pt x="3887230" y="2125491"/>
                  </a:cubicBezTo>
                  <a:cubicBezTo>
                    <a:pt x="3889297" y="2127490"/>
                    <a:pt x="3893433" y="2131557"/>
                    <a:pt x="3895501" y="2133556"/>
                  </a:cubicBezTo>
                  <a:cubicBezTo>
                    <a:pt x="3895431" y="2143963"/>
                    <a:pt x="3894880" y="2154371"/>
                    <a:pt x="3894535" y="2164778"/>
                  </a:cubicBezTo>
                  <a:cubicBezTo>
                    <a:pt x="3898947" y="2171602"/>
                    <a:pt x="3903496" y="2178426"/>
                    <a:pt x="3908114" y="2185249"/>
                  </a:cubicBezTo>
                </a:path>
              </a:pathLst>
            </a:custGeom>
            <a:grpFill/>
            <a:ln w="689" cap="flat">
              <a:noFill/>
              <a:prstDash val="solid"/>
              <a:miter/>
            </a:ln>
          </p:spPr>
          <p:txBody>
            <a:bodyPr rtlCol="0" anchor="ctr"/>
            <a:lstStyle/>
            <a:p>
              <a:endParaRPr lang="en-US" sz="2400" dirty="0"/>
            </a:p>
          </p:txBody>
        </p:sp>
        <p:sp>
          <p:nvSpPr>
            <p:cNvPr id="52" name="Graphic 8">
              <a:extLst>
                <a:ext uri="{FF2B5EF4-FFF2-40B4-BE49-F238E27FC236}">
                  <a16:creationId xmlns:a16="http://schemas.microsoft.com/office/drawing/2014/main" id="{292EFA30-CEA4-4EC1-920D-8A2E3685218C}"/>
                </a:ext>
              </a:extLst>
            </p:cNvPr>
            <p:cNvSpPr/>
            <p:nvPr/>
          </p:nvSpPr>
          <p:spPr>
            <a:xfrm flipV="1">
              <a:off x="1842146" y="1228857"/>
              <a:ext cx="6802350" cy="2028968"/>
            </a:xfrm>
            <a:custGeom>
              <a:avLst/>
              <a:gdLst>
                <a:gd name="connsiteX0" fmla="*/ 4677149 w 6802350"/>
                <a:gd name="connsiteY0" fmla="*/ -980 h 2028968"/>
                <a:gd name="connsiteX1" fmla="*/ 4677149 w 6802350"/>
                <a:gd name="connsiteY1" fmla="*/ -980 h 2028968"/>
                <a:gd name="connsiteX2" fmla="*/ 5007643 w 6802350"/>
                <a:gd name="connsiteY2" fmla="*/ 419805 h 2028968"/>
                <a:gd name="connsiteX3" fmla="*/ 5016810 w 6802350"/>
                <a:gd name="connsiteY3" fmla="*/ 402229 h 2028968"/>
                <a:gd name="connsiteX4" fmla="*/ 5007643 w 6802350"/>
                <a:gd name="connsiteY4" fmla="*/ 419805 h 2028968"/>
                <a:gd name="connsiteX5" fmla="*/ -2695 w 6802350"/>
                <a:gd name="connsiteY5" fmla="*/ 810608 h 2028968"/>
                <a:gd name="connsiteX6" fmla="*/ 889 w 6802350"/>
                <a:gd name="connsiteY6" fmla="*/ 833766 h 2028968"/>
                <a:gd name="connsiteX7" fmla="*/ -2695 w 6802350"/>
                <a:gd name="connsiteY7" fmla="*/ 810608 h 2028968"/>
                <a:gd name="connsiteX8" fmla="*/ 3890650 w 6802350"/>
                <a:gd name="connsiteY8" fmla="*/ 839556 h 2028968"/>
                <a:gd name="connsiteX9" fmla="*/ 3890650 w 6802350"/>
                <a:gd name="connsiteY9" fmla="*/ 839556 h 2028968"/>
                <a:gd name="connsiteX10" fmla="*/ 844182 w 6802350"/>
                <a:gd name="connsiteY10" fmla="*/ 1219744 h 2028968"/>
                <a:gd name="connsiteX11" fmla="*/ 858931 w 6802350"/>
                <a:gd name="connsiteY11" fmla="*/ 1220916 h 2028968"/>
                <a:gd name="connsiteX12" fmla="*/ 860310 w 6802350"/>
                <a:gd name="connsiteY12" fmla="*/ 1218572 h 2028968"/>
                <a:gd name="connsiteX13" fmla="*/ 850178 w 6802350"/>
                <a:gd name="connsiteY13" fmla="*/ 1192588 h 2028968"/>
                <a:gd name="connsiteX14" fmla="*/ 844182 w 6802350"/>
                <a:gd name="connsiteY14" fmla="*/ 1219744 h 2028968"/>
                <a:gd name="connsiteX15" fmla="*/ 6793135 w 6802350"/>
                <a:gd name="connsiteY15" fmla="*/ 1287704 h 2028968"/>
                <a:gd name="connsiteX16" fmla="*/ 6793135 w 6802350"/>
                <a:gd name="connsiteY16" fmla="*/ 1287704 h 2028968"/>
                <a:gd name="connsiteX17" fmla="*/ 6084314 w 6802350"/>
                <a:gd name="connsiteY17" fmla="*/ 2025197 h 2028968"/>
                <a:gd name="connsiteX18" fmla="*/ 6103200 w 6802350"/>
                <a:gd name="connsiteY18" fmla="*/ 2023061 h 2028968"/>
                <a:gd name="connsiteX19" fmla="*/ 6111126 w 6802350"/>
                <a:gd name="connsiteY19" fmla="*/ 2013894 h 2028968"/>
                <a:gd name="connsiteX20" fmla="*/ 6114090 w 6802350"/>
                <a:gd name="connsiteY20" fmla="*/ 2010448 h 2028968"/>
                <a:gd name="connsiteX21" fmla="*/ 6081833 w 6802350"/>
                <a:gd name="connsiteY21" fmla="*/ 2008035 h 2028968"/>
                <a:gd name="connsiteX22" fmla="*/ 6082178 w 6802350"/>
                <a:gd name="connsiteY22" fmla="*/ 2010792 h 2028968"/>
                <a:gd name="connsiteX23" fmla="*/ 6084314 w 6802350"/>
                <a:gd name="connsiteY23" fmla="*/ 2025197 h 20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02350" h="2028968">
                  <a:moveTo>
                    <a:pt x="4677149" y="-980"/>
                  </a:moveTo>
                  <a:cubicBezTo>
                    <a:pt x="4681009" y="-4702"/>
                    <a:pt x="4681009" y="-4702"/>
                    <a:pt x="4677149" y="-980"/>
                  </a:cubicBezTo>
                  <a:close/>
                  <a:moveTo>
                    <a:pt x="5007643" y="419805"/>
                  </a:moveTo>
                  <a:cubicBezTo>
                    <a:pt x="5018739" y="428696"/>
                    <a:pt x="5026045" y="408364"/>
                    <a:pt x="5016810" y="402229"/>
                  </a:cubicBezTo>
                  <a:cubicBezTo>
                    <a:pt x="5005782" y="393683"/>
                    <a:pt x="4997924" y="413878"/>
                    <a:pt x="5007643" y="419805"/>
                  </a:cubicBezTo>
                  <a:moveTo>
                    <a:pt x="-2695" y="810608"/>
                  </a:moveTo>
                  <a:cubicBezTo>
                    <a:pt x="-7313" y="816397"/>
                    <a:pt x="-9312" y="833835"/>
                    <a:pt x="889" y="833766"/>
                  </a:cubicBezTo>
                  <a:cubicBezTo>
                    <a:pt x="6196" y="828321"/>
                    <a:pt x="6541" y="811366"/>
                    <a:pt x="-2695" y="810608"/>
                  </a:cubicBezTo>
                  <a:moveTo>
                    <a:pt x="3890650" y="839556"/>
                  </a:moveTo>
                  <a:cubicBezTo>
                    <a:pt x="3894647" y="836317"/>
                    <a:pt x="3894647" y="836317"/>
                    <a:pt x="3890650" y="839556"/>
                  </a:cubicBezTo>
                  <a:moveTo>
                    <a:pt x="844182" y="1219744"/>
                  </a:moveTo>
                  <a:cubicBezTo>
                    <a:pt x="847903" y="1220089"/>
                    <a:pt x="855278" y="1220640"/>
                    <a:pt x="858931" y="1220916"/>
                  </a:cubicBezTo>
                  <a:lnTo>
                    <a:pt x="860310" y="1218572"/>
                  </a:lnTo>
                  <a:cubicBezTo>
                    <a:pt x="856312" y="1210164"/>
                    <a:pt x="853280" y="1201410"/>
                    <a:pt x="850178" y="1192588"/>
                  </a:cubicBezTo>
                  <a:cubicBezTo>
                    <a:pt x="840804" y="1198171"/>
                    <a:pt x="839357" y="1210715"/>
                    <a:pt x="844182" y="1219744"/>
                  </a:cubicBezTo>
                  <a:moveTo>
                    <a:pt x="6793135" y="1287704"/>
                  </a:moveTo>
                  <a:cubicBezTo>
                    <a:pt x="6796788" y="1284120"/>
                    <a:pt x="6796788" y="1284120"/>
                    <a:pt x="6793135" y="1287704"/>
                  </a:cubicBezTo>
                  <a:moveTo>
                    <a:pt x="6084314" y="2025197"/>
                  </a:moveTo>
                  <a:cubicBezTo>
                    <a:pt x="6090517" y="2024508"/>
                    <a:pt x="6096789" y="2023750"/>
                    <a:pt x="6103200" y="2023061"/>
                  </a:cubicBezTo>
                  <a:cubicBezTo>
                    <a:pt x="6105198" y="2020786"/>
                    <a:pt x="6109127" y="2016168"/>
                    <a:pt x="6111126" y="2013894"/>
                  </a:cubicBezTo>
                  <a:lnTo>
                    <a:pt x="6114090" y="2010448"/>
                  </a:lnTo>
                  <a:cubicBezTo>
                    <a:pt x="6103268" y="2009620"/>
                    <a:pt x="6092447" y="2008862"/>
                    <a:pt x="6081833" y="2008035"/>
                  </a:cubicBezTo>
                  <a:lnTo>
                    <a:pt x="6082178" y="2010792"/>
                  </a:lnTo>
                  <a:cubicBezTo>
                    <a:pt x="6082729" y="2014376"/>
                    <a:pt x="6083763" y="2021544"/>
                    <a:pt x="6084314" y="2025197"/>
                  </a:cubicBezTo>
                </a:path>
              </a:pathLst>
            </a:custGeom>
            <a:grpFill/>
            <a:ln w="689" cap="flat">
              <a:noFill/>
              <a:prstDash val="solid"/>
              <a:miter/>
            </a:ln>
          </p:spPr>
          <p:txBody>
            <a:bodyPr rtlCol="0" anchor="ctr"/>
            <a:lstStyle/>
            <a:p>
              <a:endParaRPr lang="en-US" sz="2400" dirty="0"/>
            </a:p>
          </p:txBody>
        </p:sp>
        <p:sp>
          <p:nvSpPr>
            <p:cNvPr id="53" name="Graphic 8">
              <a:extLst>
                <a:ext uri="{FF2B5EF4-FFF2-40B4-BE49-F238E27FC236}">
                  <a16:creationId xmlns:a16="http://schemas.microsoft.com/office/drawing/2014/main" id="{6C640635-C826-4CBE-B092-A90AB5082315}"/>
                </a:ext>
              </a:extLst>
            </p:cNvPr>
            <p:cNvSpPr/>
            <p:nvPr/>
          </p:nvSpPr>
          <p:spPr>
            <a:xfrm flipV="1">
              <a:off x="6175779" y="1227134"/>
              <a:ext cx="146526" cy="2071253"/>
            </a:xfrm>
            <a:custGeom>
              <a:avLst/>
              <a:gdLst>
                <a:gd name="connsiteX0" fmla="*/ 107494 w 146526"/>
                <a:gd name="connsiteY0" fmla="*/ 25829 h 2071253"/>
                <a:gd name="connsiteX1" fmla="*/ 138786 w 146526"/>
                <a:gd name="connsiteY1" fmla="*/ 28104 h 2071253"/>
                <a:gd name="connsiteX2" fmla="*/ 134926 w 146526"/>
                <a:gd name="connsiteY2" fmla="*/ -3464 h 2071253"/>
                <a:gd name="connsiteX3" fmla="*/ 109010 w 146526"/>
                <a:gd name="connsiteY3" fmla="*/ -3739 h 2071253"/>
                <a:gd name="connsiteX4" fmla="*/ 107494 w 146526"/>
                <a:gd name="connsiteY4" fmla="*/ 25829 h 2071253"/>
                <a:gd name="connsiteX5" fmla="*/ -5611 w 146526"/>
                <a:gd name="connsiteY5" fmla="*/ 2066136 h 2071253"/>
                <a:gd name="connsiteX6" fmla="*/ 9483 w 146526"/>
                <a:gd name="connsiteY6" fmla="*/ 2046768 h 2071253"/>
                <a:gd name="connsiteX7" fmla="*/ 6175 w 146526"/>
                <a:gd name="connsiteY7" fmla="*/ 2067515 h 2071253"/>
                <a:gd name="connsiteX8" fmla="*/ 32091 w 146526"/>
                <a:gd name="connsiteY8" fmla="*/ 2065516 h 2071253"/>
                <a:gd name="connsiteX9" fmla="*/ 35950 w 146526"/>
                <a:gd name="connsiteY9" fmla="*/ 2054281 h 2071253"/>
                <a:gd name="connsiteX10" fmla="*/ 31608 w 146526"/>
                <a:gd name="connsiteY10" fmla="*/ 2039738 h 2071253"/>
                <a:gd name="connsiteX11" fmla="*/ 9001 w 146526"/>
                <a:gd name="connsiteY11" fmla="*/ 2032777 h 2071253"/>
                <a:gd name="connsiteX12" fmla="*/ -7741 w 146526"/>
                <a:gd name="connsiteY12" fmla="*/ 2042219 h 2071253"/>
                <a:gd name="connsiteX13" fmla="*/ -5611 w 146526"/>
                <a:gd name="connsiteY13" fmla="*/ 2066136 h 207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6526" h="2071253">
                  <a:moveTo>
                    <a:pt x="107494" y="25829"/>
                  </a:moveTo>
                  <a:cubicBezTo>
                    <a:pt x="117832" y="26519"/>
                    <a:pt x="128240" y="27346"/>
                    <a:pt x="138786" y="28104"/>
                  </a:cubicBezTo>
                  <a:cubicBezTo>
                    <a:pt x="137338" y="17627"/>
                    <a:pt x="136167" y="7082"/>
                    <a:pt x="134926" y="-3464"/>
                  </a:cubicBezTo>
                  <a:cubicBezTo>
                    <a:pt x="126241" y="-3602"/>
                    <a:pt x="117557" y="-3670"/>
                    <a:pt x="109010" y="-3739"/>
                  </a:cubicBezTo>
                  <a:cubicBezTo>
                    <a:pt x="108390" y="6255"/>
                    <a:pt x="108183" y="15973"/>
                    <a:pt x="107494" y="25829"/>
                  </a:cubicBezTo>
                  <a:close/>
                  <a:moveTo>
                    <a:pt x="-5611" y="2066136"/>
                  </a:moveTo>
                  <a:cubicBezTo>
                    <a:pt x="-442" y="2059795"/>
                    <a:pt x="4451" y="2053316"/>
                    <a:pt x="9483" y="2046768"/>
                  </a:cubicBezTo>
                  <a:cubicBezTo>
                    <a:pt x="8656" y="2051938"/>
                    <a:pt x="7002" y="2062345"/>
                    <a:pt x="6175" y="2067515"/>
                  </a:cubicBezTo>
                  <a:cubicBezTo>
                    <a:pt x="12654" y="2067032"/>
                    <a:pt x="25611" y="2066067"/>
                    <a:pt x="32091" y="2065516"/>
                  </a:cubicBezTo>
                  <a:lnTo>
                    <a:pt x="35950" y="2054281"/>
                  </a:lnTo>
                  <a:cubicBezTo>
                    <a:pt x="34848" y="2050628"/>
                    <a:pt x="32711" y="2043391"/>
                    <a:pt x="31608" y="2039738"/>
                  </a:cubicBezTo>
                  <a:cubicBezTo>
                    <a:pt x="24026" y="2037394"/>
                    <a:pt x="16445" y="2035051"/>
                    <a:pt x="9001" y="2032777"/>
                  </a:cubicBezTo>
                  <a:cubicBezTo>
                    <a:pt x="4796" y="2035120"/>
                    <a:pt x="-3544" y="2039876"/>
                    <a:pt x="-7741" y="2042219"/>
                  </a:cubicBezTo>
                  <a:cubicBezTo>
                    <a:pt x="-7196" y="2048216"/>
                    <a:pt x="-6094" y="2060140"/>
                    <a:pt x="-5611" y="2066136"/>
                  </a:cubicBezTo>
                </a:path>
              </a:pathLst>
            </a:custGeom>
            <a:grpFill/>
            <a:ln w="689" cap="flat">
              <a:noFill/>
              <a:prstDash val="solid"/>
              <a:miter/>
            </a:ln>
          </p:spPr>
          <p:txBody>
            <a:bodyPr rtlCol="0" anchor="ctr"/>
            <a:lstStyle/>
            <a:p>
              <a:endParaRPr lang="en-US" sz="2400" dirty="0"/>
            </a:p>
          </p:txBody>
        </p:sp>
        <p:sp>
          <p:nvSpPr>
            <p:cNvPr id="54" name="Graphic 8">
              <a:extLst>
                <a:ext uri="{FF2B5EF4-FFF2-40B4-BE49-F238E27FC236}">
                  <a16:creationId xmlns:a16="http://schemas.microsoft.com/office/drawing/2014/main" id="{1042A294-9F0C-4DE9-BACE-CB7137C2DBCC}"/>
                </a:ext>
              </a:extLst>
            </p:cNvPr>
            <p:cNvSpPr/>
            <p:nvPr/>
          </p:nvSpPr>
          <p:spPr>
            <a:xfrm flipV="1">
              <a:off x="473706" y="1234715"/>
              <a:ext cx="8193208" cy="2377184"/>
            </a:xfrm>
            <a:custGeom>
              <a:avLst/>
              <a:gdLst>
                <a:gd name="connsiteX0" fmla="*/ 3157253 w 8193208"/>
                <a:gd name="connsiteY0" fmla="*/ 9594 h 2377184"/>
                <a:gd name="connsiteX1" fmla="*/ 3169177 w 8193208"/>
                <a:gd name="connsiteY1" fmla="*/ -2467 h 2377184"/>
                <a:gd name="connsiteX2" fmla="*/ 3157253 w 8193208"/>
                <a:gd name="connsiteY2" fmla="*/ 9594 h 2377184"/>
                <a:gd name="connsiteX3" fmla="*/ 6060289 w 8193208"/>
                <a:gd name="connsiteY3" fmla="*/ 338089 h 2377184"/>
                <a:gd name="connsiteX4" fmla="*/ 6065114 w 8193208"/>
                <a:gd name="connsiteY4" fmla="*/ 356975 h 2377184"/>
                <a:gd name="connsiteX5" fmla="*/ 6090616 w 8193208"/>
                <a:gd name="connsiteY5" fmla="*/ 309554 h 2377184"/>
                <a:gd name="connsiteX6" fmla="*/ 6092615 w 8193208"/>
                <a:gd name="connsiteY6" fmla="*/ 306039 h 2377184"/>
                <a:gd name="connsiteX7" fmla="*/ 6073523 w 8193208"/>
                <a:gd name="connsiteY7" fmla="*/ 309348 h 2377184"/>
                <a:gd name="connsiteX8" fmla="*/ 6061116 w 8193208"/>
                <a:gd name="connsiteY8" fmla="*/ 313828 h 2377184"/>
                <a:gd name="connsiteX9" fmla="*/ 6060289 w 8193208"/>
                <a:gd name="connsiteY9" fmla="*/ 338089 h 2377184"/>
                <a:gd name="connsiteX10" fmla="*/ 2660789 w 8193208"/>
                <a:gd name="connsiteY10" fmla="*/ 491309 h 2377184"/>
                <a:gd name="connsiteX11" fmla="*/ 2678778 w 8193208"/>
                <a:gd name="connsiteY11" fmla="*/ 480005 h 2377184"/>
                <a:gd name="connsiteX12" fmla="*/ 2660789 w 8193208"/>
                <a:gd name="connsiteY12" fmla="*/ 491309 h 2377184"/>
                <a:gd name="connsiteX13" fmla="*/ -5630 w 8193208"/>
                <a:gd name="connsiteY13" fmla="*/ 608205 h 2377184"/>
                <a:gd name="connsiteX14" fmla="*/ -5630 w 8193208"/>
                <a:gd name="connsiteY14" fmla="*/ 608205 h 2377184"/>
                <a:gd name="connsiteX15" fmla="*/ 7409695 w 8193208"/>
                <a:gd name="connsiteY15" fmla="*/ 805329 h 2377184"/>
                <a:gd name="connsiteX16" fmla="*/ 7436438 w 8193208"/>
                <a:gd name="connsiteY16" fmla="*/ 803537 h 2377184"/>
                <a:gd name="connsiteX17" fmla="*/ 7433061 w 8193208"/>
                <a:gd name="connsiteY17" fmla="*/ 769419 h 2377184"/>
                <a:gd name="connsiteX18" fmla="*/ 7423273 w 8193208"/>
                <a:gd name="connsiteY18" fmla="*/ 789477 h 2377184"/>
                <a:gd name="connsiteX19" fmla="*/ 7410591 w 8193208"/>
                <a:gd name="connsiteY19" fmla="*/ 776863 h 2377184"/>
                <a:gd name="connsiteX20" fmla="*/ 7409695 w 8193208"/>
                <a:gd name="connsiteY20" fmla="*/ 805329 h 2377184"/>
                <a:gd name="connsiteX21" fmla="*/ 1992771 w 8193208"/>
                <a:gd name="connsiteY21" fmla="*/ 899204 h 2377184"/>
                <a:gd name="connsiteX22" fmla="*/ 1992771 w 8193208"/>
                <a:gd name="connsiteY22" fmla="*/ 899204 h 2377184"/>
                <a:gd name="connsiteX23" fmla="*/ 4536366 w 8193208"/>
                <a:gd name="connsiteY23" fmla="*/ 904787 h 2377184"/>
                <a:gd name="connsiteX24" fmla="*/ 4536366 w 8193208"/>
                <a:gd name="connsiteY24" fmla="*/ 904787 h 2377184"/>
                <a:gd name="connsiteX25" fmla="*/ 7810630 w 8193208"/>
                <a:gd name="connsiteY25" fmla="*/ 980122 h 2377184"/>
                <a:gd name="connsiteX26" fmla="*/ 7809183 w 8193208"/>
                <a:gd name="connsiteY26" fmla="*/ 961030 h 2377184"/>
                <a:gd name="connsiteX27" fmla="*/ 7810630 w 8193208"/>
                <a:gd name="connsiteY27" fmla="*/ 980122 h 2377184"/>
                <a:gd name="connsiteX28" fmla="*/ 2309273 w 8193208"/>
                <a:gd name="connsiteY28" fmla="*/ 1014515 h 2377184"/>
                <a:gd name="connsiteX29" fmla="*/ 2309273 w 8193208"/>
                <a:gd name="connsiteY29" fmla="*/ 1014515 h 2377184"/>
                <a:gd name="connsiteX30" fmla="*/ 8173380 w 8193208"/>
                <a:gd name="connsiteY30" fmla="*/ 1104876 h 2377184"/>
                <a:gd name="connsiteX31" fmla="*/ 8187579 w 8193208"/>
                <a:gd name="connsiteY31" fmla="*/ 1097983 h 2377184"/>
                <a:gd name="connsiteX32" fmla="*/ 8175862 w 8193208"/>
                <a:gd name="connsiteY32" fmla="*/ 1086266 h 2377184"/>
                <a:gd name="connsiteX33" fmla="*/ 8183719 w 8193208"/>
                <a:gd name="connsiteY33" fmla="*/ 1059799 h 2377184"/>
                <a:gd name="connsiteX34" fmla="*/ 8173380 w 8193208"/>
                <a:gd name="connsiteY34" fmla="*/ 1104876 h 2377184"/>
                <a:gd name="connsiteX35" fmla="*/ 6175393 w 8193208"/>
                <a:gd name="connsiteY35" fmla="*/ 1200474 h 2377184"/>
                <a:gd name="connsiteX36" fmla="*/ 6175393 w 8193208"/>
                <a:gd name="connsiteY36" fmla="*/ 1200474 h 2377184"/>
                <a:gd name="connsiteX37" fmla="*/ 4915871 w 8193208"/>
                <a:gd name="connsiteY37" fmla="*/ 1201025 h 2377184"/>
                <a:gd name="connsiteX38" fmla="*/ 4915871 w 8193208"/>
                <a:gd name="connsiteY38" fmla="*/ 1201025 h 2377184"/>
                <a:gd name="connsiteX39" fmla="*/ 860546 w 8193208"/>
                <a:gd name="connsiteY39" fmla="*/ 1493955 h 2377184"/>
                <a:gd name="connsiteX40" fmla="*/ 877778 w 8193208"/>
                <a:gd name="connsiteY40" fmla="*/ 1470176 h 2377184"/>
                <a:gd name="connsiteX41" fmla="*/ 865716 w 8193208"/>
                <a:gd name="connsiteY41" fmla="*/ 1435783 h 2377184"/>
                <a:gd name="connsiteX42" fmla="*/ 870058 w 8193208"/>
                <a:gd name="connsiteY42" fmla="*/ 1463559 h 2377184"/>
                <a:gd name="connsiteX43" fmla="*/ 860546 w 8193208"/>
                <a:gd name="connsiteY43" fmla="*/ 1493955 h 2377184"/>
                <a:gd name="connsiteX44" fmla="*/ 3832783 w 8193208"/>
                <a:gd name="connsiteY44" fmla="*/ 1655790 h 2377184"/>
                <a:gd name="connsiteX45" fmla="*/ 3832783 w 8193208"/>
                <a:gd name="connsiteY45" fmla="*/ 1655790 h 2377184"/>
                <a:gd name="connsiteX46" fmla="*/ 1242044 w 8193208"/>
                <a:gd name="connsiteY46" fmla="*/ 1868698 h 2377184"/>
                <a:gd name="connsiteX47" fmla="*/ 1254726 w 8193208"/>
                <a:gd name="connsiteY47" fmla="*/ 1857739 h 2377184"/>
                <a:gd name="connsiteX48" fmla="*/ 1242044 w 8193208"/>
                <a:gd name="connsiteY48" fmla="*/ 1868698 h 2377184"/>
                <a:gd name="connsiteX49" fmla="*/ 820363 w 8193208"/>
                <a:gd name="connsiteY49" fmla="*/ 1849055 h 2377184"/>
                <a:gd name="connsiteX50" fmla="*/ 820363 w 8193208"/>
                <a:gd name="connsiteY50" fmla="*/ 1849055 h 2377184"/>
                <a:gd name="connsiteX51" fmla="*/ 847106 w 8193208"/>
                <a:gd name="connsiteY51" fmla="*/ 1862771 h 2377184"/>
                <a:gd name="connsiteX52" fmla="*/ 865991 w 8193208"/>
                <a:gd name="connsiteY52" fmla="*/ 1852294 h 2377184"/>
                <a:gd name="connsiteX53" fmla="*/ 847106 w 8193208"/>
                <a:gd name="connsiteY53" fmla="*/ 1862771 h 2377184"/>
                <a:gd name="connsiteX54" fmla="*/ 828772 w 8193208"/>
                <a:gd name="connsiteY54" fmla="*/ 1873868 h 2377184"/>
                <a:gd name="connsiteX55" fmla="*/ 874745 w 8193208"/>
                <a:gd name="connsiteY55" fmla="*/ 1877727 h 2377184"/>
                <a:gd name="connsiteX56" fmla="*/ 872332 w 8193208"/>
                <a:gd name="connsiteY56" fmla="*/ 1867251 h 2377184"/>
                <a:gd name="connsiteX57" fmla="*/ 886600 w 8193208"/>
                <a:gd name="connsiteY57" fmla="*/ 1863391 h 2377184"/>
                <a:gd name="connsiteX58" fmla="*/ 890322 w 8193208"/>
                <a:gd name="connsiteY58" fmla="*/ 1836924 h 2377184"/>
                <a:gd name="connsiteX59" fmla="*/ 857858 w 8193208"/>
                <a:gd name="connsiteY59" fmla="*/ 1841059 h 2377184"/>
                <a:gd name="connsiteX60" fmla="*/ 802856 w 8193208"/>
                <a:gd name="connsiteY60" fmla="*/ 1840163 h 2377184"/>
                <a:gd name="connsiteX61" fmla="*/ 760123 w 8193208"/>
                <a:gd name="connsiteY61" fmla="*/ 1831754 h 2377184"/>
                <a:gd name="connsiteX62" fmla="*/ 736137 w 8193208"/>
                <a:gd name="connsiteY62" fmla="*/ 1855602 h 2377184"/>
                <a:gd name="connsiteX63" fmla="*/ 737585 w 8193208"/>
                <a:gd name="connsiteY63" fmla="*/ 1858290 h 2377184"/>
                <a:gd name="connsiteX64" fmla="*/ 739446 w 8193208"/>
                <a:gd name="connsiteY64" fmla="*/ 1866424 h 2377184"/>
                <a:gd name="connsiteX65" fmla="*/ 728349 w 8193208"/>
                <a:gd name="connsiteY65" fmla="*/ 1875866 h 2377184"/>
                <a:gd name="connsiteX66" fmla="*/ 762053 w 8193208"/>
                <a:gd name="connsiteY66" fmla="*/ 1878141 h 2377184"/>
                <a:gd name="connsiteX67" fmla="*/ 757228 w 8193208"/>
                <a:gd name="connsiteY67" fmla="*/ 1855396 h 2377184"/>
                <a:gd name="connsiteX68" fmla="*/ 768877 w 8193208"/>
                <a:gd name="connsiteY68" fmla="*/ 1877658 h 2377184"/>
                <a:gd name="connsiteX69" fmla="*/ 781972 w 8193208"/>
                <a:gd name="connsiteY69" fmla="*/ 1877176 h 2377184"/>
                <a:gd name="connsiteX70" fmla="*/ 780525 w 8193208"/>
                <a:gd name="connsiteY70" fmla="*/ 1857877 h 2377184"/>
                <a:gd name="connsiteX71" fmla="*/ 800858 w 8193208"/>
                <a:gd name="connsiteY71" fmla="*/ 1866837 h 2377184"/>
                <a:gd name="connsiteX72" fmla="*/ 808577 w 8193208"/>
                <a:gd name="connsiteY72" fmla="*/ 1861875 h 2377184"/>
                <a:gd name="connsiteX73" fmla="*/ 819054 w 8193208"/>
                <a:gd name="connsiteY73" fmla="*/ 1858222 h 2377184"/>
                <a:gd name="connsiteX74" fmla="*/ 816504 w 8193208"/>
                <a:gd name="connsiteY74" fmla="*/ 1867940 h 2377184"/>
                <a:gd name="connsiteX75" fmla="*/ 810714 w 8193208"/>
                <a:gd name="connsiteY75" fmla="*/ 1867733 h 2377184"/>
                <a:gd name="connsiteX76" fmla="*/ 785074 w 8193208"/>
                <a:gd name="connsiteY76" fmla="*/ 1866837 h 2377184"/>
                <a:gd name="connsiteX77" fmla="*/ 785970 w 8193208"/>
                <a:gd name="connsiteY77" fmla="*/ 1879864 h 2377184"/>
                <a:gd name="connsiteX78" fmla="*/ 828772 w 8193208"/>
                <a:gd name="connsiteY78" fmla="*/ 1873868 h 2377184"/>
                <a:gd name="connsiteX79" fmla="*/ 946289 w 8193208"/>
                <a:gd name="connsiteY79" fmla="*/ 1891306 h 2377184"/>
                <a:gd name="connsiteX80" fmla="*/ 960556 w 8193208"/>
                <a:gd name="connsiteY80" fmla="*/ 1875315 h 2377184"/>
                <a:gd name="connsiteX81" fmla="*/ 946289 w 8193208"/>
                <a:gd name="connsiteY81" fmla="*/ 1891306 h 2377184"/>
                <a:gd name="connsiteX82" fmla="*/ 3093980 w 8193208"/>
                <a:gd name="connsiteY82" fmla="*/ 1988282 h 2377184"/>
                <a:gd name="connsiteX83" fmla="*/ 3104870 w 8193208"/>
                <a:gd name="connsiteY83" fmla="*/ 1977048 h 2377184"/>
                <a:gd name="connsiteX84" fmla="*/ 3093980 w 8193208"/>
                <a:gd name="connsiteY84" fmla="*/ 1988282 h 2377184"/>
                <a:gd name="connsiteX85" fmla="*/ 4520444 w 8193208"/>
                <a:gd name="connsiteY85" fmla="*/ 2092841 h 2377184"/>
                <a:gd name="connsiteX86" fmla="*/ 4524924 w 8193208"/>
                <a:gd name="connsiteY86" fmla="*/ 2098837 h 2377184"/>
                <a:gd name="connsiteX87" fmla="*/ 4552563 w 8193208"/>
                <a:gd name="connsiteY87" fmla="*/ 2095529 h 2377184"/>
                <a:gd name="connsiteX88" fmla="*/ 4550013 w 8193208"/>
                <a:gd name="connsiteY88" fmla="*/ 2064030 h 2377184"/>
                <a:gd name="connsiteX89" fmla="*/ 4536641 w 8193208"/>
                <a:gd name="connsiteY89" fmla="*/ 2065340 h 2377184"/>
                <a:gd name="connsiteX90" fmla="*/ 4540777 w 8193208"/>
                <a:gd name="connsiteY90" fmla="*/ 2080504 h 2377184"/>
                <a:gd name="connsiteX91" fmla="*/ 4525820 w 8193208"/>
                <a:gd name="connsiteY91" fmla="*/ 2079814 h 2377184"/>
                <a:gd name="connsiteX92" fmla="*/ 4520444 w 8193208"/>
                <a:gd name="connsiteY92" fmla="*/ 2092841 h 2377184"/>
                <a:gd name="connsiteX93" fmla="*/ 4431531 w 8193208"/>
                <a:gd name="connsiteY93" fmla="*/ 2099182 h 2377184"/>
                <a:gd name="connsiteX94" fmla="*/ 4466752 w 8193208"/>
                <a:gd name="connsiteY94" fmla="*/ 2096632 h 2377184"/>
                <a:gd name="connsiteX95" fmla="*/ 4447866 w 8193208"/>
                <a:gd name="connsiteY95" fmla="*/ 2093186 h 2377184"/>
                <a:gd name="connsiteX96" fmla="*/ 4431531 w 8193208"/>
                <a:gd name="connsiteY96" fmla="*/ 2099182 h 2377184"/>
                <a:gd name="connsiteX97" fmla="*/ 6679990 w 8193208"/>
                <a:gd name="connsiteY97" fmla="*/ 2346346 h 2377184"/>
                <a:gd name="connsiteX98" fmla="*/ 6679577 w 8193208"/>
                <a:gd name="connsiteY98" fmla="*/ 2327943 h 2377184"/>
                <a:gd name="connsiteX99" fmla="*/ 6679990 w 8193208"/>
                <a:gd name="connsiteY99" fmla="*/ 2346346 h 2377184"/>
                <a:gd name="connsiteX100" fmla="*/ 5735792 w 8193208"/>
                <a:gd name="connsiteY100" fmla="*/ 2353514 h 2377184"/>
                <a:gd name="connsiteX101" fmla="*/ 5740134 w 8193208"/>
                <a:gd name="connsiteY101" fmla="*/ 2368057 h 2377184"/>
                <a:gd name="connsiteX102" fmla="*/ 5741168 w 8193208"/>
                <a:gd name="connsiteY102" fmla="*/ 2355168 h 2377184"/>
                <a:gd name="connsiteX103" fmla="*/ 5735792 w 8193208"/>
                <a:gd name="connsiteY103" fmla="*/ 2353514 h 2377184"/>
                <a:gd name="connsiteX104" fmla="*/ 6325787 w 8193208"/>
                <a:gd name="connsiteY104" fmla="*/ 2368057 h 2377184"/>
                <a:gd name="connsiteX105" fmla="*/ 6343845 w 8193208"/>
                <a:gd name="connsiteY105" fmla="*/ 2354961 h 2377184"/>
                <a:gd name="connsiteX106" fmla="*/ 6325787 w 8193208"/>
                <a:gd name="connsiteY106" fmla="*/ 2368057 h 2377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8193208" h="2377184">
                  <a:moveTo>
                    <a:pt x="3157253" y="9594"/>
                  </a:moveTo>
                  <a:cubicBezTo>
                    <a:pt x="3168281" y="12834"/>
                    <a:pt x="3172278" y="8836"/>
                    <a:pt x="3169177" y="-2467"/>
                  </a:cubicBezTo>
                  <a:cubicBezTo>
                    <a:pt x="3158011" y="-5569"/>
                    <a:pt x="3154013" y="-1503"/>
                    <a:pt x="3157253" y="9594"/>
                  </a:cubicBezTo>
                  <a:close/>
                  <a:moveTo>
                    <a:pt x="6060289" y="338089"/>
                  </a:moveTo>
                  <a:cubicBezTo>
                    <a:pt x="6061599" y="344430"/>
                    <a:pt x="6063253" y="350771"/>
                    <a:pt x="6065114" y="356975"/>
                  </a:cubicBezTo>
                  <a:cubicBezTo>
                    <a:pt x="6073316" y="341053"/>
                    <a:pt x="6081380" y="324993"/>
                    <a:pt x="6090616" y="309554"/>
                  </a:cubicBezTo>
                  <a:lnTo>
                    <a:pt x="6092615" y="306039"/>
                  </a:lnTo>
                  <a:cubicBezTo>
                    <a:pt x="6087859" y="306866"/>
                    <a:pt x="6078278" y="308520"/>
                    <a:pt x="6073523" y="309348"/>
                  </a:cubicBezTo>
                  <a:cubicBezTo>
                    <a:pt x="6070421" y="310450"/>
                    <a:pt x="6064218" y="312725"/>
                    <a:pt x="6061116" y="313828"/>
                  </a:cubicBezTo>
                  <a:cubicBezTo>
                    <a:pt x="6060427" y="321961"/>
                    <a:pt x="6060082" y="330025"/>
                    <a:pt x="6060289" y="338089"/>
                  </a:cubicBezTo>
                  <a:moveTo>
                    <a:pt x="2660789" y="491309"/>
                  </a:moveTo>
                  <a:cubicBezTo>
                    <a:pt x="2667612" y="494617"/>
                    <a:pt x="2683465" y="489723"/>
                    <a:pt x="2678778" y="480005"/>
                  </a:cubicBezTo>
                  <a:cubicBezTo>
                    <a:pt x="2671127" y="470631"/>
                    <a:pt x="2643626" y="483175"/>
                    <a:pt x="2660789" y="491309"/>
                  </a:cubicBezTo>
                  <a:moveTo>
                    <a:pt x="-5630" y="608205"/>
                  </a:moveTo>
                  <a:cubicBezTo>
                    <a:pt x="-2047" y="604621"/>
                    <a:pt x="-2047" y="604621"/>
                    <a:pt x="-5630" y="608205"/>
                  </a:cubicBezTo>
                  <a:moveTo>
                    <a:pt x="7409695" y="805329"/>
                  </a:moveTo>
                  <a:cubicBezTo>
                    <a:pt x="7418517" y="804778"/>
                    <a:pt x="7427409" y="804157"/>
                    <a:pt x="7436438" y="803537"/>
                  </a:cubicBezTo>
                  <a:cubicBezTo>
                    <a:pt x="7435059" y="792234"/>
                    <a:pt x="7434025" y="780861"/>
                    <a:pt x="7433061" y="769419"/>
                  </a:cubicBezTo>
                  <a:cubicBezTo>
                    <a:pt x="7430648" y="774451"/>
                    <a:pt x="7425686" y="784445"/>
                    <a:pt x="7423273" y="789477"/>
                  </a:cubicBezTo>
                  <a:cubicBezTo>
                    <a:pt x="7420103" y="786306"/>
                    <a:pt x="7413762" y="780034"/>
                    <a:pt x="7410591" y="776863"/>
                  </a:cubicBezTo>
                  <a:cubicBezTo>
                    <a:pt x="7410178" y="786375"/>
                    <a:pt x="7409902" y="795886"/>
                    <a:pt x="7409695" y="805329"/>
                  </a:cubicBezTo>
                  <a:moveTo>
                    <a:pt x="1992771" y="899204"/>
                  </a:moveTo>
                  <a:cubicBezTo>
                    <a:pt x="2013380" y="910163"/>
                    <a:pt x="1994219" y="876528"/>
                    <a:pt x="1992771" y="899204"/>
                  </a:cubicBezTo>
                  <a:moveTo>
                    <a:pt x="4536366" y="904787"/>
                  </a:moveTo>
                  <a:cubicBezTo>
                    <a:pt x="4539881" y="901134"/>
                    <a:pt x="4539881" y="901134"/>
                    <a:pt x="4536366" y="904787"/>
                  </a:cubicBezTo>
                  <a:moveTo>
                    <a:pt x="7810630" y="980122"/>
                  </a:moveTo>
                  <a:cubicBezTo>
                    <a:pt x="7824759" y="985360"/>
                    <a:pt x="7821658" y="959445"/>
                    <a:pt x="7809183" y="961030"/>
                  </a:cubicBezTo>
                  <a:cubicBezTo>
                    <a:pt x="7799602" y="963029"/>
                    <a:pt x="7804771" y="976607"/>
                    <a:pt x="7810630" y="980122"/>
                  </a:cubicBezTo>
                  <a:moveTo>
                    <a:pt x="2309273" y="1014515"/>
                  </a:moveTo>
                  <a:cubicBezTo>
                    <a:pt x="2331811" y="1012792"/>
                    <a:pt x="2298314" y="993907"/>
                    <a:pt x="2309273" y="1014515"/>
                  </a:cubicBezTo>
                  <a:moveTo>
                    <a:pt x="8173380" y="1104876"/>
                  </a:moveTo>
                  <a:cubicBezTo>
                    <a:pt x="8176964" y="1103152"/>
                    <a:pt x="8184063" y="1099706"/>
                    <a:pt x="8187579" y="1097983"/>
                  </a:cubicBezTo>
                  <a:cubicBezTo>
                    <a:pt x="8184614" y="1095019"/>
                    <a:pt x="8178756" y="1089161"/>
                    <a:pt x="8175862" y="1086266"/>
                  </a:cubicBezTo>
                  <a:cubicBezTo>
                    <a:pt x="8177791" y="1079649"/>
                    <a:pt x="8181789" y="1066416"/>
                    <a:pt x="8183719" y="1059799"/>
                  </a:cubicBezTo>
                  <a:cubicBezTo>
                    <a:pt x="8166005" y="1067243"/>
                    <a:pt x="8172001" y="1089850"/>
                    <a:pt x="8173380" y="1104876"/>
                  </a:cubicBezTo>
                  <a:moveTo>
                    <a:pt x="6175393" y="1200474"/>
                  </a:moveTo>
                  <a:cubicBezTo>
                    <a:pt x="6197932" y="1200957"/>
                    <a:pt x="6166295" y="1178901"/>
                    <a:pt x="6175393" y="1200474"/>
                  </a:cubicBezTo>
                  <a:moveTo>
                    <a:pt x="4915871" y="1201025"/>
                  </a:moveTo>
                  <a:cubicBezTo>
                    <a:pt x="4919517" y="1197510"/>
                    <a:pt x="4919517" y="1197510"/>
                    <a:pt x="4915871" y="1201025"/>
                  </a:cubicBezTo>
                  <a:moveTo>
                    <a:pt x="860546" y="1493955"/>
                  </a:moveTo>
                  <a:cubicBezTo>
                    <a:pt x="866474" y="1486167"/>
                    <a:pt x="872126" y="1478171"/>
                    <a:pt x="877778" y="1470176"/>
                  </a:cubicBezTo>
                  <a:cubicBezTo>
                    <a:pt x="874676" y="1458459"/>
                    <a:pt x="872401" y="1446121"/>
                    <a:pt x="865716" y="1435783"/>
                  </a:cubicBezTo>
                  <a:cubicBezTo>
                    <a:pt x="867094" y="1445019"/>
                    <a:pt x="871092" y="1454117"/>
                    <a:pt x="870058" y="1463559"/>
                  </a:cubicBezTo>
                  <a:cubicBezTo>
                    <a:pt x="865026" y="1473140"/>
                    <a:pt x="860271" y="1482858"/>
                    <a:pt x="860546" y="1493955"/>
                  </a:cubicBezTo>
                  <a:moveTo>
                    <a:pt x="3832783" y="1655790"/>
                  </a:moveTo>
                  <a:cubicBezTo>
                    <a:pt x="3836505" y="1652275"/>
                    <a:pt x="3836505" y="1652275"/>
                    <a:pt x="3832783" y="1655790"/>
                  </a:cubicBezTo>
                  <a:moveTo>
                    <a:pt x="1242044" y="1868698"/>
                  </a:moveTo>
                  <a:cubicBezTo>
                    <a:pt x="1253692" y="1872007"/>
                    <a:pt x="1257897" y="1868423"/>
                    <a:pt x="1254726" y="1857739"/>
                  </a:cubicBezTo>
                  <a:cubicBezTo>
                    <a:pt x="1243009" y="1854362"/>
                    <a:pt x="1238736" y="1858015"/>
                    <a:pt x="1242044" y="1868698"/>
                  </a:cubicBezTo>
                  <a:moveTo>
                    <a:pt x="820363" y="1849055"/>
                  </a:moveTo>
                  <a:cubicBezTo>
                    <a:pt x="823809" y="1844850"/>
                    <a:pt x="823809" y="1844850"/>
                    <a:pt x="820363" y="1849055"/>
                  </a:cubicBezTo>
                  <a:moveTo>
                    <a:pt x="847106" y="1862771"/>
                  </a:moveTo>
                  <a:cubicBezTo>
                    <a:pt x="839111" y="1851950"/>
                    <a:pt x="859375" y="1843541"/>
                    <a:pt x="865991" y="1852294"/>
                  </a:cubicBezTo>
                  <a:cubicBezTo>
                    <a:pt x="873366" y="1863115"/>
                    <a:pt x="853861" y="1870215"/>
                    <a:pt x="847106" y="1862771"/>
                  </a:cubicBezTo>
                  <a:moveTo>
                    <a:pt x="828772" y="1873868"/>
                  </a:moveTo>
                  <a:cubicBezTo>
                    <a:pt x="842833" y="1879657"/>
                    <a:pt x="862201" y="1894200"/>
                    <a:pt x="874745" y="1877727"/>
                  </a:cubicBezTo>
                  <a:lnTo>
                    <a:pt x="872332" y="1867251"/>
                  </a:lnTo>
                  <a:cubicBezTo>
                    <a:pt x="875916" y="1866286"/>
                    <a:pt x="883016" y="1864356"/>
                    <a:pt x="886600" y="1863391"/>
                  </a:cubicBezTo>
                  <a:cubicBezTo>
                    <a:pt x="865647" y="1854913"/>
                    <a:pt x="884256" y="1845539"/>
                    <a:pt x="890322" y="1836924"/>
                  </a:cubicBezTo>
                  <a:cubicBezTo>
                    <a:pt x="879363" y="1836993"/>
                    <a:pt x="867852" y="1835408"/>
                    <a:pt x="857858" y="1841059"/>
                  </a:cubicBezTo>
                  <a:cubicBezTo>
                    <a:pt x="840765" y="1832237"/>
                    <a:pt x="820501" y="1834029"/>
                    <a:pt x="802856" y="1840163"/>
                  </a:cubicBezTo>
                  <a:cubicBezTo>
                    <a:pt x="787693" y="1849262"/>
                    <a:pt x="773081" y="1839819"/>
                    <a:pt x="760123" y="1831754"/>
                  </a:cubicBezTo>
                  <a:cubicBezTo>
                    <a:pt x="744753" y="1826379"/>
                    <a:pt x="705190" y="1837062"/>
                    <a:pt x="736137" y="1855602"/>
                  </a:cubicBezTo>
                  <a:cubicBezTo>
                    <a:pt x="736482" y="1856292"/>
                    <a:pt x="737240" y="1857601"/>
                    <a:pt x="737585" y="1858290"/>
                  </a:cubicBezTo>
                  <a:cubicBezTo>
                    <a:pt x="738067" y="1860290"/>
                    <a:pt x="738963" y="1864356"/>
                    <a:pt x="739446" y="1866424"/>
                  </a:cubicBezTo>
                  <a:cubicBezTo>
                    <a:pt x="736689" y="1868767"/>
                    <a:pt x="731175" y="1873523"/>
                    <a:pt x="728349" y="1875866"/>
                  </a:cubicBezTo>
                  <a:cubicBezTo>
                    <a:pt x="739584" y="1876555"/>
                    <a:pt x="750818" y="1877383"/>
                    <a:pt x="762053" y="1878141"/>
                  </a:cubicBezTo>
                  <a:cubicBezTo>
                    <a:pt x="760812" y="1872489"/>
                    <a:pt x="758400" y="1861047"/>
                    <a:pt x="757228" y="1855396"/>
                  </a:cubicBezTo>
                  <a:cubicBezTo>
                    <a:pt x="765017" y="1860221"/>
                    <a:pt x="768877" y="1867664"/>
                    <a:pt x="768877" y="1877658"/>
                  </a:cubicBezTo>
                  <a:lnTo>
                    <a:pt x="781972" y="1877176"/>
                  </a:lnTo>
                  <a:cubicBezTo>
                    <a:pt x="781628" y="1872351"/>
                    <a:pt x="780870" y="1862702"/>
                    <a:pt x="780525" y="1857877"/>
                  </a:cubicBezTo>
                  <a:cubicBezTo>
                    <a:pt x="787279" y="1860841"/>
                    <a:pt x="794103" y="1863804"/>
                    <a:pt x="800858" y="1866837"/>
                  </a:cubicBezTo>
                  <a:lnTo>
                    <a:pt x="808577" y="1861875"/>
                  </a:lnTo>
                  <a:cubicBezTo>
                    <a:pt x="811196" y="1860910"/>
                    <a:pt x="816435" y="1859118"/>
                    <a:pt x="819054" y="1858222"/>
                  </a:cubicBezTo>
                  <a:cubicBezTo>
                    <a:pt x="818433" y="1860634"/>
                    <a:pt x="817193" y="1865459"/>
                    <a:pt x="816504" y="1867940"/>
                  </a:cubicBezTo>
                  <a:lnTo>
                    <a:pt x="810714" y="1867733"/>
                  </a:lnTo>
                  <a:cubicBezTo>
                    <a:pt x="804304" y="1867527"/>
                    <a:pt x="791484" y="1867044"/>
                    <a:pt x="785074" y="1866837"/>
                  </a:cubicBezTo>
                  <a:lnTo>
                    <a:pt x="785970" y="1879864"/>
                  </a:lnTo>
                  <a:cubicBezTo>
                    <a:pt x="800099" y="1878692"/>
                    <a:pt x="819260" y="1888962"/>
                    <a:pt x="828772" y="1873868"/>
                  </a:cubicBezTo>
                  <a:moveTo>
                    <a:pt x="946289" y="1891306"/>
                  </a:moveTo>
                  <a:cubicBezTo>
                    <a:pt x="956076" y="1901920"/>
                    <a:pt x="970205" y="1884206"/>
                    <a:pt x="960556" y="1875315"/>
                  </a:cubicBezTo>
                  <a:cubicBezTo>
                    <a:pt x="951113" y="1865459"/>
                    <a:pt x="937673" y="1882621"/>
                    <a:pt x="946289" y="1891306"/>
                  </a:cubicBezTo>
                  <a:moveTo>
                    <a:pt x="3093980" y="1988282"/>
                  </a:moveTo>
                  <a:cubicBezTo>
                    <a:pt x="3105421" y="1991867"/>
                    <a:pt x="3109006" y="1988145"/>
                    <a:pt x="3104870" y="1977048"/>
                  </a:cubicBezTo>
                  <a:cubicBezTo>
                    <a:pt x="3093360" y="1973395"/>
                    <a:pt x="3089707" y="1977117"/>
                    <a:pt x="3093980" y="1988282"/>
                  </a:cubicBezTo>
                  <a:moveTo>
                    <a:pt x="4520444" y="2092841"/>
                  </a:moveTo>
                  <a:cubicBezTo>
                    <a:pt x="4521616" y="2094357"/>
                    <a:pt x="4523821" y="2097321"/>
                    <a:pt x="4524924" y="2098837"/>
                  </a:cubicBezTo>
                  <a:cubicBezTo>
                    <a:pt x="4534022" y="2098011"/>
                    <a:pt x="4543327" y="2096632"/>
                    <a:pt x="4552563" y="2095529"/>
                  </a:cubicBezTo>
                  <a:cubicBezTo>
                    <a:pt x="4539674" y="2087741"/>
                    <a:pt x="4546566" y="2075196"/>
                    <a:pt x="4550013" y="2064030"/>
                  </a:cubicBezTo>
                  <a:cubicBezTo>
                    <a:pt x="4546635" y="2064375"/>
                    <a:pt x="4539950" y="2064996"/>
                    <a:pt x="4536641" y="2065340"/>
                  </a:cubicBezTo>
                  <a:cubicBezTo>
                    <a:pt x="4537675" y="2069131"/>
                    <a:pt x="4539743" y="2076713"/>
                    <a:pt x="4540777" y="2080504"/>
                  </a:cubicBezTo>
                  <a:lnTo>
                    <a:pt x="4525820" y="2079814"/>
                  </a:lnTo>
                  <a:cubicBezTo>
                    <a:pt x="4524510" y="2083054"/>
                    <a:pt x="4521822" y="2089602"/>
                    <a:pt x="4520444" y="2092841"/>
                  </a:cubicBezTo>
                  <a:moveTo>
                    <a:pt x="4431531" y="2099182"/>
                  </a:moveTo>
                  <a:cubicBezTo>
                    <a:pt x="4442904" y="2108625"/>
                    <a:pt x="4460411" y="2114828"/>
                    <a:pt x="4466752" y="2096632"/>
                  </a:cubicBezTo>
                  <a:cubicBezTo>
                    <a:pt x="4460411" y="2095529"/>
                    <a:pt x="4454070" y="2094426"/>
                    <a:pt x="4447866" y="2093186"/>
                  </a:cubicBezTo>
                  <a:cubicBezTo>
                    <a:pt x="4443800" y="2094702"/>
                    <a:pt x="4435598" y="2097666"/>
                    <a:pt x="4431531" y="2099182"/>
                  </a:cubicBezTo>
                  <a:moveTo>
                    <a:pt x="6679990" y="2346346"/>
                  </a:moveTo>
                  <a:cubicBezTo>
                    <a:pt x="6689571" y="2346001"/>
                    <a:pt x="6688813" y="2328425"/>
                    <a:pt x="6679577" y="2327943"/>
                  </a:cubicBezTo>
                  <a:cubicBezTo>
                    <a:pt x="6670134" y="2329390"/>
                    <a:pt x="6671099" y="2344830"/>
                    <a:pt x="6679990" y="2346346"/>
                  </a:cubicBezTo>
                  <a:moveTo>
                    <a:pt x="5735792" y="2353514"/>
                  </a:moveTo>
                  <a:cubicBezTo>
                    <a:pt x="5736895" y="2357167"/>
                    <a:pt x="5739032" y="2364404"/>
                    <a:pt x="5740134" y="2368057"/>
                  </a:cubicBezTo>
                  <a:cubicBezTo>
                    <a:pt x="5740410" y="2364818"/>
                    <a:pt x="5740892" y="2358408"/>
                    <a:pt x="5741168" y="2355168"/>
                  </a:cubicBezTo>
                  <a:lnTo>
                    <a:pt x="5735792" y="2353514"/>
                  </a:lnTo>
                  <a:moveTo>
                    <a:pt x="6325787" y="2368057"/>
                  </a:moveTo>
                  <a:cubicBezTo>
                    <a:pt x="6331439" y="2382738"/>
                    <a:pt x="6351496" y="2365369"/>
                    <a:pt x="6343845" y="2354961"/>
                  </a:cubicBezTo>
                  <a:cubicBezTo>
                    <a:pt x="6335919" y="2350137"/>
                    <a:pt x="6324684" y="2359511"/>
                    <a:pt x="6325787" y="2368057"/>
                  </a:cubicBezTo>
                </a:path>
              </a:pathLst>
            </a:custGeom>
            <a:grpFill/>
            <a:ln w="689" cap="flat">
              <a:noFill/>
              <a:prstDash val="solid"/>
              <a:miter/>
            </a:ln>
          </p:spPr>
          <p:txBody>
            <a:bodyPr rtlCol="0" anchor="ctr"/>
            <a:lstStyle/>
            <a:p>
              <a:endParaRPr lang="en-US" sz="2400" dirty="0"/>
            </a:p>
          </p:txBody>
        </p:sp>
        <p:sp>
          <p:nvSpPr>
            <p:cNvPr id="55" name="Graphic 8">
              <a:extLst>
                <a:ext uri="{FF2B5EF4-FFF2-40B4-BE49-F238E27FC236}">
                  <a16:creationId xmlns:a16="http://schemas.microsoft.com/office/drawing/2014/main" id="{20CEB01D-1944-457D-BFA6-43497E03CCF1}"/>
                </a:ext>
              </a:extLst>
            </p:cNvPr>
            <p:cNvSpPr/>
            <p:nvPr/>
          </p:nvSpPr>
          <p:spPr>
            <a:xfrm flipV="1">
              <a:off x="2196960" y="1236576"/>
              <a:ext cx="6352101" cy="2297131"/>
            </a:xfrm>
            <a:custGeom>
              <a:avLst/>
              <a:gdLst>
                <a:gd name="connsiteX0" fmla="*/ 3513479 w 6352101"/>
                <a:gd name="connsiteY0" fmla="*/ 34934 h 2297131"/>
                <a:gd name="connsiteX1" fmla="*/ 3533192 w 6352101"/>
                <a:gd name="connsiteY1" fmla="*/ 24595 h 2297131"/>
                <a:gd name="connsiteX2" fmla="*/ 3553386 w 6352101"/>
                <a:gd name="connsiteY2" fmla="*/ 33762 h 2297131"/>
                <a:gd name="connsiteX3" fmla="*/ 3567723 w 6352101"/>
                <a:gd name="connsiteY3" fmla="*/ 27145 h 2297131"/>
                <a:gd name="connsiteX4" fmla="*/ 3551112 w 6352101"/>
                <a:gd name="connsiteY4" fmla="*/ 954 h 2297131"/>
                <a:gd name="connsiteX5" fmla="*/ 3589848 w 6352101"/>
                <a:gd name="connsiteY5" fmla="*/ -80 h 2297131"/>
                <a:gd name="connsiteX6" fmla="*/ 3539257 w 6352101"/>
                <a:gd name="connsiteY6" fmla="*/ -3526 h 2297131"/>
                <a:gd name="connsiteX7" fmla="*/ 3540980 w 6352101"/>
                <a:gd name="connsiteY7" fmla="*/ 7364 h 2297131"/>
                <a:gd name="connsiteX8" fmla="*/ 3528643 w 6352101"/>
                <a:gd name="connsiteY8" fmla="*/ 7295 h 2297131"/>
                <a:gd name="connsiteX9" fmla="*/ 3514927 w 6352101"/>
                <a:gd name="connsiteY9" fmla="*/ 10948 h 2297131"/>
                <a:gd name="connsiteX10" fmla="*/ 3513479 w 6352101"/>
                <a:gd name="connsiteY10" fmla="*/ 34934 h 2297131"/>
                <a:gd name="connsiteX11" fmla="*/ 4382136 w 6352101"/>
                <a:gd name="connsiteY11" fmla="*/ 1713386 h 2297131"/>
                <a:gd name="connsiteX12" fmla="*/ 4392406 w 6352101"/>
                <a:gd name="connsiteY12" fmla="*/ 1702979 h 2297131"/>
                <a:gd name="connsiteX13" fmla="*/ 4382136 w 6352101"/>
                <a:gd name="connsiteY13" fmla="*/ 1713386 h 2297131"/>
                <a:gd name="connsiteX14" fmla="*/ -6639 w 6352101"/>
                <a:gd name="connsiteY14" fmla="*/ 1847996 h 2297131"/>
                <a:gd name="connsiteX15" fmla="*/ -6639 w 6352101"/>
                <a:gd name="connsiteY15" fmla="*/ 1847996 h 2297131"/>
                <a:gd name="connsiteX16" fmla="*/ 6332565 w 6352101"/>
                <a:gd name="connsiteY16" fmla="*/ 2191654 h 2297131"/>
                <a:gd name="connsiteX17" fmla="*/ 6344282 w 6352101"/>
                <a:gd name="connsiteY17" fmla="*/ 2181936 h 2297131"/>
                <a:gd name="connsiteX18" fmla="*/ 6332565 w 6352101"/>
                <a:gd name="connsiteY18" fmla="*/ 2191654 h 2297131"/>
                <a:gd name="connsiteX19" fmla="*/ 4631644 w 6352101"/>
                <a:gd name="connsiteY19" fmla="*/ 2293594 h 2297131"/>
                <a:gd name="connsiteX20" fmla="*/ 4631644 w 6352101"/>
                <a:gd name="connsiteY20" fmla="*/ 2293594 h 2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52101" h="2297131">
                  <a:moveTo>
                    <a:pt x="3513479" y="34934"/>
                  </a:moveTo>
                  <a:cubicBezTo>
                    <a:pt x="3519958" y="31557"/>
                    <a:pt x="3526575" y="28110"/>
                    <a:pt x="3533192" y="24595"/>
                  </a:cubicBezTo>
                  <a:cubicBezTo>
                    <a:pt x="3539877" y="27697"/>
                    <a:pt x="3546563" y="30730"/>
                    <a:pt x="3553386" y="33762"/>
                  </a:cubicBezTo>
                  <a:cubicBezTo>
                    <a:pt x="3556971" y="32108"/>
                    <a:pt x="3564138" y="28800"/>
                    <a:pt x="3567723" y="27145"/>
                  </a:cubicBezTo>
                  <a:cubicBezTo>
                    <a:pt x="3562140" y="18461"/>
                    <a:pt x="3556557" y="9708"/>
                    <a:pt x="3551112" y="954"/>
                  </a:cubicBezTo>
                  <a:cubicBezTo>
                    <a:pt x="3563932" y="678"/>
                    <a:pt x="3576889" y="265"/>
                    <a:pt x="3589848" y="-80"/>
                  </a:cubicBezTo>
                  <a:cubicBezTo>
                    <a:pt x="3573099" y="-2630"/>
                    <a:pt x="3556143" y="-3664"/>
                    <a:pt x="3539257" y="-3526"/>
                  </a:cubicBezTo>
                  <a:cubicBezTo>
                    <a:pt x="3539670" y="-769"/>
                    <a:pt x="3540567" y="4676"/>
                    <a:pt x="3540980" y="7364"/>
                  </a:cubicBezTo>
                  <a:cubicBezTo>
                    <a:pt x="3549458" y="25836"/>
                    <a:pt x="3519613" y="25560"/>
                    <a:pt x="3528643" y="7295"/>
                  </a:cubicBezTo>
                  <a:cubicBezTo>
                    <a:pt x="3525196" y="8191"/>
                    <a:pt x="3518373" y="9983"/>
                    <a:pt x="3514927" y="10948"/>
                  </a:cubicBezTo>
                  <a:cubicBezTo>
                    <a:pt x="3514237" y="18943"/>
                    <a:pt x="3513755" y="27007"/>
                    <a:pt x="3513479" y="34934"/>
                  </a:cubicBezTo>
                  <a:close/>
                  <a:moveTo>
                    <a:pt x="4382136" y="1713386"/>
                  </a:moveTo>
                  <a:cubicBezTo>
                    <a:pt x="4391303" y="1716419"/>
                    <a:pt x="4394680" y="1712904"/>
                    <a:pt x="4392406" y="1702979"/>
                  </a:cubicBezTo>
                  <a:cubicBezTo>
                    <a:pt x="4382894" y="1699946"/>
                    <a:pt x="4379448" y="1703392"/>
                    <a:pt x="4382136" y="1713386"/>
                  </a:cubicBezTo>
                  <a:moveTo>
                    <a:pt x="-6639" y="1847996"/>
                  </a:moveTo>
                  <a:cubicBezTo>
                    <a:pt x="14245" y="1857852"/>
                    <a:pt x="-5743" y="1825251"/>
                    <a:pt x="-6639" y="1847996"/>
                  </a:cubicBezTo>
                  <a:moveTo>
                    <a:pt x="6332565" y="2191654"/>
                  </a:moveTo>
                  <a:cubicBezTo>
                    <a:pt x="6343800" y="2196548"/>
                    <a:pt x="6347659" y="2193308"/>
                    <a:pt x="6344282" y="2181936"/>
                  </a:cubicBezTo>
                  <a:cubicBezTo>
                    <a:pt x="6332841" y="2177111"/>
                    <a:pt x="6328981" y="2180351"/>
                    <a:pt x="6332565" y="2191654"/>
                  </a:cubicBezTo>
                  <a:moveTo>
                    <a:pt x="4631644" y="2293594"/>
                  </a:moveTo>
                  <a:cubicBezTo>
                    <a:pt x="4654251" y="2292146"/>
                    <a:pt x="4620616" y="2272916"/>
                    <a:pt x="4631644" y="2293594"/>
                  </a:cubicBezTo>
                </a:path>
              </a:pathLst>
            </a:custGeom>
            <a:grpFill/>
            <a:ln w="689" cap="flat">
              <a:noFill/>
              <a:prstDash val="solid"/>
              <a:miter/>
            </a:ln>
          </p:spPr>
          <p:txBody>
            <a:bodyPr rtlCol="0" anchor="ctr"/>
            <a:lstStyle/>
            <a:p>
              <a:endParaRPr lang="en-US" sz="2400" dirty="0"/>
            </a:p>
          </p:txBody>
        </p:sp>
        <p:sp>
          <p:nvSpPr>
            <p:cNvPr id="56" name="Graphic 8">
              <a:extLst>
                <a:ext uri="{FF2B5EF4-FFF2-40B4-BE49-F238E27FC236}">
                  <a16:creationId xmlns:a16="http://schemas.microsoft.com/office/drawing/2014/main" id="{97777A42-6AD1-4A9C-AA6F-D373861AF5BB}"/>
                </a:ext>
              </a:extLst>
            </p:cNvPr>
            <p:cNvSpPr/>
            <p:nvPr/>
          </p:nvSpPr>
          <p:spPr>
            <a:xfrm flipV="1">
              <a:off x="1834603" y="1234229"/>
              <a:ext cx="6806354" cy="2091493"/>
            </a:xfrm>
            <a:custGeom>
              <a:avLst/>
              <a:gdLst>
                <a:gd name="connsiteX0" fmla="*/ 6792139 w 6806354"/>
                <a:gd name="connsiteY0" fmla="*/ 5772 h 2091493"/>
                <a:gd name="connsiteX1" fmla="*/ 6792139 w 6806354"/>
                <a:gd name="connsiteY1" fmla="*/ 5772 h 2091493"/>
                <a:gd name="connsiteX2" fmla="*/ -4518 w 6806354"/>
                <a:gd name="connsiteY2" fmla="*/ 597076 h 2091493"/>
                <a:gd name="connsiteX3" fmla="*/ -4518 w 6806354"/>
                <a:gd name="connsiteY3" fmla="*/ 597076 h 2091493"/>
                <a:gd name="connsiteX4" fmla="*/ 5312740 w 6806354"/>
                <a:gd name="connsiteY4" fmla="*/ 2075165 h 2091493"/>
                <a:gd name="connsiteX5" fmla="*/ 5329214 w 6806354"/>
                <a:gd name="connsiteY5" fmla="*/ 2086055 h 2091493"/>
                <a:gd name="connsiteX6" fmla="*/ 5312740 w 6806354"/>
                <a:gd name="connsiteY6" fmla="*/ 2075165 h 2091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06354" h="2091493">
                  <a:moveTo>
                    <a:pt x="6792139" y="5772"/>
                  </a:moveTo>
                  <a:cubicBezTo>
                    <a:pt x="6814677" y="2463"/>
                    <a:pt x="6779594" y="-13803"/>
                    <a:pt x="6792139" y="5772"/>
                  </a:cubicBezTo>
                  <a:close/>
                  <a:moveTo>
                    <a:pt x="-4518" y="597076"/>
                  </a:moveTo>
                  <a:cubicBezTo>
                    <a:pt x="18296" y="596662"/>
                    <a:pt x="-14513" y="576123"/>
                    <a:pt x="-4518" y="597076"/>
                  </a:cubicBezTo>
                  <a:moveTo>
                    <a:pt x="5312740" y="2075165"/>
                  </a:moveTo>
                  <a:cubicBezTo>
                    <a:pt x="5308881" y="2083505"/>
                    <a:pt x="5322666" y="2091362"/>
                    <a:pt x="5329214" y="2086055"/>
                  </a:cubicBezTo>
                  <a:cubicBezTo>
                    <a:pt x="5333487" y="2077439"/>
                    <a:pt x="5319082" y="2069099"/>
                    <a:pt x="5312740" y="2075165"/>
                  </a:cubicBezTo>
                </a:path>
              </a:pathLst>
            </a:custGeom>
            <a:grpFill/>
            <a:ln w="689" cap="flat">
              <a:noFill/>
              <a:prstDash val="solid"/>
              <a:miter/>
            </a:ln>
          </p:spPr>
          <p:txBody>
            <a:bodyPr rtlCol="0" anchor="ctr"/>
            <a:lstStyle/>
            <a:p>
              <a:endParaRPr lang="en-US" sz="2400" dirty="0"/>
            </a:p>
          </p:txBody>
        </p:sp>
        <p:sp>
          <p:nvSpPr>
            <p:cNvPr id="57" name="Graphic 8">
              <a:extLst>
                <a:ext uri="{FF2B5EF4-FFF2-40B4-BE49-F238E27FC236}">
                  <a16:creationId xmlns:a16="http://schemas.microsoft.com/office/drawing/2014/main" id="{2716F27C-1D34-4256-8E01-33B8A941FB1E}"/>
                </a:ext>
              </a:extLst>
            </p:cNvPr>
            <p:cNvSpPr/>
            <p:nvPr/>
          </p:nvSpPr>
          <p:spPr>
            <a:xfrm flipV="1">
              <a:off x="7510566" y="1235336"/>
              <a:ext cx="2739" cy="2636"/>
            </a:xfrm>
            <a:custGeom>
              <a:avLst/>
              <a:gdLst>
                <a:gd name="connsiteX0" fmla="*/ -9329 w 2739"/>
                <a:gd name="connsiteY0" fmla="*/ -2790 h 2636"/>
                <a:gd name="connsiteX1" fmla="*/ -9329 w 2739"/>
                <a:gd name="connsiteY1" fmla="*/ -2790 h 2636"/>
                <a:gd name="connsiteX2" fmla="*/ -9329 w 2739"/>
                <a:gd name="connsiteY2" fmla="*/ -2790 h 2636"/>
              </a:gdLst>
              <a:ahLst/>
              <a:cxnLst>
                <a:cxn ang="0">
                  <a:pos x="connsiteX0" y="connsiteY0"/>
                </a:cxn>
                <a:cxn ang="0">
                  <a:pos x="connsiteX1" y="connsiteY1"/>
                </a:cxn>
                <a:cxn ang="0">
                  <a:pos x="connsiteX2" y="connsiteY2"/>
                </a:cxn>
              </a:cxnLst>
              <a:rect l="l" t="t" r="r" b="b"/>
              <a:pathLst>
                <a:path w="2739" h="2636">
                  <a:moveTo>
                    <a:pt x="-9329" y="-2790"/>
                  </a:moveTo>
                  <a:cubicBezTo>
                    <a:pt x="-5676" y="-6305"/>
                    <a:pt x="-5676" y="-6305"/>
                    <a:pt x="-9329" y="-2790"/>
                  </a:cubicBezTo>
                  <a:lnTo>
                    <a:pt x="-9329" y="-2790"/>
                  </a:lnTo>
                </a:path>
              </a:pathLst>
            </a:custGeom>
            <a:grpFill/>
            <a:ln w="689" cap="flat">
              <a:noFill/>
              <a:prstDash val="solid"/>
              <a:miter/>
            </a:ln>
          </p:spPr>
          <p:txBody>
            <a:bodyPr rtlCol="0" anchor="ctr"/>
            <a:lstStyle/>
            <a:p>
              <a:endParaRPr lang="en-US" sz="2400" dirty="0"/>
            </a:p>
          </p:txBody>
        </p:sp>
        <p:sp>
          <p:nvSpPr>
            <p:cNvPr id="58" name="Graphic 8">
              <a:extLst>
                <a:ext uri="{FF2B5EF4-FFF2-40B4-BE49-F238E27FC236}">
                  <a16:creationId xmlns:a16="http://schemas.microsoft.com/office/drawing/2014/main" id="{803EDEC0-47B8-44FB-9259-37A658778A91}"/>
                </a:ext>
              </a:extLst>
            </p:cNvPr>
            <p:cNvSpPr/>
            <p:nvPr/>
          </p:nvSpPr>
          <p:spPr>
            <a:xfrm flipV="1">
              <a:off x="1974537" y="1240334"/>
              <a:ext cx="4628688" cy="1698544"/>
            </a:xfrm>
            <a:custGeom>
              <a:avLst/>
              <a:gdLst>
                <a:gd name="connsiteX0" fmla="*/ 11752 w 4628688"/>
                <a:gd name="connsiteY0" fmla="*/ 16311 h 1698544"/>
                <a:gd name="connsiteX1" fmla="*/ -3412 w 4628688"/>
                <a:gd name="connsiteY1" fmla="*/ -24 h 1698544"/>
                <a:gd name="connsiteX2" fmla="*/ 11752 w 4628688"/>
                <a:gd name="connsiteY2" fmla="*/ 16311 h 1698544"/>
                <a:gd name="connsiteX3" fmla="*/ 4620466 w 4628688"/>
                <a:gd name="connsiteY3" fmla="*/ 678952 h 1698544"/>
                <a:gd name="connsiteX4" fmla="*/ 4620466 w 4628688"/>
                <a:gd name="connsiteY4" fmla="*/ 678952 h 1698544"/>
                <a:gd name="connsiteX5" fmla="*/ 1739623 w 4628688"/>
                <a:gd name="connsiteY5" fmla="*/ 1086366 h 1698544"/>
                <a:gd name="connsiteX6" fmla="*/ 1750100 w 4628688"/>
                <a:gd name="connsiteY6" fmla="*/ 1075200 h 1698544"/>
                <a:gd name="connsiteX7" fmla="*/ 1739623 w 4628688"/>
                <a:gd name="connsiteY7" fmla="*/ 1086366 h 1698544"/>
                <a:gd name="connsiteX8" fmla="*/ 3724928 w 4628688"/>
                <a:gd name="connsiteY8" fmla="*/ 1458283 h 1698544"/>
                <a:gd name="connsiteX9" fmla="*/ 3724928 w 4628688"/>
                <a:gd name="connsiteY9" fmla="*/ 1458283 h 1698544"/>
                <a:gd name="connsiteX10" fmla="*/ 4168389 w 4628688"/>
                <a:gd name="connsiteY10" fmla="*/ 1693936 h 1698544"/>
                <a:gd name="connsiteX11" fmla="*/ 4178314 w 4628688"/>
                <a:gd name="connsiteY11" fmla="*/ 1682771 h 1698544"/>
                <a:gd name="connsiteX12" fmla="*/ 4168389 w 4628688"/>
                <a:gd name="connsiteY12" fmla="*/ 1693936 h 169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28688" h="1698544">
                  <a:moveTo>
                    <a:pt x="11752" y="16311"/>
                  </a:moveTo>
                  <a:cubicBezTo>
                    <a:pt x="27880" y="12658"/>
                    <a:pt x="7548" y="-13947"/>
                    <a:pt x="-3412" y="-24"/>
                  </a:cubicBezTo>
                  <a:cubicBezTo>
                    <a:pt x="-11476" y="10797"/>
                    <a:pt x="9064" y="7627"/>
                    <a:pt x="11752" y="16311"/>
                  </a:cubicBezTo>
                  <a:close/>
                  <a:moveTo>
                    <a:pt x="4620466" y="678952"/>
                  </a:moveTo>
                  <a:cubicBezTo>
                    <a:pt x="4624395" y="675437"/>
                    <a:pt x="4624395" y="675437"/>
                    <a:pt x="4620466" y="678952"/>
                  </a:cubicBezTo>
                  <a:moveTo>
                    <a:pt x="1739623" y="1086366"/>
                  </a:moveTo>
                  <a:cubicBezTo>
                    <a:pt x="1750789" y="1090363"/>
                    <a:pt x="1754304" y="1086642"/>
                    <a:pt x="1750100" y="1075200"/>
                  </a:cubicBezTo>
                  <a:cubicBezTo>
                    <a:pt x="1738865" y="1071133"/>
                    <a:pt x="1735350" y="1074855"/>
                    <a:pt x="1739623" y="1086366"/>
                  </a:cubicBezTo>
                  <a:moveTo>
                    <a:pt x="3724928" y="1458283"/>
                  </a:moveTo>
                  <a:cubicBezTo>
                    <a:pt x="3728443" y="1454423"/>
                    <a:pt x="3728443" y="1454423"/>
                    <a:pt x="3724928" y="1458283"/>
                  </a:cubicBezTo>
                  <a:moveTo>
                    <a:pt x="4168389" y="1693936"/>
                  </a:moveTo>
                  <a:cubicBezTo>
                    <a:pt x="4177970" y="1696073"/>
                    <a:pt x="4181278" y="1692351"/>
                    <a:pt x="4178314" y="1682771"/>
                  </a:cubicBezTo>
                  <a:cubicBezTo>
                    <a:pt x="4168665" y="1680703"/>
                    <a:pt x="4165357" y="1684425"/>
                    <a:pt x="4168389" y="1693936"/>
                  </a:cubicBezTo>
                </a:path>
              </a:pathLst>
            </a:custGeom>
            <a:grpFill/>
            <a:ln w="689" cap="flat">
              <a:noFill/>
              <a:prstDash val="solid"/>
              <a:miter/>
            </a:ln>
          </p:spPr>
          <p:txBody>
            <a:bodyPr rtlCol="0" anchor="ctr"/>
            <a:lstStyle/>
            <a:p>
              <a:endParaRPr lang="en-US" sz="2400" dirty="0"/>
            </a:p>
          </p:txBody>
        </p:sp>
        <p:sp>
          <p:nvSpPr>
            <p:cNvPr id="59" name="Graphic 8">
              <a:extLst>
                <a:ext uri="{FF2B5EF4-FFF2-40B4-BE49-F238E27FC236}">
                  <a16:creationId xmlns:a16="http://schemas.microsoft.com/office/drawing/2014/main" id="{4DD455BB-7380-4B48-B726-30D8132D55DB}"/>
                </a:ext>
              </a:extLst>
            </p:cNvPr>
            <p:cNvSpPr/>
            <p:nvPr/>
          </p:nvSpPr>
          <p:spPr>
            <a:xfrm flipV="1">
              <a:off x="419048" y="1247790"/>
              <a:ext cx="6836546" cy="1751707"/>
            </a:xfrm>
            <a:custGeom>
              <a:avLst/>
              <a:gdLst>
                <a:gd name="connsiteX0" fmla="*/ 3489427 w 6836546"/>
                <a:gd name="connsiteY0" fmla="*/ 4064 h 1751707"/>
                <a:gd name="connsiteX1" fmla="*/ 3489427 w 6836546"/>
                <a:gd name="connsiteY1" fmla="*/ 4064 h 1751707"/>
                <a:gd name="connsiteX2" fmla="*/ -4708 w 6836546"/>
                <a:gd name="connsiteY2" fmla="*/ 1146076 h 1751707"/>
                <a:gd name="connsiteX3" fmla="*/ -4708 w 6836546"/>
                <a:gd name="connsiteY3" fmla="*/ 1146076 h 1751707"/>
                <a:gd name="connsiteX4" fmla="*/ 6818210 w 6836546"/>
                <a:gd name="connsiteY4" fmla="*/ 1745858 h 1751707"/>
                <a:gd name="connsiteX5" fmla="*/ 6829307 w 6836546"/>
                <a:gd name="connsiteY5" fmla="*/ 1729660 h 1751707"/>
                <a:gd name="connsiteX6" fmla="*/ 6818210 w 6836546"/>
                <a:gd name="connsiteY6" fmla="*/ 1745858 h 175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36546" h="1751707">
                  <a:moveTo>
                    <a:pt x="3489427" y="4064"/>
                  </a:moveTo>
                  <a:cubicBezTo>
                    <a:pt x="3509897" y="15092"/>
                    <a:pt x="3490943" y="-18613"/>
                    <a:pt x="3489427" y="4064"/>
                  </a:cubicBezTo>
                  <a:close/>
                  <a:moveTo>
                    <a:pt x="-4708" y="1146076"/>
                  </a:moveTo>
                  <a:cubicBezTo>
                    <a:pt x="-847" y="1142492"/>
                    <a:pt x="-847" y="1142492"/>
                    <a:pt x="-4708" y="1146076"/>
                  </a:cubicBezTo>
                  <a:moveTo>
                    <a:pt x="6818210" y="1745858"/>
                  </a:moveTo>
                  <a:cubicBezTo>
                    <a:pt x="6827447" y="1753370"/>
                    <a:pt x="6836337" y="1736415"/>
                    <a:pt x="6829307" y="1729660"/>
                  </a:cubicBezTo>
                  <a:cubicBezTo>
                    <a:pt x="6820072" y="1722492"/>
                    <a:pt x="6810767" y="1739241"/>
                    <a:pt x="6818210" y="1745858"/>
                  </a:cubicBezTo>
                </a:path>
              </a:pathLst>
            </a:custGeom>
            <a:grpFill/>
            <a:ln w="689" cap="flat">
              <a:noFill/>
              <a:prstDash val="solid"/>
              <a:miter/>
            </a:ln>
          </p:spPr>
          <p:txBody>
            <a:bodyPr rtlCol="0" anchor="ctr"/>
            <a:lstStyle/>
            <a:p>
              <a:endParaRPr lang="en-US" sz="2400" dirty="0"/>
            </a:p>
          </p:txBody>
        </p:sp>
        <p:sp>
          <p:nvSpPr>
            <p:cNvPr id="60" name="Graphic 8">
              <a:extLst>
                <a:ext uri="{FF2B5EF4-FFF2-40B4-BE49-F238E27FC236}">
                  <a16:creationId xmlns:a16="http://schemas.microsoft.com/office/drawing/2014/main" id="{32A9E80A-EF1E-4852-BB0E-7C3090BF75A3}"/>
                </a:ext>
              </a:extLst>
            </p:cNvPr>
            <p:cNvSpPr/>
            <p:nvPr/>
          </p:nvSpPr>
          <p:spPr>
            <a:xfrm flipV="1">
              <a:off x="5944737" y="1250154"/>
              <a:ext cx="1945724" cy="763202"/>
            </a:xfrm>
            <a:custGeom>
              <a:avLst/>
              <a:gdLst>
                <a:gd name="connsiteX0" fmla="*/ 1922617 w 1945724"/>
                <a:gd name="connsiteY0" fmla="*/ 183112 h 763202"/>
                <a:gd name="connsiteX1" fmla="*/ 1936816 w 1945724"/>
                <a:gd name="connsiteY1" fmla="*/ 115979 h 763202"/>
                <a:gd name="connsiteX2" fmla="*/ 1921377 w 1945724"/>
                <a:gd name="connsiteY2" fmla="*/ 114876 h 763202"/>
                <a:gd name="connsiteX3" fmla="*/ 1920894 w 1945724"/>
                <a:gd name="connsiteY3" fmla="*/ 45469 h 763202"/>
                <a:gd name="connsiteX4" fmla="*/ 1932818 w 1945724"/>
                <a:gd name="connsiteY4" fmla="*/ 34648 h 763202"/>
                <a:gd name="connsiteX5" fmla="*/ 1934679 w 1945724"/>
                <a:gd name="connsiteY5" fmla="*/ 24378 h 763202"/>
                <a:gd name="connsiteX6" fmla="*/ 1916620 w 1945724"/>
                <a:gd name="connsiteY6" fmla="*/ 40231 h 763202"/>
                <a:gd name="connsiteX7" fmla="*/ 1914829 w 1945724"/>
                <a:gd name="connsiteY7" fmla="*/ -4777 h 763202"/>
                <a:gd name="connsiteX8" fmla="*/ 1922617 w 1945724"/>
                <a:gd name="connsiteY8" fmla="*/ 183112 h 763202"/>
                <a:gd name="connsiteX9" fmla="*/ -1414 w 1945724"/>
                <a:gd name="connsiteY9" fmla="*/ 743952 h 763202"/>
                <a:gd name="connsiteX10" fmla="*/ 22710 w 1945724"/>
                <a:gd name="connsiteY10" fmla="*/ 758426 h 763202"/>
                <a:gd name="connsiteX11" fmla="*/ 23192 w 1945724"/>
                <a:gd name="connsiteY11" fmla="*/ 710247 h 763202"/>
                <a:gd name="connsiteX12" fmla="*/ 723 w 1945724"/>
                <a:gd name="connsiteY12" fmla="*/ 711143 h 763202"/>
                <a:gd name="connsiteX13" fmla="*/ -8582 w 1945724"/>
                <a:gd name="connsiteY13" fmla="*/ 707628 h 763202"/>
                <a:gd name="connsiteX14" fmla="*/ -1414 w 1945724"/>
                <a:gd name="connsiteY14" fmla="*/ 743952 h 76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5724" h="763202">
                  <a:moveTo>
                    <a:pt x="1922617" y="183112"/>
                  </a:moveTo>
                  <a:cubicBezTo>
                    <a:pt x="1928338" y="161125"/>
                    <a:pt x="1939159" y="139276"/>
                    <a:pt x="1936816" y="115979"/>
                  </a:cubicBezTo>
                  <a:cubicBezTo>
                    <a:pt x="1932956" y="115704"/>
                    <a:pt x="1925236" y="115152"/>
                    <a:pt x="1921377" y="114876"/>
                  </a:cubicBezTo>
                  <a:cubicBezTo>
                    <a:pt x="1918758" y="91856"/>
                    <a:pt x="1919791" y="68628"/>
                    <a:pt x="1920894" y="45469"/>
                  </a:cubicBezTo>
                  <a:cubicBezTo>
                    <a:pt x="1923858" y="42781"/>
                    <a:pt x="1929854" y="37336"/>
                    <a:pt x="1932818" y="34648"/>
                  </a:cubicBezTo>
                  <a:cubicBezTo>
                    <a:pt x="1933300" y="32098"/>
                    <a:pt x="1934196" y="26928"/>
                    <a:pt x="1934679" y="24378"/>
                  </a:cubicBezTo>
                  <a:cubicBezTo>
                    <a:pt x="1930199" y="28376"/>
                    <a:pt x="1921170" y="36302"/>
                    <a:pt x="1916620" y="40231"/>
                  </a:cubicBezTo>
                  <a:cubicBezTo>
                    <a:pt x="1915725" y="25274"/>
                    <a:pt x="1915449" y="10249"/>
                    <a:pt x="1914829" y="-4777"/>
                  </a:cubicBezTo>
                  <a:cubicBezTo>
                    <a:pt x="1916001" y="57738"/>
                    <a:pt x="1907040" y="121769"/>
                    <a:pt x="1922617" y="183112"/>
                  </a:cubicBezTo>
                  <a:close/>
                  <a:moveTo>
                    <a:pt x="-1414" y="743952"/>
                  </a:moveTo>
                  <a:cubicBezTo>
                    <a:pt x="7133" y="748087"/>
                    <a:pt x="14370" y="753670"/>
                    <a:pt x="22710" y="758426"/>
                  </a:cubicBezTo>
                  <a:cubicBezTo>
                    <a:pt x="22090" y="742366"/>
                    <a:pt x="22296" y="726307"/>
                    <a:pt x="23192" y="710247"/>
                  </a:cubicBezTo>
                  <a:cubicBezTo>
                    <a:pt x="15473" y="708386"/>
                    <a:pt x="7960" y="708662"/>
                    <a:pt x="723" y="711143"/>
                  </a:cubicBezTo>
                  <a:cubicBezTo>
                    <a:pt x="-1621" y="710247"/>
                    <a:pt x="-6307" y="708524"/>
                    <a:pt x="-8582" y="707628"/>
                  </a:cubicBezTo>
                  <a:cubicBezTo>
                    <a:pt x="-6583" y="719828"/>
                    <a:pt x="-4171" y="731958"/>
                    <a:pt x="-1414" y="743952"/>
                  </a:cubicBezTo>
                </a:path>
              </a:pathLst>
            </a:custGeom>
            <a:grpFill/>
            <a:ln w="689" cap="flat">
              <a:noFill/>
              <a:prstDash val="solid"/>
              <a:miter/>
            </a:ln>
          </p:spPr>
          <p:txBody>
            <a:bodyPr rtlCol="0" anchor="ctr"/>
            <a:lstStyle/>
            <a:p>
              <a:endParaRPr lang="en-US" sz="2400" dirty="0"/>
            </a:p>
          </p:txBody>
        </p:sp>
        <p:sp>
          <p:nvSpPr>
            <p:cNvPr id="61" name="Graphic 8">
              <a:extLst>
                <a:ext uri="{FF2B5EF4-FFF2-40B4-BE49-F238E27FC236}">
                  <a16:creationId xmlns:a16="http://schemas.microsoft.com/office/drawing/2014/main" id="{A54B8081-2AC0-4B06-B8CA-0E3A8E8B3715}"/>
                </a:ext>
              </a:extLst>
            </p:cNvPr>
            <p:cNvSpPr/>
            <p:nvPr/>
          </p:nvSpPr>
          <p:spPr>
            <a:xfrm flipV="1">
              <a:off x="457266" y="1253672"/>
              <a:ext cx="7842021" cy="2155915"/>
            </a:xfrm>
            <a:custGeom>
              <a:avLst/>
              <a:gdLst>
                <a:gd name="connsiteX0" fmla="*/ 6034237 w 7842021"/>
                <a:gd name="connsiteY0" fmla="*/ 7220 h 2155915"/>
                <a:gd name="connsiteX1" fmla="*/ 6043749 w 7842021"/>
                <a:gd name="connsiteY1" fmla="*/ -2360 h 2155915"/>
                <a:gd name="connsiteX2" fmla="*/ 6034237 w 7842021"/>
                <a:gd name="connsiteY2" fmla="*/ 7220 h 2155915"/>
                <a:gd name="connsiteX3" fmla="*/ 7331675 w 7842021"/>
                <a:gd name="connsiteY3" fmla="*/ 96891 h 2155915"/>
                <a:gd name="connsiteX4" fmla="*/ 7342495 w 7842021"/>
                <a:gd name="connsiteY4" fmla="*/ 86484 h 2155915"/>
                <a:gd name="connsiteX5" fmla="*/ 7331675 w 7842021"/>
                <a:gd name="connsiteY5" fmla="*/ 96891 h 2155915"/>
                <a:gd name="connsiteX6" fmla="*/ 790038 w 7842021"/>
                <a:gd name="connsiteY6" fmla="*/ 220266 h 2155915"/>
                <a:gd name="connsiteX7" fmla="*/ 790038 w 7842021"/>
                <a:gd name="connsiteY7" fmla="*/ 220266 h 2155915"/>
                <a:gd name="connsiteX8" fmla="*/ 31866 w 7842021"/>
                <a:gd name="connsiteY8" fmla="*/ 233500 h 2155915"/>
                <a:gd name="connsiteX9" fmla="*/ 31866 w 7842021"/>
                <a:gd name="connsiteY9" fmla="*/ 233500 h 2155915"/>
                <a:gd name="connsiteX10" fmla="*/ 2837031 w 7842021"/>
                <a:gd name="connsiteY10" fmla="*/ 275130 h 2155915"/>
                <a:gd name="connsiteX11" fmla="*/ 2837031 w 7842021"/>
                <a:gd name="connsiteY11" fmla="*/ 275130 h 2155915"/>
                <a:gd name="connsiteX12" fmla="*/ -4042 w 7842021"/>
                <a:gd name="connsiteY12" fmla="*/ 641396 h 2155915"/>
                <a:gd name="connsiteX13" fmla="*/ 7263 w 7842021"/>
                <a:gd name="connsiteY13" fmla="*/ 629610 h 2155915"/>
                <a:gd name="connsiteX14" fmla="*/ -4042 w 7842021"/>
                <a:gd name="connsiteY14" fmla="*/ 641396 h 2155915"/>
                <a:gd name="connsiteX15" fmla="*/ 3187030 w 7842021"/>
                <a:gd name="connsiteY15" fmla="*/ 722244 h 2155915"/>
                <a:gd name="connsiteX16" fmla="*/ 3191717 w 7842021"/>
                <a:gd name="connsiteY16" fmla="*/ 707012 h 2155915"/>
                <a:gd name="connsiteX17" fmla="*/ 3187030 w 7842021"/>
                <a:gd name="connsiteY17" fmla="*/ 722244 h 2155915"/>
                <a:gd name="connsiteX18" fmla="*/ 7820143 w 7842021"/>
                <a:gd name="connsiteY18" fmla="*/ 749401 h 2155915"/>
                <a:gd name="connsiteX19" fmla="*/ 7824486 w 7842021"/>
                <a:gd name="connsiteY19" fmla="*/ 733479 h 2155915"/>
                <a:gd name="connsiteX20" fmla="*/ 7820143 w 7842021"/>
                <a:gd name="connsiteY20" fmla="*/ 749401 h 2155915"/>
                <a:gd name="connsiteX21" fmla="*/ 14775 w 7842021"/>
                <a:gd name="connsiteY21" fmla="*/ 786000 h 2155915"/>
                <a:gd name="connsiteX22" fmla="*/ 36966 w 7842021"/>
                <a:gd name="connsiteY22" fmla="*/ 796683 h 2155915"/>
                <a:gd name="connsiteX23" fmla="*/ 36142 w 7842021"/>
                <a:gd name="connsiteY23" fmla="*/ 749952 h 2155915"/>
                <a:gd name="connsiteX24" fmla="*/ 14775 w 7842021"/>
                <a:gd name="connsiteY24" fmla="*/ 786000 h 2155915"/>
                <a:gd name="connsiteX25" fmla="*/ 4305332 w 7842021"/>
                <a:gd name="connsiteY25" fmla="*/ 867193 h 2155915"/>
                <a:gd name="connsiteX26" fmla="*/ 4305332 w 7842021"/>
                <a:gd name="connsiteY26" fmla="*/ 867193 h 2155915"/>
                <a:gd name="connsiteX27" fmla="*/ 7833997 w 7842021"/>
                <a:gd name="connsiteY27" fmla="*/ 1336363 h 2155915"/>
                <a:gd name="connsiteX28" fmla="*/ 7833997 w 7842021"/>
                <a:gd name="connsiteY28" fmla="*/ 1336363 h 2155915"/>
                <a:gd name="connsiteX29" fmla="*/ 2457049 w 7842021"/>
                <a:gd name="connsiteY29" fmla="*/ 1900855 h 2155915"/>
                <a:gd name="connsiteX30" fmla="*/ 2461185 w 7842021"/>
                <a:gd name="connsiteY30" fmla="*/ 1885554 h 2155915"/>
                <a:gd name="connsiteX31" fmla="*/ 2457049 w 7842021"/>
                <a:gd name="connsiteY31" fmla="*/ 1900855 h 2155915"/>
                <a:gd name="connsiteX32" fmla="*/ 5532673 w 7842021"/>
                <a:gd name="connsiteY32" fmla="*/ 2150914 h 2155915"/>
                <a:gd name="connsiteX33" fmla="*/ 5542598 w 7842021"/>
                <a:gd name="connsiteY33" fmla="*/ 2132580 h 2155915"/>
                <a:gd name="connsiteX34" fmla="*/ 5532673 w 7842021"/>
                <a:gd name="connsiteY34" fmla="*/ 2150914 h 215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842021" h="2155915">
                  <a:moveTo>
                    <a:pt x="6034237" y="7220"/>
                  </a:moveTo>
                  <a:cubicBezTo>
                    <a:pt x="6043963" y="10598"/>
                    <a:pt x="6047126" y="7358"/>
                    <a:pt x="6043749" y="-2360"/>
                  </a:cubicBezTo>
                  <a:cubicBezTo>
                    <a:pt x="6033961" y="-5669"/>
                    <a:pt x="6030791" y="-2498"/>
                    <a:pt x="6034237" y="7220"/>
                  </a:cubicBezTo>
                  <a:close/>
                  <a:moveTo>
                    <a:pt x="7331675" y="96891"/>
                  </a:moveTo>
                  <a:cubicBezTo>
                    <a:pt x="7341324" y="99579"/>
                    <a:pt x="7344908" y="96064"/>
                    <a:pt x="7342495" y="86484"/>
                  </a:cubicBezTo>
                  <a:cubicBezTo>
                    <a:pt x="7332709" y="84002"/>
                    <a:pt x="7329124" y="87449"/>
                    <a:pt x="7331675" y="96891"/>
                  </a:cubicBezTo>
                  <a:moveTo>
                    <a:pt x="790038" y="220266"/>
                  </a:moveTo>
                  <a:cubicBezTo>
                    <a:pt x="793898" y="217027"/>
                    <a:pt x="793898" y="217027"/>
                    <a:pt x="790038" y="220266"/>
                  </a:cubicBezTo>
                  <a:moveTo>
                    <a:pt x="31866" y="233500"/>
                  </a:moveTo>
                  <a:cubicBezTo>
                    <a:pt x="35590" y="230054"/>
                    <a:pt x="35590" y="230054"/>
                    <a:pt x="31866" y="233500"/>
                  </a:cubicBezTo>
                  <a:moveTo>
                    <a:pt x="2837031" y="275130"/>
                  </a:moveTo>
                  <a:cubicBezTo>
                    <a:pt x="2840339" y="271408"/>
                    <a:pt x="2840339" y="271408"/>
                    <a:pt x="2837031" y="275130"/>
                  </a:cubicBezTo>
                  <a:moveTo>
                    <a:pt x="-4042" y="641396"/>
                  </a:moveTo>
                  <a:cubicBezTo>
                    <a:pt x="7126" y="644773"/>
                    <a:pt x="10914" y="640844"/>
                    <a:pt x="7263" y="629610"/>
                  </a:cubicBezTo>
                  <a:cubicBezTo>
                    <a:pt x="-3904" y="626301"/>
                    <a:pt x="-7698" y="630230"/>
                    <a:pt x="-4042" y="641396"/>
                  </a:cubicBezTo>
                  <a:moveTo>
                    <a:pt x="3187030" y="722244"/>
                  </a:moveTo>
                  <a:cubicBezTo>
                    <a:pt x="3196059" y="720590"/>
                    <a:pt x="3197644" y="715490"/>
                    <a:pt x="3191717" y="707012"/>
                  </a:cubicBezTo>
                  <a:cubicBezTo>
                    <a:pt x="3182619" y="708735"/>
                    <a:pt x="3181033" y="713836"/>
                    <a:pt x="3187030" y="722244"/>
                  </a:cubicBezTo>
                  <a:moveTo>
                    <a:pt x="7820143" y="749401"/>
                  </a:moveTo>
                  <a:cubicBezTo>
                    <a:pt x="7828897" y="747333"/>
                    <a:pt x="7830344" y="742026"/>
                    <a:pt x="7824486" y="733479"/>
                  </a:cubicBezTo>
                  <a:cubicBezTo>
                    <a:pt x="7815526" y="735616"/>
                    <a:pt x="7814078" y="740923"/>
                    <a:pt x="7820143" y="749401"/>
                  </a:cubicBezTo>
                  <a:moveTo>
                    <a:pt x="14775" y="786000"/>
                  </a:moveTo>
                  <a:cubicBezTo>
                    <a:pt x="22219" y="789515"/>
                    <a:pt x="29594" y="793099"/>
                    <a:pt x="36966" y="796683"/>
                  </a:cubicBezTo>
                  <a:cubicBezTo>
                    <a:pt x="36004" y="781175"/>
                    <a:pt x="35935" y="765598"/>
                    <a:pt x="36142" y="749952"/>
                  </a:cubicBezTo>
                  <a:cubicBezTo>
                    <a:pt x="26355" y="760222"/>
                    <a:pt x="14498" y="770492"/>
                    <a:pt x="14775" y="786000"/>
                  </a:cubicBezTo>
                  <a:moveTo>
                    <a:pt x="4305332" y="867193"/>
                  </a:moveTo>
                  <a:cubicBezTo>
                    <a:pt x="4308916" y="863747"/>
                    <a:pt x="4308916" y="863747"/>
                    <a:pt x="4305332" y="867193"/>
                  </a:cubicBezTo>
                  <a:moveTo>
                    <a:pt x="7833997" y="1336363"/>
                  </a:moveTo>
                  <a:cubicBezTo>
                    <a:pt x="7837512" y="1332916"/>
                    <a:pt x="7837512" y="1332916"/>
                    <a:pt x="7833997" y="1336363"/>
                  </a:cubicBezTo>
                  <a:moveTo>
                    <a:pt x="2457049" y="1900855"/>
                  </a:moveTo>
                  <a:cubicBezTo>
                    <a:pt x="2466010" y="1898995"/>
                    <a:pt x="2467388" y="1893894"/>
                    <a:pt x="2461185" y="1885554"/>
                  </a:cubicBezTo>
                  <a:cubicBezTo>
                    <a:pt x="2452087" y="1887484"/>
                    <a:pt x="2450708" y="1892584"/>
                    <a:pt x="2457049" y="1900855"/>
                  </a:cubicBezTo>
                  <a:moveTo>
                    <a:pt x="5532673" y="2150914"/>
                  </a:moveTo>
                  <a:cubicBezTo>
                    <a:pt x="5542805" y="2157462"/>
                    <a:pt x="5549353" y="2138852"/>
                    <a:pt x="5542598" y="2132580"/>
                  </a:cubicBezTo>
                  <a:cubicBezTo>
                    <a:pt x="5532742" y="2127066"/>
                    <a:pt x="5526125" y="2144711"/>
                    <a:pt x="5532673" y="2150914"/>
                  </a:cubicBezTo>
                </a:path>
              </a:pathLst>
            </a:custGeom>
            <a:grpFill/>
            <a:ln w="689" cap="flat">
              <a:noFill/>
              <a:prstDash val="solid"/>
              <a:miter/>
            </a:ln>
          </p:spPr>
          <p:txBody>
            <a:bodyPr rtlCol="0" anchor="ctr"/>
            <a:lstStyle/>
            <a:p>
              <a:endParaRPr lang="en-US" sz="2400" dirty="0"/>
            </a:p>
          </p:txBody>
        </p:sp>
        <p:sp>
          <p:nvSpPr>
            <p:cNvPr id="62" name="Graphic 8">
              <a:extLst>
                <a:ext uri="{FF2B5EF4-FFF2-40B4-BE49-F238E27FC236}">
                  <a16:creationId xmlns:a16="http://schemas.microsoft.com/office/drawing/2014/main" id="{776F4896-8263-418D-A0E1-AE9A2C900977}"/>
                </a:ext>
              </a:extLst>
            </p:cNvPr>
            <p:cNvSpPr/>
            <p:nvPr/>
          </p:nvSpPr>
          <p:spPr>
            <a:xfrm flipV="1">
              <a:off x="436557" y="1257185"/>
              <a:ext cx="8439026" cy="2245091"/>
            </a:xfrm>
            <a:custGeom>
              <a:avLst/>
              <a:gdLst>
                <a:gd name="connsiteX0" fmla="*/ 2866695 w 8439026"/>
                <a:gd name="connsiteY0" fmla="*/ -3399 h 2245091"/>
                <a:gd name="connsiteX1" fmla="*/ 2860836 w 8439026"/>
                <a:gd name="connsiteY1" fmla="*/ 14935 h 2245091"/>
                <a:gd name="connsiteX2" fmla="*/ 2867109 w 8439026"/>
                <a:gd name="connsiteY2" fmla="*/ 11488 h 2245091"/>
                <a:gd name="connsiteX3" fmla="*/ 2866695 w 8439026"/>
                <a:gd name="connsiteY3" fmla="*/ -3399 h 2245091"/>
                <a:gd name="connsiteX4" fmla="*/ 8371153 w 8439026"/>
                <a:gd name="connsiteY4" fmla="*/ 224672 h 2245091"/>
                <a:gd name="connsiteX5" fmla="*/ 8370396 w 8439026"/>
                <a:gd name="connsiteY5" fmla="*/ 210749 h 2245091"/>
                <a:gd name="connsiteX6" fmla="*/ 8371153 w 8439026"/>
                <a:gd name="connsiteY6" fmla="*/ 224672 h 2245091"/>
                <a:gd name="connsiteX7" fmla="*/ 6289423 w 8439026"/>
                <a:gd name="connsiteY7" fmla="*/ 258790 h 2245091"/>
                <a:gd name="connsiteX8" fmla="*/ 6340013 w 8439026"/>
                <a:gd name="connsiteY8" fmla="*/ 255275 h 2245091"/>
                <a:gd name="connsiteX9" fmla="*/ 6283220 w 8439026"/>
                <a:gd name="connsiteY9" fmla="*/ 238250 h 2245091"/>
                <a:gd name="connsiteX10" fmla="*/ 6289423 w 8439026"/>
                <a:gd name="connsiteY10" fmla="*/ 258790 h 2245091"/>
                <a:gd name="connsiteX11" fmla="*/ 1236766 w 8439026"/>
                <a:gd name="connsiteY11" fmla="*/ 311517 h 2245091"/>
                <a:gd name="connsiteX12" fmla="*/ 1246966 w 8439026"/>
                <a:gd name="connsiteY12" fmla="*/ 301179 h 2245091"/>
                <a:gd name="connsiteX13" fmla="*/ 1236766 w 8439026"/>
                <a:gd name="connsiteY13" fmla="*/ 311517 h 2245091"/>
                <a:gd name="connsiteX14" fmla="*/ 3359575 w 8439026"/>
                <a:gd name="connsiteY14" fmla="*/ 414697 h 2245091"/>
                <a:gd name="connsiteX15" fmla="*/ 3370603 w 8439026"/>
                <a:gd name="connsiteY15" fmla="*/ 404841 h 2245091"/>
                <a:gd name="connsiteX16" fmla="*/ 3359575 w 8439026"/>
                <a:gd name="connsiteY16" fmla="*/ 414697 h 2245091"/>
                <a:gd name="connsiteX17" fmla="*/ 3242817 w 8439026"/>
                <a:gd name="connsiteY17" fmla="*/ 470871 h 2245091"/>
                <a:gd name="connsiteX18" fmla="*/ 3252397 w 8439026"/>
                <a:gd name="connsiteY18" fmla="*/ 461842 h 2245091"/>
                <a:gd name="connsiteX19" fmla="*/ 3242817 w 8439026"/>
                <a:gd name="connsiteY19" fmla="*/ 470871 h 2245091"/>
                <a:gd name="connsiteX20" fmla="*/ 4489870 w 8439026"/>
                <a:gd name="connsiteY20" fmla="*/ 534144 h 2245091"/>
                <a:gd name="connsiteX21" fmla="*/ 4499451 w 8439026"/>
                <a:gd name="connsiteY21" fmla="*/ 524839 h 2245091"/>
                <a:gd name="connsiteX22" fmla="*/ 4489870 w 8439026"/>
                <a:gd name="connsiteY22" fmla="*/ 534144 h 2245091"/>
                <a:gd name="connsiteX23" fmla="*/ 4485045 w 8439026"/>
                <a:gd name="connsiteY23" fmla="*/ 560542 h 2245091"/>
                <a:gd name="connsiteX24" fmla="*/ 4512133 w 8439026"/>
                <a:gd name="connsiteY24" fmla="*/ 559853 h 2245091"/>
                <a:gd name="connsiteX25" fmla="*/ 4529157 w 8439026"/>
                <a:gd name="connsiteY25" fmla="*/ 543449 h 2245091"/>
                <a:gd name="connsiteX26" fmla="*/ 4504482 w 8439026"/>
                <a:gd name="connsiteY26" fmla="*/ 541657 h 2245091"/>
                <a:gd name="connsiteX27" fmla="*/ 4485045 w 8439026"/>
                <a:gd name="connsiteY27" fmla="*/ 560542 h 2245091"/>
                <a:gd name="connsiteX28" fmla="*/ 4559415 w 8439026"/>
                <a:gd name="connsiteY28" fmla="*/ 622092 h 2245091"/>
                <a:gd name="connsiteX29" fmla="*/ 4559415 w 8439026"/>
                <a:gd name="connsiteY29" fmla="*/ 622092 h 2245091"/>
                <a:gd name="connsiteX30" fmla="*/ -5738 w 8439026"/>
                <a:gd name="connsiteY30" fmla="*/ 773381 h 2245091"/>
                <a:gd name="connsiteX31" fmla="*/ 9492 w 8439026"/>
                <a:gd name="connsiteY31" fmla="*/ 760975 h 2245091"/>
                <a:gd name="connsiteX32" fmla="*/ -5738 w 8439026"/>
                <a:gd name="connsiteY32" fmla="*/ 773381 h 2245091"/>
                <a:gd name="connsiteX33" fmla="*/ 8425190 w 8439026"/>
                <a:gd name="connsiteY33" fmla="*/ 906130 h 2245091"/>
                <a:gd name="connsiteX34" fmla="*/ 8425190 w 8439026"/>
                <a:gd name="connsiteY34" fmla="*/ 906130 h 2245091"/>
                <a:gd name="connsiteX35" fmla="*/ 4916858 w 8439026"/>
                <a:gd name="connsiteY35" fmla="*/ 940592 h 2245091"/>
                <a:gd name="connsiteX36" fmla="*/ 4916858 w 8439026"/>
                <a:gd name="connsiteY36" fmla="*/ 940592 h 2245091"/>
                <a:gd name="connsiteX37" fmla="*/ 5482316 w 8439026"/>
                <a:gd name="connsiteY37" fmla="*/ 972711 h 2245091"/>
                <a:gd name="connsiteX38" fmla="*/ 5492999 w 8439026"/>
                <a:gd name="connsiteY38" fmla="*/ 962993 h 2245091"/>
                <a:gd name="connsiteX39" fmla="*/ 5482316 w 8439026"/>
                <a:gd name="connsiteY39" fmla="*/ 972711 h 2245091"/>
                <a:gd name="connsiteX40" fmla="*/ 8229513 w 8439026"/>
                <a:gd name="connsiteY40" fmla="*/ 845476 h 2245091"/>
                <a:gd name="connsiteX41" fmla="*/ 8263700 w 8439026"/>
                <a:gd name="connsiteY41" fmla="*/ 814391 h 2245091"/>
                <a:gd name="connsiteX42" fmla="*/ 8251363 w 8439026"/>
                <a:gd name="connsiteY42" fmla="*/ 848233 h 2245091"/>
                <a:gd name="connsiteX43" fmla="*/ 8229513 w 8439026"/>
                <a:gd name="connsiteY43" fmla="*/ 845476 h 2245091"/>
                <a:gd name="connsiteX44" fmla="*/ 8244125 w 8439026"/>
                <a:gd name="connsiteY44" fmla="*/ 863672 h 2245091"/>
                <a:gd name="connsiteX45" fmla="*/ 8247158 w 8439026"/>
                <a:gd name="connsiteY45" fmla="*/ 905854 h 2245091"/>
                <a:gd name="connsiteX46" fmla="*/ 8244125 w 8439026"/>
                <a:gd name="connsiteY46" fmla="*/ 863672 h 2245091"/>
                <a:gd name="connsiteX47" fmla="*/ 8249777 w 8439026"/>
                <a:gd name="connsiteY47" fmla="*/ 1019993 h 2245091"/>
                <a:gd name="connsiteX48" fmla="*/ 8252879 w 8439026"/>
                <a:gd name="connsiteY48" fmla="*/ 1029850 h 2245091"/>
                <a:gd name="connsiteX49" fmla="*/ 8256394 w 8439026"/>
                <a:gd name="connsiteY49" fmla="*/ 1022750 h 2245091"/>
                <a:gd name="connsiteX50" fmla="*/ 8258186 w 8439026"/>
                <a:gd name="connsiteY50" fmla="*/ 976226 h 2245091"/>
                <a:gd name="connsiteX51" fmla="*/ 8264941 w 8439026"/>
                <a:gd name="connsiteY51" fmla="*/ 856022 h 2245091"/>
                <a:gd name="connsiteX52" fmla="*/ 8273212 w 8439026"/>
                <a:gd name="connsiteY52" fmla="*/ 793645 h 2245091"/>
                <a:gd name="connsiteX53" fmla="*/ 8239714 w 8439026"/>
                <a:gd name="connsiteY53" fmla="*/ 788682 h 2245091"/>
                <a:gd name="connsiteX54" fmla="*/ 8223379 w 8439026"/>
                <a:gd name="connsiteY54" fmla="*/ 811221 h 2245091"/>
                <a:gd name="connsiteX55" fmla="*/ 8218830 w 8439026"/>
                <a:gd name="connsiteY55" fmla="*/ 835138 h 2245091"/>
                <a:gd name="connsiteX56" fmla="*/ 8228686 w 8439026"/>
                <a:gd name="connsiteY56" fmla="*/ 861053 h 2245091"/>
                <a:gd name="connsiteX57" fmla="*/ 8240128 w 8439026"/>
                <a:gd name="connsiteY57" fmla="*/ 869531 h 2245091"/>
                <a:gd name="connsiteX58" fmla="*/ 8227170 w 8439026"/>
                <a:gd name="connsiteY58" fmla="*/ 867739 h 2245091"/>
                <a:gd name="connsiteX59" fmla="*/ 8227514 w 8439026"/>
                <a:gd name="connsiteY59" fmla="*/ 884488 h 2245091"/>
                <a:gd name="connsiteX60" fmla="*/ 8214833 w 8439026"/>
                <a:gd name="connsiteY60" fmla="*/ 883178 h 2245091"/>
                <a:gd name="connsiteX61" fmla="*/ 8212214 w 8439026"/>
                <a:gd name="connsiteY61" fmla="*/ 941764 h 2245091"/>
                <a:gd name="connsiteX62" fmla="*/ 8224895 w 8439026"/>
                <a:gd name="connsiteY62" fmla="*/ 923292 h 2245091"/>
                <a:gd name="connsiteX63" fmla="*/ 8242540 w 8439026"/>
                <a:gd name="connsiteY63" fmla="*/ 943901 h 2245091"/>
                <a:gd name="connsiteX64" fmla="*/ 8256739 w 8439026"/>
                <a:gd name="connsiteY64" fmla="*/ 925911 h 2245091"/>
                <a:gd name="connsiteX65" fmla="*/ 8251707 w 8439026"/>
                <a:gd name="connsiteY65" fmla="*/ 970988 h 2245091"/>
                <a:gd name="connsiteX66" fmla="*/ 8230134 w 8439026"/>
                <a:gd name="connsiteY66" fmla="*/ 953343 h 2245091"/>
                <a:gd name="connsiteX67" fmla="*/ 8241506 w 8439026"/>
                <a:gd name="connsiteY67" fmla="*/ 989667 h 2245091"/>
                <a:gd name="connsiteX68" fmla="*/ 8254258 w 8439026"/>
                <a:gd name="connsiteY68" fmla="*/ 989736 h 2245091"/>
                <a:gd name="connsiteX69" fmla="*/ 8249777 w 8439026"/>
                <a:gd name="connsiteY69" fmla="*/ 1019993 h 2245091"/>
                <a:gd name="connsiteX70" fmla="*/ 8356817 w 8439026"/>
                <a:gd name="connsiteY70" fmla="*/ 1083611 h 2245091"/>
                <a:gd name="connsiteX71" fmla="*/ 8361228 w 8439026"/>
                <a:gd name="connsiteY71" fmla="*/ 1068516 h 2245091"/>
                <a:gd name="connsiteX72" fmla="*/ 8356817 w 8439026"/>
                <a:gd name="connsiteY72" fmla="*/ 1083611 h 2245091"/>
                <a:gd name="connsiteX73" fmla="*/ 5676132 w 8439026"/>
                <a:gd name="connsiteY73" fmla="*/ 1106011 h 2245091"/>
                <a:gd name="connsiteX74" fmla="*/ 5685574 w 8439026"/>
                <a:gd name="connsiteY74" fmla="*/ 1096500 h 2245091"/>
                <a:gd name="connsiteX75" fmla="*/ 5676132 w 8439026"/>
                <a:gd name="connsiteY75" fmla="*/ 1106011 h 2245091"/>
                <a:gd name="connsiteX76" fmla="*/ 3873822 w 8439026"/>
                <a:gd name="connsiteY76" fmla="*/ 1218290 h 2245091"/>
                <a:gd name="connsiteX77" fmla="*/ 3884229 w 8439026"/>
                <a:gd name="connsiteY77" fmla="*/ 1233108 h 2245091"/>
                <a:gd name="connsiteX78" fmla="*/ 3890433 w 8439026"/>
                <a:gd name="connsiteY78" fmla="*/ 1222701 h 2245091"/>
                <a:gd name="connsiteX79" fmla="*/ 3887400 w 8439026"/>
                <a:gd name="connsiteY79" fmla="*/ 1217463 h 2245091"/>
                <a:gd name="connsiteX80" fmla="*/ 3873822 w 8439026"/>
                <a:gd name="connsiteY80" fmla="*/ 1218290 h 2245091"/>
                <a:gd name="connsiteX81" fmla="*/ 5683782 w 8439026"/>
                <a:gd name="connsiteY81" fmla="*/ 1273223 h 2245091"/>
                <a:gd name="connsiteX82" fmla="*/ 5708457 w 8439026"/>
                <a:gd name="connsiteY82" fmla="*/ 1222494 h 2245091"/>
                <a:gd name="connsiteX83" fmla="*/ 5699842 w 8439026"/>
                <a:gd name="connsiteY83" fmla="*/ 1226974 h 2245091"/>
                <a:gd name="connsiteX84" fmla="*/ 5697154 w 8439026"/>
                <a:gd name="connsiteY84" fmla="*/ 1228008 h 2245091"/>
                <a:gd name="connsiteX85" fmla="*/ 5688538 w 8439026"/>
                <a:gd name="connsiteY85" fmla="*/ 1230489 h 2245091"/>
                <a:gd name="connsiteX86" fmla="*/ 5683300 w 8439026"/>
                <a:gd name="connsiteY86" fmla="*/ 1231937 h 2245091"/>
                <a:gd name="connsiteX87" fmla="*/ 5655179 w 8439026"/>
                <a:gd name="connsiteY87" fmla="*/ 1239863 h 2245091"/>
                <a:gd name="connsiteX88" fmla="*/ 5671100 w 8439026"/>
                <a:gd name="connsiteY88" fmla="*/ 1260403 h 2245091"/>
                <a:gd name="connsiteX89" fmla="*/ 5681439 w 8439026"/>
                <a:gd name="connsiteY89" fmla="*/ 1261919 h 2245091"/>
                <a:gd name="connsiteX90" fmla="*/ 5683782 w 8439026"/>
                <a:gd name="connsiteY90" fmla="*/ 1253579 h 2245091"/>
                <a:gd name="connsiteX91" fmla="*/ 5705700 w 8439026"/>
                <a:gd name="connsiteY91" fmla="*/ 1248065 h 2245091"/>
                <a:gd name="connsiteX92" fmla="*/ 5683782 w 8439026"/>
                <a:gd name="connsiteY92" fmla="*/ 1273223 h 2245091"/>
                <a:gd name="connsiteX93" fmla="*/ 2388910 w 8439026"/>
                <a:gd name="connsiteY93" fmla="*/ 1435333 h 2245091"/>
                <a:gd name="connsiteX94" fmla="*/ 2388841 w 8439026"/>
                <a:gd name="connsiteY94" fmla="*/ 1407005 h 2245091"/>
                <a:gd name="connsiteX95" fmla="*/ 2388910 w 8439026"/>
                <a:gd name="connsiteY95" fmla="*/ 1435333 h 2245091"/>
                <a:gd name="connsiteX96" fmla="*/ 6179557 w 8439026"/>
                <a:gd name="connsiteY96" fmla="*/ 1761967 h 2245091"/>
                <a:gd name="connsiteX97" fmla="*/ 6179557 w 8439026"/>
                <a:gd name="connsiteY97" fmla="*/ 1761967 h 2245091"/>
                <a:gd name="connsiteX98" fmla="*/ 1362622 w 8439026"/>
                <a:gd name="connsiteY98" fmla="*/ 1801116 h 2245091"/>
                <a:gd name="connsiteX99" fmla="*/ 1364001 w 8439026"/>
                <a:gd name="connsiteY99" fmla="*/ 1805390 h 2245091"/>
                <a:gd name="connsiteX100" fmla="*/ 1363794 w 8439026"/>
                <a:gd name="connsiteY100" fmla="*/ 1776441 h 2245091"/>
                <a:gd name="connsiteX101" fmla="*/ 1373099 w 8439026"/>
                <a:gd name="connsiteY101" fmla="*/ 1757832 h 2245091"/>
                <a:gd name="connsiteX102" fmla="*/ 1336568 w 8439026"/>
                <a:gd name="connsiteY102" fmla="*/ 1757349 h 2245091"/>
                <a:gd name="connsiteX103" fmla="*/ 1350974 w 8439026"/>
                <a:gd name="connsiteY103" fmla="*/ 1762794 h 2245091"/>
                <a:gd name="connsiteX104" fmla="*/ 1362622 w 8439026"/>
                <a:gd name="connsiteY104" fmla="*/ 1801116 h 2245091"/>
                <a:gd name="connsiteX105" fmla="*/ 2985177 w 8439026"/>
                <a:gd name="connsiteY105" fmla="*/ 1904917 h 2245091"/>
                <a:gd name="connsiteX106" fmla="*/ 2996894 w 8439026"/>
                <a:gd name="connsiteY106" fmla="*/ 1904503 h 2245091"/>
                <a:gd name="connsiteX107" fmla="*/ 2993516 w 8439026"/>
                <a:gd name="connsiteY107" fmla="*/ 1864458 h 2245091"/>
                <a:gd name="connsiteX108" fmla="*/ 3012540 w 8439026"/>
                <a:gd name="connsiteY108" fmla="*/ 1861770 h 2245091"/>
                <a:gd name="connsiteX109" fmla="*/ 2983936 w 8439026"/>
                <a:gd name="connsiteY109" fmla="*/ 1862183 h 2245091"/>
                <a:gd name="connsiteX110" fmla="*/ 2985177 w 8439026"/>
                <a:gd name="connsiteY110" fmla="*/ 1904917 h 2245091"/>
                <a:gd name="connsiteX111" fmla="*/ 4308943 w 8439026"/>
                <a:gd name="connsiteY111" fmla="*/ 1981837 h 2245091"/>
                <a:gd name="connsiteX112" fmla="*/ 4331412 w 8439026"/>
                <a:gd name="connsiteY112" fmla="*/ 1990452 h 2245091"/>
                <a:gd name="connsiteX113" fmla="*/ 4327759 w 8439026"/>
                <a:gd name="connsiteY113" fmla="*/ 1974324 h 2245091"/>
                <a:gd name="connsiteX114" fmla="*/ 4347196 w 8439026"/>
                <a:gd name="connsiteY114" fmla="*/ 1940895 h 2245091"/>
                <a:gd name="connsiteX115" fmla="*/ 4308943 w 8439026"/>
                <a:gd name="connsiteY115" fmla="*/ 1981837 h 2245091"/>
                <a:gd name="connsiteX116" fmla="*/ 6178661 w 8439026"/>
                <a:gd name="connsiteY116" fmla="*/ 2104247 h 2245091"/>
                <a:gd name="connsiteX117" fmla="*/ 6227460 w 8439026"/>
                <a:gd name="connsiteY117" fmla="*/ 2107624 h 2245091"/>
                <a:gd name="connsiteX118" fmla="*/ 6229741 w 8439026"/>
                <a:gd name="connsiteY118" fmla="*/ 2092598 h 2245091"/>
                <a:gd name="connsiteX119" fmla="*/ 6214778 w 8439026"/>
                <a:gd name="connsiteY119" fmla="*/ 2075781 h 2245091"/>
                <a:gd name="connsiteX120" fmla="*/ 6213055 w 8439026"/>
                <a:gd name="connsiteY120" fmla="*/ 2066407 h 2245091"/>
                <a:gd name="connsiteX121" fmla="*/ 6226288 w 8439026"/>
                <a:gd name="connsiteY121" fmla="*/ 2060755 h 2245091"/>
                <a:gd name="connsiteX122" fmla="*/ 6190310 w 8439026"/>
                <a:gd name="connsiteY122" fmla="*/ 2058688 h 2245091"/>
                <a:gd name="connsiteX123" fmla="*/ 6180660 w 8439026"/>
                <a:gd name="connsiteY123" fmla="*/ 2091358 h 2245091"/>
                <a:gd name="connsiteX124" fmla="*/ 6178661 w 8439026"/>
                <a:gd name="connsiteY124" fmla="*/ 2104247 h 2245091"/>
                <a:gd name="connsiteX125" fmla="*/ 8242609 w 8439026"/>
                <a:gd name="connsiteY125" fmla="*/ 2233480 h 2245091"/>
                <a:gd name="connsiteX126" fmla="*/ 8276382 w 8439026"/>
                <a:gd name="connsiteY126" fmla="*/ 2241545 h 2245091"/>
                <a:gd name="connsiteX127" fmla="*/ 8283826 w 8439026"/>
                <a:gd name="connsiteY127" fmla="*/ 2232240 h 2245091"/>
                <a:gd name="connsiteX128" fmla="*/ 8253292 w 8439026"/>
                <a:gd name="connsiteY128" fmla="*/ 2230792 h 2245091"/>
                <a:gd name="connsiteX129" fmla="*/ 8267628 w 8439026"/>
                <a:gd name="connsiteY129" fmla="*/ 2211356 h 2245091"/>
                <a:gd name="connsiteX130" fmla="*/ 8249501 w 8439026"/>
                <a:gd name="connsiteY130" fmla="*/ 2220385 h 2245091"/>
                <a:gd name="connsiteX131" fmla="*/ 8250811 w 8439026"/>
                <a:gd name="connsiteY131" fmla="*/ 2206324 h 2245091"/>
                <a:gd name="connsiteX132" fmla="*/ 8245642 w 8439026"/>
                <a:gd name="connsiteY132" fmla="*/ 2198949 h 2245091"/>
                <a:gd name="connsiteX133" fmla="*/ 8237440 w 8439026"/>
                <a:gd name="connsiteY133" fmla="*/ 2193711 h 2245091"/>
                <a:gd name="connsiteX134" fmla="*/ 8227446 w 8439026"/>
                <a:gd name="connsiteY134" fmla="*/ 2230930 h 2245091"/>
                <a:gd name="connsiteX135" fmla="*/ 8242609 w 8439026"/>
                <a:gd name="connsiteY135" fmla="*/ 2233480 h 224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8439026" h="2245091">
                  <a:moveTo>
                    <a:pt x="2866695" y="-3399"/>
                  </a:moveTo>
                  <a:cubicBezTo>
                    <a:pt x="2855322" y="-5191"/>
                    <a:pt x="2850498" y="9834"/>
                    <a:pt x="2860836" y="14935"/>
                  </a:cubicBezTo>
                  <a:lnTo>
                    <a:pt x="2867109" y="11488"/>
                  </a:lnTo>
                  <a:cubicBezTo>
                    <a:pt x="2866971" y="7766"/>
                    <a:pt x="2866764" y="323"/>
                    <a:pt x="2866695" y="-3399"/>
                  </a:cubicBezTo>
                  <a:close/>
                  <a:moveTo>
                    <a:pt x="8371153" y="224672"/>
                  </a:moveTo>
                  <a:cubicBezTo>
                    <a:pt x="8379907" y="220468"/>
                    <a:pt x="8379631" y="215781"/>
                    <a:pt x="8370396" y="210749"/>
                  </a:cubicBezTo>
                  <a:cubicBezTo>
                    <a:pt x="8361504" y="215023"/>
                    <a:pt x="8361780" y="219710"/>
                    <a:pt x="8371153" y="224672"/>
                  </a:cubicBezTo>
                  <a:moveTo>
                    <a:pt x="6289423" y="258790"/>
                  </a:moveTo>
                  <a:cubicBezTo>
                    <a:pt x="6306310" y="258790"/>
                    <a:pt x="6323265" y="257963"/>
                    <a:pt x="6340013" y="255275"/>
                  </a:cubicBezTo>
                  <a:cubicBezTo>
                    <a:pt x="6321197" y="249554"/>
                    <a:pt x="6303483" y="234666"/>
                    <a:pt x="6283220" y="238250"/>
                  </a:cubicBezTo>
                  <a:cubicBezTo>
                    <a:pt x="6285218" y="245143"/>
                    <a:pt x="6287286" y="251966"/>
                    <a:pt x="6289423" y="258790"/>
                  </a:cubicBezTo>
                  <a:moveTo>
                    <a:pt x="1236766" y="311517"/>
                  </a:moveTo>
                  <a:cubicBezTo>
                    <a:pt x="1246346" y="314343"/>
                    <a:pt x="1249723" y="310897"/>
                    <a:pt x="1246966" y="301179"/>
                  </a:cubicBezTo>
                  <a:cubicBezTo>
                    <a:pt x="1237317" y="298422"/>
                    <a:pt x="1233940" y="301868"/>
                    <a:pt x="1236766" y="311517"/>
                  </a:cubicBezTo>
                  <a:moveTo>
                    <a:pt x="3359575" y="414697"/>
                  </a:moveTo>
                  <a:cubicBezTo>
                    <a:pt x="3368949" y="417868"/>
                    <a:pt x="3372602" y="414628"/>
                    <a:pt x="3370603" y="404841"/>
                  </a:cubicBezTo>
                  <a:cubicBezTo>
                    <a:pt x="3361091" y="401671"/>
                    <a:pt x="3357438" y="404910"/>
                    <a:pt x="3359575" y="414697"/>
                  </a:cubicBezTo>
                  <a:moveTo>
                    <a:pt x="3242817" y="470871"/>
                  </a:moveTo>
                  <a:cubicBezTo>
                    <a:pt x="3252397" y="474800"/>
                    <a:pt x="3255568" y="471836"/>
                    <a:pt x="3252397" y="461842"/>
                  </a:cubicBezTo>
                  <a:cubicBezTo>
                    <a:pt x="3242748" y="457913"/>
                    <a:pt x="3239577" y="460946"/>
                    <a:pt x="3242817" y="470871"/>
                  </a:cubicBezTo>
                  <a:moveTo>
                    <a:pt x="4489870" y="534144"/>
                  </a:moveTo>
                  <a:cubicBezTo>
                    <a:pt x="4499519" y="537797"/>
                    <a:pt x="4502690" y="534695"/>
                    <a:pt x="4499451" y="524839"/>
                  </a:cubicBezTo>
                  <a:cubicBezTo>
                    <a:pt x="4489732" y="521255"/>
                    <a:pt x="4486493" y="524357"/>
                    <a:pt x="4489870" y="534144"/>
                  </a:cubicBezTo>
                  <a:moveTo>
                    <a:pt x="4485045" y="560542"/>
                  </a:moveTo>
                  <a:cubicBezTo>
                    <a:pt x="4494005" y="560197"/>
                    <a:pt x="4503104" y="559991"/>
                    <a:pt x="4512133" y="559853"/>
                  </a:cubicBezTo>
                  <a:cubicBezTo>
                    <a:pt x="4517716" y="554408"/>
                    <a:pt x="4523436" y="548963"/>
                    <a:pt x="4529157" y="543449"/>
                  </a:cubicBezTo>
                  <a:cubicBezTo>
                    <a:pt x="4520817" y="542966"/>
                    <a:pt x="4512615" y="542415"/>
                    <a:pt x="4504482" y="541657"/>
                  </a:cubicBezTo>
                  <a:cubicBezTo>
                    <a:pt x="4497107" y="547033"/>
                    <a:pt x="4489043" y="552064"/>
                    <a:pt x="4485045" y="560542"/>
                  </a:cubicBezTo>
                  <a:moveTo>
                    <a:pt x="4559415" y="622092"/>
                  </a:moveTo>
                  <a:cubicBezTo>
                    <a:pt x="4582229" y="621333"/>
                    <a:pt x="4548869" y="601345"/>
                    <a:pt x="4559415" y="622092"/>
                  </a:cubicBezTo>
                  <a:moveTo>
                    <a:pt x="-5738" y="773381"/>
                  </a:moveTo>
                  <a:cubicBezTo>
                    <a:pt x="1292" y="779446"/>
                    <a:pt x="22591" y="766833"/>
                    <a:pt x="9492" y="760975"/>
                  </a:cubicBezTo>
                  <a:cubicBezTo>
                    <a:pt x="-294" y="761044"/>
                    <a:pt x="-5393" y="765179"/>
                    <a:pt x="-5738" y="773381"/>
                  </a:cubicBezTo>
                  <a:moveTo>
                    <a:pt x="8425190" y="906130"/>
                  </a:moveTo>
                  <a:cubicBezTo>
                    <a:pt x="8447797" y="905441"/>
                    <a:pt x="8414782" y="885177"/>
                    <a:pt x="8425190" y="906130"/>
                  </a:cubicBezTo>
                  <a:moveTo>
                    <a:pt x="4916858" y="940592"/>
                  </a:moveTo>
                  <a:cubicBezTo>
                    <a:pt x="4939465" y="938180"/>
                    <a:pt x="4904934" y="920604"/>
                    <a:pt x="4916858" y="940592"/>
                  </a:cubicBezTo>
                  <a:moveTo>
                    <a:pt x="5482316" y="972711"/>
                  </a:moveTo>
                  <a:cubicBezTo>
                    <a:pt x="5491759" y="975951"/>
                    <a:pt x="5495274" y="972711"/>
                    <a:pt x="5492999" y="962993"/>
                  </a:cubicBezTo>
                  <a:cubicBezTo>
                    <a:pt x="5483418" y="959753"/>
                    <a:pt x="5479834" y="962993"/>
                    <a:pt x="5482316" y="972711"/>
                  </a:cubicBezTo>
                  <a:moveTo>
                    <a:pt x="8229513" y="845476"/>
                  </a:moveTo>
                  <a:cubicBezTo>
                    <a:pt x="8238060" y="832381"/>
                    <a:pt x="8245504" y="815563"/>
                    <a:pt x="8263700" y="814391"/>
                  </a:cubicBezTo>
                  <a:cubicBezTo>
                    <a:pt x="8259289" y="825626"/>
                    <a:pt x="8254947" y="836792"/>
                    <a:pt x="8251363" y="848233"/>
                  </a:cubicBezTo>
                  <a:cubicBezTo>
                    <a:pt x="8245917" y="847544"/>
                    <a:pt x="8234959" y="846166"/>
                    <a:pt x="8229513" y="845476"/>
                  </a:cubicBezTo>
                  <a:moveTo>
                    <a:pt x="8244125" y="863672"/>
                  </a:moveTo>
                  <a:cubicBezTo>
                    <a:pt x="8258393" y="873529"/>
                    <a:pt x="8247434" y="892276"/>
                    <a:pt x="8247158" y="905854"/>
                  </a:cubicBezTo>
                  <a:cubicBezTo>
                    <a:pt x="8233855" y="895447"/>
                    <a:pt x="8242954" y="877388"/>
                    <a:pt x="8244125" y="863672"/>
                  </a:cubicBezTo>
                  <a:moveTo>
                    <a:pt x="8249777" y="1019993"/>
                  </a:moveTo>
                  <a:cubicBezTo>
                    <a:pt x="8250535" y="1022475"/>
                    <a:pt x="8252120" y="1027368"/>
                    <a:pt x="8252879" y="1029850"/>
                  </a:cubicBezTo>
                  <a:lnTo>
                    <a:pt x="8256394" y="1022750"/>
                  </a:lnTo>
                  <a:cubicBezTo>
                    <a:pt x="8261632" y="1008001"/>
                    <a:pt x="8257704" y="991596"/>
                    <a:pt x="8258186" y="976226"/>
                  </a:cubicBezTo>
                  <a:cubicBezTo>
                    <a:pt x="8263493" y="936526"/>
                    <a:pt x="8267560" y="895998"/>
                    <a:pt x="8264941" y="856022"/>
                  </a:cubicBezTo>
                  <a:cubicBezTo>
                    <a:pt x="8268456" y="835344"/>
                    <a:pt x="8270799" y="814529"/>
                    <a:pt x="8273212" y="793645"/>
                  </a:cubicBezTo>
                  <a:cubicBezTo>
                    <a:pt x="8260253" y="800124"/>
                    <a:pt x="8246744" y="805431"/>
                    <a:pt x="8239714" y="788682"/>
                  </a:cubicBezTo>
                  <a:cubicBezTo>
                    <a:pt x="8236612" y="797918"/>
                    <a:pt x="8230479" y="805018"/>
                    <a:pt x="8223379" y="811221"/>
                  </a:cubicBezTo>
                  <a:cubicBezTo>
                    <a:pt x="8223655" y="819630"/>
                    <a:pt x="8222070" y="827556"/>
                    <a:pt x="8218830" y="835138"/>
                  </a:cubicBezTo>
                  <a:cubicBezTo>
                    <a:pt x="8221863" y="843822"/>
                    <a:pt x="8225171" y="852438"/>
                    <a:pt x="8228686" y="861053"/>
                  </a:cubicBezTo>
                  <a:cubicBezTo>
                    <a:pt x="8231581" y="863190"/>
                    <a:pt x="8237302" y="867463"/>
                    <a:pt x="8240128" y="869531"/>
                  </a:cubicBezTo>
                  <a:lnTo>
                    <a:pt x="8227170" y="867739"/>
                  </a:lnTo>
                  <a:cubicBezTo>
                    <a:pt x="8227239" y="871943"/>
                    <a:pt x="8227446" y="880283"/>
                    <a:pt x="8227514" y="884488"/>
                  </a:cubicBezTo>
                  <a:cubicBezTo>
                    <a:pt x="8224344" y="884143"/>
                    <a:pt x="8218003" y="883523"/>
                    <a:pt x="8214833" y="883178"/>
                  </a:cubicBezTo>
                  <a:cubicBezTo>
                    <a:pt x="8213592" y="902753"/>
                    <a:pt x="8212627" y="922258"/>
                    <a:pt x="8212214" y="941764"/>
                  </a:cubicBezTo>
                  <a:cubicBezTo>
                    <a:pt x="8216349" y="935699"/>
                    <a:pt x="8220553" y="929495"/>
                    <a:pt x="8224895" y="923292"/>
                  </a:cubicBezTo>
                  <a:cubicBezTo>
                    <a:pt x="8226756" y="930185"/>
                    <a:pt x="8231650" y="962097"/>
                    <a:pt x="8242540" y="943901"/>
                  </a:cubicBezTo>
                  <a:cubicBezTo>
                    <a:pt x="8246124" y="939421"/>
                    <a:pt x="8253224" y="930391"/>
                    <a:pt x="8256739" y="925911"/>
                  </a:cubicBezTo>
                  <a:cubicBezTo>
                    <a:pt x="8254947" y="941006"/>
                    <a:pt x="8253361" y="955962"/>
                    <a:pt x="8251707" y="970988"/>
                  </a:cubicBezTo>
                  <a:cubicBezTo>
                    <a:pt x="8245435" y="964233"/>
                    <a:pt x="8241782" y="950724"/>
                    <a:pt x="8230134" y="953343"/>
                  </a:cubicBezTo>
                  <a:cubicBezTo>
                    <a:pt x="8235923" y="964716"/>
                    <a:pt x="8241437" y="976709"/>
                    <a:pt x="8241506" y="989667"/>
                  </a:cubicBezTo>
                  <a:cubicBezTo>
                    <a:pt x="8244677" y="989667"/>
                    <a:pt x="8251087" y="989736"/>
                    <a:pt x="8254258" y="989736"/>
                  </a:cubicBezTo>
                  <a:cubicBezTo>
                    <a:pt x="8252672" y="999867"/>
                    <a:pt x="8251225" y="1009930"/>
                    <a:pt x="8249777" y="1019993"/>
                  </a:cubicBezTo>
                  <a:moveTo>
                    <a:pt x="8356817" y="1083611"/>
                  </a:moveTo>
                  <a:cubicBezTo>
                    <a:pt x="8365846" y="1081888"/>
                    <a:pt x="8367363" y="1076856"/>
                    <a:pt x="8361228" y="1068516"/>
                  </a:cubicBezTo>
                  <a:cubicBezTo>
                    <a:pt x="8351993" y="1070308"/>
                    <a:pt x="8350545" y="1075340"/>
                    <a:pt x="8356817" y="1083611"/>
                  </a:cubicBezTo>
                  <a:moveTo>
                    <a:pt x="5676132" y="1106011"/>
                  </a:moveTo>
                  <a:cubicBezTo>
                    <a:pt x="5685850" y="1109458"/>
                    <a:pt x="5689020" y="1106287"/>
                    <a:pt x="5685574" y="1096500"/>
                  </a:cubicBezTo>
                  <a:cubicBezTo>
                    <a:pt x="5675787" y="1093123"/>
                    <a:pt x="5672616" y="1096293"/>
                    <a:pt x="5676132" y="1106011"/>
                  </a:cubicBezTo>
                  <a:moveTo>
                    <a:pt x="3873822" y="1218290"/>
                  </a:moveTo>
                  <a:cubicBezTo>
                    <a:pt x="3876441" y="1222011"/>
                    <a:pt x="3881610" y="1229386"/>
                    <a:pt x="3884229" y="1233108"/>
                  </a:cubicBezTo>
                  <a:cubicBezTo>
                    <a:pt x="3885815" y="1230489"/>
                    <a:pt x="3888916" y="1225320"/>
                    <a:pt x="3890433" y="1222701"/>
                  </a:cubicBezTo>
                  <a:lnTo>
                    <a:pt x="3887400" y="1217463"/>
                  </a:lnTo>
                  <a:cubicBezTo>
                    <a:pt x="3884022" y="1217669"/>
                    <a:pt x="3877199" y="1218083"/>
                    <a:pt x="3873822" y="1218290"/>
                  </a:cubicBezTo>
                  <a:moveTo>
                    <a:pt x="5683782" y="1273223"/>
                  </a:moveTo>
                  <a:cubicBezTo>
                    <a:pt x="5715212" y="1275497"/>
                    <a:pt x="5704460" y="1241104"/>
                    <a:pt x="5708457" y="1222494"/>
                  </a:cubicBezTo>
                  <a:lnTo>
                    <a:pt x="5699842" y="1226974"/>
                  </a:lnTo>
                  <a:cubicBezTo>
                    <a:pt x="5699152" y="1227250"/>
                    <a:pt x="5697843" y="1227732"/>
                    <a:pt x="5697154" y="1228008"/>
                  </a:cubicBezTo>
                  <a:lnTo>
                    <a:pt x="5688538" y="1230489"/>
                  </a:lnTo>
                  <a:lnTo>
                    <a:pt x="5683300" y="1231937"/>
                  </a:lnTo>
                  <a:cubicBezTo>
                    <a:pt x="5673857" y="1234487"/>
                    <a:pt x="5664484" y="1237175"/>
                    <a:pt x="5655179" y="1239863"/>
                  </a:cubicBezTo>
                  <a:cubicBezTo>
                    <a:pt x="5660486" y="1246687"/>
                    <a:pt x="5665724" y="1253579"/>
                    <a:pt x="5671100" y="1260403"/>
                  </a:cubicBezTo>
                  <a:cubicBezTo>
                    <a:pt x="5673720" y="1260747"/>
                    <a:pt x="5678889" y="1261505"/>
                    <a:pt x="5681439" y="1261919"/>
                  </a:cubicBezTo>
                  <a:lnTo>
                    <a:pt x="5683782" y="1253579"/>
                  </a:lnTo>
                  <a:cubicBezTo>
                    <a:pt x="5689228" y="1252201"/>
                    <a:pt x="5700256" y="1249444"/>
                    <a:pt x="5705700" y="1248065"/>
                  </a:cubicBezTo>
                  <a:cubicBezTo>
                    <a:pt x="5700256" y="1254337"/>
                    <a:pt x="5689296" y="1266950"/>
                    <a:pt x="5683782" y="1273223"/>
                  </a:cubicBezTo>
                  <a:moveTo>
                    <a:pt x="2388910" y="1435333"/>
                  </a:moveTo>
                  <a:cubicBezTo>
                    <a:pt x="2398628" y="1433472"/>
                    <a:pt x="2399248" y="1408521"/>
                    <a:pt x="2388841" y="1407005"/>
                  </a:cubicBezTo>
                  <a:cubicBezTo>
                    <a:pt x="2383120" y="1414932"/>
                    <a:pt x="2383809" y="1427269"/>
                    <a:pt x="2388910" y="1435333"/>
                  </a:cubicBezTo>
                  <a:moveTo>
                    <a:pt x="6179557" y="1761967"/>
                  </a:moveTo>
                  <a:cubicBezTo>
                    <a:pt x="6200441" y="1772099"/>
                    <a:pt x="6179764" y="1739084"/>
                    <a:pt x="6179557" y="1761967"/>
                  </a:cubicBezTo>
                  <a:moveTo>
                    <a:pt x="1362622" y="1801116"/>
                  </a:moveTo>
                  <a:lnTo>
                    <a:pt x="1364001" y="1805390"/>
                  </a:lnTo>
                  <a:cubicBezTo>
                    <a:pt x="1363932" y="1795740"/>
                    <a:pt x="1363863" y="1786091"/>
                    <a:pt x="1363794" y="1776441"/>
                  </a:cubicBezTo>
                  <a:cubicBezTo>
                    <a:pt x="1370135" y="1772168"/>
                    <a:pt x="1373236" y="1765965"/>
                    <a:pt x="1373099" y="1757832"/>
                  </a:cubicBezTo>
                  <a:cubicBezTo>
                    <a:pt x="1360830" y="1757763"/>
                    <a:pt x="1348699" y="1757349"/>
                    <a:pt x="1336568" y="1757349"/>
                  </a:cubicBezTo>
                  <a:cubicBezTo>
                    <a:pt x="1340153" y="1758728"/>
                    <a:pt x="1347390" y="1761416"/>
                    <a:pt x="1350974" y="1762794"/>
                  </a:cubicBezTo>
                  <a:cubicBezTo>
                    <a:pt x="1354558" y="1775683"/>
                    <a:pt x="1358349" y="1788503"/>
                    <a:pt x="1362622" y="1801116"/>
                  </a:cubicBezTo>
                  <a:moveTo>
                    <a:pt x="2985177" y="1904917"/>
                  </a:moveTo>
                  <a:cubicBezTo>
                    <a:pt x="2988071" y="1904779"/>
                    <a:pt x="2993999" y="1904572"/>
                    <a:pt x="2996894" y="1904503"/>
                  </a:cubicBezTo>
                  <a:cubicBezTo>
                    <a:pt x="2995584" y="1891201"/>
                    <a:pt x="2994550" y="1877829"/>
                    <a:pt x="2993516" y="1864458"/>
                  </a:cubicBezTo>
                  <a:cubicBezTo>
                    <a:pt x="2998272" y="1863769"/>
                    <a:pt x="3007784" y="1862459"/>
                    <a:pt x="3012540" y="1861770"/>
                  </a:cubicBezTo>
                  <a:cubicBezTo>
                    <a:pt x="3003028" y="1859220"/>
                    <a:pt x="2993379" y="1861150"/>
                    <a:pt x="2983936" y="1862183"/>
                  </a:cubicBezTo>
                  <a:cubicBezTo>
                    <a:pt x="2984280" y="1876382"/>
                    <a:pt x="2982695" y="1890856"/>
                    <a:pt x="2985177" y="1904917"/>
                  </a:cubicBezTo>
                  <a:moveTo>
                    <a:pt x="4308943" y="1981837"/>
                  </a:moveTo>
                  <a:cubicBezTo>
                    <a:pt x="4316525" y="1984594"/>
                    <a:pt x="4323762" y="1987626"/>
                    <a:pt x="4331412" y="1990452"/>
                  </a:cubicBezTo>
                  <a:cubicBezTo>
                    <a:pt x="4330516" y="1986454"/>
                    <a:pt x="4328655" y="1978321"/>
                    <a:pt x="4327759" y="1974324"/>
                  </a:cubicBezTo>
                  <a:cubicBezTo>
                    <a:pt x="4345266" y="1974255"/>
                    <a:pt x="4351745" y="1955369"/>
                    <a:pt x="4347196" y="1940895"/>
                  </a:cubicBezTo>
                  <a:cubicBezTo>
                    <a:pt x="4326519" y="1948684"/>
                    <a:pt x="4334514" y="1983077"/>
                    <a:pt x="4308943" y="1981837"/>
                  </a:cubicBezTo>
                  <a:moveTo>
                    <a:pt x="6178661" y="2104247"/>
                  </a:moveTo>
                  <a:cubicBezTo>
                    <a:pt x="6194790" y="2105901"/>
                    <a:pt x="6211056" y="2107831"/>
                    <a:pt x="6227460" y="2107624"/>
                  </a:cubicBezTo>
                  <a:cubicBezTo>
                    <a:pt x="6228011" y="2103833"/>
                    <a:pt x="6229114" y="2096389"/>
                    <a:pt x="6229741" y="2092598"/>
                  </a:cubicBezTo>
                  <a:cubicBezTo>
                    <a:pt x="6213537" y="2104936"/>
                    <a:pt x="6190516" y="2084948"/>
                    <a:pt x="6214778" y="2075781"/>
                  </a:cubicBezTo>
                  <a:cubicBezTo>
                    <a:pt x="6214364" y="2073437"/>
                    <a:pt x="6213537" y="2068750"/>
                    <a:pt x="6213055" y="2066407"/>
                  </a:cubicBezTo>
                  <a:cubicBezTo>
                    <a:pt x="6216363" y="2065028"/>
                    <a:pt x="6222980" y="2062134"/>
                    <a:pt x="6226288" y="2060755"/>
                  </a:cubicBezTo>
                  <a:cubicBezTo>
                    <a:pt x="6214233" y="2060342"/>
                    <a:pt x="6202164" y="2060066"/>
                    <a:pt x="6190310" y="2058688"/>
                  </a:cubicBezTo>
                  <a:cubicBezTo>
                    <a:pt x="6198098" y="2071163"/>
                    <a:pt x="6200028" y="2089772"/>
                    <a:pt x="6180660" y="2091358"/>
                  </a:cubicBezTo>
                  <a:cubicBezTo>
                    <a:pt x="6180178" y="2094528"/>
                    <a:pt x="6179144" y="2101007"/>
                    <a:pt x="6178661" y="2104247"/>
                  </a:cubicBezTo>
                  <a:moveTo>
                    <a:pt x="8242609" y="2233480"/>
                  </a:moveTo>
                  <a:cubicBezTo>
                    <a:pt x="8253844" y="2235824"/>
                    <a:pt x="8265009" y="2238994"/>
                    <a:pt x="8276382" y="2241545"/>
                  </a:cubicBezTo>
                  <a:cubicBezTo>
                    <a:pt x="8278243" y="2239270"/>
                    <a:pt x="8281965" y="2234583"/>
                    <a:pt x="8283826" y="2232240"/>
                  </a:cubicBezTo>
                  <a:cubicBezTo>
                    <a:pt x="8276175" y="2231895"/>
                    <a:pt x="8260943" y="2231137"/>
                    <a:pt x="8253292" y="2230792"/>
                  </a:cubicBezTo>
                  <a:cubicBezTo>
                    <a:pt x="8257979" y="2224382"/>
                    <a:pt x="8262804" y="2217835"/>
                    <a:pt x="8267628" y="2211356"/>
                  </a:cubicBezTo>
                  <a:cubicBezTo>
                    <a:pt x="8263148" y="2213630"/>
                    <a:pt x="8254050" y="2218110"/>
                    <a:pt x="8249501" y="2220385"/>
                  </a:cubicBezTo>
                  <a:cubicBezTo>
                    <a:pt x="8249846" y="2216870"/>
                    <a:pt x="8250467" y="2209839"/>
                    <a:pt x="8250811" y="2206324"/>
                  </a:cubicBezTo>
                  <a:cubicBezTo>
                    <a:pt x="8249501" y="2204463"/>
                    <a:pt x="8246951" y="2200741"/>
                    <a:pt x="8245642" y="2198949"/>
                  </a:cubicBezTo>
                  <a:lnTo>
                    <a:pt x="8237440" y="2193711"/>
                  </a:lnTo>
                  <a:cubicBezTo>
                    <a:pt x="8233993" y="2206117"/>
                    <a:pt x="8230547" y="2218524"/>
                    <a:pt x="8227446" y="2230930"/>
                  </a:cubicBezTo>
                  <a:cubicBezTo>
                    <a:pt x="8231236" y="2231551"/>
                    <a:pt x="8238818" y="2232860"/>
                    <a:pt x="8242609" y="2233480"/>
                  </a:cubicBezTo>
                </a:path>
              </a:pathLst>
            </a:custGeom>
            <a:grpFill/>
            <a:ln w="689" cap="flat">
              <a:noFill/>
              <a:prstDash val="solid"/>
              <a:miter/>
            </a:ln>
          </p:spPr>
          <p:txBody>
            <a:bodyPr rtlCol="0" anchor="ctr"/>
            <a:lstStyle/>
            <a:p>
              <a:endParaRPr lang="en-US" sz="2400" dirty="0"/>
            </a:p>
          </p:txBody>
        </p:sp>
        <p:sp>
          <p:nvSpPr>
            <p:cNvPr id="63" name="Graphic 8">
              <a:extLst>
                <a:ext uri="{FF2B5EF4-FFF2-40B4-BE49-F238E27FC236}">
                  <a16:creationId xmlns:a16="http://schemas.microsoft.com/office/drawing/2014/main" id="{56E3B387-14AC-4A5A-91B1-648D460C520E}"/>
                </a:ext>
              </a:extLst>
            </p:cNvPr>
            <p:cNvSpPr/>
            <p:nvPr/>
          </p:nvSpPr>
          <p:spPr>
            <a:xfrm flipV="1">
              <a:off x="1448865" y="1260973"/>
              <a:ext cx="7328546" cy="2168784"/>
            </a:xfrm>
            <a:custGeom>
              <a:avLst/>
              <a:gdLst>
                <a:gd name="connsiteX0" fmla="*/ 5592973 w 7328546"/>
                <a:gd name="connsiteY0" fmla="*/ 11767 h 2168784"/>
                <a:gd name="connsiteX1" fmla="*/ 5598280 w 7328546"/>
                <a:gd name="connsiteY1" fmla="*/ -3603 h 2168784"/>
                <a:gd name="connsiteX2" fmla="*/ 5592973 w 7328546"/>
                <a:gd name="connsiteY2" fmla="*/ 11767 h 2168784"/>
                <a:gd name="connsiteX3" fmla="*/ -4120 w 7328546"/>
                <a:gd name="connsiteY3" fmla="*/ 447370 h 2168784"/>
                <a:gd name="connsiteX4" fmla="*/ -4120 w 7328546"/>
                <a:gd name="connsiteY4" fmla="*/ 447370 h 2168784"/>
                <a:gd name="connsiteX5" fmla="*/ 4697297 w 7328546"/>
                <a:gd name="connsiteY5" fmla="*/ 522360 h 2168784"/>
                <a:gd name="connsiteX6" fmla="*/ 4705017 w 7328546"/>
                <a:gd name="connsiteY6" fmla="*/ 509265 h 2168784"/>
                <a:gd name="connsiteX7" fmla="*/ 4697297 w 7328546"/>
                <a:gd name="connsiteY7" fmla="*/ 522360 h 2168784"/>
                <a:gd name="connsiteX8" fmla="*/ 6453979 w 7328546"/>
                <a:gd name="connsiteY8" fmla="*/ 569987 h 2168784"/>
                <a:gd name="connsiteX9" fmla="*/ 6453979 w 7328546"/>
                <a:gd name="connsiteY9" fmla="*/ 569987 h 2168784"/>
                <a:gd name="connsiteX10" fmla="*/ 7252954 w 7328546"/>
                <a:gd name="connsiteY10" fmla="*/ 679509 h 2168784"/>
                <a:gd name="connsiteX11" fmla="*/ 7259432 w 7328546"/>
                <a:gd name="connsiteY11" fmla="*/ 704597 h 2168784"/>
                <a:gd name="connsiteX12" fmla="*/ 7264395 w 7328546"/>
                <a:gd name="connsiteY12" fmla="*/ 599763 h 2168784"/>
                <a:gd name="connsiteX13" fmla="*/ 7264533 w 7328546"/>
                <a:gd name="connsiteY13" fmla="*/ 543865 h 2168784"/>
                <a:gd name="connsiteX14" fmla="*/ 7270323 w 7328546"/>
                <a:gd name="connsiteY14" fmla="*/ 534147 h 2168784"/>
                <a:gd name="connsiteX15" fmla="*/ 7266394 w 7328546"/>
                <a:gd name="connsiteY15" fmla="*/ 528908 h 2168784"/>
                <a:gd name="connsiteX16" fmla="*/ 7263430 w 7328546"/>
                <a:gd name="connsiteY16" fmla="*/ 525324 h 2168784"/>
                <a:gd name="connsiteX17" fmla="*/ 7246199 w 7328546"/>
                <a:gd name="connsiteY17" fmla="*/ 558959 h 2168784"/>
                <a:gd name="connsiteX18" fmla="*/ 7238618 w 7328546"/>
                <a:gd name="connsiteY18" fmla="*/ 565990 h 2168784"/>
                <a:gd name="connsiteX19" fmla="*/ 7238962 w 7328546"/>
                <a:gd name="connsiteY19" fmla="*/ 507748 h 2168784"/>
                <a:gd name="connsiteX20" fmla="*/ 7235102 w 7328546"/>
                <a:gd name="connsiteY20" fmla="*/ 508438 h 2168784"/>
                <a:gd name="connsiteX21" fmla="*/ 7227038 w 7328546"/>
                <a:gd name="connsiteY21" fmla="*/ 531321 h 2168784"/>
                <a:gd name="connsiteX22" fmla="*/ 7230967 w 7328546"/>
                <a:gd name="connsiteY22" fmla="*/ 531527 h 2168784"/>
                <a:gd name="connsiteX23" fmla="*/ 7238824 w 7328546"/>
                <a:gd name="connsiteY23" fmla="*/ 578120 h 2168784"/>
                <a:gd name="connsiteX24" fmla="*/ 7244683 w 7328546"/>
                <a:gd name="connsiteY24" fmla="*/ 608447 h 2168784"/>
                <a:gd name="connsiteX25" fmla="*/ 7256055 w 7328546"/>
                <a:gd name="connsiteY25" fmla="*/ 632640 h 2168784"/>
                <a:gd name="connsiteX26" fmla="*/ 7226280 w 7328546"/>
                <a:gd name="connsiteY26" fmla="*/ 622784 h 2168784"/>
                <a:gd name="connsiteX27" fmla="*/ 7229657 w 7328546"/>
                <a:gd name="connsiteY27" fmla="*/ 629952 h 2168784"/>
                <a:gd name="connsiteX28" fmla="*/ 7238548 w 7328546"/>
                <a:gd name="connsiteY28" fmla="*/ 682197 h 2168784"/>
                <a:gd name="connsiteX29" fmla="*/ 7252954 w 7328546"/>
                <a:gd name="connsiteY29" fmla="*/ 679509 h 2168784"/>
                <a:gd name="connsiteX30" fmla="*/ 183975 w 7328546"/>
                <a:gd name="connsiteY30" fmla="*/ 922881 h 2168784"/>
                <a:gd name="connsiteX31" fmla="*/ 183975 w 7328546"/>
                <a:gd name="connsiteY31" fmla="*/ 922881 h 2168784"/>
                <a:gd name="connsiteX32" fmla="*/ 7309541 w 7328546"/>
                <a:gd name="connsiteY32" fmla="*/ 1482274 h 2168784"/>
                <a:gd name="connsiteX33" fmla="*/ 7321051 w 7328546"/>
                <a:gd name="connsiteY33" fmla="*/ 1470694 h 2168784"/>
                <a:gd name="connsiteX34" fmla="*/ 7309541 w 7328546"/>
                <a:gd name="connsiteY34" fmla="*/ 1482274 h 2168784"/>
                <a:gd name="connsiteX35" fmla="*/ 6551370 w 7328546"/>
                <a:gd name="connsiteY35" fmla="*/ 1577045 h 2168784"/>
                <a:gd name="connsiteX36" fmla="*/ 6551370 w 7328546"/>
                <a:gd name="connsiteY36" fmla="*/ 1577045 h 2168784"/>
                <a:gd name="connsiteX37" fmla="*/ 1571152 w 7328546"/>
                <a:gd name="connsiteY37" fmla="*/ 1947860 h 2168784"/>
                <a:gd name="connsiteX38" fmla="*/ 1586729 w 7328546"/>
                <a:gd name="connsiteY38" fmla="*/ 1962954 h 2168784"/>
                <a:gd name="connsiteX39" fmla="*/ 1571152 w 7328546"/>
                <a:gd name="connsiteY39" fmla="*/ 1947860 h 2168784"/>
                <a:gd name="connsiteX40" fmla="*/ 5825387 w 7328546"/>
                <a:gd name="connsiteY40" fmla="*/ 2062964 h 2168784"/>
                <a:gd name="connsiteX41" fmla="*/ 5859781 w 7328546"/>
                <a:gd name="connsiteY41" fmla="*/ 2075715 h 2168784"/>
                <a:gd name="connsiteX42" fmla="*/ 5846064 w 7328546"/>
                <a:gd name="connsiteY42" fmla="*/ 2026985 h 2168784"/>
                <a:gd name="connsiteX43" fmla="*/ 5812842 w 7328546"/>
                <a:gd name="connsiteY43" fmla="*/ 2024159 h 2168784"/>
                <a:gd name="connsiteX44" fmla="*/ 5816289 w 7328546"/>
                <a:gd name="connsiteY44" fmla="*/ 2036359 h 2168784"/>
                <a:gd name="connsiteX45" fmla="*/ 5833726 w 7328546"/>
                <a:gd name="connsiteY45" fmla="*/ 2037806 h 2168784"/>
                <a:gd name="connsiteX46" fmla="*/ 5840274 w 7328546"/>
                <a:gd name="connsiteY46" fmla="*/ 2065583 h 2168784"/>
                <a:gd name="connsiteX47" fmla="*/ 5832693 w 7328546"/>
                <a:gd name="connsiteY47" fmla="*/ 2061861 h 2168784"/>
                <a:gd name="connsiteX48" fmla="*/ 5825387 w 7328546"/>
                <a:gd name="connsiteY48" fmla="*/ 2062964 h 2168784"/>
                <a:gd name="connsiteX49" fmla="*/ 3948776 w 7328546"/>
                <a:gd name="connsiteY49" fmla="*/ 2147672 h 2168784"/>
                <a:gd name="connsiteX50" fmla="*/ 3967868 w 7328546"/>
                <a:gd name="connsiteY50" fmla="*/ 2148844 h 2168784"/>
                <a:gd name="connsiteX51" fmla="*/ 3965249 w 7328546"/>
                <a:gd name="connsiteY51" fmla="*/ 2129200 h 2168784"/>
                <a:gd name="connsiteX52" fmla="*/ 3989097 w 7328546"/>
                <a:gd name="connsiteY52" fmla="*/ 2124996 h 2168784"/>
                <a:gd name="connsiteX53" fmla="*/ 3978896 w 7328546"/>
                <a:gd name="connsiteY53" fmla="*/ 2095565 h 2168784"/>
                <a:gd name="connsiteX54" fmla="*/ 3980619 w 7328546"/>
                <a:gd name="connsiteY54" fmla="*/ 2101010 h 2168784"/>
                <a:gd name="connsiteX55" fmla="*/ 3982342 w 7328546"/>
                <a:gd name="connsiteY55" fmla="*/ 2106110 h 2168784"/>
                <a:gd name="connsiteX56" fmla="*/ 3955537 w 7328546"/>
                <a:gd name="connsiteY56" fmla="*/ 2112727 h 2168784"/>
                <a:gd name="connsiteX57" fmla="*/ 3943193 w 7328546"/>
                <a:gd name="connsiteY57" fmla="*/ 2118103 h 2168784"/>
                <a:gd name="connsiteX58" fmla="*/ 3948776 w 7328546"/>
                <a:gd name="connsiteY58" fmla="*/ 2147672 h 2168784"/>
                <a:gd name="connsiteX59" fmla="*/ 4650980 w 7328546"/>
                <a:gd name="connsiteY59" fmla="*/ 2163180 h 2168784"/>
                <a:gd name="connsiteX60" fmla="*/ 4666281 w 7328546"/>
                <a:gd name="connsiteY60" fmla="*/ 2152497 h 2168784"/>
                <a:gd name="connsiteX61" fmla="*/ 4650980 w 7328546"/>
                <a:gd name="connsiteY61" fmla="*/ 2163180 h 216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7328546" h="2168784">
                  <a:moveTo>
                    <a:pt x="5592973" y="11767"/>
                  </a:moveTo>
                  <a:cubicBezTo>
                    <a:pt x="5602002" y="10181"/>
                    <a:pt x="5603794" y="5012"/>
                    <a:pt x="5598280" y="-3603"/>
                  </a:cubicBezTo>
                  <a:cubicBezTo>
                    <a:pt x="5589044" y="-1880"/>
                    <a:pt x="5587321" y="3289"/>
                    <a:pt x="5592973" y="11767"/>
                  </a:cubicBezTo>
                  <a:close/>
                  <a:moveTo>
                    <a:pt x="-4120" y="447370"/>
                  </a:moveTo>
                  <a:cubicBezTo>
                    <a:pt x="18625" y="446061"/>
                    <a:pt x="-14872" y="426831"/>
                    <a:pt x="-4120" y="447370"/>
                  </a:cubicBezTo>
                  <a:moveTo>
                    <a:pt x="4697297" y="522360"/>
                  </a:moveTo>
                  <a:cubicBezTo>
                    <a:pt x="4706051" y="530976"/>
                    <a:pt x="4712461" y="514710"/>
                    <a:pt x="4705017" y="509265"/>
                  </a:cubicBezTo>
                  <a:cubicBezTo>
                    <a:pt x="4696608" y="499891"/>
                    <a:pt x="4689233" y="517191"/>
                    <a:pt x="4697297" y="522360"/>
                  </a:cubicBezTo>
                  <a:moveTo>
                    <a:pt x="6453979" y="569987"/>
                  </a:moveTo>
                  <a:cubicBezTo>
                    <a:pt x="6476725" y="569574"/>
                    <a:pt x="6443847" y="549103"/>
                    <a:pt x="6453979" y="569987"/>
                  </a:cubicBezTo>
                  <a:moveTo>
                    <a:pt x="7252954" y="679509"/>
                  </a:moveTo>
                  <a:cubicBezTo>
                    <a:pt x="7254952" y="687917"/>
                    <a:pt x="7257158" y="696257"/>
                    <a:pt x="7259432" y="704597"/>
                  </a:cubicBezTo>
                  <a:cubicBezTo>
                    <a:pt x="7253988" y="669377"/>
                    <a:pt x="7265980" y="634914"/>
                    <a:pt x="7264395" y="599763"/>
                  </a:cubicBezTo>
                  <a:cubicBezTo>
                    <a:pt x="7263292" y="581153"/>
                    <a:pt x="7263568" y="562474"/>
                    <a:pt x="7264533" y="543865"/>
                  </a:cubicBezTo>
                  <a:cubicBezTo>
                    <a:pt x="7265980" y="541384"/>
                    <a:pt x="7268875" y="536559"/>
                    <a:pt x="7270323" y="534147"/>
                  </a:cubicBezTo>
                  <a:lnTo>
                    <a:pt x="7266394" y="528908"/>
                  </a:lnTo>
                  <a:lnTo>
                    <a:pt x="7263430" y="525324"/>
                  </a:lnTo>
                  <a:cubicBezTo>
                    <a:pt x="7258674" y="537110"/>
                    <a:pt x="7256469" y="550619"/>
                    <a:pt x="7246199" y="558959"/>
                  </a:cubicBezTo>
                  <a:lnTo>
                    <a:pt x="7238618" y="565990"/>
                  </a:lnTo>
                  <a:cubicBezTo>
                    <a:pt x="7237652" y="546622"/>
                    <a:pt x="7238066" y="527185"/>
                    <a:pt x="7238962" y="507748"/>
                  </a:cubicBezTo>
                  <a:lnTo>
                    <a:pt x="7235102" y="508438"/>
                  </a:lnTo>
                  <a:cubicBezTo>
                    <a:pt x="7232483" y="516157"/>
                    <a:pt x="7229795" y="523808"/>
                    <a:pt x="7227038" y="531321"/>
                  </a:cubicBezTo>
                  <a:cubicBezTo>
                    <a:pt x="7228072" y="531390"/>
                    <a:pt x="7230002" y="531458"/>
                    <a:pt x="7230967" y="531527"/>
                  </a:cubicBezTo>
                  <a:cubicBezTo>
                    <a:pt x="7218285" y="548207"/>
                    <a:pt x="7227314" y="564335"/>
                    <a:pt x="7238824" y="578120"/>
                  </a:cubicBezTo>
                  <a:cubicBezTo>
                    <a:pt x="7245027" y="586805"/>
                    <a:pt x="7242477" y="598522"/>
                    <a:pt x="7244683" y="608447"/>
                  </a:cubicBezTo>
                  <a:cubicBezTo>
                    <a:pt x="7253918" y="614030"/>
                    <a:pt x="7257709" y="622094"/>
                    <a:pt x="7256055" y="632640"/>
                  </a:cubicBezTo>
                  <a:cubicBezTo>
                    <a:pt x="7248612" y="630227"/>
                    <a:pt x="7233724" y="625265"/>
                    <a:pt x="7226280" y="622784"/>
                  </a:cubicBezTo>
                  <a:lnTo>
                    <a:pt x="7229657" y="629952"/>
                  </a:lnTo>
                  <a:cubicBezTo>
                    <a:pt x="7239031" y="645735"/>
                    <a:pt x="7237514" y="664621"/>
                    <a:pt x="7238548" y="682197"/>
                  </a:cubicBezTo>
                  <a:cubicBezTo>
                    <a:pt x="7242132" y="681507"/>
                    <a:pt x="7249370" y="680129"/>
                    <a:pt x="7252954" y="679509"/>
                  </a:cubicBezTo>
                  <a:moveTo>
                    <a:pt x="183975" y="922881"/>
                  </a:moveTo>
                  <a:cubicBezTo>
                    <a:pt x="204446" y="933840"/>
                    <a:pt x="185423" y="900067"/>
                    <a:pt x="183975" y="922881"/>
                  </a:cubicBezTo>
                  <a:moveTo>
                    <a:pt x="7309541" y="1482274"/>
                  </a:moveTo>
                  <a:cubicBezTo>
                    <a:pt x="7320569" y="1485927"/>
                    <a:pt x="7324429" y="1482067"/>
                    <a:pt x="7321051" y="1470694"/>
                  </a:cubicBezTo>
                  <a:cubicBezTo>
                    <a:pt x="7309885" y="1467179"/>
                    <a:pt x="7306026" y="1470970"/>
                    <a:pt x="7309541" y="1482274"/>
                  </a:cubicBezTo>
                  <a:moveTo>
                    <a:pt x="6551370" y="1577045"/>
                  </a:moveTo>
                  <a:cubicBezTo>
                    <a:pt x="6573977" y="1575184"/>
                    <a:pt x="6539997" y="1556712"/>
                    <a:pt x="6551370" y="1577045"/>
                  </a:cubicBezTo>
                  <a:moveTo>
                    <a:pt x="1571152" y="1947860"/>
                  </a:moveTo>
                  <a:cubicBezTo>
                    <a:pt x="1563777" y="1956268"/>
                    <a:pt x="1578803" y="1968950"/>
                    <a:pt x="1586729" y="1962954"/>
                  </a:cubicBezTo>
                  <a:cubicBezTo>
                    <a:pt x="1593966" y="1953649"/>
                    <a:pt x="1580250" y="1937659"/>
                    <a:pt x="1571152" y="1947860"/>
                  </a:cubicBezTo>
                  <a:moveTo>
                    <a:pt x="5825387" y="2062964"/>
                  </a:moveTo>
                  <a:cubicBezTo>
                    <a:pt x="5812291" y="2081504"/>
                    <a:pt x="5849304" y="2073716"/>
                    <a:pt x="5859781" y="2075715"/>
                  </a:cubicBezTo>
                  <a:cubicBezTo>
                    <a:pt x="5854956" y="2059517"/>
                    <a:pt x="5850338" y="2043320"/>
                    <a:pt x="5846064" y="2026985"/>
                  </a:cubicBezTo>
                  <a:cubicBezTo>
                    <a:pt x="5834898" y="2025951"/>
                    <a:pt x="5823870" y="2025055"/>
                    <a:pt x="5812842" y="2024159"/>
                  </a:cubicBezTo>
                  <a:lnTo>
                    <a:pt x="5816289" y="2036359"/>
                  </a:lnTo>
                  <a:cubicBezTo>
                    <a:pt x="5820631" y="2036772"/>
                    <a:pt x="5829384" y="2037462"/>
                    <a:pt x="5833726" y="2037806"/>
                  </a:cubicBezTo>
                  <a:cubicBezTo>
                    <a:pt x="5845788" y="2039805"/>
                    <a:pt x="5844410" y="2056967"/>
                    <a:pt x="5840274" y="2065583"/>
                  </a:cubicBezTo>
                  <a:cubicBezTo>
                    <a:pt x="5838414" y="2064618"/>
                    <a:pt x="5834554" y="2062826"/>
                    <a:pt x="5832693" y="2061861"/>
                  </a:cubicBezTo>
                  <a:lnTo>
                    <a:pt x="5825387" y="2062964"/>
                  </a:lnTo>
                  <a:moveTo>
                    <a:pt x="3948776" y="2147672"/>
                  </a:moveTo>
                  <a:cubicBezTo>
                    <a:pt x="3953532" y="2147948"/>
                    <a:pt x="3963112" y="2148499"/>
                    <a:pt x="3967868" y="2148844"/>
                  </a:cubicBezTo>
                  <a:cubicBezTo>
                    <a:pt x="3967248" y="2143950"/>
                    <a:pt x="3965938" y="2134094"/>
                    <a:pt x="3965249" y="2129200"/>
                  </a:cubicBezTo>
                  <a:cubicBezTo>
                    <a:pt x="3973451" y="2129338"/>
                    <a:pt x="3981384" y="2127960"/>
                    <a:pt x="3989097" y="2124996"/>
                  </a:cubicBezTo>
                  <a:cubicBezTo>
                    <a:pt x="3986554" y="2117621"/>
                    <a:pt x="3981446" y="2102940"/>
                    <a:pt x="3978896" y="2095565"/>
                  </a:cubicBezTo>
                  <a:lnTo>
                    <a:pt x="3980619" y="2101010"/>
                  </a:lnTo>
                  <a:lnTo>
                    <a:pt x="3982342" y="2106110"/>
                  </a:lnTo>
                  <a:cubicBezTo>
                    <a:pt x="3969316" y="2090947"/>
                    <a:pt x="3957598" y="2094669"/>
                    <a:pt x="3955537" y="2112727"/>
                  </a:cubicBezTo>
                  <a:cubicBezTo>
                    <a:pt x="3951326" y="2114519"/>
                    <a:pt x="3947260" y="2116311"/>
                    <a:pt x="3943193" y="2118103"/>
                  </a:cubicBezTo>
                  <a:cubicBezTo>
                    <a:pt x="3946915" y="2127546"/>
                    <a:pt x="3948087" y="2137609"/>
                    <a:pt x="3948776" y="2147672"/>
                  </a:cubicBezTo>
                  <a:moveTo>
                    <a:pt x="4650980" y="2163180"/>
                  </a:moveTo>
                  <a:cubicBezTo>
                    <a:pt x="4657115" y="2169108"/>
                    <a:pt x="4671520" y="2160768"/>
                    <a:pt x="4666281" y="2152497"/>
                  </a:cubicBezTo>
                  <a:cubicBezTo>
                    <a:pt x="4659872" y="2146500"/>
                    <a:pt x="4645466" y="2154909"/>
                    <a:pt x="4650980" y="2163180"/>
                  </a:cubicBezTo>
                </a:path>
              </a:pathLst>
            </a:custGeom>
            <a:grpFill/>
            <a:ln w="689" cap="flat">
              <a:noFill/>
              <a:prstDash val="solid"/>
              <a:miter/>
            </a:ln>
          </p:spPr>
          <p:txBody>
            <a:bodyPr rtlCol="0" anchor="ctr"/>
            <a:lstStyle/>
            <a:p>
              <a:endParaRPr lang="en-US" sz="2400" dirty="0"/>
            </a:p>
          </p:txBody>
        </p:sp>
        <p:sp>
          <p:nvSpPr>
            <p:cNvPr id="64" name="Graphic 8">
              <a:extLst>
                <a:ext uri="{FF2B5EF4-FFF2-40B4-BE49-F238E27FC236}">
                  <a16:creationId xmlns:a16="http://schemas.microsoft.com/office/drawing/2014/main" id="{CC6C6BD6-D159-4411-89C1-86383618090A}"/>
                </a:ext>
              </a:extLst>
            </p:cNvPr>
            <p:cNvSpPr/>
            <p:nvPr/>
          </p:nvSpPr>
          <p:spPr>
            <a:xfrm flipV="1">
              <a:off x="997534" y="1262837"/>
              <a:ext cx="7808774" cy="2397225"/>
            </a:xfrm>
            <a:custGeom>
              <a:avLst/>
              <a:gdLst>
                <a:gd name="connsiteX0" fmla="*/ 2405212 w 7808774"/>
                <a:gd name="connsiteY0" fmla="*/ 9159 h 2397225"/>
                <a:gd name="connsiteX1" fmla="*/ 2416309 w 7808774"/>
                <a:gd name="connsiteY1" fmla="*/ -1938 h 2397225"/>
                <a:gd name="connsiteX2" fmla="*/ 2405212 w 7808774"/>
                <a:gd name="connsiteY2" fmla="*/ 9159 h 2397225"/>
                <a:gd name="connsiteX3" fmla="*/ 3005546 w 7808774"/>
                <a:gd name="connsiteY3" fmla="*/ 103999 h 2397225"/>
                <a:gd name="connsiteX4" fmla="*/ 3010026 w 7808774"/>
                <a:gd name="connsiteY4" fmla="*/ 88422 h 2397225"/>
                <a:gd name="connsiteX5" fmla="*/ 3005546 w 7808774"/>
                <a:gd name="connsiteY5" fmla="*/ 103999 h 2397225"/>
                <a:gd name="connsiteX6" fmla="*/ 3232032 w 7808774"/>
                <a:gd name="connsiteY6" fmla="*/ 113442 h 2397225"/>
                <a:gd name="connsiteX7" fmla="*/ 3226035 w 7808774"/>
                <a:gd name="connsiteY7" fmla="*/ 132948 h 2397225"/>
                <a:gd name="connsiteX8" fmla="*/ 3232032 w 7808774"/>
                <a:gd name="connsiteY8" fmla="*/ 113442 h 2397225"/>
                <a:gd name="connsiteX9" fmla="*/ 4707984 w 7808774"/>
                <a:gd name="connsiteY9" fmla="*/ 181884 h 2397225"/>
                <a:gd name="connsiteX10" fmla="*/ 4705709 w 7808774"/>
                <a:gd name="connsiteY10" fmla="*/ 167824 h 2397225"/>
                <a:gd name="connsiteX11" fmla="*/ 4707984 w 7808774"/>
                <a:gd name="connsiteY11" fmla="*/ 181884 h 2397225"/>
                <a:gd name="connsiteX12" fmla="*/ 4769947 w 7808774"/>
                <a:gd name="connsiteY12" fmla="*/ 221723 h 2397225"/>
                <a:gd name="connsiteX13" fmla="*/ 4787591 w 7808774"/>
                <a:gd name="connsiteY13" fmla="*/ 211039 h 2397225"/>
                <a:gd name="connsiteX14" fmla="*/ 4769947 w 7808774"/>
                <a:gd name="connsiteY14" fmla="*/ 221723 h 2397225"/>
                <a:gd name="connsiteX15" fmla="*/ 1295594 w 7808774"/>
                <a:gd name="connsiteY15" fmla="*/ 457514 h 2397225"/>
                <a:gd name="connsiteX16" fmla="*/ 1305313 w 7808774"/>
                <a:gd name="connsiteY16" fmla="*/ 447933 h 2397225"/>
                <a:gd name="connsiteX17" fmla="*/ 1295594 w 7808774"/>
                <a:gd name="connsiteY17" fmla="*/ 457514 h 2397225"/>
                <a:gd name="connsiteX18" fmla="*/ 3013127 w 7808774"/>
                <a:gd name="connsiteY18" fmla="*/ 580751 h 2397225"/>
                <a:gd name="connsiteX19" fmla="*/ 3013127 w 7808774"/>
                <a:gd name="connsiteY19" fmla="*/ 580751 h 2397225"/>
                <a:gd name="connsiteX20" fmla="*/ 7794704 w 7808774"/>
                <a:gd name="connsiteY20" fmla="*/ 621692 h 2397225"/>
                <a:gd name="connsiteX21" fmla="*/ 7794704 w 7808774"/>
                <a:gd name="connsiteY21" fmla="*/ 621692 h 2397225"/>
                <a:gd name="connsiteX22" fmla="*/ 7782642 w 7808774"/>
                <a:gd name="connsiteY22" fmla="*/ 1069565 h 2397225"/>
                <a:gd name="connsiteX23" fmla="*/ 7782642 w 7808774"/>
                <a:gd name="connsiteY23" fmla="*/ 1069565 h 2397225"/>
                <a:gd name="connsiteX24" fmla="*/ 634056 w 7808774"/>
                <a:gd name="connsiteY24" fmla="*/ 1172814 h 2397225"/>
                <a:gd name="connsiteX25" fmla="*/ 634056 w 7808774"/>
                <a:gd name="connsiteY25" fmla="*/ 1172814 h 2397225"/>
                <a:gd name="connsiteX26" fmla="*/ -6047 w 7808774"/>
                <a:gd name="connsiteY26" fmla="*/ 1352914 h 2397225"/>
                <a:gd name="connsiteX27" fmla="*/ -6047 w 7808774"/>
                <a:gd name="connsiteY27" fmla="*/ 1352914 h 2397225"/>
                <a:gd name="connsiteX28" fmla="*/ 1813287 w 7808774"/>
                <a:gd name="connsiteY28" fmla="*/ 1421356 h 2397225"/>
                <a:gd name="connsiteX29" fmla="*/ 1813287 w 7808774"/>
                <a:gd name="connsiteY29" fmla="*/ 1421356 h 2397225"/>
                <a:gd name="connsiteX30" fmla="*/ 310731 w 7808774"/>
                <a:gd name="connsiteY30" fmla="*/ 1477943 h 2397225"/>
                <a:gd name="connsiteX31" fmla="*/ 310386 w 7808774"/>
                <a:gd name="connsiteY31" fmla="*/ 1463813 h 2397225"/>
                <a:gd name="connsiteX32" fmla="*/ 310731 w 7808774"/>
                <a:gd name="connsiteY32" fmla="*/ 1477943 h 2397225"/>
                <a:gd name="connsiteX33" fmla="*/ 993636 w 7808774"/>
                <a:gd name="connsiteY33" fmla="*/ 1483457 h 2397225"/>
                <a:gd name="connsiteX34" fmla="*/ 993636 w 7808774"/>
                <a:gd name="connsiteY34" fmla="*/ 1483457 h 2397225"/>
                <a:gd name="connsiteX35" fmla="*/ 3295374 w 7808774"/>
                <a:gd name="connsiteY35" fmla="*/ 1490349 h 2397225"/>
                <a:gd name="connsiteX36" fmla="*/ 3295374 w 7808774"/>
                <a:gd name="connsiteY36" fmla="*/ 1490349 h 2397225"/>
                <a:gd name="connsiteX37" fmla="*/ 736960 w 7808774"/>
                <a:gd name="connsiteY37" fmla="*/ 1599457 h 2397225"/>
                <a:gd name="connsiteX38" fmla="*/ 747506 w 7808774"/>
                <a:gd name="connsiteY38" fmla="*/ 1582570 h 2397225"/>
                <a:gd name="connsiteX39" fmla="*/ 736960 w 7808774"/>
                <a:gd name="connsiteY39" fmla="*/ 1599457 h 2397225"/>
                <a:gd name="connsiteX40" fmla="*/ 2659199 w 7808774"/>
                <a:gd name="connsiteY40" fmla="*/ 2200066 h 2397225"/>
                <a:gd name="connsiteX41" fmla="*/ 2680428 w 7808774"/>
                <a:gd name="connsiteY41" fmla="*/ 2229704 h 2397225"/>
                <a:gd name="connsiteX42" fmla="*/ 2659199 w 7808774"/>
                <a:gd name="connsiteY42" fmla="*/ 2200066 h 2397225"/>
                <a:gd name="connsiteX43" fmla="*/ 5252419 w 7808774"/>
                <a:gd name="connsiteY43" fmla="*/ 2393813 h 2397225"/>
                <a:gd name="connsiteX44" fmla="*/ 5252419 w 7808774"/>
                <a:gd name="connsiteY44" fmla="*/ 2393813 h 239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7808774" h="2397225">
                  <a:moveTo>
                    <a:pt x="2405212" y="9159"/>
                  </a:moveTo>
                  <a:cubicBezTo>
                    <a:pt x="2416516" y="13088"/>
                    <a:pt x="2420169" y="9366"/>
                    <a:pt x="2416309" y="-1938"/>
                  </a:cubicBezTo>
                  <a:cubicBezTo>
                    <a:pt x="2404936" y="-5797"/>
                    <a:pt x="2401283" y="-2076"/>
                    <a:pt x="2405212" y="9159"/>
                  </a:cubicBezTo>
                  <a:close/>
                  <a:moveTo>
                    <a:pt x="3005546" y="103999"/>
                  </a:moveTo>
                  <a:cubicBezTo>
                    <a:pt x="3014437" y="102070"/>
                    <a:pt x="3015953" y="96900"/>
                    <a:pt x="3010026" y="88422"/>
                  </a:cubicBezTo>
                  <a:cubicBezTo>
                    <a:pt x="3000927" y="90421"/>
                    <a:pt x="2999480" y="95591"/>
                    <a:pt x="3005546" y="103999"/>
                  </a:cubicBezTo>
                  <a:moveTo>
                    <a:pt x="3232032" y="113442"/>
                  </a:moveTo>
                  <a:cubicBezTo>
                    <a:pt x="3219694" y="110892"/>
                    <a:pt x="3208942" y="133154"/>
                    <a:pt x="3226035" y="132948"/>
                  </a:cubicBezTo>
                  <a:cubicBezTo>
                    <a:pt x="3238580" y="137773"/>
                    <a:pt x="3244094" y="116819"/>
                    <a:pt x="3232032" y="113442"/>
                  </a:cubicBezTo>
                  <a:moveTo>
                    <a:pt x="4707984" y="181884"/>
                  </a:moveTo>
                  <a:cubicBezTo>
                    <a:pt x="4716048" y="176853"/>
                    <a:pt x="4715359" y="172166"/>
                    <a:pt x="4705709" y="167824"/>
                  </a:cubicBezTo>
                  <a:cubicBezTo>
                    <a:pt x="4697438" y="172924"/>
                    <a:pt x="4698196" y="177611"/>
                    <a:pt x="4707984" y="181884"/>
                  </a:cubicBezTo>
                  <a:moveTo>
                    <a:pt x="4769947" y="221723"/>
                  </a:moveTo>
                  <a:cubicBezTo>
                    <a:pt x="4776426" y="228615"/>
                    <a:pt x="4792968" y="220689"/>
                    <a:pt x="4787591" y="211039"/>
                  </a:cubicBezTo>
                  <a:cubicBezTo>
                    <a:pt x="4780975" y="203596"/>
                    <a:pt x="4763744" y="212073"/>
                    <a:pt x="4769947" y="221723"/>
                  </a:cubicBezTo>
                  <a:moveTo>
                    <a:pt x="1295594" y="457514"/>
                  </a:moveTo>
                  <a:cubicBezTo>
                    <a:pt x="1305382" y="460753"/>
                    <a:pt x="1308621" y="457514"/>
                    <a:pt x="1305313" y="447933"/>
                  </a:cubicBezTo>
                  <a:cubicBezTo>
                    <a:pt x="1295526" y="444694"/>
                    <a:pt x="1292217" y="447864"/>
                    <a:pt x="1295594" y="457514"/>
                  </a:cubicBezTo>
                  <a:moveTo>
                    <a:pt x="3013127" y="580751"/>
                  </a:moveTo>
                  <a:cubicBezTo>
                    <a:pt x="3016574" y="577167"/>
                    <a:pt x="3016574" y="577167"/>
                    <a:pt x="3013127" y="580751"/>
                  </a:cubicBezTo>
                  <a:moveTo>
                    <a:pt x="7794704" y="621692"/>
                  </a:moveTo>
                  <a:cubicBezTo>
                    <a:pt x="7817311" y="620383"/>
                    <a:pt x="7783814" y="601084"/>
                    <a:pt x="7794704" y="621692"/>
                  </a:cubicBezTo>
                  <a:moveTo>
                    <a:pt x="7782642" y="1069565"/>
                  </a:moveTo>
                  <a:cubicBezTo>
                    <a:pt x="7786089" y="1065980"/>
                    <a:pt x="7786089" y="1065980"/>
                    <a:pt x="7782642" y="1069565"/>
                  </a:cubicBezTo>
                  <a:moveTo>
                    <a:pt x="634056" y="1172814"/>
                  </a:moveTo>
                  <a:cubicBezTo>
                    <a:pt x="656870" y="1170746"/>
                    <a:pt x="622821" y="1152688"/>
                    <a:pt x="634056" y="1172814"/>
                  </a:cubicBezTo>
                  <a:moveTo>
                    <a:pt x="-6047" y="1352914"/>
                  </a:moveTo>
                  <a:cubicBezTo>
                    <a:pt x="-2739" y="1349123"/>
                    <a:pt x="-2739" y="1349123"/>
                    <a:pt x="-6047" y="1352914"/>
                  </a:cubicBezTo>
                  <a:moveTo>
                    <a:pt x="1813287" y="1421356"/>
                  </a:moveTo>
                  <a:cubicBezTo>
                    <a:pt x="1816734" y="1417703"/>
                    <a:pt x="1816734" y="1417703"/>
                    <a:pt x="1813287" y="1421356"/>
                  </a:cubicBezTo>
                  <a:moveTo>
                    <a:pt x="310731" y="1477943"/>
                  </a:moveTo>
                  <a:cubicBezTo>
                    <a:pt x="319622" y="1473807"/>
                    <a:pt x="319484" y="1469052"/>
                    <a:pt x="310386" y="1463813"/>
                  </a:cubicBezTo>
                  <a:cubicBezTo>
                    <a:pt x="301564" y="1467949"/>
                    <a:pt x="301632" y="1472705"/>
                    <a:pt x="310731" y="1477943"/>
                  </a:cubicBezTo>
                  <a:moveTo>
                    <a:pt x="993636" y="1483457"/>
                  </a:moveTo>
                  <a:cubicBezTo>
                    <a:pt x="997013" y="1479804"/>
                    <a:pt x="997013" y="1479804"/>
                    <a:pt x="993636" y="1483457"/>
                  </a:cubicBezTo>
                  <a:moveTo>
                    <a:pt x="3295374" y="1490349"/>
                  </a:moveTo>
                  <a:cubicBezTo>
                    <a:pt x="3298957" y="1486903"/>
                    <a:pt x="3298957" y="1486903"/>
                    <a:pt x="3295374" y="1490349"/>
                  </a:cubicBezTo>
                  <a:moveTo>
                    <a:pt x="736960" y="1599457"/>
                  </a:moveTo>
                  <a:cubicBezTo>
                    <a:pt x="745369" y="1603041"/>
                    <a:pt x="752882" y="1588912"/>
                    <a:pt x="747506" y="1582570"/>
                  </a:cubicBezTo>
                  <a:cubicBezTo>
                    <a:pt x="738683" y="1578642"/>
                    <a:pt x="730826" y="1593116"/>
                    <a:pt x="736960" y="1599457"/>
                  </a:cubicBezTo>
                  <a:moveTo>
                    <a:pt x="2659199" y="2200066"/>
                  </a:moveTo>
                  <a:cubicBezTo>
                    <a:pt x="2664093" y="2210198"/>
                    <a:pt x="2662025" y="2238733"/>
                    <a:pt x="2680428" y="2229704"/>
                  </a:cubicBezTo>
                  <a:cubicBezTo>
                    <a:pt x="2683254" y="2216608"/>
                    <a:pt x="2671675" y="2203099"/>
                    <a:pt x="2659199" y="2200066"/>
                  </a:cubicBezTo>
                  <a:moveTo>
                    <a:pt x="5252419" y="2393813"/>
                  </a:moveTo>
                  <a:cubicBezTo>
                    <a:pt x="5256004" y="2390367"/>
                    <a:pt x="5256004" y="2390367"/>
                    <a:pt x="5252419" y="2393813"/>
                  </a:cubicBezTo>
                </a:path>
              </a:pathLst>
            </a:custGeom>
            <a:grpFill/>
            <a:ln w="689" cap="flat">
              <a:noFill/>
              <a:prstDash val="solid"/>
              <a:miter/>
            </a:ln>
          </p:spPr>
          <p:txBody>
            <a:bodyPr rtlCol="0" anchor="ctr"/>
            <a:lstStyle/>
            <a:p>
              <a:endParaRPr lang="en-US" sz="2400" dirty="0"/>
            </a:p>
          </p:txBody>
        </p:sp>
        <p:sp>
          <p:nvSpPr>
            <p:cNvPr id="65" name="Graphic 8">
              <a:extLst>
                <a:ext uri="{FF2B5EF4-FFF2-40B4-BE49-F238E27FC236}">
                  <a16:creationId xmlns:a16="http://schemas.microsoft.com/office/drawing/2014/main" id="{09E55E47-B156-44B9-B988-48918AA3595B}"/>
                </a:ext>
              </a:extLst>
            </p:cNvPr>
            <p:cNvSpPr/>
            <p:nvPr/>
          </p:nvSpPr>
          <p:spPr>
            <a:xfrm flipV="1">
              <a:off x="2427697" y="1263595"/>
              <a:ext cx="5884600" cy="1283385"/>
            </a:xfrm>
            <a:custGeom>
              <a:avLst/>
              <a:gdLst>
                <a:gd name="connsiteX0" fmla="*/ -4613 w 5884600"/>
                <a:gd name="connsiteY0" fmla="*/ 5124 h 1283385"/>
                <a:gd name="connsiteX1" fmla="*/ -4613 w 5884600"/>
                <a:gd name="connsiteY1" fmla="*/ 5124 h 1283385"/>
                <a:gd name="connsiteX2" fmla="*/ 2464611 w 5884600"/>
                <a:gd name="connsiteY2" fmla="*/ 542530 h 1283385"/>
                <a:gd name="connsiteX3" fmla="*/ 2481911 w 5884600"/>
                <a:gd name="connsiteY3" fmla="*/ 531295 h 1283385"/>
                <a:gd name="connsiteX4" fmla="*/ 2464611 w 5884600"/>
                <a:gd name="connsiteY4" fmla="*/ 542530 h 1283385"/>
                <a:gd name="connsiteX5" fmla="*/ 5875277 w 5884600"/>
                <a:gd name="connsiteY5" fmla="*/ 652809 h 1283385"/>
                <a:gd name="connsiteX6" fmla="*/ 5875277 w 5884600"/>
                <a:gd name="connsiteY6" fmla="*/ 652809 h 1283385"/>
                <a:gd name="connsiteX7" fmla="*/ 4993318 w 5884600"/>
                <a:gd name="connsiteY7" fmla="*/ 804788 h 1283385"/>
                <a:gd name="connsiteX8" fmla="*/ 4992008 w 5884600"/>
                <a:gd name="connsiteY8" fmla="*/ 790865 h 1283385"/>
                <a:gd name="connsiteX9" fmla="*/ 4993318 w 5884600"/>
                <a:gd name="connsiteY9" fmla="*/ 804788 h 1283385"/>
                <a:gd name="connsiteX10" fmla="*/ 2788695 w 5884600"/>
                <a:gd name="connsiteY10" fmla="*/ 1182632 h 1283385"/>
                <a:gd name="connsiteX11" fmla="*/ 2788695 w 5884600"/>
                <a:gd name="connsiteY11" fmla="*/ 1182632 h 1283385"/>
                <a:gd name="connsiteX12" fmla="*/ 4793092 w 5884600"/>
                <a:gd name="connsiteY12" fmla="*/ 1279058 h 1283385"/>
                <a:gd name="connsiteX13" fmla="*/ 4793092 w 5884600"/>
                <a:gd name="connsiteY13" fmla="*/ 1279058 h 128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4600" h="1283385">
                  <a:moveTo>
                    <a:pt x="-4613" y="5124"/>
                  </a:moveTo>
                  <a:cubicBezTo>
                    <a:pt x="18063" y="4642"/>
                    <a:pt x="-14814" y="-15898"/>
                    <a:pt x="-4613" y="5124"/>
                  </a:cubicBezTo>
                  <a:close/>
                  <a:moveTo>
                    <a:pt x="2464611" y="542530"/>
                  </a:moveTo>
                  <a:cubicBezTo>
                    <a:pt x="2471228" y="547768"/>
                    <a:pt x="2485840" y="540048"/>
                    <a:pt x="2481911" y="531295"/>
                  </a:cubicBezTo>
                  <a:cubicBezTo>
                    <a:pt x="2475226" y="526677"/>
                    <a:pt x="2461096" y="534052"/>
                    <a:pt x="2464611" y="542530"/>
                  </a:cubicBezTo>
                  <a:moveTo>
                    <a:pt x="5875277" y="652809"/>
                  </a:moveTo>
                  <a:cubicBezTo>
                    <a:pt x="5878862" y="649363"/>
                    <a:pt x="5878862" y="649363"/>
                    <a:pt x="5875277" y="652809"/>
                  </a:cubicBezTo>
                  <a:moveTo>
                    <a:pt x="4993318" y="804788"/>
                  </a:moveTo>
                  <a:cubicBezTo>
                    <a:pt x="5001796" y="800032"/>
                    <a:pt x="5001382" y="795414"/>
                    <a:pt x="4992008" y="790865"/>
                  </a:cubicBezTo>
                  <a:cubicBezTo>
                    <a:pt x="4983255" y="795621"/>
                    <a:pt x="4983669" y="800239"/>
                    <a:pt x="4993318" y="804788"/>
                  </a:cubicBezTo>
                  <a:moveTo>
                    <a:pt x="2788695" y="1182632"/>
                  </a:moveTo>
                  <a:cubicBezTo>
                    <a:pt x="2792279" y="1179048"/>
                    <a:pt x="2792279" y="1179048"/>
                    <a:pt x="2788695" y="1182632"/>
                  </a:cubicBezTo>
                  <a:moveTo>
                    <a:pt x="4793092" y="1279058"/>
                  </a:moveTo>
                  <a:cubicBezTo>
                    <a:pt x="4815699" y="1277542"/>
                    <a:pt x="4782409" y="1258312"/>
                    <a:pt x="4793092" y="1279058"/>
                  </a:cubicBezTo>
                </a:path>
              </a:pathLst>
            </a:custGeom>
            <a:grpFill/>
            <a:ln w="689" cap="flat">
              <a:noFill/>
              <a:prstDash val="solid"/>
              <a:miter/>
            </a:ln>
          </p:spPr>
          <p:txBody>
            <a:bodyPr rtlCol="0" anchor="ctr"/>
            <a:lstStyle/>
            <a:p>
              <a:endParaRPr lang="en-US" sz="2400" dirty="0"/>
            </a:p>
          </p:txBody>
        </p:sp>
        <p:sp>
          <p:nvSpPr>
            <p:cNvPr id="66" name="Graphic 8">
              <a:extLst>
                <a:ext uri="{FF2B5EF4-FFF2-40B4-BE49-F238E27FC236}">
                  <a16:creationId xmlns:a16="http://schemas.microsoft.com/office/drawing/2014/main" id="{1D5AE01E-307C-4451-8DC1-73A79E3BE4F4}"/>
                </a:ext>
              </a:extLst>
            </p:cNvPr>
            <p:cNvSpPr/>
            <p:nvPr/>
          </p:nvSpPr>
          <p:spPr>
            <a:xfrm flipV="1">
              <a:off x="1959436" y="1278063"/>
              <a:ext cx="6760889" cy="2248296"/>
            </a:xfrm>
            <a:custGeom>
              <a:avLst/>
              <a:gdLst>
                <a:gd name="connsiteX0" fmla="*/ 3668817 w 6760889"/>
                <a:gd name="connsiteY0" fmla="*/ 5971 h 2248296"/>
                <a:gd name="connsiteX1" fmla="*/ 3668817 w 6760889"/>
                <a:gd name="connsiteY1" fmla="*/ 5971 h 2248296"/>
                <a:gd name="connsiteX2" fmla="*/ 2001807 w 6760889"/>
                <a:gd name="connsiteY2" fmla="*/ 488443 h 2248296"/>
                <a:gd name="connsiteX3" fmla="*/ 2011525 w 6760889"/>
                <a:gd name="connsiteY3" fmla="*/ 478656 h 2248296"/>
                <a:gd name="connsiteX4" fmla="*/ 2001807 w 6760889"/>
                <a:gd name="connsiteY4" fmla="*/ 488443 h 2248296"/>
                <a:gd name="connsiteX5" fmla="*/ -6312 w 6760889"/>
                <a:gd name="connsiteY5" fmla="*/ 518495 h 2248296"/>
                <a:gd name="connsiteX6" fmla="*/ 18363 w 6760889"/>
                <a:gd name="connsiteY6" fmla="*/ 520218 h 2248296"/>
                <a:gd name="connsiteX7" fmla="*/ -6312 w 6760889"/>
                <a:gd name="connsiteY7" fmla="*/ 518495 h 2248296"/>
                <a:gd name="connsiteX8" fmla="*/ 6076286 w 6760889"/>
                <a:gd name="connsiteY8" fmla="*/ 1232898 h 2248296"/>
                <a:gd name="connsiteX9" fmla="*/ 6076286 w 6760889"/>
                <a:gd name="connsiteY9" fmla="*/ 1232898 h 2248296"/>
                <a:gd name="connsiteX10" fmla="*/ 4372883 w 6760889"/>
                <a:gd name="connsiteY10" fmla="*/ 1431332 h 2248296"/>
                <a:gd name="connsiteX11" fmla="*/ 4381360 w 6760889"/>
                <a:gd name="connsiteY11" fmla="*/ 1417409 h 2248296"/>
                <a:gd name="connsiteX12" fmla="*/ 4372883 w 6760889"/>
                <a:gd name="connsiteY12" fmla="*/ 1431332 h 2248296"/>
                <a:gd name="connsiteX13" fmla="*/ 6744923 w 6760889"/>
                <a:gd name="connsiteY13" fmla="*/ 1847706 h 2248296"/>
                <a:gd name="connsiteX14" fmla="*/ 6744923 w 6760889"/>
                <a:gd name="connsiteY14" fmla="*/ 1847706 h 2248296"/>
                <a:gd name="connsiteX15" fmla="*/ 3462940 w 6760889"/>
                <a:gd name="connsiteY15" fmla="*/ 2243609 h 2248296"/>
                <a:gd name="connsiteX16" fmla="*/ 3482721 w 6760889"/>
                <a:gd name="connsiteY16" fmla="*/ 2230375 h 2248296"/>
                <a:gd name="connsiteX17" fmla="*/ 3462940 w 6760889"/>
                <a:gd name="connsiteY17" fmla="*/ 2243609 h 224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60889" h="2248296">
                  <a:moveTo>
                    <a:pt x="3668817" y="5971"/>
                  </a:moveTo>
                  <a:cubicBezTo>
                    <a:pt x="3691494" y="4041"/>
                    <a:pt x="3657652" y="-14362"/>
                    <a:pt x="3668817" y="5971"/>
                  </a:cubicBezTo>
                  <a:close/>
                  <a:moveTo>
                    <a:pt x="2001807" y="488443"/>
                  </a:moveTo>
                  <a:cubicBezTo>
                    <a:pt x="2011456" y="491614"/>
                    <a:pt x="2014695" y="488374"/>
                    <a:pt x="2011525" y="478656"/>
                  </a:cubicBezTo>
                  <a:cubicBezTo>
                    <a:pt x="2001738" y="475555"/>
                    <a:pt x="1998498" y="478794"/>
                    <a:pt x="2001807" y="488443"/>
                  </a:cubicBezTo>
                  <a:moveTo>
                    <a:pt x="-6312" y="518495"/>
                  </a:moveTo>
                  <a:cubicBezTo>
                    <a:pt x="-9690" y="535588"/>
                    <a:pt x="18018" y="533107"/>
                    <a:pt x="18363" y="520218"/>
                  </a:cubicBezTo>
                  <a:cubicBezTo>
                    <a:pt x="12435" y="515117"/>
                    <a:pt x="-3211" y="506640"/>
                    <a:pt x="-6312" y="518495"/>
                  </a:cubicBezTo>
                  <a:moveTo>
                    <a:pt x="6076286" y="1232898"/>
                  </a:moveTo>
                  <a:cubicBezTo>
                    <a:pt x="6079663" y="1229245"/>
                    <a:pt x="6079663" y="1229245"/>
                    <a:pt x="6076286" y="1232898"/>
                  </a:cubicBezTo>
                  <a:moveTo>
                    <a:pt x="4372883" y="1431332"/>
                  </a:moveTo>
                  <a:cubicBezTo>
                    <a:pt x="4381291" y="1438018"/>
                    <a:pt x="4388667" y="1422786"/>
                    <a:pt x="4381360" y="1417409"/>
                  </a:cubicBezTo>
                  <a:cubicBezTo>
                    <a:pt x="4372676" y="1409828"/>
                    <a:pt x="4365163" y="1425956"/>
                    <a:pt x="4372883" y="1431332"/>
                  </a:cubicBezTo>
                  <a:moveTo>
                    <a:pt x="6744923" y="1847706"/>
                  </a:moveTo>
                  <a:cubicBezTo>
                    <a:pt x="6765187" y="1858941"/>
                    <a:pt x="6746509" y="1824892"/>
                    <a:pt x="6744923" y="1847706"/>
                  </a:cubicBezTo>
                  <a:moveTo>
                    <a:pt x="3462940" y="2243609"/>
                  </a:moveTo>
                  <a:cubicBezTo>
                    <a:pt x="3470659" y="2247676"/>
                    <a:pt x="3488028" y="2240714"/>
                    <a:pt x="3482721" y="2230375"/>
                  </a:cubicBezTo>
                  <a:cubicBezTo>
                    <a:pt x="3474933" y="2225275"/>
                    <a:pt x="3460045" y="2234718"/>
                    <a:pt x="3462940" y="2243609"/>
                  </a:cubicBezTo>
                </a:path>
              </a:pathLst>
            </a:custGeom>
            <a:grpFill/>
            <a:ln w="689" cap="flat">
              <a:noFill/>
              <a:prstDash val="solid"/>
              <a:miter/>
            </a:ln>
          </p:spPr>
          <p:txBody>
            <a:bodyPr rtlCol="0" anchor="ctr"/>
            <a:lstStyle/>
            <a:p>
              <a:endParaRPr lang="en-US" sz="2400" dirty="0"/>
            </a:p>
          </p:txBody>
        </p:sp>
        <p:sp>
          <p:nvSpPr>
            <p:cNvPr id="67" name="Graphic 8">
              <a:extLst>
                <a:ext uri="{FF2B5EF4-FFF2-40B4-BE49-F238E27FC236}">
                  <a16:creationId xmlns:a16="http://schemas.microsoft.com/office/drawing/2014/main" id="{2AED5CA3-B979-40D3-9E4C-BCBDD7D89162}"/>
                </a:ext>
              </a:extLst>
            </p:cNvPr>
            <p:cNvSpPr/>
            <p:nvPr/>
          </p:nvSpPr>
          <p:spPr>
            <a:xfrm flipV="1">
              <a:off x="1587399" y="1277173"/>
              <a:ext cx="4293862" cy="2329238"/>
            </a:xfrm>
            <a:custGeom>
              <a:avLst/>
              <a:gdLst>
                <a:gd name="connsiteX0" fmla="*/ 2213752 w 4293862"/>
                <a:gd name="connsiteY0" fmla="*/ 67547 h 2329238"/>
                <a:gd name="connsiteX1" fmla="*/ 2231190 w 4293862"/>
                <a:gd name="connsiteY1" fmla="*/ 66858 h 2329238"/>
                <a:gd name="connsiteX2" fmla="*/ 2225676 w 4293862"/>
                <a:gd name="connsiteY2" fmla="*/ 65549 h 2329238"/>
                <a:gd name="connsiteX3" fmla="*/ 2216233 w 4293862"/>
                <a:gd name="connsiteY3" fmla="*/ 63550 h 2329238"/>
                <a:gd name="connsiteX4" fmla="*/ 2231879 w 4293862"/>
                <a:gd name="connsiteY4" fmla="*/ 35497 h 2329238"/>
                <a:gd name="connsiteX5" fmla="*/ 2214924 w 4293862"/>
                <a:gd name="connsiteY5" fmla="*/ 31224 h 2329238"/>
                <a:gd name="connsiteX6" fmla="*/ 2224297 w 4293862"/>
                <a:gd name="connsiteY6" fmla="*/ 12339 h 2329238"/>
                <a:gd name="connsiteX7" fmla="*/ 2239116 w 4293862"/>
                <a:gd name="connsiteY7" fmla="*/ -3445 h 2329238"/>
                <a:gd name="connsiteX8" fmla="*/ 2220851 w 4293862"/>
                <a:gd name="connsiteY8" fmla="*/ -2687 h 2329238"/>
                <a:gd name="connsiteX9" fmla="*/ 2202655 w 4293862"/>
                <a:gd name="connsiteY9" fmla="*/ 15303 h 2329238"/>
                <a:gd name="connsiteX10" fmla="*/ 2205343 w 4293862"/>
                <a:gd name="connsiteY10" fmla="*/ 36738 h 2329238"/>
                <a:gd name="connsiteX11" fmla="*/ 2219128 w 4293862"/>
                <a:gd name="connsiteY11" fmla="*/ 44113 h 2329238"/>
                <a:gd name="connsiteX12" fmla="*/ 2213752 w 4293862"/>
                <a:gd name="connsiteY12" fmla="*/ 67547 h 2329238"/>
                <a:gd name="connsiteX13" fmla="*/ -2313 w 4293862"/>
                <a:gd name="connsiteY13" fmla="*/ 1265044 h 2329238"/>
                <a:gd name="connsiteX14" fmla="*/ -2313 w 4293862"/>
                <a:gd name="connsiteY14" fmla="*/ 1265044 h 2329238"/>
                <a:gd name="connsiteX15" fmla="*/ 407444 w 4293862"/>
                <a:gd name="connsiteY15" fmla="*/ 2039757 h 2329238"/>
                <a:gd name="connsiteX16" fmla="*/ 400552 w 4293862"/>
                <a:gd name="connsiteY16" fmla="*/ 2002193 h 2329238"/>
                <a:gd name="connsiteX17" fmla="*/ 407444 w 4293862"/>
                <a:gd name="connsiteY17" fmla="*/ 2039757 h 2329238"/>
                <a:gd name="connsiteX18" fmla="*/ 4256402 w 4293862"/>
                <a:gd name="connsiteY18" fmla="*/ 2315731 h 2329238"/>
                <a:gd name="connsiteX19" fmla="*/ 4254404 w 4293862"/>
                <a:gd name="connsiteY19" fmla="*/ 2288643 h 2329238"/>
                <a:gd name="connsiteX20" fmla="*/ 4286040 w 4293862"/>
                <a:gd name="connsiteY20" fmla="*/ 2306081 h 2329238"/>
                <a:gd name="connsiteX21" fmla="*/ 4256402 w 4293862"/>
                <a:gd name="connsiteY21" fmla="*/ 2315731 h 2329238"/>
                <a:gd name="connsiteX22" fmla="*/ 4250819 w 4293862"/>
                <a:gd name="connsiteY22" fmla="*/ 2325587 h 2329238"/>
                <a:gd name="connsiteX23" fmla="*/ 4289149 w 4293862"/>
                <a:gd name="connsiteY23" fmla="*/ 2325794 h 2329238"/>
                <a:gd name="connsiteX24" fmla="*/ 4281078 w 4293862"/>
                <a:gd name="connsiteY24" fmla="*/ 2289884 h 2329238"/>
                <a:gd name="connsiteX25" fmla="*/ 4251095 w 4293862"/>
                <a:gd name="connsiteY25" fmla="*/ 2287196 h 2329238"/>
                <a:gd name="connsiteX26" fmla="*/ 4250819 w 4293862"/>
                <a:gd name="connsiteY26" fmla="*/ 2325587 h 2329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293862" h="2329238">
                  <a:moveTo>
                    <a:pt x="2213752" y="67547"/>
                  </a:moveTo>
                  <a:cubicBezTo>
                    <a:pt x="2218094" y="67341"/>
                    <a:pt x="2226848" y="66996"/>
                    <a:pt x="2231190" y="66858"/>
                  </a:cubicBezTo>
                  <a:lnTo>
                    <a:pt x="2225676" y="65549"/>
                  </a:lnTo>
                  <a:lnTo>
                    <a:pt x="2216233" y="63550"/>
                  </a:lnTo>
                  <a:cubicBezTo>
                    <a:pt x="2221609" y="54452"/>
                    <a:pt x="2227192" y="45147"/>
                    <a:pt x="2231879" y="35497"/>
                  </a:cubicBezTo>
                  <a:cubicBezTo>
                    <a:pt x="2227675" y="34395"/>
                    <a:pt x="2219197" y="32258"/>
                    <a:pt x="2214924" y="31224"/>
                  </a:cubicBezTo>
                  <a:cubicBezTo>
                    <a:pt x="2217956" y="24883"/>
                    <a:pt x="2221058" y="18611"/>
                    <a:pt x="2224297" y="12339"/>
                  </a:cubicBezTo>
                  <a:cubicBezTo>
                    <a:pt x="2231741" y="9582"/>
                    <a:pt x="2236704" y="4343"/>
                    <a:pt x="2239116" y="-3445"/>
                  </a:cubicBezTo>
                  <a:cubicBezTo>
                    <a:pt x="2234567" y="-3307"/>
                    <a:pt x="2225400" y="-2894"/>
                    <a:pt x="2220851" y="-2687"/>
                  </a:cubicBezTo>
                  <a:cubicBezTo>
                    <a:pt x="2214648" y="3310"/>
                    <a:pt x="2208652" y="9306"/>
                    <a:pt x="2202655" y="15303"/>
                  </a:cubicBezTo>
                  <a:cubicBezTo>
                    <a:pt x="2203551" y="22471"/>
                    <a:pt x="2204378" y="29639"/>
                    <a:pt x="2205343" y="36738"/>
                  </a:cubicBezTo>
                  <a:cubicBezTo>
                    <a:pt x="2208789" y="38599"/>
                    <a:pt x="2215682" y="42252"/>
                    <a:pt x="2219128" y="44113"/>
                  </a:cubicBezTo>
                  <a:cubicBezTo>
                    <a:pt x="2217750" y="49972"/>
                    <a:pt x="2215062" y="61689"/>
                    <a:pt x="2213752" y="67547"/>
                  </a:cubicBezTo>
                  <a:close/>
                  <a:moveTo>
                    <a:pt x="-2313" y="1265044"/>
                  </a:moveTo>
                  <a:cubicBezTo>
                    <a:pt x="20295" y="1263321"/>
                    <a:pt x="-13272" y="1244504"/>
                    <a:pt x="-2313" y="1265044"/>
                  </a:cubicBezTo>
                  <a:moveTo>
                    <a:pt x="407444" y="2039757"/>
                  </a:moveTo>
                  <a:cubicBezTo>
                    <a:pt x="423435" y="2031624"/>
                    <a:pt x="424400" y="1997506"/>
                    <a:pt x="400552" y="2002193"/>
                  </a:cubicBezTo>
                  <a:cubicBezTo>
                    <a:pt x="402688" y="2014737"/>
                    <a:pt x="404963" y="2027281"/>
                    <a:pt x="407444" y="2039757"/>
                  </a:cubicBezTo>
                  <a:moveTo>
                    <a:pt x="4256402" y="2315731"/>
                  </a:moveTo>
                  <a:cubicBezTo>
                    <a:pt x="4255851" y="2308976"/>
                    <a:pt x="4254886" y="2295398"/>
                    <a:pt x="4254404" y="2288643"/>
                  </a:cubicBezTo>
                  <a:cubicBezTo>
                    <a:pt x="4266534" y="2291125"/>
                    <a:pt x="4276528" y="2298431"/>
                    <a:pt x="4286040" y="2306081"/>
                  </a:cubicBezTo>
                  <a:cubicBezTo>
                    <a:pt x="4276253" y="2309872"/>
                    <a:pt x="4266327" y="2312974"/>
                    <a:pt x="4256402" y="2315731"/>
                  </a:cubicBezTo>
                  <a:moveTo>
                    <a:pt x="4250819" y="2325587"/>
                  </a:moveTo>
                  <a:cubicBezTo>
                    <a:pt x="4263432" y="2322417"/>
                    <a:pt x="4276390" y="2322761"/>
                    <a:pt x="4289149" y="2325794"/>
                  </a:cubicBezTo>
                  <a:cubicBezTo>
                    <a:pt x="4288039" y="2314008"/>
                    <a:pt x="4293070" y="2297535"/>
                    <a:pt x="4281078" y="2289884"/>
                  </a:cubicBezTo>
                  <a:cubicBezTo>
                    <a:pt x="4272324" y="2282716"/>
                    <a:pt x="4260951" y="2286645"/>
                    <a:pt x="4251095" y="2287196"/>
                  </a:cubicBezTo>
                  <a:cubicBezTo>
                    <a:pt x="4250957" y="2300016"/>
                    <a:pt x="4250888" y="2312836"/>
                    <a:pt x="4250819" y="2325587"/>
                  </a:cubicBezTo>
                </a:path>
              </a:pathLst>
            </a:custGeom>
            <a:grpFill/>
            <a:ln w="689" cap="flat">
              <a:noFill/>
              <a:prstDash val="solid"/>
              <a:miter/>
            </a:ln>
          </p:spPr>
          <p:txBody>
            <a:bodyPr rtlCol="0" anchor="ctr"/>
            <a:lstStyle/>
            <a:p>
              <a:endParaRPr lang="en-US" sz="2400" dirty="0"/>
            </a:p>
          </p:txBody>
        </p:sp>
        <p:sp>
          <p:nvSpPr>
            <p:cNvPr id="68" name="Graphic 8">
              <a:extLst>
                <a:ext uri="{FF2B5EF4-FFF2-40B4-BE49-F238E27FC236}">
                  <a16:creationId xmlns:a16="http://schemas.microsoft.com/office/drawing/2014/main" id="{5D08F898-C00D-4041-AF32-677A874431DB}"/>
                </a:ext>
              </a:extLst>
            </p:cNvPr>
            <p:cNvSpPr/>
            <p:nvPr/>
          </p:nvSpPr>
          <p:spPr>
            <a:xfrm flipV="1">
              <a:off x="983473" y="1276718"/>
              <a:ext cx="7806264" cy="2484786"/>
            </a:xfrm>
            <a:custGeom>
              <a:avLst/>
              <a:gdLst>
                <a:gd name="connsiteX0" fmla="*/ 269877 w 7806264"/>
                <a:gd name="connsiteY0" fmla="*/ 2209 h 2484786"/>
                <a:gd name="connsiteX1" fmla="*/ 288280 w 7806264"/>
                <a:gd name="connsiteY1" fmla="*/ 12892 h 2484786"/>
                <a:gd name="connsiteX2" fmla="*/ 269877 w 7806264"/>
                <a:gd name="connsiteY2" fmla="*/ 2209 h 2484786"/>
                <a:gd name="connsiteX3" fmla="*/ 3881528 w 7806264"/>
                <a:gd name="connsiteY3" fmla="*/ 248683 h 2484786"/>
                <a:gd name="connsiteX4" fmla="*/ 3881528 w 7806264"/>
                <a:gd name="connsiteY4" fmla="*/ 248683 h 2484786"/>
                <a:gd name="connsiteX5" fmla="*/ 6926755 w 7806264"/>
                <a:gd name="connsiteY5" fmla="*/ 565668 h 2484786"/>
                <a:gd name="connsiteX6" fmla="*/ 6926755 w 7806264"/>
                <a:gd name="connsiteY6" fmla="*/ 565668 h 2484786"/>
                <a:gd name="connsiteX7" fmla="*/ 5225902 w 7806264"/>
                <a:gd name="connsiteY7" fmla="*/ 786088 h 2484786"/>
                <a:gd name="connsiteX8" fmla="*/ 5225902 w 7806264"/>
                <a:gd name="connsiteY8" fmla="*/ 786088 h 2484786"/>
                <a:gd name="connsiteX9" fmla="*/ 5308267 w 7806264"/>
                <a:gd name="connsiteY9" fmla="*/ 841848 h 2484786"/>
                <a:gd name="connsiteX10" fmla="*/ 5304546 w 7806264"/>
                <a:gd name="connsiteY10" fmla="*/ 823997 h 2484786"/>
                <a:gd name="connsiteX11" fmla="*/ 5308267 w 7806264"/>
                <a:gd name="connsiteY11" fmla="*/ 841848 h 2484786"/>
                <a:gd name="connsiteX12" fmla="*/ 7190323 w 7806264"/>
                <a:gd name="connsiteY12" fmla="*/ 959296 h 2484786"/>
                <a:gd name="connsiteX13" fmla="*/ 7185774 w 7806264"/>
                <a:gd name="connsiteY13" fmla="*/ 940686 h 2484786"/>
                <a:gd name="connsiteX14" fmla="*/ 7190323 w 7806264"/>
                <a:gd name="connsiteY14" fmla="*/ 959296 h 2484786"/>
                <a:gd name="connsiteX15" fmla="*/ 4679123 w 7806264"/>
                <a:gd name="connsiteY15" fmla="*/ 1316601 h 2484786"/>
                <a:gd name="connsiteX16" fmla="*/ 4679123 w 7806264"/>
                <a:gd name="connsiteY16" fmla="*/ 1316601 h 2484786"/>
                <a:gd name="connsiteX17" fmla="*/ -6028 w 7806264"/>
                <a:gd name="connsiteY17" fmla="*/ 1516758 h 2484786"/>
                <a:gd name="connsiteX18" fmla="*/ -6028 w 7806264"/>
                <a:gd name="connsiteY18" fmla="*/ 1516758 h 2484786"/>
                <a:gd name="connsiteX19" fmla="*/ 1766024 w 7806264"/>
                <a:gd name="connsiteY19" fmla="*/ 1655159 h 2484786"/>
                <a:gd name="connsiteX20" fmla="*/ 1761475 w 7806264"/>
                <a:gd name="connsiteY20" fmla="*/ 1636825 h 2484786"/>
                <a:gd name="connsiteX21" fmla="*/ 1766024 w 7806264"/>
                <a:gd name="connsiteY21" fmla="*/ 1655159 h 2484786"/>
                <a:gd name="connsiteX22" fmla="*/ 5046561 w 7806264"/>
                <a:gd name="connsiteY22" fmla="*/ 1875718 h 2484786"/>
                <a:gd name="connsiteX23" fmla="*/ 5046561 w 7806264"/>
                <a:gd name="connsiteY23" fmla="*/ 1875718 h 2484786"/>
                <a:gd name="connsiteX24" fmla="*/ 7797343 w 7806264"/>
                <a:gd name="connsiteY24" fmla="*/ 2192220 h 2484786"/>
                <a:gd name="connsiteX25" fmla="*/ 7797343 w 7806264"/>
                <a:gd name="connsiteY25" fmla="*/ 2192220 h 2484786"/>
                <a:gd name="connsiteX26" fmla="*/ 2419568 w 7806264"/>
                <a:gd name="connsiteY26" fmla="*/ 2343509 h 2484786"/>
                <a:gd name="connsiteX27" fmla="*/ 2419568 w 7806264"/>
                <a:gd name="connsiteY27" fmla="*/ 2343509 h 2484786"/>
                <a:gd name="connsiteX28" fmla="*/ 5699966 w 7806264"/>
                <a:gd name="connsiteY28" fmla="*/ 2480807 h 2484786"/>
                <a:gd name="connsiteX29" fmla="*/ 5709891 w 7806264"/>
                <a:gd name="connsiteY29" fmla="*/ 2469917 h 2484786"/>
                <a:gd name="connsiteX30" fmla="*/ 5699966 w 7806264"/>
                <a:gd name="connsiteY30" fmla="*/ 2480807 h 248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06264" h="2484786">
                  <a:moveTo>
                    <a:pt x="269877" y="2209"/>
                  </a:moveTo>
                  <a:cubicBezTo>
                    <a:pt x="270567" y="10066"/>
                    <a:pt x="281250" y="15787"/>
                    <a:pt x="288280" y="12892"/>
                  </a:cubicBezTo>
                  <a:cubicBezTo>
                    <a:pt x="295173" y="2484"/>
                    <a:pt x="274564" y="-11094"/>
                    <a:pt x="269877" y="2209"/>
                  </a:cubicBezTo>
                  <a:close/>
                  <a:moveTo>
                    <a:pt x="3881528" y="248683"/>
                  </a:moveTo>
                  <a:cubicBezTo>
                    <a:pt x="3901585" y="260538"/>
                    <a:pt x="3884285" y="226214"/>
                    <a:pt x="3881528" y="248683"/>
                  </a:cubicBezTo>
                  <a:moveTo>
                    <a:pt x="6926755" y="565668"/>
                  </a:moveTo>
                  <a:cubicBezTo>
                    <a:pt x="6949432" y="564151"/>
                    <a:pt x="6915727" y="545197"/>
                    <a:pt x="6926755" y="565668"/>
                  </a:cubicBezTo>
                  <a:moveTo>
                    <a:pt x="5225902" y="786088"/>
                  </a:moveTo>
                  <a:cubicBezTo>
                    <a:pt x="5229625" y="782642"/>
                    <a:pt x="5229625" y="782642"/>
                    <a:pt x="5225902" y="786088"/>
                  </a:cubicBezTo>
                  <a:moveTo>
                    <a:pt x="5308267" y="841848"/>
                  </a:moveTo>
                  <a:cubicBezTo>
                    <a:pt x="5319089" y="841090"/>
                    <a:pt x="5312541" y="824410"/>
                    <a:pt x="5304546" y="823997"/>
                  </a:cubicBezTo>
                  <a:cubicBezTo>
                    <a:pt x="5293793" y="825031"/>
                    <a:pt x="5300134" y="841297"/>
                    <a:pt x="5308267" y="841848"/>
                  </a:cubicBezTo>
                  <a:moveTo>
                    <a:pt x="7190323" y="959296"/>
                  </a:moveTo>
                  <a:cubicBezTo>
                    <a:pt x="7200937" y="958193"/>
                    <a:pt x="7192529" y="942203"/>
                    <a:pt x="7185774" y="940686"/>
                  </a:cubicBezTo>
                  <a:cubicBezTo>
                    <a:pt x="7174471" y="941445"/>
                    <a:pt x="7182259" y="958676"/>
                    <a:pt x="7190323" y="959296"/>
                  </a:cubicBezTo>
                  <a:moveTo>
                    <a:pt x="4679123" y="1316601"/>
                  </a:moveTo>
                  <a:cubicBezTo>
                    <a:pt x="4701869" y="1315498"/>
                    <a:pt x="4668233" y="1295924"/>
                    <a:pt x="4679123" y="1316601"/>
                  </a:cubicBezTo>
                  <a:moveTo>
                    <a:pt x="-6028" y="1516758"/>
                  </a:moveTo>
                  <a:cubicBezTo>
                    <a:pt x="-2582" y="1512898"/>
                    <a:pt x="-2582" y="1512898"/>
                    <a:pt x="-6028" y="1516758"/>
                  </a:cubicBezTo>
                  <a:moveTo>
                    <a:pt x="1766024" y="1655159"/>
                  </a:moveTo>
                  <a:cubicBezTo>
                    <a:pt x="1777052" y="1654194"/>
                    <a:pt x="1768161" y="1638341"/>
                    <a:pt x="1761475" y="1636825"/>
                  </a:cubicBezTo>
                  <a:cubicBezTo>
                    <a:pt x="1750240" y="1637445"/>
                    <a:pt x="1757960" y="1654814"/>
                    <a:pt x="1766024" y="1655159"/>
                  </a:cubicBezTo>
                  <a:moveTo>
                    <a:pt x="5046561" y="1875718"/>
                  </a:moveTo>
                  <a:cubicBezTo>
                    <a:pt x="5066962" y="1887090"/>
                    <a:pt x="5048284" y="1853110"/>
                    <a:pt x="5046561" y="1875718"/>
                  </a:cubicBezTo>
                  <a:moveTo>
                    <a:pt x="7797343" y="2192220"/>
                  </a:moveTo>
                  <a:cubicBezTo>
                    <a:pt x="7801202" y="2188842"/>
                    <a:pt x="7801202" y="2188842"/>
                    <a:pt x="7797343" y="2192220"/>
                  </a:cubicBezTo>
                  <a:moveTo>
                    <a:pt x="2419568" y="2343509"/>
                  </a:moveTo>
                  <a:cubicBezTo>
                    <a:pt x="2423289" y="2339994"/>
                    <a:pt x="2423289" y="2339994"/>
                    <a:pt x="2419568" y="2343509"/>
                  </a:cubicBezTo>
                  <a:moveTo>
                    <a:pt x="5699966" y="2480807"/>
                  </a:moveTo>
                  <a:cubicBezTo>
                    <a:pt x="5709478" y="2483082"/>
                    <a:pt x="5712786" y="2479497"/>
                    <a:pt x="5709891" y="2469917"/>
                  </a:cubicBezTo>
                  <a:cubicBezTo>
                    <a:pt x="5700104" y="2467505"/>
                    <a:pt x="5696795" y="2471158"/>
                    <a:pt x="5699966" y="2480807"/>
                  </a:cubicBezTo>
                </a:path>
              </a:pathLst>
            </a:custGeom>
            <a:grpFill/>
            <a:ln w="689" cap="flat">
              <a:noFill/>
              <a:prstDash val="solid"/>
              <a:miter/>
            </a:ln>
          </p:spPr>
          <p:txBody>
            <a:bodyPr rtlCol="0" anchor="ctr"/>
            <a:lstStyle/>
            <a:p>
              <a:endParaRPr lang="en-US" sz="2400" dirty="0"/>
            </a:p>
          </p:txBody>
        </p:sp>
        <p:sp>
          <p:nvSpPr>
            <p:cNvPr id="69" name="Graphic 8">
              <a:extLst>
                <a:ext uri="{FF2B5EF4-FFF2-40B4-BE49-F238E27FC236}">
                  <a16:creationId xmlns:a16="http://schemas.microsoft.com/office/drawing/2014/main" id="{D3AB003F-3BED-42DF-9E51-36DA9A8F1703}"/>
                </a:ext>
              </a:extLst>
            </p:cNvPr>
            <p:cNvSpPr/>
            <p:nvPr/>
          </p:nvSpPr>
          <p:spPr>
            <a:xfrm flipV="1">
              <a:off x="409888" y="1283442"/>
              <a:ext cx="8334909" cy="2454269"/>
            </a:xfrm>
            <a:custGeom>
              <a:avLst/>
              <a:gdLst>
                <a:gd name="connsiteX0" fmla="*/ 485168 w 8334909"/>
                <a:gd name="connsiteY0" fmla="*/ 4869 h 2454269"/>
                <a:gd name="connsiteX1" fmla="*/ 485168 w 8334909"/>
                <a:gd name="connsiteY1" fmla="*/ 4869 h 2454269"/>
                <a:gd name="connsiteX2" fmla="*/ 6978143 w 8334909"/>
                <a:gd name="connsiteY2" fmla="*/ 493751 h 2454269"/>
                <a:gd name="connsiteX3" fmla="*/ 6988826 w 8334909"/>
                <a:gd name="connsiteY3" fmla="*/ 521252 h 2454269"/>
                <a:gd name="connsiteX4" fmla="*/ 6978143 w 8334909"/>
                <a:gd name="connsiteY4" fmla="*/ 493751 h 2454269"/>
                <a:gd name="connsiteX5" fmla="*/ 2800553 w 8334909"/>
                <a:gd name="connsiteY5" fmla="*/ 623329 h 2454269"/>
                <a:gd name="connsiteX6" fmla="*/ 2800553 w 8334909"/>
                <a:gd name="connsiteY6" fmla="*/ 623329 h 2454269"/>
                <a:gd name="connsiteX7" fmla="*/ 390672 w 8334909"/>
                <a:gd name="connsiteY7" fmla="*/ 645454 h 2454269"/>
                <a:gd name="connsiteX8" fmla="*/ 405491 w 8334909"/>
                <a:gd name="connsiteY8" fmla="*/ 640629 h 2454269"/>
                <a:gd name="connsiteX9" fmla="*/ 390672 w 8334909"/>
                <a:gd name="connsiteY9" fmla="*/ 645454 h 2454269"/>
                <a:gd name="connsiteX10" fmla="*/ 6074955 w 8334909"/>
                <a:gd name="connsiteY10" fmla="*/ 1122757 h 2454269"/>
                <a:gd name="connsiteX11" fmla="*/ 6068131 w 8334909"/>
                <a:gd name="connsiteY11" fmla="*/ 1113797 h 2454269"/>
                <a:gd name="connsiteX12" fmla="*/ 6074955 w 8334909"/>
                <a:gd name="connsiteY12" fmla="*/ 1122757 h 2454269"/>
                <a:gd name="connsiteX13" fmla="*/ 3285576 w 8334909"/>
                <a:gd name="connsiteY13" fmla="*/ 1258539 h 2454269"/>
                <a:gd name="connsiteX14" fmla="*/ 3294742 w 8334909"/>
                <a:gd name="connsiteY14" fmla="*/ 1242410 h 2454269"/>
                <a:gd name="connsiteX15" fmla="*/ 3285576 w 8334909"/>
                <a:gd name="connsiteY15" fmla="*/ 1258539 h 2454269"/>
                <a:gd name="connsiteX16" fmla="*/ 4102884 w 8334909"/>
                <a:gd name="connsiteY16" fmla="*/ 1635143 h 2454269"/>
                <a:gd name="connsiteX17" fmla="*/ 4116393 w 8334909"/>
                <a:gd name="connsiteY17" fmla="*/ 1624804 h 2454269"/>
                <a:gd name="connsiteX18" fmla="*/ 4102401 w 8334909"/>
                <a:gd name="connsiteY18" fmla="*/ 1604678 h 2454269"/>
                <a:gd name="connsiteX19" fmla="*/ 4109500 w 8334909"/>
                <a:gd name="connsiteY19" fmla="*/ 1583932 h 2454269"/>
                <a:gd name="connsiteX20" fmla="*/ 4095578 w 8334909"/>
                <a:gd name="connsiteY20" fmla="*/ 1582829 h 2454269"/>
                <a:gd name="connsiteX21" fmla="*/ 4102884 w 8334909"/>
                <a:gd name="connsiteY21" fmla="*/ 1635143 h 2454269"/>
                <a:gd name="connsiteX22" fmla="*/ -4405 w 8334909"/>
                <a:gd name="connsiteY22" fmla="*/ 1864110 h 2454269"/>
                <a:gd name="connsiteX23" fmla="*/ 10552 w 8334909"/>
                <a:gd name="connsiteY23" fmla="*/ 1852462 h 2454269"/>
                <a:gd name="connsiteX24" fmla="*/ -4405 w 8334909"/>
                <a:gd name="connsiteY24" fmla="*/ 1864110 h 2454269"/>
                <a:gd name="connsiteX25" fmla="*/ 7479914 w 8334909"/>
                <a:gd name="connsiteY25" fmla="*/ 2015814 h 2454269"/>
                <a:gd name="connsiteX26" fmla="*/ 7479914 w 8334909"/>
                <a:gd name="connsiteY26" fmla="*/ 2015814 h 2454269"/>
                <a:gd name="connsiteX27" fmla="*/ 1366094 w 8334909"/>
                <a:gd name="connsiteY27" fmla="*/ 2126782 h 2454269"/>
                <a:gd name="connsiteX28" fmla="*/ 1366094 w 8334909"/>
                <a:gd name="connsiteY28" fmla="*/ 2126782 h 2454269"/>
                <a:gd name="connsiteX29" fmla="*/ 3076527 w 8334909"/>
                <a:gd name="connsiteY29" fmla="*/ 2325630 h 2454269"/>
                <a:gd name="connsiteX30" fmla="*/ 3076527 w 8334909"/>
                <a:gd name="connsiteY30" fmla="*/ 2325630 h 2454269"/>
                <a:gd name="connsiteX31" fmla="*/ 8321071 w 8334909"/>
                <a:gd name="connsiteY31" fmla="*/ 2374566 h 2454269"/>
                <a:gd name="connsiteX32" fmla="*/ 8321071 w 8334909"/>
                <a:gd name="connsiteY32" fmla="*/ 2374566 h 2454269"/>
                <a:gd name="connsiteX33" fmla="*/ 6345760 w 8334909"/>
                <a:gd name="connsiteY33" fmla="*/ 2450245 h 2454269"/>
                <a:gd name="connsiteX34" fmla="*/ 6338041 w 8334909"/>
                <a:gd name="connsiteY34" fmla="*/ 2425846 h 2454269"/>
                <a:gd name="connsiteX35" fmla="*/ 6345760 w 8334909"/>
                <a:gd name="connsiteY35" fmla="*/ 2450245 h 2454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334909" h="2454269">
                  <a:moveTo>
                    <a:pt x="485168" y="4869"/>
                  </a:moveTo>
                  <a:cubicBezTo>
                    <a:pt x="506121" y="15001"/>
                    <a:pt x="485788" y="-17876"/>
                    <a:pt x="485168" y="4869"/>
                  </a:cubicBezTo>
                  <a:close/>
                  <a:moveTo>
                    <a:pt x="6978143" y="493751"/>
                  </a:moveTo>
                  <a:cubicBezTo>
                    <a:pt x="6974421" y="502367"/>
                    <a:pt x="6977592" y="521597"/>
                    <a:pt x="6988826" y="521252"/>
                  </a:cubicBezTo>
                  <a:cubicBezTo>
                    <a:pt x="6990894" y="512843"/>
                    <a:pt x="6987586" y="494854"/>
                    <a:pt x="6978143" y="493751"/>
                  </a:cubicBezTo>
                  <a:moveTo>
                    <a:pt x="2800553" y="623329"/>
                  </a:moveTo>
                  <a:cubicBezTo>
                    <a:pt x="2823298" y="622640"/>
                    <a:pt x="2790145" y="602514"/>
                    <a:pt x="2800553" y="623329"/>
                  </a:cubicBezTo>
                  <a:moveTo>
                    <a:pt x="390672" y="645454"/>
                  </a:moveTo>
                  <a:cubicBezTo>
                    <a:pt x="399012" y="651589"/>
                    <a:pt x="403975" y="649934"/>
                    <a:pt x="405491" y="640629"/>
                  </a:cubicBezTo>
                  <a:cubicBezTo>
                    <a:pt x="397151" y="634633"/>
                    <a:pt x="392258" y="636287"/>
                    <a:pt x="390672" y="645454"/>
                  </a:cubicBezTo>
                  <a:moveTo>
                    <a:pt x="6074955" y="1122757"/>
                  </a:moveTo>
                  <a:cubicBezTo>
                    <a:pt x="6101285" y="1129305"/>
                    <a:pt x="6075644" y="1091190"/>
                    <a:pt x="6068131" y="1113797"/>
                  </a:cubicBezTo>
                  <a:cubicBezTo>
                    <a:pt x="6069854" y="1116072"/>
                    <a:pt x="6073301" y="1120483"/>
                    <a:pt x="6074955" y="1122757"/>
                  </a:cubicBezTo>
                  <a:moveTo>
                    <a:pt x="3285576" y="1258539"/>
                  </a:moveTo>
                  <a:cubicBezTo>
                    <a:pt x="3294467" y="1263777"/>
                    <a:pt x="3301635" y="1248131"/>
                    <a:pt x="3294742" y="1242410"/>
                  </a:cubicBezTo>
                  <a:cubicBezTo>
                    <a:pt x="3286058" y="1238068"/>
                    <a:pt x="3279510" y="1252956"/>
                    <a:pt x="3285576" y="1258539"/>
                  </a:cubicBezTo>
                  <a:moveTo>
                    <a:pt x="4102884" y="1635143"/>
                  </a:moveTo>
                  <a:cubicBezTo>
                    <a:pt x="4106261" y="1632524"/>
                    <a:pt x="4113016" y="1627354"/>
                    <a:pt x="4116393" y="1624804"/>
                  </a:cubicBezTo>
                  <a:cubicBezTo>
                    <a:pt x="4115635" y="1616051"/>
                    <a:pt x="4107088" y="1611226"/>
                    <a:pt x="4102401" y="1604678"/>
                  </a:cubicBezTo>
                  <a:cubicBezTo>
                    <a:pt x="4104676" y="1597786"/>
                    <a:pt x="4107088" y="1590893"/>
                    <a:pt x="4109500" y="1583932"/>
                  </a:cubicBezTo>
                  <a:cubicBezTo>
                    <a:pt x="4106054" y="1583656"/>
                    <a:pt x="4099093" y="1583105"/>
                    <a:pt x="4095578" y="1582829"/>
                  </a:cubicBezTo>
                  <a:cubicBezTo>
                    <a:pt x="4096680" y="1600405"/>
                    <a:pt x="4098610" y="1617981"/>
                    <a:pt x="4102884" y="1635143"/>
                  </a:cubicBezTo>
                  <a:moveTo>
                    <a:pt x="-4405" y="1864110"/>
                  </a:moveTo>
                  <a:cubicBezTo>
                    <a:pt x="2076" y="1869349"/>
                    <a:pt x="15238" y="1860320"/>
                    <a:pt x="10552" y="1852462"/>
                  </a:cubicBezTo>
                  <a:cubicBezTo>
                    <a:pt x="3729" y="1845914"/>
                    <a:pt x="-9778" y="1855909"/>
                    <a:pt x="-4405" y="1864110"/>
                  </a:cubicBezTo>
                  <a:moveTo>
                    <a:pt x="7479914" y="2015814"/>
                  </a:moveTo>
                  <a:cubicBezTo>
                    <a:pt x="7502591" y="2015607"/>
                    <a:pt x="7470196" y="1994654"/>
                    <a:pt x="7479914" y="2015814"/>
                  </a:cubicBezTo>
                  <a:moveTo>
                    <a:pt x="1366094" y="2126782"/>
                  </a:moveTo>
                  <a:cubicBezTo>
                    <a:pt x="1388839" y="2124990"/>
                    <a:pt x="1354790" y="2106450"/>
                    <a:pt x="1366094" y="2126782"/>
                  </a:cubicBezTo>
                  <a:moveTo>
                    <a:pt x="3076527" y="2325630"/>
                  </a:moveTo>
                  <a:cubicBezTo>
                    <a:pt x="3099341" y="2324251"/>
                    <a:pt x="3065637" y="2305228"/>
                    <a:pt x="3076527" y="2325630"/>
                  </a:cubicBezTo>
                  <a:moveTo>
                    <a:pt x="8321071" y="2374566"/>
                  </a:moveTo>
                  <a:cubicBezTo>
                    <a:pt x="8343816" y="2374015"/>
                    <a:pt x="8310939" y="2353613"/>
                    <a:pt x="8321071" y="2374566"/>
                  </a:cubicBezTo>
                  <a:moveTo>
                    <a:pt x="6345760" y="2450245"/>
                  </a:moveTo>
                  <a:cubicBezTo>
                    <a:pt x="6363335" y="2456518"/>
                    <a:pt x="6350584" y="2417920"/>
                    <a:pt x="6338041" y="2425846"/>
                  </a:cubicBezTo>
                  <a:cubicBezTo>
                    <a:pt x="6333078" y="2434186"/>
                    <a:pt x="6338523" y="2445145"/>
                    <a:pt x="6345760" y="2450245"/>
                  </a:cubicBezTo>
                </a:path>
              </a:pathLst>
            </a:custGeom>
            <a:grpFill/>
            <a:ln w="689" cap="flat">
              <a:noFill/>
              <a:prstDash val="solid"/>
              <a:miter/>
            </a:ln>
          </p:spPr>
          <p:txBody>
            <a:bodyPr rtlCol="0" anchor="ctr"/>
            <a:lstStyle/>
            <a:p>
              <a:endParaRPr lang="en-US" sz="2400" dirty="0"/>
            </a:p>
          </p:txBody>
        </p:sp>
        <p:sp>
          <p:nvSpPr>
            <p:cNvPr id="70" name="Graphic 8">
              <a:extLst>
                <a:ext uri="{FF2B5EF4-FFF2-40B4-BE49-F238E27FC236}">
                  <a16:creationId xmlns:a16="http://schemas.microsoft.com/office/drawing/2014/main" id="{EAB22A05-1B27-4D99-B4BF-3BC13740A8D5}"/>
                </a:ext>
              </a:extLst>
            </p:cNvPr>
            <p:cNvSpPr/>
            <p:nvPr/>
          </p:nvSpPr>
          <p:spPr>
            <a:xfrm flipV="1">
              <a:off x="2434131" y="1281998"/>
              <a:ext cx="5918004" cy="1713569"/>
            </a:xfrm>
            <a:custGeom>
              <a:avLst/>
              <a:gdLst>
                <a:gd name="connsiteX0" fmla="*/ 1457569 w 5918004"/>
                <a:gd name="connsiteY0" fmla="*/ -1152 h 1713569"/>
                <a:gd name="connsiteX1" fmla="*/ 1457569 w 5918004"/>
                <a:gd name="connsiteY1" fmla="*/ -1152 h 1713569"/>
                <a:gd name="connsiteX2" fmla="*/ 2726057 w 5918004"/>
                <a:gd name="connsiteY2" fmla="*/ 496967 h 1713569"/>
                <a:gd name="connsiteX3" fmla="*/ 2730676 w 5918004"/>
                <a:gd name="connsiteY3" fmla="*/ 513440 h 1713569"/>
                <a:gd name="connsiteX4" fmla="*/ 2726057 w 5918004"/>
                <a:gd name="connsiteY4" fmla="*/ 496967 h 1713569"/>
                <a:gd name="connsiteX5" fmla="*/ -3702 w 5918004"/>
                <a:gd name="connsiteY5" fmla="*/ 1310553 h 1713569"/>
                <a:gd name="connsiteX6" fmla="*/ 10703 w 5918004"/>
                <a:gd name="connsiteY6" fmla="*/ 1317514 h 1713569"/>
                <a:gd name="connsiteX7" fmla="*/ 25177 w 5918004"/>
                <a:gd name="connsiteY7" fmla="*/ 1309174 h 1713569"/>
                <a:gd name="connsiteX8" fmla="*/ 28210 w 5918004"/>
                <a:gd name="connsiteY8" fmla="*/ 1306831 h 1713569"/>
                <a:gd name="connsiteX9" fmla="*/ 11117 w 5918004"/>
                <a:gd name="connsiteY9" fmla="*/ 1289806 h 1713569"/>
                <a:gd name="connsiteX10" fmla="*/ -3702 w 5918004"/>
                <a:gd name="connsiteY10" fmla="*/ 1310553 h 1713569"/>
                <a:gd name="connsiteX11" fmla="*/ 2312717 w 5918004"/>
                <a:gd name="connsiteY11" fmla="*/ 1459568 h 1713569"/>
                <a:gd name="connsiteX12" fmla="*/ 2312717 w 5918004"/>
                <a:gd name="connsiteY12" fmla="*/ 1459568 h 1713569"/>
                <a:gd name="connsiteX13" fmla="*/ 5871709 w 5918004"/>
                <a:gd name="connsiteY13" fmla="*/ 1696531 h 1713569"/>
                <a:gd name="connsiteX14" fmla="*/ 5911340 w 5918004"/>
                <a:gd name="connsiteY14" fmla="*/ 1709626 h 1713569"/>
                <a:gd name="connsiteX15" fmla="*/ 5905344 w 5918004"/>
                <a:gd name="connsiteY15" fmla="*/ 1700735 h 1713569"/>
                <a:gd name="connsiteX16" fmla="*/ 5888595 w 5918004"/>
                <a:gd name="connsiteY16" fmla="*/ 1683918 h 1713569"/>
                <a:gd name="connsiteX17" fmla="*/ 5869296 w 5918004"/>
                <a:gd name="connsiteY17" fmla="*/ 1689914 h 1713569"/>
                <a:gd name="connsiteX18" fmla="*/ 5838969 w 5918004"/>
                <a:gd name="connsiteY18" fmla="*/ 1675578 h 1713569"/>
                <a:gd name="connsiteX19" fmla="*/ 5862955 w 5918004"/>
                <a:gd name="connsiteY19" fmla="*/ 1702389 h 1713569"/>
                <a:gd name="connsiteX20" fmla="*/ 5871709 w 5918004"/>
                <a:gd name="connsiteY20" fmla="*/ 1696531 h 171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918004" h="1713569">
                  <a:moveTo>
                    <a:pt x="1457569" y="-1152"/>
                  </a:moveTo>
                  <a:cubicBezTo>
                    <a:pt x="1461498" y="-4874"/>
                    <a:pt x="1461498" y="-4874"/>
                    <a:pt x="1457569" y="-1152"/>
                  </a:cubicBezTo>
                  <a:close/>
                  <a:moveTo>
                    <a:pt x="2726057" y="496967"/>
                  </a:moveTo>
                  <a:cubicBezTo>
                    <a:pt x="2720406" y="505858"/>
                    <a:pt x="2721991" y="511372"/>
                    <a:pt x="2730676" y="513440"/>
                  </a:cubicBezTo>
                  <a:cubicBezTo>
                    <a:pt x="2736259" y="504617"/>
                    <a:pt x="2734742" y="499103"/>
                    <a:pt x="2726057" y="496967"/>
                  </a:cubicBezTo>
                  <a:moveTo>
                    <a:pt x="-3702" y="1310553"/>
                  </a:moveTo>
                  <a:cubicBezTo>
                    <a:pt x="-49" y="1312276"/>
                    <a:pt x="7119" y="1315791"/>
                    <a:pt x="10703" y="1317514"/>
                  </a:cubicBezTo>
                  <a:cubicBezTo>
                    <a:pt x="14356" y="1315447"/>
                    <a:pt x="21593" y="1311242"/>
                    <a:pt x="25177" y="1309174"/>
                  </a:cubicBezTo>
                  <a:cubicBezTo>
                    <a:pt x="25935" y="1308623"/>
                    <a:pt x="27452" y="1307451"/>
                    <a:pt x="28210" y="1306831"/>
                  </a:cubicBezTo>
                  <a:cubicBezTo>
                    <a:pt x="22420" y="1301248"/>
                    <a:pt x="16699" y="1295527"/>
                    <a:pt x="11117" y="1289806"/>
                  </a:cubicBezTo>
                  <a:cubicBezTo>
                    <a:pt x="2225" y="1292770"/>
                    <a:pt x="-13145" y="1298698"/>
                    <a:pt x="-3702" y="1310553"/>
                  </a:cubicBezTo>
                  <a:moveTo>
                    <a:pt x="2312717" y="1459568"/>
                  </a:moveTo>
                  <a:cubicBezTo>
                    <a:pt x="2316370" y="1455984"/>
                    <a:pt x="2316370" y="1455984"/>
                    <a:pt x="2312717" y="1459568"/>
                  </a:cubicBezTo>
                  <a:moveTo>
                    <a:pt x="5871709" y="1696531"/>
                  </a:moveTo>
                  <a:cubicBezTo>
                    <a:pt x="5881771" y="1708179"/>
                    <a:pt x="5897073" y="1708455"/>
                    <a:pt x="5911340" y="1709626"/>
                  </a:cubicBezTo>
                  <a:lnTo>
                    <a:pt x="5905344" y="1700735"/>
                  </a:lnTo>
                  <a:cubicBezTo>
                    <a:pt x="5899898" y="1694946"/>
                    <a:pt x="5894109" y="1689432"/>
                    <a:pt x="5888595" y="1683918"/>
                  </a:cubicBezTo>
                  <a:cubicBezTo>
                    <a:pt x="5882047" y="1685985"/>
                    <a:pt x="5875638" y="1687984"/>
                    <a:pt x="5869296" y="1689914"/>
                  </a:cubicBezTo>
                  <a:cubicBezTo>
                    <a:pt x="5859233" y="1684951"/>
                    <a:pt x="5849239" y="1679989"/>
                    <a:pt x="5838969" y="1675578"/>
                  </a:cubicBezTo>
                  <a:cubicBezTo>
                    <a:pt x="5842071" y="1688191"/>
                    <a:pt x="5853306" y="1695014"/>
                    <a:pt x="5862955" y="1702389"/>
                  </a:cubicBezTo>
                  <a:cubicBezTo>
                    <a:pt x="5865161" y="1700942"/>
                    <a:pt x="5869503" y="1697978"/>
                    <a:pt x="5871709" y="1696531"/>
                  </a:cubicBezTo>
                </a:path>
              </a:pathLst>
            </a:custGeom>
            <a:grpFill/>
            <a:ln w="689" cap="flat">
              <a:noFill/>
              <a:prstDash val="solid"/>
              <a:miter/>
            </a:ln>
          </p:spPr>
          <p:txBody>
            <a:bodyPr rtlCol="0" anchor="ctr"/>
            <a:lstStyle/>
            <a:p>
              <a:endParaRPr lang="en-US" sz="2400" dirty="0"/>
            </a:p>
          </p:txBody>
        </p:sp>
        <p:sp>
          <p:nvSpPr>
            <p:cNvPr id="71" name="Graphic 8">
              <a:extLst>
                <a:ext uri="{FF2B5EF4-FFF2-40B4-BE49-F238E27FC236}">
                  <a16:creationId xmlns:a16="http://schemas.microsoft.com/office/drawing/2014/main" id="{E88314B5-66CF-425B-A489-41D61A34DB7D}"/>
                </a:ext>
              </a:extLst>
            </p:cNvPr>
            <p:cNvSpPr/>
            <p:nvPr/>
          </p:nvSpPr>
          <p:spPr>
            <a:xfrm flipV="1">
              <a:off x="398026" y="1280550"/>
              <a:ext cx="8229256" cy="2365906"/>
            </a:xfrm>
            <a:custGeom>
              <a:avLst/>
              <a:gdLst>
                <a:gd name="connsiteX0" fmla="*/ 723873 w 8229256"/>
                <a:gd name="connsiteY0" fmla="*/ 28434 h 2365906"/>
                <a:gd name="connsiteX1" fmla="*/ 723873 w 8229256"/>
                <a:gd name="connsiteY1" fmla="*/ 28434 h 2365906"/>
                <a:gd name="connsiteX2" fmla="*/ 919412 w 8229256"/>
                <a:gd name="connsiteY2" fmla="*/ 64344 h 2365906"/>
                <a:gd name="connsiteX3" fmla="*/ 973105 w 8229256"/>
                <a:gd name="connsiteY3" fmla="*/ 67859 h 2365906"/>
                <a:gd name="connsiteX4" fmla="*/ 980893 w 8229256"/>
                <a:gd name="connsiteY4" fmla="*/ 62276 h 2365906"/>
                <a:gd name="connsiteX5" fmla="*/ 1015493 w 8229256"/>
                <a:gd name="connsiteY5" fmla="*/ 70960 h 2365906"/>
                <a:gd name="connsiteX6" fmla="*/ 1018801 w 8229256"/>
                <a:gd name="connsiteY6" fmla="*/ 59657 h 2365906"/>
                <a:gd name="connsiteX7" fmla="*/ 1028864 w 8229256"/>
                <a:gd name="connsiteY7" fmla="*/ 23471 h 2365906"/>
                <a:gd name="connsiteX8" fmla="*/ 860551 w 8229256"/>
                <a:gd name="connsiteY8" fmla="*/ 12306 h 2365906"/>
                <a:gd name="connsiteX9" fmla="*/ 836909 w 8229256"/>
                <a:gd name="connsiteY9" fmla="*/ 22162 h 2365906"/>
                <a:gd name="connsiteX10" fmla="*/ 835600 w 8229256"/>
                <a:gd name="connsiteY10" fmla="*/ 22093 h 2365906"/>
                <a:gd name="connsiteX11" fmla="*/ 839666 w 8229256"/>
                <a:gd name="connsiteY11" fmla="*/ 10996 h 2365906"/>
                <a:gd name="connsiteX12" fmla="*/ 809684 w 8229256"/>
                <a:gd name="connsiteY12" fmla="*/ 8515 h 2365906"/>
                <a:gd name="connsiteX13" fmla="*/ 801275 w 8229256"/>
                <a:gd name="connsiteY13" fmla="*/ 28641 h 2365906"/>
                <a:gd name="connsiteX14" fmla="*/ 787835 w 8229256"/>
                <a:gd name="connsiteY14" fmla="*/ 28710 h 2365906"/>
                <a:gd name="connsiteX15" fmla="*/ 786526 w 8229256"/>
                <a:gd name="connsiteY15" fmla="*/ 11685 h 2365906"/>
                <a:gd name="connsiteX16" fmla="*/ 743448 w 8229256"/>
                <a:gd name="connsiteY16" fmla="*/ 6171 h 2365906"/>
                <a:gd name="connsiteX17" fmla="*/ 595398 w 8229256"/>
                <a:gd name="connsiteY17" fmla="*/ -3409 h 2365906"/>
                <a:gd name="connsiteX18" fmla="*/ 587747 w 8229256"/>
                <a:gd name="connsiteY18" fmla="*/ -3409 h 2365906"/>
                <a:gd name="connsiteX19" fmla="*/ 605323 w 8229256"/>
                <a:gd name="connsiteY19" fmla="*/ 43253 h 2365906"/>
                <a:gd name="connsiteX20" fmla="*/ 677625 w 8229256"/>
                <a:gd name="connsiteY20" fmla="*/ 47044 h 2365906"/>
                <a:gd name="connsiteX21" fmla="*/ 617522 w 8229256"/>
                <a:gd name="connsiteY21" fmla="*/ 17957 h 2365906"/>
                <a:gd name="connsiteX22" fmla="*/ 676315 w 8229256"/>
                <a:gd name="connsiteY22" fmla="*/ 28916 h 2365906"/>
                <a:gd name="connsiteX23" fmla="*/ 702506 w 8229256"/>
                <a:gd name="connsiteY23" fmla="*/ 19336 h 2365906"/>
                <a:gd name="connsiteX24" fmla="*/ 685482 w 8229256"/>
                <a:gd name="connsiteY24" fmla="*/ 25539 h 2365906"/>
                <a:gd name="connsiteX25" fmla="*/ 700852 w 8229256"/>
                <a:gd name="connsiteY25" fmla="*/ 50903 h 2365906"/>
                <a:gd name="connsiteX26" fmla="*/ 726561 w 8229256"/>
                <a:gd name="connsiteY26" fmla="*/ 49594 h 2365906"/>
                <a:gd name="connsiteX27" fmla="*/ 728008 w 8229256"/>
                <a:gd name="connsiteY27" fmla="*/ 38566 h 2365906"/>
                <a:gd name="connsiteX28" fmla="*/ 753993 w 8229256"/>
                <a:gd name="connsiteY28" fmla="*/ 53729 h 2365906"/>
                <a:gd name="connsiteX29" fmla="*/ 855795 w 8229256"/>
                <a:gd name="connsiteY29" fmla="*/ 60139 h 2365906"/>
                <a:gd name="connsiteX30" fmla="*/ 855795 w 8229256"/>
                <a:gd name="connsiteY30" fmla="*/ 40496 h 2365906"/>
                <a:gd name="connsiteX31" fmla="*/ 848144 w 8229256"/>
                <a:gd name="connsiteY31" fmla="*/ 28296 h 2365906"/>
                <a:gd name="connsiteX32" fmla="*/ 865375 w 8229256"/>
                <a:gd name="connsiteY32" fmla="*/ 26228 h 2365906"/>
                <a:gd name="connsiteX33" fmla="*/ 857725 w 8229256"/>
                <a:gd name="connsiteY33" fmla="*/ 60966 h 2365906"/>
                <a:gd name="connsiteX34" fmla="*/ 892945 w 8229256"/>
                <a:gd name="connsiteY34" fmla="*/ 44700 h 2365906"/>
                <a:gd name="connsiteX35" fmla="*/ 891773 w 8229256"/>
                <a:gd name="connsiteY35" fmla="*/ 62965 h 2365906"/>
                <a:gd name="connsiteX36" fmla="*/ 916448 w 8229256"/>
                <a:gd name="connsiteY36" fmla="*/ 63861 h 2365906"/>
                <a:gd name="connsiteX37" fmla="*/ 912795 w 8229256"/>
                <a:gd name="connsiteY37" fmla="*/ 43322 h 2365906"/>
                <a:gd name="connsiteX38" fmla="*/ 919412 w 8229256"/>
                <a:gd name="connsiteY38" fmla="*/ 64344 h 2365906"/>
                <a:gd name="connsiteX39" fmla="*/ -1696 w 8229256"/>
                <a:gd name="connsiteY39" fmla="*/ 982489 h 2365906"/>
                <a:gd name="connsiteX40" fmla="*/ -1904 w 8229256"/>
                <a:gd name="connsiteY40" fmla="*/ 1058788 h 2365906"/>
                <a:gd name="connsiteX41" fmla="*/ 14913 w 8229256"/>
                <a:gd name="connsiteY41" fmla="*/ 1046106 h 2365906"/>
                <a:gd name="connsiteX42" fmla="*/ 19673 w 8229256"/>
                <a:gd name="connsiteY42" fmla="*/ 988899 h 2365906"/>
                <a:gd name="connsiteX43" fmla="*/ 24358 w 8229256"/>
                <a:gd name="connsiteY43" fmla="*/ 983936 h 2365906"/>
                <a:gd name="connsiteX44" fmla="*/ 23943 w 8229256"/>
                <a:gd name="connsiteY44" fmla="*/ 943891 h 2365906"/>
                <a:gd name="connsiteX45" fmla="*/ 5333 w 8229256"/>
                <a:gd name="connsiteY45" fmla="*/ 946234 h 2365906"/>
                <a:gd name="connsiteX46" fmla="*/ -1696 w 8229256"/>
                <a:gd name="connsiteY46" fmla="*/ 982489 h 2365906"/>
                <a:gd name="connsiteX47" fmla="*/ 6212410 w 8229256"/>
                <a:gd name="connsiteY47" fmla="*/ 1842875 h 2365906"/>
                <a:gd name="connsiteX48" fmla="*/ 6244460 w 8229256"/>
                <a:gd name="connsiteY48" fmla="*/ 1855212 h 2365906"/>
                <a:gd name="connsiteX49" fmla="*/ 6232674 w 8229256"/>
                <a:gd name="connsiteY49" fmla="*/ 1821577 h 2365906"/>
                <a:gd name="connsiteX50" fmla="*/ 6227987 w 8229256"/>
                <a:gd name="connsiteY50" fmla="*/ 1803932 h 2365906"/>
                <a:gd name="connsiteX51" fmla="*/ 6211031 w 8229256"/>
                <a:gd name="connsiteY51" fmla="*/ 1810204 h 2365906"/>
                <a:gd name="connsiteX52" fmla="*/ 6214339 w 8229256"/>
                <a:gd name="connsiteY52" fmla="*/ 1812686 h 2365906"/>
                <a:gd name="connsiteX53" fmla="*/ 6226815 w 8229256"/>
                <a:gd name="connsiteY53" fmla="*/ 1822128 h 2365906"/>
                <a:gd name="connsiteX54" fmla="*/ 6212410 w 8229256"/>
                <a:gd name="connsiteY54" fmla="*/ 1842875 h 2365906"/>
                <a:gd name="connsiteX55" fmla="*/ 2501232 w 8229256"/>
                <a:gd name="connsiteY55" fmla="*/ 2017323 h 2365906"/>
                <a:gd name="connsiteX56" fmla="*/ 2525149 w 8229256"/>
                <a:gd name="connsiteY56" fmla="*/ 1984860 h 2365906"/>
                <a:gd name="connsiteX57" fmla="*/ 2556096 w 8229256"/>
                <a:gd name="connsiteY57" fmla="*/ 1983481 h 2365906"/>
                <a:gd name="connsiteX58" fmla="*/ 2583528 w 8229256"/>
                <a:gd name="connsiteY58" fmla="*/ 1984928 h 2365906"/>
                <a:gd name="connsiteX59" fmla="*/ 2591868 w 8229256"/>
                <a:gd name="connsiteY59" fmla="*/ 2006502 h 2365906"/>
                <a:gd name="connsiteX60" fmla="*/ 2594625 w 8229256"/>
                <a:gd name="connsiteY60" fmla="*/ 1975761 h 2365906"/>
                <a:gd name="connsiteX61" fmla="*/ 2527562 w 8229256"/>
                <a:gd name="connsiteY61" fmla="*/ 1971075 h 2365906"/>
                <a:gd name="connsiteX62" fmla="*/ 2518188 w 8229256"/>
                <a:gd name="connsiteY62" fmla="*/ 1985342 h 2365906"/>
                <a:gd name="connsiteX63" fmla="*/ 2517705 w 8229256"/>
                <a:gd name="connsiteY63" fmla="*/ 1969972 h 2365906"/>
                <a:gd name="connsiteX64" fmla="*/ 2461807 w 8229256"/>
                <a:gd name="connsiteY64" fmla="*/ 1982240 h 2365906"/>
                <a:gd name="connsiteX65" fmla="*/ 2466012 w 8229256"/>
                <a:gd name="connsiteY65" fmla="*/ 1996094 h 2365906"/>
                <a:gd name="connsiteX66" fmla="*/ 2501232 w 8229256"/>
                <a:gd name="connsiteY66" fmla="*/ 2017323 h 2365906"/>
                <a:gd name="connsiteX67" fmla="*/ 8189168 w 8229256"/>
                <a:gd name="connsiteY67" fmla="*/ 2235538 h 2365906"/>
                <a:gd name="connsiteX68" fmla="*/ 8189168 w 8229256"/>
                <a:gd name="connsiteY68" fmla="*/ 2235538 h 2365906"/>
                <a:gd name="connsiteX69" fmla="*/ 8132581 w 8229256"/>
                <a:gd name="connsiteY69" fmla="*/ 2304532 h 2365906"/>
                <a:gd name="connsiteX70" fmla="*/ 8144298 w 8229256"/>
                <a:gd name="connsiteY70" fmla="*/ 2294813 h 2365906"/>
                <a:gd name="connsiteX71" fmla="*/ 8132581 w 8229256"/>
                <a:gd name="connsiteY71" fmla="*/ 2304532 h 2365906"/>
                <a:gd name="connsiteX72" fmla="*/ 8133684 w 8229256"/>
                <a:gd name="connsiteY72" fmla="*/ 2324037 h 2365906"/>
                <a:gd name="connsiteX73" fmla="*/ 8133684 w 8229256"/>
                <a:gd name="connsiteY73" fmla="*/ 2324037 h 2365906"/>
                <a:gd name="connsiteX74" fmla="*/ 8051181 w 8229256"/>
                <a:gd name="connsiteY74" fmla="*/ 2355881 h 2365906"/>
                <a:gd name="connsiteX75" fmla="*/ 8052628 w 8229256"/>
                <a:gd name="connsiteY75" fmla="*/ 2362498 h 2365906"/>
                <a:gd name="connsiteX76" fmla="*/ 8158358 w 8229256"/>
                <a:gd name="connsiteY76" fmla="*/ 2323486 h 2365906"/>
                <a:gd name="connsiteX77" fmla="*/ 8159117 w 8229256"/>
                <a:gd name="connsiteY77" fmla="*/ 2278271 h 2365906"/>
                <a:gd name="connsiteX78" fmla="*/ 8169456 w 8229256"/>
                <a:gd name="connsiteY78" fmla="*/ 2313492 h 2365906"/>
                <a:gd name="connsiteX79" fmla="*/ 8187169 w 8229256"/>
                <a:gd name="connsiteY79" fmla="*/ 2298604 h 2365906"/>
                <a:gd name="connsiteX80" fmla="*/ 8182137 w 8229256"/>
                <a:gd name="connsiteY80" fmla="*/ 2287439 h 2365906"/>
                <a:gd name="connsiteX81" fmla="*/ 8192201 w 8229256"/>
                <a:gd name="connsiteY81" fmla="*/ 2288886 h 2365906"/>
                <a:gd name="connsiteX82" fmla="*/ 8189719 w 8229256"/>
                <a:gd name="connsiteY82" fmla="*/ 2268691 h 2365906"/>
                <a:gd name="connsiteX83" fmla="*/ 8168904 w 8229256"/>
                <a:gd name="connsiteY83" fmla="*/ 2276893 h 2365906"/>
                <a:gd name="connsiteX84" fmla="*/ 8178899 w 8229256"/>
                <a:gd name="connsiteY84" fmla="*/ 2228921 h 2365906"/>
                <a:gd name="connsiteX85" fmla="*/ 8197508 w 8229256"/>
                <a:gd name="connsiteY85" fmla="*/ 2255526 h 2365906"/>
                <a:gd name="connsiteX86" fmla="*/ 8223700 w 8229256"/>
                <a:gd name="connsiteY86" fmla="*/ 2237675 h 2365906"/>
                <a:gd name="connsiteX87" fmla="*/ 8207088 w 8229256"/>
                <a:gd name="connsiteY87" fmla="*/ 2239536 h 2365906"/>
                <a:gd name="connsiteX88" fmla="*/ 8207640 w 8229256"/>
                <a:gd name="connsiteY88" fmla="*/ 2219341 h 2365906"/>
                <a:gd name="connsiteX89" fmla="*/ 8190271 w 8229256"/>
                <a:gd name="connsiteY89" fmla="*/ 2223614 h 2365906"/>
                <a:gd name="connsiteX90" fmla="*/ 8209363 w 8229256"/>
                <a:gd name="connsiteY90" fmla="*/ 2210381 h 2365906"/>
                <a:gd name="connsiteX91" fmla="*/ 8184964 w 8229256"/>
                <a:gd name="connsiteY91" fmla="*/ 2205142 h 2365906"/>
                <a:gd name="connsiteX92" fmla="*/ 8187376 w 8229256"/>
                <a:gd name="connsiteY92" fmla="*/ 2219548 h 2365906"/>
                <a:gd name="connsiteX93" fmla="*/ 8177520 w 8229256"/>
                <a:gd name="connsiteY93" fmla="*/ 2218445 h 2365906"/>
                <a:gd name="connsiteX94" fmla="*/ 8116039 w 8229256"/>
                <a:gd name="connsiteY94" fmla="*/ 2294469 h 2365906"/>
                <a:gd name="connsiteX95" fmla="*/ 8115005 w 8229256"/>
                <a:gd name="connsiteY95" fmla="*/ 2304738 h 2365906"/>
                <a:gd name="connsiteX96" fmla="*/ 8106528 w 8229256"/>
                <a:gd name="connsiteY96" fmla="*/ 2299293 h 2365906"/>
                <a:gd name="connsiteX97" fmla="*/ 8054834 w 8229256"/>
                <a:gd name="connsiteY97" fmla="*/ 2333687 h 2365906"/>
                <a:gd name="connsiteX98" fmla="*/ 8070135 w 8229256"/>
                <a:gd name="connsiteY98" fmla="*/ 2334238 h 2365906"/>
                <a:gd name="connsiteX99" fmla="*/ 8069377 w 8229256"/>
                <a:gd name="connsiteY99" fmla="*/ 2338098 h 2365906"/>
                <a:gd name="connsiteX100" fmla="*/ 8048768 w 8229256"/>
                <a:gd name="connsiteY100" fmla="*/ 2337202 h 2365906"/>
                <a:gd name="connsiteX101" fmla="*/ 8053180 w 8229256"/>
                <a:gd name="connsiteY101" fmla="*/ 2352779 h 2365906"/>
                <a:gd name="connsiteX102" fmla="*/ 8051181 w 8229256"/>
                <a:gd name="connsiteY102" fmla="*/ 2355881 h 2365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8229256" h="2365906">
                  <a:moveTo>
                    <a:pt x="723873" y="28434"/>
                  </a:moveTo>
                  <a:cubicBezTo>
                    <a:pt x="713328" y="7619"/>
                    <a:pt x="746480" y="27193"/>
                    <a:pt x="723873" y="28434"/>
                  </a:cubicBezTo>
                  <a:close/>
                  <a:moveTo>
                    <a:pt x="919412" y="64344"/>
                  </a:moveTo>
                  <a:cubicBezTo>
                    <a:pt x="937333" y="65171"/>
                    <a:pt x="955184" y="66411"/>
                    <a:pt x="973105" y="67859"/>
                  </a:cubicBezTo>
                  <a:cubicBezTo>
                    <a:pt x="975034" y="66480"/>
                    <a:pt x="978963" y="63654"/>
                    <a:pt x="980893" y="62276"/>
                  </a:cubicBezTo>
                  <a:cubicBezTo>
                    <a:pt x="991025" y="69375"/>
                    <a:pt x="1003707" y="69168"/>
                    <a:pt x="1015493" y="70960"/>
                  </a:cubicBezTo>
                  <a:cubicBezTo>
                    <a:pt x="1016320" y="68135"/>
                    <a:pt x="1017974" y="62483"/>
                    <a:pt x="1018801" y="59657"/>
                  </a:cubicBezTo>
                  <a:cubicBezTo>
                    <a:pt x="1022110" y="47595"/>
                    <a:pt x="1025487" y="35533"/>
                    <a:pt x="1028864" y="23471"/>
                  </a:cubicBezTo>
                  <a:cubicBezTo>
                    <a:pt x="972829" y="19198"/>
                    <a:pt x="916655" y="15959"/>
                    <a:pt x="860551" y="12306"/>
                  </a:cubicBezTo>
                  <a:cubicBezTo>
                    <a:pt x="851177" y="10582"/>
                    <a:pt x="841389" y="12857"/>
                    <a:pt x="836909" y="22162"/>
                  </a:cubicBezTo>
                  <a:lnTo>
                    <a:pt x="835600" y="22093"/>
                  </a:lnTo>
                  <a:cubicBezTo>
                    <a:pt x="836634" y="19336"/>
                    <a:pt x="838633" y="13753"/>
                    <a:pt x="839666" y="10996"/>
                  </a:cubicBezTo>
                  <a:cubicBezTo>
                    <a:pt x="832154" y="10376"/>
                    <a:pt x="817128" y="9135"/>
                    <a:pt x="809684" y="8515"/>
                  </a:cubicBezTo>
                  <a:cubicBezTo>
                    <a:pt x="806858" y="15269"/>
                    <a:pt x="804032" y="22024"/>
                    <a:pt x="801275" y="28641"/>
                  </a:cubicBezTo>
                  <a:cubicBezTo>
                    <a:pt x="797967" y="28641"/>
                    <a:pt x="791212" y="28710"/>
                    <a:pt x="787835" y="28710"/>
                  </a:cubicBezTo>
                  <a:cubicBezTo>
                    <a:pt x="787490" y="24436"/>
                    <a:pt x="786870" y="15959"/>
                    <a:pt x="786526" y="11685"/>
                  </a:cubicBezTo>
                  <a:cubicBezTo>
                    <a:pt x="771707" y="17475"/>
                    <a:pt x="755372" y="18302"/>
                    <a:pt x="743448" y="6171"/>
                  </a:cubicBezTo>
                  <a:cubicBezTo>
                    <a:pt x="694167" y="2587"/>
                    <a:pt x="644817" y="-1410"/>
                    <a:pt x="595398" y="-3409"/>
                  </a:cubicBezTo>
                  <a:cubicBezTo>
                    <a:pt x="593468" y="-3409"/>
                    <a:pt x="589677" y="-3409"/>
                    <a:pt x="587747" y="-3409"/>
                  </a:cubicBezTo>
                  <a:cubicBezTo>
                    <a:pt x="599671" y="9411"/>
                    <a:pt x="603117" y="26504"/>
                    <a:pt x="605323" y="43253"/>
                  </a:cubicBezTo>
                  <a:cubicBezTo>
                    <a:pt x="629171" y="47113"/>
                    <a:pt x="653501" y="47802"/>
                    <a:pt x="677625" y="47044"/>
                  </a:cubicBezTo>
                  <a:cubicBezTo>
                    <a:pt x="674041" y="15200"/>
                    <a:pt x="629929" y="41599"/>
                    <a:pt x="617522" y="17957"/>
                  </a:cubicBezTo>
                  <a:cubicBezTo>
                    <a:pt x="637235" y="21059"/>
                    <a:pt x="656947" y="24092"/>
                    <a:pt x="676315" y="28916"/>
                  </a:cubicBezTo>
                  <a:cubicBezTo>
                    <a:pt x="684448" y="24367"/>
                    <a:pt x="693064" y="20508"/>
                    <a:pt x="702506" y="19336"/>
                  </a:cubicBezTo>
                  <a:cubicBezTo>
                    <a:pt x="698233" y="20921"/>
                    <a:pt x="689755" y="24023"/>
                    <a:pt x="685482" y="25539"/>
                  </a:cubicBezTo>
                  <a:cubicBezTo>
                    <a:pt x="690651" y="34017"/>
                    <a:pt x="695752" y="42495"/>
                    <a:pt x="700852" y="50903"/>
                  </a:cubicBezTo>
                  <a:cubicBezTo>
                    <a:pt x="709399" y="50421"/>
                    <a:pt x="718014" y="49938"/>
                    <a:pt x="726561" y="49594"/>
                  </a:cubicBezTo>
                  <a:cubicBezTo>
                    <a:pt x="726975" y="46837"/>
                    <a:pt x="727664" y="41323"/>
                    <a:pt x="728008" y="38566"/>
                  </a:cubicBezTo>
                  <a:cubicBezTo>
                    <a:pt x="736279" y="44080"/>
                    <a:pt x="743517" y="52833"/>
                    <a:pt x="753993" y="53729"/>
                  </a:cubicBezTo>
                  <a:cubicBezTo>
                    <a:pt x="787766" y="57382"/>
                    <a:pt x="822022" y="55521"/>
                    <a:pt x="855795" y="60139"/>
                  </a:cubicBezTo>
                  <a:cubicBezTo>
                    <a:pt x="855795" y="55246"/>
                    <a:pt x="855795" y="45389"/>
                    <a:pt x="855795" y="40496"/>
                  </a:cubicBezTo>
                  <a:cubicBezTo>
                    <a:pt x="853934" y="37463"/>
                    <a:pt x="850074" y="31329"/>
                    <a:pt x="848144" y="28296"/>
                  </a:cubicBezTo>
                  <a:cubicBezTo>
                    <a:pt x="852486" y="27814"/>
                    <a:pt x="861102" y="26711"/>
                    <a:pt x="865375" y="26228"/>
                  </a:cubicBezTo>
                  <a:cubicBezTo>
                    <a:pt x="862687" y="37808"/>
                    <a:pt x="860068" y="49387"/>
                    <a:pt x="857725" y="60966"/>
                  </a:cubicBezTo>
                  <a:cubicBezTo>
                    <a:pt x="872475" y="61104"/>
                    <a:pt x="893083" y="66411"/>
                    <a:pt x="892945" y="44700"/>
                  </a:cubicBezTo>
                  <a:cubicBezTo>
                    <a:pt x="892669" y="49249"/>
                    <a:pt x="892049" y="58347"/>
                    <a:pt x="891773" y="62965"/>
                  </a:cubicBezTo>
                  <a:cubicBezTo>
                    <a:pt x="897908" y="63172"/>
                    <a:pt x="910245" y="63654"/>
                    <a:pt x="916448" y="63861"/>
                  </a:cubicBezTo>
                  <a:cubicBezTo>
                    <a:pt x="915483" y="58692"/>
                    <a:pt x="913691" y="48491"/>
                    <a:pt x="912795" y="43322"/>
                  </a:cubicBezTo>
                  <a:cubicBezTo>
                    <a:pt x="915483" y="50214"/>
                    <a:pt x="917689" y="57244"/>
                    <a:pt x="919412" y="64344"/>
                  </a:cubicBezTo>
                  <a:moveTo>
                    <a:pt x="-1696" y="982489"/>
                  </a:moveTo>
                  <a:cubicBezTo>
                    <a:pt x="-2386" y="1007853"/>
                    <a:pt x="-9897" y="1033837"/>
                    <a:pt x="-1904" y="1058788"/>
                  </a:cubicBezTo>
                  <a:cubicBezTo>
                    <a:pt x="2302" y="1055618"/>
                    <a:pt x="10710" y="1049277"/>
                    <a:pt x="14913" y="1046106"/>
                  </a:cubicBezTo>
                  <a:cubicBezTo>
                    <a:pt x="24565" y="1025911"/>
                    <a:pt x="-5075" y="1003304"/>
                    <a:pt x="19673" y="988899"/>
                  </a:cubicBezTo>
                  <a:lnTo>
                    <a:pt x="24358" y="983936"/>
                  </a:lnTo>
                  <a:cubicBezTo>
                    <a:pt x="23876" y="970565"/>
                    <a:pt x="24427" y="957262"/>
                    <a:pt x="23943" y="943891"/>
                  </a:cubicBezTo>
                  <a:cubicBezTo>
                    <a:pt x="19258" y="944442"/>
                    <a:pt x="9950" y="945683"/>
                    <a:pt x="5333" y="946234"/>
                  </a:cubicBezTo>
                  <a:cubicBezTo>
                    <a:pt x="-2523" y="956711"/>
                    <a:pt x="-111" y="970427"/>
                    <a:pt x="-1696" y="982489"/>
                  </a:cubicBezTo>
                  <a:moveTo>
                    <a:pt x="6212410" y="1842875"/>
                  </a:moveTo>
                  <a:cubicBezTo>
                    <a:pt x="6208068" y="1862587"/>
                    <a:pt x="6233156" y="1854661"/>
                    <a:pt x="6244460" y="1855212"/>
                  </a:cubicBezTo>
                  <a:cubicBezTo>
                    <a:pt x="6245838" y="1842323"/>
                    <a:pt x="6241565" y="1830882"/>
                    <a:pt x="6232674" y="1821577"/>
                  </a:cubicBezTo>
                  <a:cubicBezTo>
                    <a:pt x="6231502" y="1817166"/>
                    <a:pt x="6229158" y="1808343"/>
                    <a:pt x="6227987" y="1803932"/>
                  </a:cubicBezTo>
                  <a:cubicBezTo>
                    <a:pt x="6223782" y="1805518"/>
                    <a:pt x="6215236" y="1808619"/>
                    <a:pt x="6211031" y="1810204"/>
                  </a:cubicBezTo>
                  <a:lnTo>
                    <a:pt x="6214339" y="1812686"/>
                  </a:lnTo>
                  <a:cubicBezTo>
                    <a:pt x="6218406" y="1815856"/>
                    <a:pt x="6222610" y="1819027"/>
                    <a:pt x="6226815" y="1822128"/>
                  </a:cubicBezTo>
                  <a:cubicBezTo>
                    <a:pt x="6221715" y="1828952"/>
                    <a:pt x="6216890" y="1835844"/>
                    <a:pt x="6212410" y="1842875"/>
                  </a:cubicBezTo>
                  <a:moveTo>
                    <a:pt x="2501232" y="2017323"/>
                  </a:moveTo>
                  <a:cubicBezTo>
                    <a:pt x="2522530" y="2021390"/>
                    <a:pt x="2520118" y="1998506"/>
                    <a:pt x="2525149" y="1984860"/>
                  </a:cubicBezTo>
                  <a:cubicBezTo>
                    <a:pt x="2535350" y="1984446"/>
                    <a:pt x="2545758" y="1983894"/>
                    <a:pt x="2556096" y="1983481"/>
                  </a:cubicBezTo>
                  <a:cubicBezTo>
                    <a:pt x="2565057" y="1986169"/>
                    <a:pt x="2574292" y="1987754"/>
                    <a:pt x="2583528" y="1984928"/>
                  </a:cubicBezTo>
                  <a:cubicBezTo>
                    <a:pt x="2580909" y="1994854"/>
                    <a:pt x="2574637" y="2007673"/>
                    <a:pt x="2591868" y="2006502"/>
                  </a:cubicBezTo>
                  <a:cubicBezTo>
                    <a:pt x="2592695" y="1996232"/>
                    <a:pt x="2593660" y="1985962"/>
                    <a:pt x="2594625" y="1975761"/>
                  </a:cubicBezTo>
                  <a:cubicBezTo>
                    <a:pt x="2572294" y="1973556"/>
                    <a:pt x="2549962" y="1970799"/>
                    <a:pt x="2527562" y="1971075"/>
                  </a:cubicBezTo>
                  <a:cubicBezTo>
                    <a:pt x="2525218" y="1974658"/>
                    <a:pt x="2520531" y="1981758"/>
                    <a:pt x="2518188" y="1985342"/>
                  </a:cubicBezTo>
                  <a:cubicBezTo>
                    <a:pt x="2518050" y="1981551"/>
                    <a:pt x="2517843" y="1973832"/>
                    <a:pt x="2517705" y="1969972"/>
                  </a:cubicBezTo>
                  <a:cubicBezTo>
                    <a:pt x="2499578" y="1972177"/>
                    <a:pt x="2465667" y="1955015"/>
                    <a:pt x="2461807" y="1982240"/>
                  </a:cubicBezTo>
                  <a:cubicBezTo>
                    <a:pt x="2462841" y="1985686"/>
                    <a:pt x="2464909" y="1992648"/>
                    <a:pt x="2466012" y="1996094"/>
                  </a:cubicBezTo>
                  <a:cubicBezTo>
                    <a:pt x="2479383" y="2001470"/>
                    <a:pt x="2505850" y="1993820"/>
                    <a:pt x="2501232" y="2017323"/>
                  </a:cubicBezTo>
                  <a:moveTo>
                    <a:pt x="8189168" y="2235538"/>
                  </a:moveTo>
                  <a:cubicBezTo>
                    <a:pt x="8192614" y="2231678"/>
                    <a:pt x="8192614" y="2231678"/>
                    <a:pt x="8189168" y="2235538"/>
                  </a:cubicBezTo>
                  <a:moveTo>
                    <a:pt x="8132581" y="2304532"/>
                  </a:moveTo>
                  <a:cubicBezTo>
                    <a:pt x="8128997" y="2293228"/>
                    <a:pt x="8132856" y="2289989"/>
                    <a:pt x="8144298" y="2294813"/>
                  </a:cubicBezTo>
                  <a:cubicBezTo>
                    <a:pt x="8147675" y="2306186"/>
                    <a:pt x="8143816" y="2309426"/>
                    <a:pt x="8132581" y="2304532"/>
                  </a:cubicBezTo>
                  <a:moveTo>
                    <a:pt x="8133684" y="2324037"/>
                  </a:moveTo>
                  <a:cubicBezTo>
                    <a:pt x="8123759" y="2302878"/>
                    <a:pt x="8156498" y="2323969"/>
                    <a:pt x="8133684" y="2324037"/>
                  </a:cubicBezTo>
                  <a:moveTo>
                    <a:pt x="8051181" y="2355881"/>
                  </a:moveTo>
                  <a:cubicBezTo>
                    <a:pt x="8051525" y="2357535"/>
                    <a:pt x="8052284" y="2360843"/>
                    <a:pt x="8052628" y="2362498"/>
                  </a:cubicBezTo>
                  <a:cubicBezTo>
                    <a:pt x="8090675" y="2358569"/>
                    <a:pt x="8127274" y="2346025"/>
                    <a:pt x="8158358" y="2323486"/>
                  </a:cubicBezTo>
                  <a:cubicBezTo>
                    <a:pt x="8154706" y="2308598"/>
                    <a:pt x="8152018" y="2292815"/>
                    <a:pt x="8159117" y="2278271"/>
                  </a:cubicBezTo>
                  <a:cubicBezTo>
                    <a:pt x="8169249" y="2287645"/>
                    <a:pt x="8169456" y="2300741"/>
                    <a:pt x="8169456" y="2313492"/>
                  </a:cubicBezTo>
                  <a:cubicBezTo>
                    <a:pt x="8175314" y="2308529"/>
                    <a:pt x="8181104" y="2303567"/>
                    <a:pt x="8187169" y="2298604"/>
                  </a:cubicBezTo>
                  <a:cubicBezTo>
                    <a:pt x="8185928" y="2295778"/>
                    <a:pt x="8183379" y="2290196"/>
                    <a:pt x="8182137" y="2287439"/>
                  </a:cubicBezTo>
                  <a:lnTo>
                    <a:pt x="8192201" y="2288886"/>
                  </a:lnTo>
                  <a:cubicBezTo>
                    <a:pt x="8191580" y="2283854"/>
                    <a:pt x="8190340" y="2273722"/>
                    <a:pt x="8189719" y="2268691"/>
                  </a:cubicBezTo>
                  <a:cubicBezTo>
                    <a:pt x="8182689" y="2271448"/>
                    <a:pt x="8175728" y="2274205"/>
                    <a:pt x="8168904" y="2276893"/>
                  </a:cubicBezTo>
                  <a:cubicBezTo>
                    <a:pt x="8171730" y="2260834"/>
                    <a:pt x="8170145" y="2243396"/>
                    <a:pt x="8178899" y="2228921"/>
                  </a:cubicBezTo>
                  <a:cubicBezTo>
                    <a:pt x="8183309" y="2237951"/>
                    <a:pt x="8182345" y="2257043"/>
                    <a:pt x="8197508" y="2255526"/>
                  </a:cubicBezTo>
                  <a:cubicBezTo>
                    <a:pt x="8210741" y="2260558"/>
                    <a:pt x="8216462" y="2245601"/>
                    <a:pt x="8223700" y="2237675"/>
                  </a:cubicBezTo>
                  <a:cubicBezTo>
                    <a:pt x="8219564" y="2238158"/>
                    <a:pt x="8211224" y="2239122"/>
                    <a:pt x="8207088" y="2239536"/>
                  </a:cubicBezTo>
                  <a:cubicBezTo>
                    <a:pt x="8207226" y="2234504"/>
                    <a:pt x="8207502" y="2224441"/>
                    <a:pt x="8207640" y="2219341"/>
                  </a:cubicBezTo>
                  <a:cubicBezTo>
                    <a:pt x="8203297" y="2220444"/>
                    <a:pt x="8194613" y="2222512"/>
                    <a:pt x="8190271" y="2223614"/>
                  </a:cubicBezTo>
                  <a:cubicBezTo>
                    <a:pt x="8195096" y="2220306"/>
                    <a:pt x="8204607" y="2213689"/>
                    <a:pt x="8209363" y="2210381"/>
                  </a:cubicBezTo>
                  <a:cubicBezTo>
                    <a:pt x="8203297" y="2209071"/>
                    <a:pt x="8191098" y="2206452"/>
                    <a:pt x="8184964" y="2205142"/>
                  </a:cubicBezTo>
                  <a:lnTo>
                    <a:pt x="8187376" y="2219548"/>
                  </a:lnTo>
                  <a:cubicBezTo>
                    <a:pt x="8184894" y="2219272"/>
                    <a:pt x="8180001" y="2218721"/>
                    <a:pt x="8177520" y="2218445"/>
                  </a:cubicBezTo>
                  <a:cubicBezTo>
                    <a:pt x="8170283" y="2252838"/>
                    <a:pt x="8141886" y="2273998"/>
                    <a:pt x="8116039" y="2294469"/>
                  </a:cubicBezTo>
                  <a:cubicBezTo>
                    <a:pt x="8115763" y="2297019"/>
                    <a:pt x="8115212" y="2302119"/>
                    <a:pt x="8115005" y="2304738"/>
                  </a:cubicBezTo>
                  <a:cubicBezTo>
                    <a:pt x="8112868" y="2303360"/>
                    <a:pt x="8108595" y="2300672"/>
                    <a:pt x="8106528" y="2299293"/>
                  </a:cubicBezTo>
                  <a:cubicBezTo>
                    <a:pt x="8085712" y="2305152"/>
                    <a:pt x="8064966" y="2313078"/>
                    <a:pt x="8054834" y="2333687"/>
                  </a:cubicBezTo>
                  <a:cubicBezTo>
                    <a:pt x="8058694" y="2333825"/>
                    <a:pt x="8066344" y="2334100"/>
                    <a:pt x="8070135" y="2334238"/>
                  </a:cubicBezTo>
                  <a:lnTo>
                    <a:pt x="8069377" y="2338098"/>
                  </a:lnTo>
                  <a:cubicBezTo>
                    <a:pt x="8064208" y="2337891"/>
                    <a:pt x="8053938" y="2337409"/>
                    <a:pt x="8048768" y="2337202"/>
                  </a:cubicBezTo>
                  <a:cubicBezTo>
                    <a:pt x="8049871" y="2341062"/>
                    <a:pt x="8052077" y="2348850"/>
                    <a:pt x="8053180" y="2352779"/>
                  </a:cubicBezTo>
                  <a:lnTo>
                    <a:pt x="8051181" y="2355881"/>
                  </a:lnTo>
                </a:path>
              </a:pathLst>
            </a:custGeom>
            <a:grpFill/>
            <a:ln w="689" cap="flat">
              <a:noFill/>
              <a:prstDash val="solid"/>
              <a:miter/>
            </a:ln>
          </p:spPr>
          <p:txBody>
            <a:bodyPr rtlCol="0" anchor="ctr"/>
            <a:lstStyle/>
            <a:p>
              <a:endParaRPr lang="en-US" sz="2400" dirty="0"/>
            </a:p>
          </p:txBody>
        </p:sp>
        <p:sp>
          <p:nvSpPr>
            <p:cNvPr id="72" name="Graphic 8">
              <a:extLst>
                <a:ext uri="{FF2B5EF4-FFF2-40B4-BE49-F238E27FC236}">
                  <a16:creationId xmlns:a16="http://schemas.microsoft.com/office/drawing/2014/main" id="{CB779351-2049-4BA4-92C4-7D6B52C3B5EC}"/>
                </a:ext>
              </a:extLst>
            </p:cNvPr>
            <p:cNvSpPr/>
            <p:nvPr/>
          </p:nvSpPr>
          <p:spPr>
            <a:xfrm flipV="1">
              <a:off x="5360118" y="1290613"/>
              <a:ext cx="2636" cy="2739"/>
            </a:xfrm>
            <a:custGeom>
              <a:avLst/>
              <a:gdLst>
                <a:gd name="connsiteX0" fmla="*/ -6625 w 2636"/>
                <a:gd name="connsiteY0" fmla="*/ -2596 h 2739"/>
                <a:gd name="connsiteX1" fmla="*/ -6625 w 2636"/>
                <a:gd name="connsiteY1" fmla="*/ -2596 h 2739"/>
                <a:gd name="connsiteX2" fmla="*/ -6625 w 2636"/>
                <a:gd name="connsiteY2" fmla="*/ -2596 h 2739"/>
              </a:gdLst>
              <a:ahLst/>
              <a:cxnLst>
                <a:cxn ang="0">
                  <a:pos x="connsiteX0" y="connsiteY0"/>
                </a:cxn>
                <a:cxn ang="0">
                  <a:pos x="connsiteX1" y="connsiteY1"/>
                </a:cxn>
                <a:cxn ang="0">
                  <a:pos x="connsiteX2" y="connsiteY2"/>
                </a:cxn>
              </a:cxnLst>
              <a:rect l="l" t="t" r="r" b="b"/>
              <a:pathLst>
                <a:path w="2636" h="2739">
                  <a:moveTo>
                    <a:pt x="-6625" y="-2596"/>
                  </a:moveTo>
                  <a:cubicBezTo>
                    <a:pt x="-3110" y="-6249"/>
                    <a:pt x="-3110" y="-6249"/>
                    <a:pt x="-6625" y="-2596"/>
                  </a:cubicBezTo>
                  <a:lnTo>
                    <a:pt x="-6625" y="-2596"/>
                  </a:lnTo>
                </a:path>
              </a:pathLst>
            </a:custGeom>
            <a:grpFill/>
            <a:ln w="689" cap="flat">
              <a:noFill/>
              <a:prstDash val="solid"/>
              <a:miter/>
            </a:ln>
          </p:spPr>
          <p:txBody>
            <a:bodyPr rtlCol="0" anchor="ctr"/>
            <a:lstStyle/>
            <a:p>
              <a:endParaRPr lang="en-US" sz="2400" dirty="0"/>
            </a:p>
          </p:txBody>
        </p:sp>
        <p:sp>
          <p:nvSpPr>
            <p:cNvPr id="73" name="Graphic 8">
              <a:extLst>
                <a:ext uri="{FF2B5EF4-FFF2-40B4-BE49-F238E27FC236}">
                  <a16:creationId xmlns:a16="http://schemas.microsoft.com/office/drawing/2014/main" id="{EAF0773A-B1C4-40E2-8732-53DEFA2D3ED1}"/>
                </a:ext>
              </a:extLst>
            </p:cNvPr>
            <p:cNvSpPr/>
            <p:nvPr/>
          </p:nvSpPr>
          <p:spPr>
            <a:xfrm flipV="1">
              <a:off x="5846381" y="1287236"/>
              <a:ext cx="31635" cy="27087"/>
            </a:xfrm>
            <a:custGeom>
              <a:avLst/>
              <a:gdLst>
                <a:gd name="connsiteX0" fmla="*/ -5256 w 31635"/>
                <a:gd name="connsiteY0" fmla="*/ 21766 h 27087"/>
                <a:gd name="connsiteX1" fmla="*/ 24381 w 31635"/>
                <a:gd name="connsiteY1" fmla="*/ 12117 h 27087"/>
                <a:gd name="connsiteX2" fmla="*/ -7255 w 31635"/>
                <a:gd name="connsiteY2" fmla="*/ -5321 h 27087"/>
                <a:gd name="connsiteX3" fmla="*/ -5256 w 31635"/>
                <a:gd name="connsiteY3" fmla="*/ 21766 h 27087"/>
                <a:gd name="connsiteX4" fmla="*/ -5256 w 31635"/>
                <a:gd name="connsiteY4" fmla="*/ 21766 h 270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635" h="27087">
                  <a:moveTo>
                    <a:pt x="-5256" y="21766"/>
                  </a:moveTo>
                  <a:cubicBezTo>
                    <a:pt x="4669" y="19009"/>
                    <a:pt x="14595" y="15908"/>
                    <a:pt x="24381" y="12117"/>
                  </a:cubicBezTo>
                  <a:cubicBezTo>
                    <a:pt x="14870" y="4466"/>
                    <a:pt x="4876" y="-2840"/>
                    <a:pt x="-7255" y="-5321"/>
                  </a:cubicBezTo>
                  <a:cubicBezTo>
                    <a:pt x="-6772" y="1433"/>
                    <a:pt x="-5807" y="15012"/>
                    <a:pt x="-5256" y="21766"/>
                  </a:cubicBezTo>
                  <a:lnTo>
                    <a:pt x="-5256" y="21766"/>
                  </a:lnTo>
                </a:path>
              </a:pathLst>
            </a:custGeom>
            <a:grpFill/>
            <a:ln w="689" cap="flat">
              <a:noFill/>
              <a:prstDash val="solid"/>
              <a:miter/>
            </a:ln>
          </p:spPr>
          <p:txBody>
            <a:bodyPr rtlCol="0" anchor="ctr"/>
            <a:lstStyle/>
            <a:p>
              <a:endParaRPr lang="en-US" sz="2400" dirty="0"/>
            </a:p>
          </p:txBody>
        </p:sp>
        <p:sp>
          <p:nvSpPr>
            <p:cNvPr id="74" name="Graphic 8">
              <a:extLst>
                <a:ext uri="{FF2B5EF4-FFF2-40B4-BE49-F238E27FC236}">
                  <a16:creationId xmlns:a16="http://schemas.microsoft.com/office/drawing/2014/main" id="{80C0BEED-5BEB-4649-8B27-2AE348B0794D}"/>
                </a:ext>
              </a:extLst>
            </p:cNvPr>
            <p:cNvSpPr/>
            <p:nvPr/>
          </p:nvSpPr>
          <p:spPr>
            <a:xfrm flipV="1">
              <a:off x="719079" y="1291509"/>
              <a:ext cx="8122233" cy="2507346"/>
            </a:xfrm>
            <a:custGeom>
              <a:avLst/>
              <a:gdLst>
                <a:gd name="connsiteX0" fmla="*/ 52968 w 8122233"/>
                <a:gd name="connsiteY0" fmla="*/ 5003 h 2507346"/>
                <a:gd name="connsiteX1" fmla="*/ 52968 w 8122233"/>
                <a:gd name="connsiteY1" fmla="*/ 5003 h 2507346"/>
                <a:gd name="connsiteX2" fmla="*/ 327632 w 8122233"/>
                <a:gd name="connsiteY2" fmla="*/ 24370 h 2507346"/>
                <a:gd name="connsiteX3" fmla="*/ 326529 w 8122233"/>
                <a:gd name="connsiteY3" fmla="*/ 9965 h 2507346"/>
                <a:gd name="connsiteX4" fmla="*/ 327632 w 8122233"/>
                <a:gd name="connsiteY4" fmla="*/ 24370 h 2507346"/>
                <a:gd name="connsiteX5" fmla="*/ -3550 w 8122233"/>
                <a:gd name="connsiteY5" fmla="*/ 37397 h 2507346"/>
                <a:gd name="connsiteX6" fmla="*/ -3550 w 8122233"/>
                <a:gd name="connsiteY6" fmla="*/ 37397 h 2507346"/>
                <a:gd name="connsiteX7" fmla="*/ 6730592 w 8122233"/>
                <a:gd name="connsiteY7" fmla="*/ 389051 h 2507346"/>
                <a:gd name="connsiteX8" fmla="*/ 6730592 w 8122233"/>
                <a:gd name="connsiteY8" fmla="*/ 389051 h 2507346"/>
                <a:gd name="connsiteX9" fmla="*/ 7916232 w 8122233"/>
                <a:gd name="connsiteY9" fmla="*/ 546474 h 2507346"/>
                <a:gd name="connsiteX10" fmla="*/ 7921402 w 8122233"/>
                <a:gd name="connsiteY10" fmla="*/ 521179 h 2507346"/>
                <a:gd name="connsiteX11" fmla="*/ 7916232 w 8122233"/>
                <a:gd name="connsiteY11" fmla="*/ 546474 h 2507346"/>
                <a:gd name="connsiteX12" fmla="*/ 8108463 w 8122233"/>
                <a:gd name="connsiteY12" fmla="*/ 1229035 h 2507346"/>
                <a:gd name="connsiteX13" fmla="*/ 8112944 w 8122233"/>
                <a:gd name="connsiteY13" fmla="*/ 1213044 h 2507346"/>
                <a:gd name="connsiteX14" fmla="*/ 8108463 w 8122233"/>
                <a:gd name="connsiteY14" fmla="*/ 1229035 h 2507346"/>
                <a:gd name="connsiteX15" fmla="*/ 4629218 w 8122233"/>
                <a:gd name="connsiteY15" fmla="*/ 1493499 h 2507346"/>
                <a:gd name="connsiteX16" fmla="*/ 4629218 w 8122233"/>
                <a:gd name="connsiteY16" fmla="*/ 1493499 h 2507346"/>
                <a:gd name="connsiteX17" fmla="*/ 296615 w 8122233"/>
                <a:gd name="connsiteY17" fmla="*/ 1509282 h 2507346"/>
                <a:gd name="connsiteX18" fmla="*/ 309642 w 8122233"/>
                <a:gd name="connsiteY18" fmla="*/ 1528375 h 2507346"/>
                <a:gd name="connsiteX19" fmla="*/ 320877 w 8122233"/>
                <a:gd name="connsiteY19" fmla="*/ 1491431 h 2507346"/>
                <a:gd name="connsiteX20" fmla="*/ 311986 w 8122233"/>
                <a:gd name="connsiteY20" fmla="*/ 1491638 h 2507346"/>
                <a:gd name="connsiteX21" fmla="*/ 296615 w 8122233"/>
                <a:gd name="connsiteY21" fmla="*/ 1509282 h 2507346"/>
                <a:gd name="connsiteX22" fmla="*/ 3820801 w 8122233"/>
                <a:gd name="connsiteY22" fmla="*/ 1657264 h 2507346"/>
                <a:gd name="connsiteX23" fmla="*/ 3820801 w 8122233"/>
                <a:gd name="connsiteY23" fmla="*/ 1657264 h 2507346"/>
                <a:gd name="connsiteX24" fmla="*/ 659021 w 8122233"/>
                <a:gd name="connsiteY24" fmla="*/ 1663949 h 2507346"/>
                <a:gd name="connsiteX25" fmla="*/ 659021 w 8122233"/>
                <a:gd name="connsiteY25" fmla="*/ 1663949 h 2507346"/>
                <a:gd name="connsiteX26" fmla="*/ 6930335 w 8122233"/>
                <a:gd name="connsiteY26" fmla="*/ 1718744 h 2507346"/>
                <a:gd name="connsiteX27" fmla="*/ 6939571 w 8122233"/>
                <a:gd name="connsiteY27" fmla="*/ 1709784 h 2507346"/>
                <a:gd name="connsiteX28" fmla="*/ 6930335 w 8122233"/>
                <a:gd name="connsiteY28" fmla="*/ 1718744 h 2507346"/>
                <a:gd name="connsiteX29" fmla="*/ 4538651 w 8122233"/>
                <a:gd name="connsiteY29" fmla="*/ 2317286 h 2507346"/>
                <a:gd name="connsiteX30" fmla="*/ 4614536 w 8122233"/>
                <a:gd name="connsiteY30" fmla="*/ 2321559 h 2507346"/>
                <a:gd name="connsiteX31" fmla="*/ 4604336 w 8122233"/>
                <a:gd name="connsiteY31" fmla="*/ 2270486 h 2507346"/>
                <a:gd name="connsiteX32" fmla="*/ 4589999 w 8122233"/>
                <a:gd name="connsiteY32" fmla="*/ 2299159 h 2507346"/>
                <a:gd name="connsiteX33" fmla="*/ 4603440 w 8122233"/>
                <a:gd name="connsiteY33" fmla="*/ 2298607 h 2507346"/>
                <a:gd name="connsiteX34" fmla="*/ 4602682 w 8122233"/>
                <a:gd name="connsiteY34" fmla="*/ 2309015 h 2507346"/>
                <a:gd name="connsiteX35" fmla="*/ 4579109 w 8122233"/>
                <a:gd name="connsiteY35" fmla="*/ 2305155 h 2507346"/>
                <a:gd name="connsiteX36" fmla="*/ 4576352 w 8122233"/>
                <a:gd name="connsiteY36" fmla="*/ 2272967 h 2507346"/>
                <a:gd name="connsiteX37" fmla="*/ 4561402 w 8122233"/>
                <a:gd name="connsiteY37" fmla="*/ 2284960 h 2507346"/>
                <a:gd name="connsiteX38" fmla="*/ 4552160 w 8122233"/>
                <a:gd name="connsiteY38" fmla="*/ 2282203 h 2507346"/>
                <a:gd name="connsiteX39" fmla="*/ 4536100 w 8122233"/>
                <a:gd name="connsiteY39" fmla="*/ 2299986 h 2507346"/>
                <a:gd name="connsiteX40" fmla="*/ 4555399 w 8122233"/>
                <a:gd name="connsiteY40" fmla="*/ 2295506 h 2507346"/>
                <a:gd name="connsiteX41" fmla="*/ 4557674 w 8122233"/>
                <a:gd name="connsiteY41" fmla="*/ 2302467 h 2507346"/>
                <a:gd name="connsiteX42" fmla="*/ 4538651 w 8122233"/>
                <a:gd name="connsiteY42" fmla="*/ 2317286 h 2507346"/>
                <a:gd name="connsiteX43" fmla="*/ 8004939 w 8122233"/>
                <a:gd name="connsiteY43" fmla="*/ 2373046 h 2507346"/>
                <a:gd name="connsiteX44" fmla="*/ 8004939 w 8122233"/>
                <a:gd name="connsiteY44" fmla="*/ 2373046 h 2507346"/>
                <a:gd name="connsiteX45" fmla="*/ 5737318 w 8122233"/>
                <a:gd name="connsiteY45" fmla="*/ 2504072 h 2507346"/>
                <a:gd name="connsiteX46" fmla="*/ 5737318 w 8122233"/>
                <a:gd name="connsiteY46" fmla="*/ 2504072 h 250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8122233" h="2507346">
                  <a:moveTo>
                    <a:pt x="52968" y="5003"/>
                  </a:moveTo>
                  <a:cubicBezTo>
                    <a:pt x="74265" y="14652"/>
                    <a:pt x="52691" y="-17743"/>
                    <a:pt x="52968" y="5003"/>
                  </a:cubicBezTo>
                  <a:close/>
                  <a:moveTo>
                    <a:pt x="327632" y="24370"/>
                  </a:moveTo>
                  <a:cubicBezTo>
                    <a:pt x="336109" y="19752"/>
                    <a:pt x="335765" y="14997"/>
                    <a:pt x="326529" y="9965"/>
                  </a:cubicBezTo>
                  <a:cubicBezTo>
                    <a:pt x="318051" y="14652"/>
                    <a:pt x="318396" y="19408"/>
                    <a:pt x="327632" y="24370"/>
                  </a:cubicBezTo>
                  <a:moveTo>
                    <a:pt x="-3550" y="37397"/>
                  </a:moveTo>
                  <a:cubicBezTo>
                    <a:pt x="19262" y="35950"/>
                    <a:pt x="-14785" y="16926"/>
                    <a:pt x="-3550" y="37397"/>
                  </a:cubicBezTo>
                  <a:moveTo>
                    <a:pt x="6730592" y="389051"/>
                  </a:moveTo>
                  <a:cubicBezTo>
                    <a:pt x="6734313" y="385673"/>
                    <a:pt x="6734313" y="385673"/>
                    <a:pt x="6730592" y="389051"/>
                  </a:cubicBezTo>
                  <a:moveTo>
                    <a:pt x="7916232" y="546474"/>
                  </a:moveTo>
                  <a:cubicBezTo>
                    <a:pt x="7929121" y="551092"/>
                    <a:pt x="7935669" y="523178"/>
                    <a:pt x="7921402" y="521179"/>
                  </a:cubicBezTo>
                  <a:cubicBezTo>
                    <a:pt x="7910650" y="523591"/>
                    <a:pt x="7910029" y="539513"/>
                    <a:pt x="7916232" y="546474"/>
                  </a:cubicBezTo>
                  <a:moveTo>
                    <a:pt x="8108463" y="1229035"/>
                  </a:moveTo>
                  <a:cubicBezTo>
                    <a:pt x="8117148" y="1227036"/>
                    <a:pt x="8118664" y="1221729"/>
                    <a:pt x="8112944" y="1213044"/>
                  </a:cubicBezTo>
                  <a:cubicBezTo>
                    <a:pt x="8103983" y="1215112"/>
                    <a:pt x="8102536" y="1220488"/>
                    <a:pt x="8108463" y="1229035"/>
                  </a:cubicBezTo>
                  <a:moveTo>
                    <a:pt x="4629218" y="1493499"/>
                  </a:moveTo>
                  <a:cubicBezTo>
                    <a:pt x="4649619" y="1504389"/>
                    <a:pt x="4630803" y="1470685"/>
                    <a:pt x="4629218" y="1493499"/>
                  </a:cubicBezTo>
                  <a:moveTo>
                    <a:pt x="296615" y="1509282"/>
                  </a:moveTo>
                  <a:cubicBezTo>
                    <a:pt x="298201" y="1517484"/>
                    <a:pt x="302612" y="1523963"/>
                    <a:pt x="309642" y="1528375"/>
                  </a:cubicBezTo>
                  <a:cubicBezTo>
                    <a:pt x="314398" y="1516382"/>
                    <a:pt x="318120" y="1504044"/>
                    <a:pt x="320877" y="1491431"/>
                  </a:cubicBezTo>
                  <a:lnTo>
                    <a:pt x="311986" y="1491638"/>
                  </a:lnTo>
                  <a:cubicBezTo>
                    <a:pt x="311848" y="1501976"/>
                    <a:pt x="306678" y="1507835"/>
                    <a:pt x="296615" y="1509282"/>
                  </a:cubicBezTo>
                  <a:moveTo>
                    <a:pt x="3820801" y="1657264"/>
                  </a:moveTo>
                  <a:cubicBezTo>
                    <a:pt x="3843339" y="1656230"/>
                    <a:pt x="3810324" y="1636379"/>
                    <a:pt x="3820801" y="1657264"/>
                  </a:cubicBezTo>
                  <a:moveTo>
                    <a:pt x="659021" y="1663949"/>
                  </a:moveTo>
                  <a:cubicBezTo>
                    <a:pt x="662605" y="1660296"/>
                    <a:pt x="662605" y="1660296"/>
                    <a:pt x="659021" y="1663949"/>
                  </a:cubicBezTo>
                  <a:moveTo>
                    <a:pt x="6930335" y="1718744"/>
                  </a:moveTo>
                  <a:cubicBezTo>
                    <a:pt x="6939984" y="1722742"/>
                    <a:pt x="6943086" y="1719778"/>
                    <a:pt x="6939571" y="1709784"/>
                  </a:cubicBezTo>
                  <a:cubicBezTo>
                    <a:pt x="6929784" y="1705856"/>
                    <a:pt x="6926682" y="1708819"/>
                    <a:pt x="6930335" y="1718744"/>
                  </a:cubicBezTo>
                  <a:moveTo>
                    <a:pt x="4538651" y="2317286"/>
                  </a:moveTo>
                  <a:cubicBezTo>
                    <a:pt x="4563946" y="2318113"/>
                    <a:pt x="4589172" y="2321559"/>
                    <a:pt x="4614536" y="2321559"/>
                  </a:cubicBezTo>
                  <a:cubicBezTo>
                    <a:pt x="4616880" y="2303708"/>
                    <a:pt x="4611642" y="2286546"/>
                    <a:pt x="4604336" y="2270486"/>
                  </a:cubicBezTo>
                  <a:cubicBezTo>
                    <a:pt x="4597926" y="2279101"/>
                    <a:pt x="4592067" y="2288475"/>
                    <a:pt x="4589999" y="2299159"/>
                  </a:cubicBezTo>
                  <a:cubicBezTo>
                    <a:pt x="4593377" y="2299021"/>
                    <a:pt x="4600062" y="2298745"/>
                    <a:pt x="4603440" y="2298607"/>
                  </a:cubicBezTo>
                  <a:cubicBezTo>
                    <a:pt x="4603233" y="2301226"/>
                    <a:pt x="4602819" y="2306396"/>
                    <a:pt x="4602682" y="2309015"/>
                  </a:cubicBezTo>
                  <a:cubicBezTo>
                    <a:pt x="4594686" y="2307912"/>
                    <a:pt x="4586829" y="2306947"/>
                    <a:pt x="4579109" y="2305155"/>
                  </a:cubicBezTo>
                  <a:cubicBezTo>
                    <a:pt x="4574284" y="2295230"/>
                    <a:pt x="4577248" y="2283651"/>
                    <a:pt x="4576352" y="2272967"/>
                  </a:cubicBezTo>
                  <a:cubicBezTo>
                    <a:pt x="4571321" y="2276965"/>
                    <a:pt x="4566358" y="2280963"/>
                    <a:pt x="4561402" y="2284960"/>
                  </a:cubicBezTo>
                  <a:cubicBezTo>
                    <a:pt x="4559121" y="2284271"/>
                    <a:pt x="4554434" y="2282892"/>
                    <a:pt x="4552160" y="2282203"/>
                  </a:cubicBezTo>
                  <a:cubicBezTo>
                    <a:pt x="4546715" y="2288131"/>
                    <a:pt x="4541339" y="2294058"/>
                    <a:pt x="4536100" y="2299986"/>
                  </a:cubicBezTo>
                  <a:cubicBezTo>
                    <a:pt x="4540925" y="2298814"/>
                    <a:pt x="4550574" y="2296609"/>
                    <a:pt x="4555399" y="2295506"/>
                  </a:cubicBezTo>
                  <a:cubicBezTo>
                    <a:pt x="4555950" y="2297229"/>
                    <a:pt x="4557053" y="2300744"/>
                    <a:pt x="4557674" y="2302467"/>
                  </a:cubicBezTo>
                  <a:cubicBezTo>
                    <a:pt x="4549403" y="2305086"/>
                    <a:pt x="4543131" y="2310187"/>
                    <a:pt x="4538651" y="2317286"/>
                  </a:cubicBezTo>
                  <a:moveTo>
                    <a:pt x="8004939" y="2373046"/>
                  </a:moveTo>
                  <a:cubicBezTo>
                    <a:pt x="8027753" y="2372701"/>
                    <a:pt x="7994462" y="2352162"/>
                    <a:pt x="8004939" y="2373046"/>
                  </a:cubicBezTo>
                  <a:moveTo>
                    <a:pt x="5737318" y="2504072"/>
                  </a:moveTo>
                  <a:cubicBezTo>
                    <a:pt x="5759995" y="2502969"/>
                    <a:pt x="5726842" y="2483325"/>
                    <a:pt x="5737318" y="2504072"/>
                  </a:cubicBezTo>
                </a:path>
              </a:pathLst>
            </a:custGeom>
            <a:grpFill/>
            <a:ln w="689" cap="flat">
              <a:noFill/>
              <a:prstDash val="solid"/>
              <a:miter/>
            </a:ln>
          </p:spPr>
          <p:txBody>
            <a:bodyPr rtlCol="0" anchor="ctr"/>
            <a:lstStyle/>
            <a:p>
              <a:endParaRPr lang="en-US" sz="2400" dirty="0"/>
            </a:p>
          </p:txBody>
        </p:sp>
        <p:sp>
          <p:nvSpPr>
            <p:cNvPr id="75" name="Graphic 8">
              <a:extLst>
                <a:ext uri="{FF2B5EF4-FFF2-40B4-BE49-F238E27FC236}">
                  <a16:creationId xmlns:a16="http://schemas.microsoft.com/office/drawing/2014/main" id="{7DF61A95-1F4C-478B-83B8-364A6785694C}"/>
                </a:ext>
              </a:extLst>
            </p:cNvPr>
            <p:cNvSpPr/>
            <p:nvPr/>
          </p:nvSpPr>
          <p:spPr>
            <a:xfrm flipV="1">
              <a:off x="7050081" y="1291440"/>
              <a:ext cx="2756" cy="3721"/>
            </a:xfrm>
            <a:custGeom>
              <a:avLst/>
              <a:gdLst>
                <a:gd name="connsiteX0" fmla="*/ -8405 w 2756"/>
                <a:gd name="connsiteY0" fmla="*/ -1887 h 3721"/>
                <a:gd name="connsiteX1" fmla="*/ -5993 w 2756"/>
                <a:gd name="connsiteY1" fmla="*/ -1612 h 3721"/>
                <a:gd name="connsiteX2" fmla="*/ -7027 w 2756"/>
                <a:gd name="connsiteY2" fmla="*/ -5333 h 3721"/>
                <a:gd name="connsiteX3" fmla="*/ -8750 w 2756"/>
                <a:gd name="connsiteY3" fmla="*/ -3748 h 3721"/>
                <a:gd name="connsiteX4" fmla="*/ -8405 w 2756"/>
                <a:gd name="connsiteY4" fmla="*/ -1887 h 3721"/>
                <a:gd name="connsiteX5" fmla="*/ -8405 w 2756"/>
                <a:gd name="connsiteY5" fmla="*/ -1887 h 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56" h="3721">
                  <a:moveTo>
                    <a:pt x="-8405" y="-1887"/>
                  </a:moveTo>
                  <a:lnTo>
                    <a:pt x="-5993" y="-1612"/>
                  </a:lnTo>
                  <a:lnTo>
                    <a:pt x="-7027" y="-5333"/>
                  </a:lnTo>
                  <a:lnTo>
                    <a:pt x="-8750" y="-3748"/>
                  </a:lnTo>
                  <a:lnTo>
                    <a:pt x="-8405" y="-1887"/>
                  </a:lnTo>
                  <a:lnTo>
                    <a:pt x="-8405" y="-1887"/>
                  </a:lnTo>
                </a:path>
              </a:pathLst>
            </a:custGeom>
            <a:grpFill/>
            <a:ln w="689" cap="flat">
              <a:noFill/>
              <a:prstDash val="solid"/>
              <a:miter/>
            </a:ln>
          </p:spPr>
          <p:txBody>
            <a:bodyPr rtlCol="0" anchor="ctr"/>
            <a:lstStyle/>
            <a:p>
              <a:endParaRPr lang="en-US" sz="2400" dirty="0"/>
            </a:p>
          </p:txBody>
        </p:sp>
        <p:sp>
          <p:nvSpPr>
            <p:cNvPr id="76" name="Graphic 8">
              <a:extLst>
                <a:ext uri="{FF2B5EF4-FFF2-40B4-BE49-F238E27FC236}">
                  <a16:creationId xmlns:a16="http://schemas.microsoft.com/office/drawing/2014/main" id="{C48BFB0D-DB0C-46F9-93E1-93598783C38E}"/>
                </a:ext>
              </a:extLst>
            </p:cNvPr>
            <p:cNvSpPr/>
            <p:nvPr/>
          </p:nvSpPr>
          <p:spPr>
            <a:xfrm flipV="1">
              <a:off x="468929" y="1289235"/>
              <a:ext cx="7922976" cy="2125497"/>
            </a:xfrm>
            <a:custGeom>
              <a:avLst/>
              <a:gdLst>
                <a:gd name="connsiteX0" fmla="*/ 4279198 w 7922976"/>
                <a:gd name="connsiteY0" fmla="*/ 38658 h 2125497"/>
                <a:gd name="connsiteX1" fmla="*/ 4290984 w 7922976"/>
                <a:gd name="connsiteY1" fmla="*/ 19290 h 2125497"/>
                <a:gd name="connsiteX2" fmla="*/ 4279198 w 7922976"/>
                <a:gd name="connsiteY2" fmla="*/ 38658 h 2125497"/>
                <a:gd name="connsiteX3" fmla="*/ 4384170 w 7922976"/>
                <a:gd name="connsiteY3" fmla="*/ 38520 h 2125497"/>
                <a:gd name="connsiteX4" fmla="*/ 4394440 w 7922976"/>
                <a:gd name="connsiteY4" fmla="*/ 53753 h 2125497"/>
                <a:gd name="connsiteX5" fmla="*/ 4454060 w 7922976"/>
                <a:gd name="connsiteY5" fmla="*/ 57543 h 2125497"/>
                <a:gd name="connsiteX6" fmla="*/ 4429316 w 7922976"/>
                <a:gd name="connsiteY6" fmla="*/ 21013 h 2125497"/>
                <a:gd name="connsiteX7" fmla="*/ 4436629 w 7922976"/>
                <a:gd name="connsiteY7" fmla="*/ 8262 h 2125497"/>
                <a:gd name="connsiteX8" fmla="*/ 4356738 w 7922976"/>
                <a:gd name="connsiteY8" fmla="*/ 7849 h 2125497"/>
                <a:gd name="connsiteX9" fmla="*/ 4350397 w 7922976"/>
                <a:gd name="connsiteY9" fmla="*/ 27561 h 2125497"/>
                <a:gd name="connsiteX10" fmla="*/ 4348536 w 7922976"/>
                <a:gd name="connsiteY10" fmla="*/ 12536 h 2125497"/>
                <a:gd name="connsiteX11" fmla="*/ 4333993 w 7922976"/>
                <a:gd name="connsiteY11" fmla="*/ 25700 h 2125497"/>
                <a:gd name="connsiteX12" fmla="*/ 4330960 w 7922976"/>
                <a:gd name="connsiteY12" fmla="*/ 11640 h 2125497"/>
                <a:gd name="connsiteX13" fmla="*/ 4313109 w 7922976"/>
                <a:gd name="connsiteY13" fmla="*/ 474 h 2125497"/>
                <a:gd name="connsiteX14" fmla="*/ 4309249 w 7922976"/>
                <a:gd name="connsiteY14" fmla="*/ 21909 h 2125497"/>
                <a:gd name="connsiteX15" fmla="*/ 4295395 w 7922976"/>
                <a:gd name="connsiteY15" fmla="*/ -629 h 2125497"/>
                <a:gd name="connsiteX16" fmla="*/ 4297056 w 7922976"/>
                <a:gd name="connsiteY16" fmla="*/ 13983 h 2125497"/>
                <a:gd name="connsiteX17" fmla="*/ 4292225 w 7922976"/>
                <a:gd name="connsiteY17" fmla="*/ 14741 h 2125497"/>
                <a:gd name="connsiteX18" fmla="*/ 4274787 w 7922976"/>
                <a:gd name="connsiteY18" fmla="*/ -3593 h 2125497"/>
                <a:gd name="connsiteX19" fmla="*/ 4266585 w 7922976"/>
                <a:gd name="connsiteY19" fmla="*/ 15913 h 2125497"/>
                <a:gd name="connsiteX20" fmla="*/ 4269211 w 7922976"/>
                <a:gd name="connsiteY20" fmla="*/ -422 h 2125497"/>
                <a:gd name="connsiteX21" fmla="*/ 4254868 w 7922976"/>
                <a:gd name="connsiteY21" fmla="*/ 17981 h 2125497"/>
                <a:gd name="connsiteX22" fmla="*/ 4224334 w 7922976"/>
                <a:gd name="connsiteY22" fmla="*/ 15913 h 2125497"/>
                <a:gd name="connsiteX23" fmla="*/ 4225506 w 7922976"/>
                <a:gd name="connsiteY23" fmla="*/ 43621 h 2125497"/>
                <a:gd name="connsiteX24" fmla="*/ 4263001 w 7922976"/>
                <a:gd name="connsiteY24" fmla="*/ 46240 h 2125497"/>
                <a:gd name="connsiteX25" fmla="*/ 4259623 w 7922976"/>
                <a:gd name="connsiteY25" fmla="*/ 34109 h 2125497"/>
                <a:gd name="connsiteX26" fmla="*/ 4272099 w 7922976"/>
                <a:gd name="connsiteY26" fmla="*/ 44792 h 2125497"/>
                <a:gd name="connsiteX27" fmla="*/ 4372384 w 7922976"/>
                <a:gd name="connsiteY27" fmla="*/ 52788 h 2125497"/>
                <a:gd name="connsiteX28" fmla="*/ 4382241 w 7922976"/>
                <a:gd name="connsiteY28" fmla="*/ 30594 h 2125497"/>
                <a:gd name="connsiteX29" fmla="*/ 4384515 w 7922976"/>
                <a:gd name="connsiteY29" fmla="*/ 20945 h 2125497"/>
                <a:gd name="connsiteX30" fmla="*/ 4394923 w 7922976"/>
                <a:gd name="connsiteY30" fmla="*/ 22943 h 2125497"/>
                <a:gd name="connsiteX31" fmla="*/ 4384170 w 7922976"/>
                <a:gd name="connsiteY31" fmla="*/ 38520 h 2125497"/>
                <a:gd name="connsiteX32" fmla="*/ 4781865 w 7922976"/>
                <a:gd name="connsiteY32" fmla="*/ 46309 h 2125497"/>
                <a:gd name="connsiteX33" fmla="*/ 4781865 w 7922976"/>
                <a:gd name="connsiteY33" fmla="*/ 46309 h 2125497"/>
                <a:gd name="connsiteX34" fmla="*/ 4735066 w 7922976"/>
                <a:gd name="connsiteY34" fmla="*/ 76015 h 2125497"/>
                <a:gd name="connsiteX35" fmla="*/ 4755743 w 7922976"/>
                <a:gd name="connsiteY35" fmla="*/ 73741 h 2125497"/>
                <a:gd name="connsiteX36" fmla="*/ 4783382 w 7922976"/>
                <a:gd name="connsiteY36" fmla="*/ 79599 h 2125497"/>
                <a:gd name="connsiteX37" fmla="*/ 4781934 w 7922976"/>
                <a:gd name="connsiteY37" fmla="*/ 71053 h 2125497"/>
                <a:gd name="connsiteX38" fmla="*/ 4811710 w 7922976"/>
                <a:gd name="connsiteY38" fmla="*/ 80427 h 2125497"/>
                <a:gd name="connsiteX39" fmla="*/ 4803163 w 7922976"/>
                <a:gd name="connsiteY39" fmla="*/ 43897 h 2125497"/>
                <a:gd name="connsiteX40" fmla="*/ 4817499 w 7922976"/>
                <a:gd name="connsiteY40" fmla="*/ 40933 h 2125497"/>
                <a:gd name="connsiteX41" fmla="*/ 4793721 w 7922976"/>
                <a:gd name="connsiteY41" fmla="*/ 31697 h 2125497"/>
                <a:gd name="connsiteX42" fmla="*/ 4776627 w 7922976"/>
                <a:gd name="connsiteY42" fmla="*/ 30663 h 2125497"/>
                <a:gd name="connsiteX43" fmla="*/ 4738098 w 7922976"/>
                <a:gd name="connsiteY43" fmla="*/ 27768 h 2125497"/>
                <a:gd name="connsiteX44" fmla="*/ 4742647 w 7922976"/>
                <a:gd name="connsiteY44" fmla="*/ 61541 h 2125497"/>
                <a:gd name="connsiteX45" fmla="*/ 4735066 w 7922976"/>
                <a:gd name="connsiteY45" fmla="*/ 76015 h 2125497"/>
                <a:gd name="connsiteX46" fmla="*/ 5032337 w 7922976"/>
                <a:gd name="connsiteY46" fmla="*/ 79806 h 2125497"/>
                <a:gd name="connsiteX47" fmla="*/ 5101400 w 7922976"/>
                <a:gd name="connsiteY47" fmla="*/ 99174 h 2125497"/>
                <a:gd name="connsiteX48" fmla="*/ 5101538 w 7922976"/>
                <a:gd name="connsiteY48" fmla="*/ 65332 h 2125497"/>
                <a:gd name="connsiteX49" fmla="*/ 5096713 w 7922976"/>
                <a:gd name="connsiteY49" fmla="*/ 93315 h 2125497"/>
                <a:gd name="connsiteX50" fmla="*/ 5092715 w 7922976"/>
                <a:gd name="connsiteY50" fmla="*/ 69192 h 2125497"/>
                <a:gd name="connsiteX51" fmla="*/ 5077552 w 7922976"/>
                <a:gd name="connsiteY51" fmla="*/ 67055 h 2125497"/>
                <a:gd name="connsiteX52" fmla="*/ 5068936 w 7922976"/>
                <a:gd name="connsiteY52" fmla="*/ 48170 h 2125497"/>
                <a:gd name="connsiteX53" fmla="*/ 5049844 w 7922976"/>
                <a:gd name="connsiteY53" fmla="*/ 49686 h 2125497"/>
                <a:gd name="connsiteX54" fmla="*/ 5054669 w 7922976"/>
                <a:gd name="connsiteY54" fmla="*/ 63885 h 2125497"/>
                <a:gd name="connsiteX55" fmla="*/ 5031234 w 7922976"/>
                <a:gd name="connsiteY55" fmla="*/ 59267 h 2125497"/>
                <a:gd name="connsiteX56" fmla="*/ 5036266 w 7922976"/>
                <a:gd name="connsiteY56" fmla="*/ 46516 h 2125497"/>
                <a:gd name="connsiteX57" fmla="*/ 5017519 w 7922976"/>
                <a:gd name="connsiteY57" fmla="*/ 43414 h 2125497"/>
                <a:gd name="connsiteX58" fmla="*/ 5009730 w 7922976"/>
                <a:gd name="connsiteY58" fmla="*/ 66021 h 2125497"/>
                <a:gd name="connsiteX59" fmla="*/ 5003534 w 7922976"/>
                <a:gd name="connsiteY59" fmla="*/ 66297 h 2125497"/>
                <a:gd name="connsiteX60" fmla="*/ 4979748 w 7922976"/>
                <a:gd name="connsiteY60" fmla="*/ 42035 h 2125497"/>
                <a:gd name="connsiteX61" fmla="*/ 4956383 w 7922976"/>
                <a:gd name="connsiteY61" fmla="*/ 64712 h 2125497"/>
                <a:gd name="connsiteX62" fmla="*/ 4954591 w 7922976"/>
                <a:gd name="connsiteY62" fmla="*/ 86905 h 2125497"/>
                <a:gd name="connsiteX63" fmla="*/ 5011040 w 7922976"/>
                <a:gd name="connsiteY63" fmla="*/ 92764 h 2125497"/>
                <a:gd name="connsiteX64" fmla="*/ 5032337 w 7922976"/>
                <a:gd name="connsiteY64" fmla="*/ 79806 h 2125497"/>
                <a:gd name="connsiteX65" fmla="*/ 6215 w 7922976"/>
                <a:gd name="connsiteY65" fmla="*/ 1205690 h 2125497"/>
                <a:gd name="connsiteX66" fmla="*/ 6215 w 7922976"/>
                <a:gd name="connsiteY66" fmla="*/ 1205690 h 2125497"/>
                <a:gd name="connsiteX67" fmla="*/ -5432 w 7922976"/>
                <a:gd name="connsiteY67" fmla="*/ 1268136 h 2125497"/>
                <a:gd name="connsiteX68" fmla="*/ 16484 w 7922976"/>
                <a:gd name="connsiteY68" fmla="*/ 1279095 h 2125497"/>
                <a:gd name="connsiteX69" fmla="*/ 15865 w 7922976"/>
                <a:gd name="connsiteY69" fmla="*/ 1247458 h 2125497"/>
                <a:gd name="connsiteX70" fmla="*/ 9182 w 7922976"/>
                <a:gd name="connsiteY70" fmla="*/ 1266206 h 2125497"/>
                <a:gd name="connsiteX71" fmla="*/ 5596 w 7922976"/>
                <a:gd name="connsiteY71" fmla="*/ 1265723 h 2125497"/>
                <a:gd name="connsiteX72" fmla="*/ 7044 w 7922976"/>
                <a:gd name="connsiteY72" fmla="*/ 1244288 h 2125497"/>
                <a:gd name="connsiteX73" fmla="*/ 18207 w 7922976"/>
                <a:gd name="connsiteY73" fmla="*/ 1238085 h 2125497"/>
                <a:gd name="connsiteX74" fmla="*/ 22894 w 7922976"/>
                <a:gd name="connsiteY74" fmla="*/ 1231674 h 2125497"/>
                <a:gd name="connsiteX75" fmla="*/ 5873 w 7922976"/>
                <a:gd name="connsiteY75" fmla="*/ 1229607 h 2125497"/>
                <a:gd name="connsiteX76" fmla="*/ 20552 w 7922976"/>
                <a:gd name="connsiteY76" fmla="*/ 1184323 h 2125497"/>
                <a:gd name="connsiteX77" fmla="*/ -5017 w 7922976"/>
                <a:gd name="connsiteY77" fmla="*/ 1196592 h 2125497"/>
                <a:gd name="connsiteX78" fmla="*/ -5432 w 7922976"/>
                <a:gd name="connsiteY78" fmla="*/ 1268136 h 2125497"/>
                <a:gd name="connsiteX79" fmla="*/ 5720205 w 7922976"/>
                <a:gd name="connsiteY79" fmla="*/ 1983091 h 2125497"/>
                <a:gd name="connsiteX80" fmla="*/ 5737781 w 7922976"/>
                <a:gd name="connsiteY80" fmla="*/ 1973166 h 2125497"/>
                <a:gd name="connsiteX81" fmla="*/ 5720205 w 7922976"/>
                <a:gd name="connsiteY81" fmla="*/ 1983091 h 2125497"/>
                <a:gd name="connsiteX82" fmla="*/ 5692291 w 7922976"/>
                <a:gd name="connsiteY82" fmla="*/ 1989294 h 2125497"/>
                <a:gd name="connsiteX83" fmla="*/ 5771210 w 7922976"/>
                <a:gd name="connsiteY83" fmla="*/ 1993567 h 2125497"/>
                <a:gd name="connsiteX84" fmla="*/ 5770796 w 7922976"/>
                <a:gd name="connsiteY84" fmla="*/ 1979231 h 2125497"/>
                <a:gd name="connsiteX85" fmla="*/ 5771899 w 7922976"/>
                <a:gd name="connsiteY85" fmla="*/ 1944148 h 2125497"/>
                <a:gd name="connsiteX86" fmla="*/ 5746189 w 7922976"/>
                <a:gd name="connsiteY86" fmla="*/ 1948629 h 2125497"/>
                <a:gd name="connsiteX87" fmla="*/ 5708488 w 7922976"/>
                <a:gd name="connsiteY87" fmla="*/ 1948698 h 2125497"/>
                <a:gd name="connsiteX88" fmla="*/ 5710556 w 7922976"/>
                <a:gd name="connsiteY88" fmla="*/ 1960897 h 2125497"/>
                <a:gd name="connsiteX89" fmla="*/ 5684157 w 7922976"/>
                <a:gd name="connsiteY89" fmla="*/ 1962551 h 2125497"/>
                <a:gd name="connsiteX90" fmla="*/ 5686777 w 7922976"/>
                <a:gd name="connsiteY90" fmla="*/ 1939599 h 2125497"/>
                <a:gd name="connsiteX91" fmla="*/ 5669338 w 7922976"/>
                <a:gd name="connsiteY91" fmla="*/ 1946078 h 2125497"/>
                <a:gd name="connsiteX92" fmla="*/ 5655692 w 7922976"/>
                <a:gd name="connsiteY92" fmla="*/ 1951179 h 2125497"/>
                <a:gd name="connsiteX93" fmla="*/ 5665755 w 7922976"/>
                <a:gd name="connsiteY93" fmla="*/ 1973648 h 2125497"/>
                <a:gd name="connsiteX94" fmla="*/ 5637220 w 7922976"/>
                <a:gd name="connsiteY94" fmla="*/ 1955935 h 2125497"/>
                <a:gd name="connsiteX95" fmla="*/ 5635565 w 7922976"/>
                <a:gd name="connsiteY95" fmla="*/ 1937876 h 2125497"/>
                <a:gd name="connsiteX96" fmla="*/ 5588007 w 7922976"/>
                <a:gd name="connsiteY96" fmla="*/ 1938496 h 2125497"/>
                <a:gd name="connsiteX97" fmla="*/ 5579392 w 7922976"/>
                <a:gd name="connsiteY97" fmla="*/ 1981505 h 2125497"/>
                <a:gd name="connsiteX98" fmla="*/ 5604412 w 7922976"/>
                <a:gd name="connsiteY98" fmla="*/ 1983366 h 2125497"/>
                <a:gd name="connsiteX99" fmla="*/ 5610271 w 7922976"/>
                <a:gd name="connsiteY99" fmla="*/ 1965860 h 2125497"/>
                <a:gd name="connsiteX100" fmla="*/ 5643630 w 7922976"/>
                <a:gd name="connsiteY100" fmla="*/ 1978611 h 2125497"/>
                <a:gd name="connsiteX101" fmla="*/ 5655692 w 7922976"/>
                <a:gd name="connsiteY101" fmla="*/ 1987985 h 2125497"/>
                <a:gd name="connsiteX102" fmla="*/ 5693255 w 7922976"/>
                <a:gd name="connsiteY102" fmla="*/ 1979714 h 2125497"/>
                <a:gd name="connsiteX103" fmla="*/ 5692291 w 7922976"/>
                <a:gd name="connsiteY103" fmla="*/ 1989294 h 2125497"/>
                <a:gd name="connsiteX104" fmla="*/ 7657332 w 7922976"/>
                <a:gd name="connsiteY104" fmla="*/ 2079241 h 2125497"/>
                <a:gd name="connsiteX105" fmla="*/ 7657332 w 7922976"/>
                <a:gd name="connsiteY105" fmla="*/ 2079241 h 2125497"/>
                <a:gd name="connsiteX106" fmla="*/ 7615219 w 7922976"/>
                <a:gd name="connsiteY106" fmla="*/ 2085858 h 2125497"/>
                <a:gd name="connsiteX107" fmla="*/ 7625971 w 7922976"/>
                <a:gd name="connsiteY107" fmla="*/ 2074967 h 2125497"/>
                <a:gd name="connsiteX108" fmla="*/ 7615219 w 7922976"/>
                <a:gd name="connsiteY108" fmla="*/ 2085858 h 2125497"/>
                <a:gd name="connsiteX109" fmla="*/ 7834950 w 7922976"/>
                <a:gd name="connsiteY109" fmla="*/ 2101572 h 2125497"/>
                <a:gd name="connsiteX110" fmla="*/ 7835364 w 7922976"/>
                <a:gd name="connsiteY110" fmla="*/ 2087098 h 2125497"/>
                <a:gd name="connsiteX111" fmla="*/ 7834950 w 7922976"/>
                <a:gd name="connsiteY111" fmla="*/ 2101572 h 2125497"/>
                <a:gd name="connsiteX112" fmla="*/ 7768093 w 7922976"/>
                <a:gd name="connsiteY112" fmla="*/ 2100952 h 2125497"/>
                <a:gd name="connsiteX113" fmla="*/ 7778295 w 7922976"/>
                <a:gd name="connsiteY113" fmla="*/ 2090751 h 2125497"/>
                <a:gd name="connsiteX114" fmla="*/ 7768093 w 7922976"/>
                <a:gd name="connsiteY114" fmla="*/ 2100952 h 2125497"/>
                <a:gd name="connsiteX115" fmla="*/ 7636241 w 7922976"/>
                <a:gd name="connsiteY115" fmla="*/ 2099780 h 2125497"/>
                <a:gd name="connsiteX116" fmla="*/ 7636241 w 7922976"/>
                <a:gd name="connsiteY116" fmla="*/ 2099780 h 2125497"/>
                <a:gd name="connsiteX117" fmla="*/ 7706682 w 7922976"/>
                <a:gd name="connsiteY117" fmla="*/ 2113220 h 2125497"/>
                <a:gd name="connsiteX118" fmla="*/ 7829368 w 7922976"/>
                <a:gd name="connsiteY118" fmla="*/ 2121905 h 2125497"/>
                <a:gd name="connsiteX119" fmla="*/ 7805382 w 7922976"/>
                <a:gd name="connsiteY119" fmla="*/ 2095093 h 2125497"/>
                <a:gd name="connsiteX120" fmla="*/ 7835709 w 7922976"/>
                <a:gd name="connsiteY120" fmla="*/ 2109430 h 2125497"/>
                <a:gd name="connsiteX121" fmla="*/ 7855008 w 7922976"/>
                <a:gd name="connsiteY121" fmla="*/ 2103433 h 2125497"/>
                <a:gd name="connsiteX122" fmla="*/ 7871756 w 7922976"/>
                <a:gd name="connsiteY122" fmla="*/ 2120251 h 2125497"/>
                <a:gd name="connsiteX123" fmla="*/ 7894019 w 7922976"/>
                <a:gd name="connsiteY123" fmla="*/ 2120458 h 2125497"/>
                <a:gd name="connsiteX124" fmla="*/ 7896776 w 7922976"/>
                <a:gd name="connsiteY124" fmla="*/ 2111015 h 2125497"/>
                <a:gd name="connsiteX125" fmla="*/ 7917522 w 7922976"/>
                <a:gd name="connsiteY125" fmla="*/ 2098471 h 2125497"/>
                <a:gd name="connsiteX126" fmla="*/ 7898430 w 7922976"/>
                <a:gd name="connsiteY126" fmla="*/ 2078965 h 2125497"/>
                <a:gd name="connsiteX127" fmla="*/ 7850045 w 7922976"/>
                <a:gd name="connsiteY127" fmla="*/ 2073037 h 2125497"/>
                <a:gd name="connsiteX128" fmla="*/ 7872859 w 7922976"/>
                <a:gd name="connsiteY128" fmla="*/ 2091440 h 2125497"/>
                <a:gd name="connsiteX129" fmla="*/ 7870102 w 7922976"/>
                <a:gd name="connsiteY129" fmla="*/ 2099574 h 2125497"/>
                <a:gd name="connsiteX130" fmla="*/ 7850734 w 7922976"/>
                <a:gd name="connsiteY130" fmla="*/ 2091992 h 2125497"/>
                <a:gd name="connsiteX131" fmla="*/ 7848390 w 7922976"/>
                <a:gd name="connsiteY131" fmla="*/ 2075794 h 2125497"/>
                <a:gd name="connsiteX132" fmla="*/ 7691036 w 7922976"/>
                <a:gd name="connsiteY132" fmla="*/ 2065869 h 2125497"/>
                <a:gd name="connsiteX133" fmla="*/ 7696894 w 7922976"/>
                <a:gd name="connsiteY133" fmla="*/ 2087787 h 2125497"/>
                <a:gd name="connsiteX134" fmla="*/ 7706613 w 7922976"/>
                <a:gd name="connsiteY134" fmla="*/ 2074416 h 2125497"/>
                <a:gd name="connsiteX135" fmla="*/ 7730461 w 7922976"/>
                <a:gd name="connsiteY135" fmla="*/ 2080068 h 2125497"/>
                <a:gd name="connsiteX136" fmla="*/ 7728324 w 7922976"/>
                <a:gd name="connsiteY136" fmla="*/ 2101572 h 2125497"/>
                <a:gd name="connsiteX137" fmla="*/ 7706958 w 7922976"/>
                <a:gd name="connsiteY137" fmla="*/ 2081239 h 2125497"/>
                <a:gd name="connsiteX138" fmla="*/ 7684902 w 7922976"/>
                <a:gd name="connsiteY138" fmla="*/ 2093577 h 2125497"/>
                <a:gd name="connsiteX139" fmla="*/ 7687589 w 7922976"/>
                <a:gd name="connsiteY139" fmla="*/ 2081308 h 2125497"/>
                <a:gd name="connsiteX140" fmla="*/ 7677320 w 7922976"/>
                <a:gd name="connsiteY140" fmla="*/ 2064767 h 2125497"/>
                <a:gd name="connsiteX141" fmla="*/ 7613840 w 7922976"/>
                <a:gd name="connsiteY141" fmla="*/ 2061527 h 2125497"/>
                <a:gd name="connsiteX142" fmla="*/ 7601227 w 7922976"/>
                <a:gd name="connsiteY142" fmla="*/ 2073037 h 2125497"/>
                <a:gd name="connsiteX143" fmla="*/ 7579654 w 7922976"/>
                <a:gd name="connsiteY143" fmla="*/ 2059046 h 2125497"/>
                <a:gd name="connsiteX144" fmla="*/ 7494462 w 7922976"/>
                <a:gd name="connsiteY144" fmla="*/ 2053532 h 2125497"/>
                <a:gd name="connsiteX145" fmla="*/ 7498323 w 7922976"/>
                <a:gd name="connsiteY145" fmla="*/ 2103502 h 2125497"/>
                <a:gd name="connsiteX146" fmla="*/ 7515829 w 7922976"/>
                <a:gd name="connsiteY146" fmla="*/ 2090338 h 2125497"/>
                <a:gd name="connsiteX147" fmla="*/ 7509281 w 7922976"/>
                <a:gd name="connsiteY147" fmla="*/ 2069316 h 2125497"/>
                <a:gd name="connsiteX148" fmla="*/ 7514175 w 7922976"/>
                <a:gd name="connsiteY148" fmla="*/ 2098057 h 2125497"/>
                <a:gd name="connsiteX149" fmla="*/ 7536162 w 7922976"/>
                <a:gd name="connsiteY149" fmla="*/ 2101986 h 2125497"/>
                <a:gd name="connsiteX150" fmla="*/ 7538368 w 7922976"/>
                <a:gd name="connsiteY150" fmla="*/ 2092888 h 2125497"/>
                <a:gd name="connsiteX151" fmla="*/ 7592956 w 7922976"/>
                <a:gd name="connsiteY151" fmla="*/ 2081653 h 2125497"/>
                <a:gd name="connsiteX152" fmla="*/ 7568901 w 7922976"/>
                <a:gd name="connsiteY152" fmla="*/ 2100676 h 2125497"/>
                <a:gd name="connsiteX153" fmla="*/ 7567247 w 7922976"/>
                <a:gd name="connsiteY153" fmla="*/ 2086960 h 2125497"/>
                <a:gd name="connsiteX154" fmla="*/ 7560286 w 7922976"/>
                <a:gd name="connsiteY154" fmla="*/ 2104191 h 2125497"/>
                <a:gd name="connsiteX155" fmla="*/ 7706682 w 7922976"/>
                <a:gd name="connsiteY155" fmla="*/ 2113220 h 2125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Lst>
              <a:rect l="l" t="t" r="r" b="b"/>
              <a:pathLst>
                <a:path w="7922976" h="2125497">
                  <a:moveTo>
                    <a:pt x="4279198" y="38658"/>
                  </a:moveTo>
                  <a:cubicBezTo>
                    <a:pt x="4271272" y="31559"/>
                    <a:pt x="4280301" y="12536"/>
                    <a:pt x="4290984" y="19290"/>
                  </a:cubicBezTo>
                  <a:cubicBezTo>
                    <a:pt x="4297739" y="26527"/>
                    <a:pt x="4289744" y="45964"/>
                    <a:pt x="4279198" y="38658"/>
                  </a:cubicBezTo>
                  <a:close/>
                  <a:moveTo>
                    <a:pt x="4384170" y="38520"/>
                  </a:moveTo>
                  <a:cubicBezTo>
                    <a:pt x="4379139" y="45275"/>
                    <a:pt x="4386996" y="54787"/>
                    <a:pt x="4394440" y="53753"/>
                  </a:cubicBezTo>
                  <a:cubicBezTo>
                    <a:pt x="4414221" y="56096"/>
                    <a:pt x="4434141" y="56441"/>
                    <a:pt x="4454060" y="57543"/>
                  </a:cubicBezTo>
                  <a:cubicBezTo>
                    <a:pt x="4452137" y="41622"/>
                    <a:pt x="4445169" y="26872"/>
                    <a:pt x="4429316" y="21013"/>
                  </a:cubicBezTo>
                  <a:cubicBezTo>
                    <a:pt x="4431108" y="17843"/>
                    <a:pt x="4434761" y="11433"/>
                    <a:pt x="4436629" y="8262"/>
                  </a:cubicBezTo>
                  <a:cubicBezTo>
                    <a:pt x="4409948" y="7091"/>
                    <a:pt x="4383205" y="3369"/>
                    <a:pt x="4356738" y="7849"/>
                  </a:cubicBezTo>
                  <a:cubicBezTo>
                    <a:pt x="4354602" y="14466"/>
                    <a:pt x="4352465" y="21013"/>
                    <a:pt x="4350397" y="27561"/>
                  </a:cubicBezTo>
                  <a:lnTo>
                    <a:pt x="4348536" y="12536"/>
                  </a:lnTo>
                  <a:cubicBezTo>
                    <a:pt x="4344952" y="15844"/>
                    <a:pt x="4337646" y="22461"/>
                    <a:pt x="4333993" y="25700"/>
                  </a:cubicBezTo>
                  <a:cubicBezTo>
                    <a:pt x="4333242" y="22185"/>
                    <a:pt x="4331719" y="15155"/>
                    <a:pt x="4330960" y="11640"/>
                  </a:cubicBezTo>
                  <a:cubicBezTo>
                    <a:pt x="4324895" y="8056"/>
                    <a:pt x="4318968" y="4334"/>
                    <a:pt x="4313109" y="474"/>
                  </a:cubicBezTo>
                  <a:cubicBezTo>
                    <a:pt x="4311730" y="7642"/>
                    <a:pt x="4310421" y="14810"/>
                    <a:pt x="4309249" y="21909"/>
                  </a:cubicBezTo>
                  <a:cubicBezTo>
                    <a:pt x="4305734" y="16327"/>
                    <a:pt x="4298842" y="5023"/>
                    <a:pt x="4295395" y="-629"/>
                  </a:cubicBezTo>
                  <a:lnTo>
                    <a:pt x="4297056" y="13983"/>
                  </a:lnTo>
                  <a:lnTo>
                    <a:pt x="4292225" y="14741"/>
                  </a:lnTo>
                  <a:cubicBezTo>
                    <a:pt x="4289468" y="5299"/>
                    <a:pt x="4283678" y="-836"/>
                    <a:pt x="4274787" y="-3593"/>
                  </a:cubicBezTo>
                  <a:cubicBezTo>
                    <a:pt x="4274925" y="4403"/>
                    <a:pt x="4272168" y="10951"/>
                    <a:pt x="4266585" y="15913"/>
                  </a:cubicBezTo>
                  <a:lnTo>
                    <a:pt x="4269211" y="-422"/>
                  </a:lnTo>
                  <a:cubicBezTo>
                    <a:pt x="4256453" y="-1594"/>
                    <a:pt x="4254178" y="7160"/>
                    <a:pt x="4254868" y="17981"/>
                  </a:cubicBezTo>
                  <a:cubicBezTo>
                    <a:pt x="4244667" y="17223"/>
                    <a:pt x="4234466" y="16533"/>
                    <a:pt x="4224334" y="15913"/>
                  </a:cubicBezTo>
                  <a:cubicBezTo>
                    <a:pt x="4224685" y="22875"/>
                    <a:pt x="4225230" y="36659"/>
                    <a:pt x="4225506" y="43621"/>
                  </a:cubicBezTo>
                  <a:cubicBezTo>
                    <a:pt x="4237981" y="44379"/>
                    <a:pt x="4250456" y="45275"/>
                    <a:pt x="4263001" y="46240"/>
                  </a:cubicBezTo>
                  <a:lnTo>
                    <a:pt x="4259623" y="34109"/>
                  </a:lnTo>
                  <a:cubicBezTo>
                    <a:pt x="4263621" y="37831"/>
                    <a:pt x="4267757" y="41346"/>
                    <a:pt x="4272099" y="44792"/>
                  </a:cubicBezTo>
                  <a:cubicBezTo>
                    <a:pt x="4305396" y="48652"/>
                    <a:pt x="4338956" y="49617"/>
                    <a:pt x="4372384" y="52788"/>
                  </a:cubicBezTo>
                  <a:cubicBezTo>
                    <a:pt x="4374383" y="44792"/>
                    <a:pt x="4377691" y="37418"/>
                    <a:pt x="4382241" y="30594"/>
                  </a:cubicBezTo>
                  <a:cubicBezTo>
                    <a:pt x="4382792" y="28182"/>
                    <a:pt x="4383964" y="23357"/>
                    <a:pt x="4384515" y="20945"/>
                  </a:cubicBezTo>
                  <a:cubicBezTo>
                    <a:pt x="4387134" y="21427"/>
                    <a:pt x="4392372" y="22461"/>
                    <a:pt x="4394923" y="22943"/>
                  </a:cubicBezTo>
                  <a:cubicBezTo>
                    <a:pt x="4391269" y="28182"/>
                    <a:pt x="4387685" y="33351"/>
                    <a:pt x="4384170" y="38520"/>
                  </a:cubicBezTo>
                  <a:moveTo>
                    <a:pt x="4781865" y="46309"/>
                  </a:moveTo>
                  <a:cubicBezTo>
                    <a:pt x="4785587" y="42794"/>
                    <a:pt x="4785587" y="42794"/>
                    <a:pt x="4781865" y="46309"/>
                  </a:cubicBezTo>
                  <a:moveTo>
                    <a:pt x="4735066" y="76015"/>
                  </a:moveTo>
                  <a:cubicBezTo>
                    <a:pt x="4740235" y="75464"/>
                    <a:pt x="4750574" y="74292"/>
                    <a:pt x="4755743" y="73741"/>
                  </a:cubicBezTo>
                  <a:cubicBezTo>
                    <a:pt x="4764910" y="75809"/>
                    <a:pt x="4774008" y="77807"/>
                    <a:pt x="4783382" y="79599"/>
                  </a:cubicBezTo>
                  <a:lnTo>
                    <a:pt x="4781934" y="71053"/>
                  </a:lnTo>
                  <a:cubicBezTo>
                    <a:pt x="4790550" y="77738"/>
                    <a:pt x="4800820" y="79944"/>
                    <a:pt x="4811710" y="80427"/>
                  </a:cubicBezTo>
                  <a:cubicBezTo>
                    <a:pt x="4808815" y="68296"/>
                    <a:pt x="4805989" y="56096"/>
                    <a:pt x="4803163" y="43897"/>
                  </a:cubicBezTo>
                  <a:cubicBezTo>
                    <a:pt x="4806747" y="43138"/>
                    <a:pt x="4813915" y="41691"/>
                    <a:pt x="4817499" y="40933"/>
                  </a:cubicBezTo>
                  <a:cubicBezTo>
                    <a:pt x="4809504" y="37831"/>
                    <a:pt x="4801578" y="34730"/>
                    <a:pt x="4793721" y="31697"/>
                  </a:cubicBezTo>
                  <a:cubicBezTo>
                    <a:pt x="4789447" y="31421"/>
                    <a:pt x="4780900" y="30870"/>
                    <a:pt x="4776627" y="30663"/>
                  </a:cubicBezTo>
                  <a:cubicBezTo>
                    <a:pt x="4763738" y="29698"/>
                    <a:pt x="4750849" y="28802"/>
                    <a:pt x="4738098" y="27768"/>
                  </a:cubicBezTo>
                  <a:cubicBezTo>
                    <a:pt x="4737271" y="39416"/>
                    <a:pt x="4728931" y="54235"/>
                    <a:pt x="4742647" y="61541"/>
                  </a:cubicBezTo>
                  <a:cubicBezTo>
                    <a:pt x="4740717" y="65125"/>
                    <a:pt x="4736995" y="72362"/>
                    <a:pt x="4735066" y="76015"/>
                  </a:cubicBezTo>
                  <a:moveTo>
                    <a:pt x="5032337" y="79806"/>
                  </a:moveTo>
                  <a:cubicBezTo>
                    <a:pt x="5052946" y="93109"/>
                    <a:pt x="5077138" y="97658"/>
                    <a:pt x="5101400" y="99174"/>
                  </a:cubicBezTo>
                  <a:cubicBezTo>
                    <a:pt x="5102296" y="87939"/>
                    <a:pt x="5103950" y="76567"/>
                    <a:pt x="5101538" y="65332"/>
                  </a:cubicBezTo>
                  <a:cubicBezTo>
                    <a:pt x="5100366" y="72362"/>
                    <a:pt x="5097954" y="86354"/>
                    <a:pt x="5096713" y="93315"/>
                  </a:cubicBezTo>
                  <a:cubicBezTo>
                    <a:pt x="5082170" y="90076"/>
                    <a:pt x="5090372" y="78290"/>
                    <a:pt x="5092715" y="69192"/>
                  </a:cubicBezTo>
                  <a:cubicBezTo>
                    <a:pt x="5088925" y="68640"/>
                    <a:pt x="5081343" y="67607"/>
                    <a:pt x="5077552" y="67055"/>
                  </a:cubicBezTo>
                  <a:cubicBezTo>
                    <a:pt x="5074519" y="60852"/>
                    <a:pt x="5071624" y="54580"/>
                    <a:pt x="5068936" y="48170"/>
                  </a:cubicBezTo>
                  <a:cubicBezTo>
                    <a:pt x="5064181" y="48583"/>
                    <a:pt x="5054600" y="49342"/>
                    <a:pt x="5049844" y="49686"/>
                  </a:cubicBezTo>
                  <a:cubicBezTo>
                    <a:pt x="5051016" y="53270"/>
                    <a:pt x="5053428" y="60300"/>
                    <a:pt x="5054669" y="63885"/>
                  </a:cubicBezTo>
                  <a:cubicBezTo>
                    <a:pt x="5048810" y="62713"/>
                    <a:pt x="5037093" y="60438"/>
                    <a:pt x="5031234" y="59267"/>
                  </a:cubicBezTo>
                  <a:cubicBezTo>
                    <a:pt x="5032475" y="56096"/>
                    <a:pt x="5035025" y="49686"/>
                    <a:pt x="5036266" y="46516"/>
                  </a:cubicBezTo>
                  <a:cubicBezTo>
                    <a:pt x="5031579" y="45757"/>
                    <a:pt x="5022206" y="44172"/>
                    <a:pt x="5017519" y="43414"/>
                  </a:cubicBezTo>
                  <a:cubicBezTo>
                    <a:pt x="5014555" y="50858"/>
                    <a:pt x="5011936" y="58440"/>
                    <a:pt x="5009730" y="66021"/>
                  </a:cubicBezTo>
                  <a:cubicBezTo>
                    <a:pt x="5008145" y="66090"/>
                    <a:pt x="5005043" y="66228"/>
                    <a:pt x="5003534" y="66297"/>
                  </a:cubicBezTo>
                  <a:cubicBezTo>
                    <a:pt x="5020965" y="51134"/>
                    <a:pt x="4993464" y="38520"/>
                    <a:pt x="4979748" y="42035"/>
                  </a:cubicBezTo>
                  <a:cubicBezTo>
                    <a:pt x="4973545" y="51202"/>
                    <a:pt x="4971615" y="67538"/>
                    <a:pt x="4956383" y="64712"/>
                  </a:cubicBezTo>
                  <a:cubicBezTo>
                    <a:pt x="4955969" y="70295"/>
                    <a:pt x="4955004" y="81322"/>
                    <a:pt x="4954591" y="86905"/>
                  </a:cubicBezTo>
                  <a:cubicBezTo>
                    <a:pt x="4973200" y="89869"/>
                    <a:pt x="4992085" y="91799"/>
                    <a:pt x="5011040" y="92764"/>
                  </a:cubicBezTo>
                  <a:cubicBezTo>
                    <a:pt x="5016692" y="87181"/>
                    <a:pt x="5022274" y="72569"/>
                    <a:pt x="5032337" y="79806"/>
                  </a:cubicBezTo>
                  <a:moveTo>
                    <a:pt x="6215" y="1205690"/>
                  </a:moveTo>
                  <a:cubicBezTo>
                    <a:pt x="10628" y="1201830"/>
                    <a:pt x="10628" y="1201830"/>
                    <a:pt x="6215" y="1205690"/>
                  </a:cubicBezTo>
                  <a:moveTo>
                    <a:pt x="-5432" y="1268136"/>
                  </a:moveTo>
                  <a:cubicBezTo>
                    <a:pt x="-6121" y="1280818"/>
                    <a:pt x="9182" y="1275786"/>
                    <a:pt x="16484" y="1279095"/>
                  </a:cubicBezTo>
                  <a:cubicBezTo>
                    <a:pt x="16484" y="1268549"/>
                    <a:pt x="17725" y="1257935"/>
                    <a:pt x="15865" y="1247458"/>
                  </a:cubicBezTo>
                  <a:cubicBezTo>
                    <a:pt x="9182" y="1250698"/>
                    <a:pt x="6904" y="1256970"/>
                    <a:pt x="9182" y="1266206"/>
                  </a:cubicBezTo>
                  <a:lnTo>
                    <a:pt x="5596" y="1265723"/>
                  </a:lnTo>
                  <a:cubicBezTo>
                    <a:pt x="6078" y="1258624"/>
                    <a:pt x="6493" y="1251456"/>
                    <a:pt x="7044" y="1244288"/>
                  </a:cubicBezTo>
                  <a:cubicBezTo>
                    <a:pt x="9799" y="1242702"/>
                    <a:pt x="15383" y="1239670"/>
                    <a:pt x="18207" y="1238085"/>
                  </a:cubicBezTo>
                  <a:lnTo>
                    <a:pt x="22894" y="1231674"/>
                  </a:lnTo>
                  <a:cubicBezTo>
                    <a:pt x="18692" y="1231192"/>
                    <a:pt x="10143" y="1230089"/>
                    <a:pt x="5873" y="1229607"/>
                  </a:cubicBezTo>
                  <a:cubicBezTo>
                    <a:pt x="22068" y="1218992"/>
                    <a:pt x="24965" y="1202244"/>
                    <a:pt x="20552" y="1184323"/>
                  </a:cubicBezTo>
                  <a:cubicBezTo>
                    <a:pt x="11180" y="1186529"/>
                    <a:pt x="2495" y="1190595"/>
                    <a:pt x="-5017" y="1196592"/>
                  </a:cubicBezTo>
                  <a:cubicBezTo>
                    <a:pt x="-2196" y="1220440"/>
                    <a:pt x="-4124" y="1244288"/>
                    <a:pt x="-5432" y="1268136"/>
                  </a:cubicBezTo>
                  <a:moveTo>
                    <a:pt x="5720205" y="1983091"/>
                  </a:moveTo>
                  <a:cubicBezTo>
                    <a:pt x="5711590" y="1972408"/>
                    <a:pt x="5731164" y="1964206"/>
                    <a:pt x="5737781" y="1973166"/>
                  </a:cubicBezTo>
                  <a:cubicBezTo>
                    <a:pt x="5746534" y="1983918"/>
                    <a:pt x="5726477" y="1992396"/>
                    <a:pt x="5720205" y="1983091"/>
                  </a:cubicBezTo>
                  <a:moveTo>
                    <a:pt x="5692291" y="1989294"/>
                  </a:moveTo>
                  <a:cubicBezTo>
                    <a:pt x="5718551" y="1990328"/>
                    <a:pt x="5744811" y="1992396"/>
                    <a:pt x="5771210" y="1993567"/>
                  </a:cubicBezTo>
                  <a:lnTo>
                    <a:pt x="5770796" y="1979231"/>
                  </a:lnTo>
                  <a:cubicBezTo>
                    <a:pt x="5770796" y="1967514"/>
                    <a:pt x="5771416" y="1955866"/>
                    <a:pt x="5771899" y="1944148"/>
                  </a:cubicBezTo>
                  <a:cubicBezTo>
                    <a:pt x="5763007" y="1946561"/>
                    <a:pt x="5754736" y="1958347"/>
                    <a:pt x="5746189" y="1948629"/>
                  </a:cubicBezTo>
                  <a:cubicBezTo>
                    <a:pt x="5734817" y="1940289"/>
                    <a:pt x="5720687" y="1947457"/>
                    <a:pt x="5708488" y="1948698"/>
                  </a:cubicBezTo>
                  <a:cubicBezTo>
                    <a:pt x="5709039" y="1951730"/>
                    <a:pt x="5710073" y="1957795"/>
                    <a:pt x="5710556" y="1960897"/>
                  </a:cubicBezTo>
                  <a:cubicBezTo>
                    <a:pt x="5701733" y="1961311"/>
                    <a:pt x="5692911" y="1961862"/>
                    <a:pt x="5684157" y="1962551"/>
                  </a:cubicBezTo>
                  <a:cubicBezTo>
                    <a:pt x="5684847" y="1956761"/>
                    <a:pt x="5686088" y="1945320"/>
                    <a:pt x="5686777" y="1939599"/>
                  </a:cubicBezTo>
                  <a:cubicBezTo>
                    <a:pt x="5682366" y="1941184"/>
                    <a:pt x="5673681" y="1944493"/>
                    <a:pt x="5669338" y="1946078"/>
                  </a:cubicBezTo>
                  <a:cubicBezTo>
                    <a:pt x="5665892" y="1947388"/>
                    <a:pt x="5659138" y="1949938"/>
                    <a:pt x="5655692" y="1951179"/>
                  </a:cubicBezTo>
                  <a:cubicBezTo>
                    <a:pt x="5659000" y="1958692"/>
                    <a:pt x="5662309" y="1966204"/>
                    <a:pt x="5665755" y="1973648"/>
                  </a:cubicBezTo>
                  <a:cubicBezTo>
                    <a:pt x="5656106" y="1967789"/>
                    <a:pt x="5646731" y="1961862"/>
                    <a:pt x="5637220" y="1955935"/>
                  </a:cubicBezTo>
                  <a:cubicBezTo>
                    <a:pt x="5636807" y="1951386"/>
                    <a:pt x="5635979" y="1942356"/>
                    <a:pt x="5635565" y="1937876"/>
                  </a:cubicBezTo>
                  <a:cubicBezTo>
                    <a:pt x="5619989" y="1937670"/>
                    <a:pt x="5602000" y="1929950"/>
                    <a:pt x="5588007" y="1938496"/>
                  </a:cubicBezTo>
                  <a:cubicBezTo>
                    <a:pt x="5582501" y="1952075"/>
                    <a:pt x="5582631" y="1967307"/>
                    <a:pt x="5579392" y="1981505"/>
                  </a:cubicBezTo>
                  <a:cubicBezTo>
                    <a:pt x="5585664" y="1981988"/>
                    <a:pt x="5598139" y="1982884"/>
                    <a:pt x="5604412" y="1983366"/>
                  </a:cubicBezTo>
                  <a:cubicBezTo>
                    <a:pt x="5605859" y="1979024"/>
                    <a:pt x="5608823" y="1970271"/>
                    <a:pt x="5610271" y="1965860"/>
                  </a:cubicBezTo>
                  <a:cubicBezTo>
                    <a:pt x="5619782" y="1974131"/>
                    <a:pt x="5630189" y="1982195"/>
                    <a:pt x="5643630" y="1978611"/>
                  </a:cubicBezTo>
                  <a:cubicBezTo>
                    <a:pt x="5646663" y="1980954"/>
                    <a:pt x="5652659" y="1985641"/>
                    <a:pt x="5655692" y="1987985"/>
                  </a:cubicBezTo>
                  <a:cubicBezTo>
                    <a:pt x="5664790" y="1975923"/>
                    <a:pt x="5680504" y="1981919"/>
                    <a:pt x="5693255" y="1979714"/>
                  </a:cubicBezTo>
                  <a:lnTo>
                    <a:pt x="5692291" y="1989294"/>
                  </a:lnTo>
                  <a:moveTo>
                    <a:pt x="7657332" y="2079241"/>
                  </a:moveTo>
                  <a:cubicBezTo>
                    <a:pt x="7660915" y="2075725"/>
                    <a:pt x="7660915" y="2075725"/>
                    <a:pt x="7657332" y="2079241"/>
                  </a:cubicBezTo>
                  <a:moveTo>
                    <a:pt x="7615219" y="2085858"/>
                  </a:moveTo>
                  <a:cubicBezTo>
                    <a:pt x="7612876" y="2076070"/>
                    <a:pt x="7616390" y="2072486"/>
                    <a:pt x="7625971" y="2074967"/>
                  </a:cubicBezTo>
                  <a:cubicBezTo>
                    <a:pt x="7628108" y="2084755"/>
                    <a:pt x="7624523" y="2088408"/>
                    <a:pt x="7615219" y="2085858"/>
                  </a:cubicBezTo>
                  <a:moveTo>
                    <a:pt x="7834950" y="2101572"/>
                  </a:moveTo>
                  <a:cubicBezTo>
                    <a:pt x="7826266" y="2095989"/>
                    <a:pt x="7826404" y="2091165"/>
                    <a:pt x="7835364" y="2087098"/>
                  </a:cubicBezTo>
                  <a:cubicBezTo>
                    <a:pt x="7843910" y="2092681"/>
                    <a:pt x="7843773" y="2097506"/>
                    <a:pt x="7834950" y="2101572"/>
                  </a:cubicBezTo>
                  <a:moveTo>
                    <a:pt x="7768093" y="2100952"/>
                  </a:moveTo>
                  <a:cubicBezTo>
                    <a:pt x="7765199" y="2091371"/>
                    <a:pt x="7768645" y="2087925"/>
                    <a:pt x="7778295" y="2090751"/>
                  </a:cubicBezTo>
                  <a:cubicBezTo>
                    <a:pt x="7780982" y="2100469"/>
                    <a:pt x="7777605" y="2103847"/>
                    <a:pt x="7768093" y="2100952"/>
                  </a:cubicBezTo>
                  <a:moveTo>
                    <a:pt x="7636241" y="2099780"/>
                  </a:moveTo>
                  <a:cubicBezTo>
                    <a:pt x="7639825" y="2095989"/>
                    <a:pt x="7639825" y="2095989"/>
                    <a:pt x="7636241" y="2099780"/>
                  </a:cubicBezTo>
                  <a:moveTo>
                    <a:pt x="7706682" y="2113220"/>
                  </a:moveTo>
                  <a:cubicBezTo>
                    <a:pt x="7747485" y="2116942"/>
                    <a:pt x="7788289" y="2120871"/>
                    <a:pt x="7829368" y="2121905"/>
                  </a:cubicBezTo>
                  <a:cubicBezTo>
                    <a:pt x="7819718" y="2114530"/>
                    <a:pt x="7808483" y="2107706"/>
                    <a:pt x="7805382" y="2095093"/>
                  </a:cubicBezTo>
                  <a:cubicBezTo>
                    <a:pt x="7815651" y="2099505"/>
                    <a:pt x="7825645" y="2104467"/>
                    <a:pt x="7835709" y="2109430"/>
                  </a:cubicBezTo>
                  <a:cubicBezTo>
                    <a:pt x="7842050" y="2107500"/>
                    <a:pt x="7848460" y="2105501"/>
                    <a:pt x="7855008" y="2103433"/>
                  </a:cubicBezTo>
                  <a:cubicBezTo>
                    <a:pt x="7860522" y="2108947"/>
                    <a:pt x="7866311" y="2114461"/>
                    <a:pt x="7871756" y="2120251"/>
                  </a:cubicBezTo>
                  <a:cubicBezTo>
                    <a:pt x="7879131" y="2117149"/>
                    <a:pt x="7886575" y="2117218"/>
                    <a:pt x="7894019" y="2120458"/>
                  </a:cubicBezTo>
                  <a:cubicBezTo>
                    <a:pt x="7894708" y="2118045"/>
                    <a:pt x="7896086" y="2113358"/>
                    <a:pt x="7896776" y="2111015"/>
                  </a:cubicBezTo>
                  <a:cubicBezTo>
                    <a:pt x="7908286" y="2114875"/>
                    <a:pt x="7915385" y="2110326"/>
                    <a:pt x="7917522" y="2098471"/>
                  </a:cubicBezTo>
                  <a:cubicBezTo>
                    <a:pt x="7905874" y="2096403"/>
                    <a:pt x="7894570" y="2093370"/>
                    <a:pt x="7898430" y="2078965"/>
                  </a:cubicBezTo>
                  <a:cubicBezTo>
                    <a:pt x="7882233" y="2077724"/>
                    <a:pt x="7865553" y="2077724"/>
                    <a:pt x="7850045" y="2073037"/>
                  </a:cubicBezTo>
                  <a:cubicBezTo>
                    <a:pt x="7853974" y="2083238"/>
                    <a:pt x="7862383" y="2088959"/>
                    <a:pt x="7872859" y="2091440"/>
                  </a:cubicBezTo>
                  <a:lnTo>
                    <a:pt x="7870102" y="2099574"/>
                  </a:lnTo>
                  <a:cubicBezTo>
                    <a:pt x="7863485" y="2097161"/>
                    <a:pt x="7857006" y="2094611"/>
                    <a:pt x="7850734" y="2091992"/>
                  </a:cubicBezTo>
                  <a:cubicBezTo>
                    <a:pt x="7850114" y="2087925"/>
                    <a:pt x="7848942" y="2079861"/>
                    <a:pt x="7848390" y="2075794"/>
                  </a:cubicBezTo>
                  <a:cubicBezTo>
                    <a:pt x="7795939" y="2072141"/>
                    <a:pt x="7743488" y="2068833"/>
                    <a:pt x="7691036" y="2065869"/>
                  </a:cubicBezTo>
                  <a:cubicBezTo>
                    <a:pt x="7692483" y="2071383"/>
                    <a:pt x="7695447" y="2082273"/>
                    <a:pt x="7696894" y="2087787"/>
                  </a:cubicBezTo>
                  <a:cubicBezTo>
                    <a:pt x="7699307" y="2084410"/>
                    <a:pt x="7704131" y="2077793"/>
                    <a:pt x="7706613" y="2074416"/>
                  </a:cubicBezTo>
                  <a:cubicBezTo>
                    <a:pt x="7714401" y="2076346"/>
                    <a:pt x="7722466" y="2078207"/>
                    <a:pt x="7730461" y="2080068"/>
                  </a:cubicBezTo>
                  <a:cubicBezTo>
                    <a:pt x="7729909" y="2085444"/>
                    <a:pt x="7728876" y="2096196"/>
                    <a:pt x="7728324" y="2101572"/>
                  </a:cubicBezTo>
                  <a:cubicBezTo>
                    <a:pt x="7722672" y="2093370"/>
                    <a:pt x="7719433" y="2081239"/>
                    <a:pt x="7706958" y="2081239"/>
                  </a:cubicBezTo>
                  <a:cubicBezTo>
                    <a:pt x="7709439" y="2098540"/>
                    <a:pt x="7696826" y="2096265"/>
                    <a:pt x="7684902" y="2093577"/>
                  </a:cubicBezTo>
                  <a:cubicBezTo>
                    <a:pt x="7685522" y="2090475"/>
                    <a:pt x="7686900" y="2084410"/>
                    <a:pt x="7687589" y="2081308"/>
                  </a:cubicBezTo>
                  <a:cubicBezTo>
                    <a:pt x="7685039" y="2077173"/>
                    <a:pt x="7679870" y="2068902"/>
                    <a:pt x="7677320" y="2064767"/>
                  </a:cubicBezTo>
                  <a:cubicBezTo>
                    <a:pt x="7656091" y="2063319"/>
                    <a:pt x="7634931" y="2062768"/>
                    <a:pt x="7613840" y="2061527"/>
                  </a:cubicBezTo>
                  <a:cubicBezTo>
                    <a:pt x="7613702" y="2071797"/>
                    <a:pt x="7609498" y="2075656"/>
                    <a:pt x="7601227" y="2073037"/>
                  </a:cubicBezTo>
                  <a:cubicBezTo>
                    <a:pt x="7594059" y="2068419"/>
                    <a:pt x="7588889" y="2059322"/>
                    <a:pt x="7579654" y="2059046"/>
                  </a:cubicBezTo>
                  <a:cubicBezTo>
                    <a:pt x="7551325" y="2056013"/>
                    <a:pt x="7522791" y="2055737"/>
                    <a:pt x="7494462" y="2053532"/>
                  </a:cubicBezTo>
                  <a:cubicBezTo>
                    <a:pt x="7495566" y="2070211"/>
                    <a:pt x="7496806" y="2086891"/>
                    <a:pt x="7498323" y="2103502"/>
                  </a:cubicBezTo>
                  <a:cubicBezTo>
                    <a:pt x="7502733" y="2100194"/>
                    <a:pt x="7511487" y="2093646"/>
                    <a:pt x="7515829" y="2090338"/>
                  </a:cubicBezTo>
                  <a:cubicBezTo>
                    <a:pt x="7510453" y="2084410"/>
                    <a:pt x="7502941" y="2077449"/>
                    <a:pt x="7509281" y="2069316"/>
                  </a:cubicBezTo>
                  <a:cubicBezTo>
                    <a:pt x="7515622" y="2078069"/>
                    <a:pt x="7533819" y="2086684"/>
                    <a:pt x="7514175" y="2098057"/>
                  </a:cubicBezTo>
                  <a:cubicBezTo>
                    <a:pt x="7519689" y="2099022"/>
                    <a:pt x="7530648" y="2101021"/>
                    <a:pt x="7536162" y="2101986"/>
                  </a:cubicBezTo>
                  <a:lnTo>
                    <a:pt x="7538368" y="2092888"/>
                  </a:lnTo>
                  <a:cubicBezTo>
                    <a:pt x="7558356" y="2093026"/>
                    <a:pt x="7572761" y="2064215"/>
                    <a:pt x="7592956" y="2081653"/>
                  </a:cubicBezTo>
                  <a:cubicBezTo>
                    <a:pt x="7605431" y="2091165"/>
                    <a:pt x="7573175" y="2094749"/>
                    <a:pt x="7568901" y="2100676"/>
                  </a:cubicBezTo>
                  <a:lnTo>
                    <a:pt x="7567247" y="2086960"/>
                  </a:lnTo>
                  <a:cubicBezTo>
                    <a:pt x="7564628" y="2092612"/>
                    <a:pt x="7562216" y="2098333"/>
                    <a:pt x="7560286" y="2104191"/>
                  </a:cubicBezTo>
                  <a:cubicBezTo>
                    <a:pt x="7608947" y="2108396"/>
                    <a:pt x="7657745" y="2112325"/>
                    <a:pt x="7706682" y="2113220"/>
                  </a:cubicBezTo>
                </a:path>
              </a:pathLst>
            </a:custGeom>
            <a:grpFill/>
            <a:ln w="689" cap="flat">
              <a:noFill/>
              <a:prstDash val="solid"/>
              <a:miter/>
            </a:ln>
          </p:spPr>
          <p:txBody>
            <a:bodyPr rtlCol="0" anchor="ctr"/>
            <a:lstStyle/>
            <a:p>
              <a:endParaRPr lang="en-US" sz="2400" dirty="0"/>
            </a:p>
          </p:txBody>
        </p:sp>
        <p:sp>
          <p:nvSpPr>
            <p:cNvPr id="77" name="Graphic 8">
              <a:extLst>
                <a:ext uri="{FF2B5EF4-FFF2-40B4-BE49-F238E27FC236}">
                  <a16:creationId xmlns:a16="http://schemas.microsoft.com/office/drawing/2014/main" id="{1B766CFA-9D84-402B-8F7E-E00CCDCA6EAA}"/>
                </a:ext>
              </a:extLst>
            </p:cNvPr>
            <p:cNvSpPr/>
            <p:nvPr/>
          </p:nvSpPr>
          <p:spPr>
            <a:xfrm flipV="1">
              <a:off x="1139460" y="1296678"/>
              <a:ext cx="7114110" cy="2142272"/>
            </a:xfrm>
            <a:custGeom>
              <a:avLst/>
              <a:gdLst>
                <a:gd name="connsiteX0" fmla="*/ 5931438 w 7114110"/>
                <a:gd name="connsiteY0" fmla="*/ 9210 h 2142272"/>
                <a:gd name="connsiteX1" fmla="*/ 5942534 w 7114110"/>
                <a:gd name="connsiteY1" fmla="*/ -2300 h 2142272"/>
                <a:gd name="connsiteX2" fmla="*/ 5931438 w 7114110"/>
                <a:gd name="connsiteY2" fmla="*/ 9210 h 2142272"/>
                <a:gd name="connsiteX3" fmla="*/ 2727545 w 7114110"/>
                <a:gd name="connsiteY3" fmla="*/ 476381 h 2142272"/>
                <a:gd name="connsiteX4" fmla="*/ 2698735 w 7114110"/>
                <a:gd name="connsiteY4" fmla="*/ 465629 h 2142272"/>
                <a:gd name="connsiteX5" fmla="*/ 2727545 w 7114110"/>
                <a:gd name="connsiteY5" fmla="*/ 476381 h 2142272"/>
                <a:gd name="connsiteX6" fmla="*/ 3413552 w 7114110"/>
                <a:gd name="connsiteY6" fmla="*/ 573427 h 2142272"/>
                <a:gd name="connsiteX7" fmla="*/ 3413552 w 7114110"/>
                <a:gd name="connsiteY7" fmla="*/ 573427 h 2142272"/>
                <a:gd name="connsiteX8" fmla="*/ 2098470 w 7114110"/>
                <a:gd name="connsiteY8" fmla="*/ 822521 h 2142272"/>
                <a:gd name="connsiteX9" fmla="*/ 2095851 w 7114110"/>
                <a:gd name="connsiteY9" fmla="*/ 804601 h 2142272"/>
                <a:gd name="connsiteX10" fmla="*/ 2098470 w 7114110"/>
                <a:gd name="connsiteY10" fmla="*/ 822521 h 2142272"/>
                <a:gd name="connsiteX11" fmla="*/ 6282402 w 7114110"/>
                <a:gd name="connsiteY11" fmla="*/ 882830 h 2142272"/>
                <a:gd name="connsiteX12" fmla="*/ 6282402 w 7114110"/>
                <a:gd name="connsiteY12" fmla="*/ 882830 h 2142272"/>
                <a:gd name="connsiteX13" fmla="*/ 6737029 w 7114110"/>
                <a:gd name="connsiteY13" fmla="*/ 1063068 h 2142272"/>
                <a:gd name="connsiteX14" fmla="*/ 6746195 w 7114110"/>
                <a:gd name="connsiteY14" fmla="*/ 1054108 h 2142272"/>
                <a:gd name="connsiteX15" fmla="*/ 6737029 w 7114110"/>
                <a:gd name="connsiteY15" fmla="*/ 1063068 h 2142272"/>
                <a:gd name="connsiteX16" fmla="*/ -3662 w 7114110"/>
                <a:gd name="connsiteY16" fmla="*/ 1227522 h 2142272"/>
                <a:gd name="connsiteX17" fmla="*/ -3662 w 7114110"/>
                <a:gd name="connsiteY17" fmla="*/ 1227522 h 2142272"/>
                <a:gd name="connsiteX18" fmla="*/ 600187 w 7114110"/>
                <a:gd name="connsiteY18" fmla="*/ 1700276 h 2142272"/>
                <a:gd name="connsiteX19" fmla="*/ 603357 w 7114110"/>
                <a:gd name="connsiteY19" fmla="*/ 1704205 h 2142272"/>
                <a:gd name="connsiteX20" fmla="*/ 600187 w 7114110"/>
                <a:gd name="connsiteY20" fmla="*/ 1700276 h 2142272"/>
                <a:gd name="connsiteX21" fmla="*/ 1921541 w 7114110"/>
                <a:gd name="connsiteY21" fmla="*/ 1974872 h 2142272"/>
                <a:gd name="connsiteX22" fmla="*/ 1936980 w 7114110"/>
                <a:gd name="connsiteY22" fmla="*/ 1912357 h 2142272"/>
                <a:gd name="connsiteX23" fmla="*/ 1926296 w 7114110"/>
                <a:gd name="connsiteY23" fmla="*/ 1911392 h 2142272"/>
                <a:gd name="connsiteX24" fmla="*/ 1920369 w 7114110"/>
                <a:gd name="connsiteY24" fmla="*/ 1936274 h 2142272"/>
                <a:gd name="connsiteX25" fmla="*/ 1921541 w 7114110"/>
                <a:gd name="connsiteY25" fmla="*/ 1974872 h 2142272"/>
                <a:gd name="connsiteX26" fmla="*/ 7097228 w 7114110"/>
                <a:gd name="connsiteY26" fmla="*/ 2125196 h 2142272"/>
                <a:gd name="connsiteX27" fmla="*/ 7107430 w 7114110"/>
                <a:gd name="connsiteY27" fmla="*/ 2114995 h 2142272"/>
                <a:gd name="connsiteX28" fmla="*/ 7097228 w 7114110"/>
                <a:gd name="connsiteY28" fmla="*/ 2125196 h 2142272"/>
                <a:gd name="connsiteX29" fmla="*/ 4380151 w 7114110"/>
                <a:gd name="connsiteY29" fmla="*/ 2138706 h 2142272"/>
                <a:gd name="connsiteX30" fmla="*/ 4380151 w 7114110"/>
                <a:gd name="connsiteY30" fmla="*/ 2138706 h 2142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14110" h="2142272">
                  <a:moveTo>
                    <a:pt x="5931438" y="9210"/>
                  </a:moveTo>
                  <a:cubicBezTo>
                    <a:pt x="5942604" y="12863"/>
                    <a:pt x="5946257" y="9072"/>
                    <a:pt x="5942534" y="-2300"/>
                  </a:cubicBezTo>
                  <a:cubicBezTo>
                    <a:pt x="5931231" y="-5815"/>
                    <a:pt x="5927578" y="-2024"/>
                    <a:pt x="5931438" y="9210"/>
                  </a:cubicBezTo>
                  <a:close/>
                  <a:moveTo>
                    <a:pt x="2727545" y="476381"/>
                  </a:moveTo>
                  <a:cubicBezTo>
                    <a:pt x="2739469" y="467835"/>
                    <a:pt x="2703491" y="450259"/>
                    <a:pt x="2698735" y="465629"/>
                  </a:cubicBezTo>
                  <a:cubicBezTo>
                    <a:pt x="2703904" y="474934"/>
                    <a:pt x="2718378" y="472797"/>
                    <a:pt x="2727545" y="476381"/>
                  </a:cubicBezTo>
                  <a:moveTo>
                    <a:pt x="3413552" y="573427"/>
                  </a:moveTo>
                  <a:cubicBezTo>
                    <a:pt x="3436297" y="572600"/>
                    <a:pt x="3402938" y="552750"/>
                    <a:pt x="3413552" y="573427"/>
                  </a:cubicBezTo>
                  <a:moveTo>
                    <a:pt x="2098470" y="822521"/>
                  </a:moveTo>
                  <a:cubicBezTo>
                    <a:pt x="2109429" y="822452"/>
                    <a:pt x="2103777" y="805565"/>
                    <a:pt x="2095851" y="804601"/>
                  </a:cubicBezTo>
                  <a:cubicBezTo>
                    <a:pt x="2084823" y="804669"/>
                    <a:pt x="2090406" y="821625"/>
                    <a:pt x="2098470" y="822521"/>
                  </a:cubicBezTo>
                  <a:moveTo>
                    <a:pt x="6282402" y="882830"/>
                  </a:moveTo>
                  <a:cubicBezTo>
                    <a:pt x="6305216" y="882347"/>
                    <a:pt x="6272132" y="862015"/>
                    <a:pt x="6282402" y="882830"/>
                  </a:cubicBezTo>
                  <a:moveTo>
                    <a:pt x="6737029" y="1063068"/>
                  </a:moveTo>
                  <a:cubicBezTo>
                    <a:pt x="6746333" y="1067341"/>
                    <a:pt x="6749435" y="1064377"/>
                    <a:pt x="6746195" y="1054108"/>
                  </a:cubicBezTo>
                  <a:cubicBezTo>
                    <a:pt x="6736615" y="1049834"/>
                    <a:pt x="6733582" y="1052867"/>
                    <a:pt x="6737029" y="1063068"/>
                  </a:cubicBezTo>
                  <a:moveTo>
                    <a:pt x="-3662" y="1227522"/>
                  </a:moveTo>
                  <a:cubicBezTo>
                    <a:pt x="19083" y="1226557"/>
                    <a:pt x="-14207" y="1206707"/>
                    <a:pt x="-3662" y="1227522"/>
                  </a:cubicBezTo>
                  <a:moveTo>
                    <a:pt x="600187" y="1700276"/>
                  </a:moveTo>
                  <a:cubicBezTo>
                    <a:pt x="601014" y="1701310"/>
                    <a:pt x="602599" y="1703240"/>
                    <a:pt x="603357" y="1704205"/>
                  </a:cubicBezTo>
                  <a:cubicBezTo>
                    <a:pt x="602599" y="1703240"/>
                    <a:pt x="601014" y="1701310"/>
                    <a:pt x="600187" y="1700276"/>
                  </a:cubicBezTo>
                  <a:moveTo>
                    <a:pt x="1921541" y="1974872"/>
                  </a:moveTo>
                  <a:cubicBezTo>
                    <a:pt x="1931328" y="1955435"/>
                    <a:pt x="1933051" y="1933517"/>
                    <a:pt x="1936980" y="1912357"/>
                  </a:cubicBezTo>
                  <a:cubicBezTo>
                    <a:pt x="1934292" y="1912081"/>
                    <a:pt x="1928985" y="1911599"/>
                    <a:pt x="1926296" y="1911392"/>
                  </a:cubicBezTo>
                  <a:cubicBezTo>
                    <a:pt x="1924298" y="1919732"/>
                    <a:pt x="1922368" y="1928003"/>
                    <a:pt x="1920369" y="1936274"/>
                  </a:cubicBezTo>
                  <a:cubicBezTo>
                    <a:pt x="1920507" y="1949163"/>
                    <a:pt x="1920851" y="1962052"/>
                    <a:pt x="1921541" y="1974872"/>
                  </a:cubicBezTo>
                  <a:moveTo>
                    <a:pt x="7097228" y="2125196"/>
                  </a:moveTo>
                  <a:cubicBezTo>
                    <a:pt x="7106741" y="2128091"/>
                    <a:pt x="7110117" y="2124714"/>
                    <a:pt x="7107430" y="2114995"/>
                  </a:cubicBezTo>
                  <a:cubicBezTo>
                    <a:pt x="7097780" y="2112170"/>
                    <a:pt x="7094334" y="2115616"/>
                    <a:pt x="7097228" y="2125196"/>
                  </a:cubicBezTo>
                  <a:moveTo>
                    <a:pt x="4380151" y="2138706"/>
                  </a:moveTo>
                  <a:cubicBezTo>
                    <a:pt x="4402827" y="2137258"/>
                    <a:pt x="4369123" y="2118235"/>
                    <a:pt x="4380151" y="2138706"/>
                  </a:cubicBezTo>
                </a:path>
              </a:pathLst>
            </a:custGeom>
            <a:grpFill/>
            <a:ln w="689" cap="flat">
              <a:noFill/>
              <a:prstDash val="solid"/>
              <a:miter/>
            </a:ln>
          </p:spPr>
          <p:txBody>
            <a:bodyPr rtlCol="0" anchor="ctr"/>
            <a:lstStyle/>
            <a:p>
              <a:endParaRPr lang="en-US" sz="2400" dirty="0"/>
            </a:p>
          </p:txBody>
        </p:sp>
        <p:sp>
          <p:nvSpPr>
            <p:cNvPr id="78" name="Graphic 8">
              <a:extLst>
                <a:ext uri="{FF2B5EF4-FFF2-40B4-BE49-F238E27FC236}">
                  <a16:creationId xmlns:a16="http://schemas.microsoft.com/office/drawing/2014/main" id="{8C4A53E2-B1B9-4D9E-85E4-6FFC1D5ACCD0}"/>
                </a:ext>
              </a:extLst>
            </p:cNvPr>
            <p:cNvSpPr/>
            <p:nvPr/>
          </p:nvSpPr>
          <p:spPr>
            <a:xfrm flipV="1">
              <a:off x="380123" y="1305432"/>
              <a:ext cx="4967357" cy="2203872"/>
            </a:xfrm>
            <a:custGeom>
              <a:avLst/>
              <a:gdLst>
                <a:gd name="connsiteX0" fmla="*/ 2898710 w 4967357"/>
                <a:gd name="connsiteY0" fmla="*/ 50405 h 2203872"/>
                <a:gd name="connsiteX1" fmla="*/ 2926624 w 4967357"/>
                <a:gd name="connsiteY1" fmla="*/ 52956 h 2203872"/>
                <a:gd name="connsiteX2" fmla="*/ 2936549 w 4967357"/>
                <a:gd name="connsiteY2" fmla="*/ 43306 h 2203872"/>
                <a:gd name="connsiteX3" fmla="*/ 2945509 w 4967357"/>
                <a:gd name="connsiteY3" fmla="*/ 34208 h 2203872"/>
                <a:gd name="connsiteX4" fmla="*/ 2949094 w 4967357"/>
                <a:gd name="connsiteY4" fmla="*/ 30624 h 2203872"/>
                <a:gd name="connsiteX5" fmla="*/ 2922695 w 4967357"/>
                <a:gd name="connsiteY5" fmla="*/ 38895 h 2203872"/>
                <a:gd name="connsiteX6" fmla="*/ 2919525 w 4967357"/>
                <a:gd name="connsiteY6" fmla="*/ 22008 h 2203872"/>
                <a:gd name="connsiteX7" fmla="*/ 2925383 w 4967357"/>
                <a:gd name="connsiteY7" fmla="*/ 3674 h 2203872"/>
                <a:gd name="connsiteX8" fmla="*/ 2929381 w 4967357"/>
                <a:gd name="connsiteY8" fmla="*/ 2985 h 2203872"/>
                <a:gd name="connsiteX9" fmla="*/ 2790360 w 4967357"/>
                <a:gd name="connsiteY9" fmla="*/ 1262 h 2203872"/>
                <a:gd name="connsiteX10" fmla="*/ 2820962 w 4967357"/>
                <a:gd name="connsiteY10" fmla="*/ 8499 h 2203872"/>
                <a:gd name="connsiteX11" fmla="*/ 2847154 w 4967357"/>
                <a:gd name="connsiteY11" fmla="*/ 10360 h 2203872"/>
                <a:gd name="connsiteX12" fmla="*/ 2852116 w 4967357"/>
                <a:gd name="connsiteY12" fmla="*/ 3468 h 2203872"/>
                <a:gd name="connsiteX13" fmla="*/ 2869003 w 4967357"/>
                <a:gd name="connsiteY13" fmla="*/ -1150 h 2203872"/>
                <a:gd name="connsiteX14" fmla="*/ 2861077 w 4967357"/>
                <a:gd name="connsiteY14" fmla="*/ 20699 h 2203872"/>
                <a:gd name="connsiteX15" fmla="*/ 2879480 w 4967357"/>
                <a:gd name="connsiteY15" fmla="*/ 1745 h 2203872"/>
                <a:gd name="connsiteX16" fmla="*/ 2901536 w 4967357"/>
                <a:gd name="connsiteY16" fmla="*/ 3881 h 2203872"/>
                <a:gd name="connsiteX17" fmla="*/ 2890508 w 4967357"/>
                <a:gd name="connsiteY17" fmla="*/ 16908 h 2203872"/>
                <a:gd name="connsiteX18" fmla="*/ 2897813 w 4967357"/>
                <a:gd name="connsiteY18" fmla="*/ 29383 h 2203872"/>
                <a:gd name="connsiteX19" fmla="*/ 2894022 w 4967357"/>
                <a:gd name="connsiteY19" fmla="*/ 36345 h 2203872"/>
                <a:gd name="connsiteX20" fmla="*/ 2916906 w 4967357"/>
                <a:gd name="connsiteY20" fmla="*/ 41238 h 2203872"/>
                <a:gd name="connsiteX21" fmla="*/ 2898710 w 4967357"/>
                <a:gd name="connsiteY21" fmla="*/ 50405 h 2203872"/>
                <a:gd name="connsiteX22" fmla="*/ 155 w 4967357"/>
                <a:gd name="connsiteY22" fmla="*/ 1697566 h 2203872"/>
                <a:gd name="connsiteX23" fmla="*/ 4148 w 4967357"/>
                <a:gd name="connsiteY23" fmla="*/ 1681024 h 2203872"/>
                <a:gd name="connsiteX24" fmla="*/ 155 w 4967357"/>
                <a:gd name="connsiteY24" fmla="*/ 1697566 h 2203872"/>
                <a:gd name="connsiteX25" fmla="*/ 4956179 w 4967357"/>
                <a:gd name="connsiteY25" fmla="*/ 2200371 h 2203872"/>
                <a:gd name="connsiteX26" fmla="*/ 4960314 w 4967357"/>
                <a:gd name="connsiteY26" fmla="*/ 2184174 h 2203872"/>
                <a:gd name="connsiteX27" fmla="*/ 4956179 w 4967357"/>
                <a:gd name="connsiteY27" fmla="*/ 2200371 h 2203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67357" h="2203872">
                  <a:moveTo>
                    <a:pt x="2898710" y="50405"/>
                  </a:moveTo>
                  <a:cubicBezTo>
                    <a:pt x="2908014" y="51232"/>
                    <a:pt x="2917250" y="52128"/>
                    <a:pt x="2926624" y="52956"/>
                  </a:cubicBezTo>
                  <a:cubicBezTo>
                    <a:pt x="2929105" y="50543"/>
                    <a:pt x="2934068" y="45718"/>
                    <a:pt x="2936549" y="43306"/>
                  </a:cubicBezTo>
                  <a:cubicBezTo>
                    <a:pt x="2938823" y="41032"/>
                    <a:pt x="2943304" y="36483"/>
                    <a:pt x="2945509" y="34208"/>
                  </a:cubicBezTo>
                  <a:lnTo>
                    <a:pt x="2949094" y="30624"/>
                  </a:lnTo>
                  <a:cubicBezTo>
                    <a:pt x="2938755" y="28143"/>
                    <a:pt x="2930277" y="32485"/>
                    <a:pt x="2922695" y="38895"/>
                  </a:cubicBezTo>
                  <a:cubicBezTo>
                    <a:pt x="2921868" y="34622"/>
                    <a:pt x="2920283" y="26213"/>
                    <a:pt x="2919525" y="22008"/>
                  </a:cubicBezTo>
                  <a:cubicBezTo>
                    <a:pt x="2909186" y="16908"/>
                    <a:pt x="2914011" y="1883"/>
                    <a:pt x="2925383" y="3674"/>
                  </a:cubicBezTo>
                  <a:lnTo>
                    <a:pt x="2929381" y="2985"/>
                  </a:lnTo>
                  <a:cubicBezTo>
                    <a:pt x="2883202" y="90"/>
                    <a:pt x="2836264" y="-9008"/>
                    <a:pt x="2790360" y="1262"/>
                  </a:cubicBezTo>
                  <a:cubicBezTo>
                    <a:pt x="2800423" y="4019"/>
                    <a:pt x="2810762" y="5880"/>
                    <a:pt x="2820962" y="8499"/>
                  </a:cubicBezTo>
                  <a:cubicBezTo>
                    <a:pt x="2829578" y="-323"/>
                    <a:pt x="2838538" y="5191"/>
                    <a:pt x="2847154" y="10360"/>
                  </a:cubicBezTo>
                  <a:lnTo>
                    <a:pt x="2852116" y="3468"/>
                  </a:lnTo>
                  <a:cubicBezTo>
                    <a:pt x="2856321" y="2365"/>
                    <a:pt x="2864799" y="22"/>
                    <a:pt x="2869003" y="-1150"/>
                  </a:cubicBezTo>
                  <a:cubicBezTo>
                    <a:pt x="2867073" y="4295"/>
                    <a:pt x="2863075" y="15254"/>
                    <a:pt x="2861077" y="20699"/>
                  </a:cubicBezTo>
                  <a:cubicBezTo>
                    <a:pt x="2867211" y="14358"/>
                    <a:pt x="2873345" y="8086"/>
                    <a:pt x="2879480" y="1745"/>
                  </a:cubicBezTo>
                  <a:cubicBezTo>
                    <a:pt x="2884994" y="2296"/>
                    <a:pt x="2896022" y="3330"/>
                    <a:pt x="2901536" y="3881"/>
                  </a:cubicBezTo>
                  <a:cubicBezTo>
                    <a:pt x="2898779" y="7121"/>
                    <a:pt x="2893265" y="13669"/>
                    <a:pt x="2890508" y="16908"/>
                  </a:cubicBezTo>
                  <a:cubicBezTo>
                    <a:pt x="2892368" y="20010"/>
                    <a:pt x="2895953" y="26213"/>
                    <a:pt x="2897813" y="29383"/>
                  </a:cubicBezTo>
                  <a:cubicBezTo>
                    <a:pt x="2896848" y="31106"/>
                    <a:pt x="2894988" y="34622"/>
                    <a:pt x="2894022" y="36345"/>
                  </a:cubicBezTo>
                  <a:cubicBezTo>
                    <a:pt x="2899743" y="37585"/>
                    <a:pt x="2911185" y="39998"/>
                    <a:pt x="2916906" y="41238"/>
                  </a:cubicBezTo>
                  <a:cubicBezTo>
                    <a:pt x="2910771" y="44340"/>
                    <a:pt x="2904775" y="47373"/>
                    <a:pt x="2898710" y="50405"/>
                  </a:cubicBezTo>
                  <a:close/>
                  <a:moveTo>
                    <a:pt x="155" y="1697566"/>
                  </a:moveTo>
                  <a:cubicBezTo>
                    <a:pt x="8701" y="1695292"/>
                    <a:pt x="10010" y="1689778"/>
                    <a:pt x="4148" y="1681024"/>
                  </a:cubicBezTo>
                  <a:cubicBezTo>
                    <a:pt x="-4467" y="1683299"/>
                    <a:pt x="-5776" y="1688813"/>
                    <a:pt x="155" y="1697566"/>
                  </a:cubicBezTo>
                  <a:moveTo>
                    <a:pt x="4956179" y="2200371"/>
                  </a:moveTo>
                  <a:cubicBezTo>
                    <a:pt x="4964801" y="2198097"/>
                    <a:pt x="4966173" y="2192721"/>
                    <a:pt x="4960314" y="2184174"/>
                  </a:cubicBezTo>
                  <a:cubicBezTo>
                    <a:pt x="4951492" y="2186311"/>
                    <a:pt x="4950113" y="2191756"/>
                    <a:pt x="4956179" y="2200371"/>
                  </a:cubicBezTo>
                </a:path>
              </a:pathLst>
            </a:custGeom>
            <a:grpFill/>
            <a:ln w="689" cap="flat">
              <a:noFill/>
              <a:prstDash val="solid"/>
              <a:miter/>
            </a:ln>
          </p:spPr>
          <p:txBody>
            <a:bodyPr rtlCol="0" anchor="ctr"/>
            <a:lstStyle/>
            <a:p>
              <a:endParaRPr lang="en-US" sz="2400" dirty="0"/>
            </a:p>
          </p:txBody>
        </p:sp>
        <p:sp>
          <p:nvSpPr>
            <p:cNvPr id="79" name="Graphic 8">
              <a:extLst>
                <a:ext uri="{FF2B5EF4-FFF2-40B4-BE49-F238E27FC236}">
                  <a16:creationId xmlns:a16="http://schemas.microsoft.com/office/drawing/2014/main" id="{F025E228-62C2-4EAE-A80F-5BCE1F23FDB4}"/>
                </a:ext>
              </a:extLst>
            </p:cNvPr>
            <p:cNvSpPr/>
            <p:nvPr/>
          </p:nvSpPr>
          <p:spPr>
            <a:xfrm flipV="1">
              <a:off x="2029754" y="1302248"/>
              <a:ext cx="6614426" cy="2049345"/>
            </a:xfrm>
            <a:custGeom>
              <a:avLst/>
              <a:gdLst>
                <a:gd name="connsiteX0" fmla="*/ 5765080 w 6614426"/>
                <a:gd name="connsiteY0" fmla="*/ 4703 h 2049345"/>
                <a:gd name="connsiteX1" fmla="*/ 5780244 w 6614426"/>
                <a:gd name="connsiteY1" fmla="*/ -329 h 2049345"/>
                <a:gd name="connsiteX2" fmla="*/ 5765080 w 6614426"/>
                <a:gd name="connsiteY2" fmla="*/ 4703 h 2049345"/>
                <a:gd name="connsiteX3" fmla="*/ 6597207 w 6614426"/>
                <a:gd name="connsiteY3" fmla="*/ 65977 h 2049345"/>
                <a:gd name="connsiteX4" fmla="*/ 6606512 w 6614426"/>
                <a:gd name="connsiteY4" fmla="*/ 56465 h 2049345"/>
                <a:gd name="connsiteX5" fmla="*/ 6597207 w 6614426"/>
                <a:gd name="connsiteY5" fmla="*/ 65977 h 2049345"/>
                <a:gd name="connsiteX6" fmla="*/ 4515960 w 6614426"/>
                <a:gd name="connsiteY6" fmla="*/ 432173 h 2049345"/>
                <a:gd name="connsiteX7" fmla="*/ 4527056 w 6614426"/>
                <a:gd name="connsiteY7" fmla="*/ 420732 h 2049345"/>
                <a:gd name="connsiteX8" fmla="*/ 4515960 w 6614426"/>
                <a:gd name="connsiteY8" fmla="*/ 432173 h 2049345"/>
                <a:gd name="connsiteX9" fmla="*/ 5039855 w 6614426"/>
                <a:gd name="connsiteY9" fmla="*/ 781139 h 2049345"/>
                <a:gd name="connsiteX10" fmla="*/ 5043646 w 6614426"/>
                <a:gd name="connsiteY10" fmla="*/ 759014 h 2049345"/>
                <a:gd name="connsiteX11" fmla="*/ 5039855 w 6614426"/>
                <a:gd name="connsiteY11" fmla="*/ 781139 h 2049345"/>
                <a:gd name="connsiteX12" fmla="*/ -5496 w 6614426"/>
                <a:gd name="connsiteY12" fmla="*/ 1154917 h 2049345"/>
                <a:gd name="connsiteX13" fmla="*/ 6290 w 6614426"/>
                <a:gd name="connsiteY13" fmla="*/ 1143476 h 2049345"/>
                <a:gd name="connsiteX14" fmla="*/ -5496 w 6614426"/>
                <a:gd name="connsiteY14" fmla="*/ 1154917 h 2049345"/>
                <a:gd name="connsiteX15" fmla="*/ 2930555 w 6614426"/>
                <a:gd name="connsiteY15" fmla="*/ 1286081 h 2049345"/>
                <a:gd name="connsiteX16" fmla="*/ 2941928 w 6614426"/>
                <a:gd name="connsiteY16" fmla="*/ 1274363 h 2049345"/>
                <a:gd name="connsiteX17" fmla="*/ 2930555 w 6614426"/>
                <a:gd name="connsiteY17" fmla="*/ 1286081 h 2049345"/>
                <a:gd name="connsiteX18" fmla="*/ 4012534 w 6614426"/>
                <a:gd name="connsiteY18" fmla="*/ 2044251 h 2049345"/>
                <a:gd name="connsiteX19" fmla="*/ 4023562 w 6614426"/>
                <a:gd name="connsiteY19" fmla="*/ 2032879 h 2049345"/>
                <a:gd name="connsiteX20" fmla="*/ 4012534 w 6614426"/>
                <a:gd name="connsiteY20" fmla="*/ 2044251 h 204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14426" h="2049345">
                  <a:moveTo>
                    <a:pt x="5765080" y="4703"/>
                  </a:moveTo>
                  <a:cubicBezTo>
                    <a:pt x="5773627" y="10493"/>
                    <a:pt x="5778659" y="8838"/>
                    <a:pt x="5780244" y="-329"/>
                  </a:cubicBezTo>
                  <a:cubicBezTo>
                    <a:pt x="5771490" y="-6049"/>
                    <a:pt x="5766459" y="-4326"/>
                    <a:pt x="5765080" y="4703"/>
                  </a:cubicBezTo>
                  <a:close/>
                  <a:moveTo>
                    <a:pt x="6597207" y="65977"/>
                  </a:moveTo>
                  <a:cubicBezTo>
                    <a:pt x="6606788" y="69492"/>
                    <a:pt x="6609890" y="66322"/>
                    <a:pt x="6606512" y="56465"/>
                  </a:cubicBezTo>
                  <a:cubicBezTo>
                    <a:pt x="6596725" y="53019"/>
                    <a:pt x="6593623" y="56121"/>
                    <a:pt x="6597207" y="65977"/>
                  </a:cubicBezTo>
                  <a:moveTo>
                    <a:pt x="4515960" y="432173"/>
                  </a:moveTo>
                  <a:cubicBezTo>
                    <a:pt x="4526988" y="435964"/>
                    <a:pt x="4530709" y="432104"/>
                    <a:pt x="4527056" y="420732"/>
                  </a:cubicBezTo>
                  <a:cubicBezTo>
                    <a:pt x="4515822" y="417010"/>
                    <a:pt x="4512169" y="420870"/>
                    <a:pt x="4515960" y="432173"/>
                  </a:cubicBezTo>
                  <a:moveTo>
                    <a:pt x="5039855" y="781139"/>
                  </a:moveTo>
                  <a:cubicBezTo>
                    <a:pt x="5049505" y="781621"/>
                    <a:pt x="5048816" y="764321"/>
                    <a:pt x="5043646" y="759014"/>
                  </a:cubicBezTo>
                  <a:cubicBezTo>
                    <a:pt x="5033721" y="758532"/>
                    <a:pt x="5034479" y="775901"/>
                    <a:pt x="5039855" y="781139"/>
                  </a:cubicBezTo>
                  <a:moveTo>
                    <a:pt x="-5496" y="1154917"/>
                  </a:moveTo>
                  <a:cubicBezTo>
                    <a:pt x="5532" y="1158639"/>
                    <a:pt x="9461" y="1154848"/>
                    <a:pt x="6290" y="1143476"/>
                  </a:cubicBezTo>
                  <a:cubicBezTo>
                    <a:pt x="-4807" y="1139822"/>
                    <a:pt x="-8736" y="1143613"/>
                    <a:pt x="-5496" y="1154917"/>
                  </a:cubicBezTo>
                  <a:moveTo>
                    <a:pt x="2930555" y="1286081"/>
                  </a:moveTo>
                  <a:cubicBezTo>
                    <a:pt x="2941652" y="1289527"/>
                    <a:pt x="2945443" y="1285598"/>
                    <a:pt x="2941928" y="1274363"/>
                  </a:cubicBezTo>
                  <a:cubicBezTo>
                    <a:pt x="2930693" y="1270986"/>
                    <a:pt x="2926902" y="1274915"/>
                    <a:pt x="2930555" y="1286081"/>
                  </a:cubicBezTo>
                  <a:moveTo>
                    <a:pt x="4012534" y="2044251"/>
                  </a:moveTo>
                  <a:cubicBezTo>
                    <a:pt x="4023562" y="2048111"/>
                    <a:pt x="4027215" y="2044320"/>
                    <a:pt x="4023562" y="2032879"/>
                  </a:cubicBezTo>
                  <a:cubicBezTo>
                    <a:pt x="4012396" y="2029088"/>
                    <a:pt x="4008743" y="2032810"/>
                    <a:pt x="4012534" y="2044251"/>
                  </a:cubicBezTo>
                </a:path>
              </a:pathLst>
            </a:custGeom>
            <a:grpFill/>
            <a:ln w="689" cap="flat">
              <a:noFill/>
              <a:prstDash val="solid"/>
              <a:miter/>
            </a:ln>
          </p:spPr>
          <p:txBody>
            <a:bodyPr rtlCol="0" anchor="ctr"/>
            <a:lstStyle/>
            <a:p>
              <a:endParaRPr lang="en-US" sz="2400" dirty="0"/>
            </a:p>
          </p:txBody>
        </p:sp>
        <p:sp>
          <p:nvSpPr>
            <p:cNvPr id="80" name="Graphic 8">
              <a:extLst>
                <a:ext uri="{FF2B5EF4-FFF2-40B4-BE49-F238E27FC236}">
                  <a16:creationId xmlns:a16="http://schemas.microsoft.com/office/drawing/2014/main" id="{868047C4-717C-4F2D-B462-C3CA8B43F51D}"/>
                </a:ext>
              </a:extLst>
            </p:cNvPr>
            <p:cNvSpPr/>
            <p:nvPr/>
          </p:nvSpPr>
          <p:spPr>
            <a:xfrm flipV="1">
              <a:off x="450862" y="1308603"/>
              <a:ext cx="7893278" cy="1600980"/>
            </a:xfrm>
            <a:custGeom>
              <a:avLst/>
              <a:gdLst>
                <a:gd name="connsiteX0" fmla="*/ 2891 w 7893278"/>
                <a:gd name="connsiteY0" fmla="*/ 16341 h 1600980"/>
                <a:gd name="connsiteX1" fmla="*/ 1924 w 7893278"/>
                <a:gd name="connsiteY1" fmla="*/ -3992 h 1600980"/>
                <a:gd name="connsiteX2" fmla="*/ 2891 w 7893278"/>
                <a:gd name="connsiteY2" fmla="*/ 16341 h 1600980"/>
                <a:gd name="connsiteX3" fmla="*/ 7838999 w 7893278"/>
                <a:gd name="connsiteY3" fmla="*/ 98844 h 1600980"/>
                <a:gd name="connsiteX4" fmla="*/ 7838999 w 7893278"/>
                <a:gd name="connsiteY4" fmla="*/ 98844 h 1600980"/>
                <a:gd name="connsiteX5" fmla="*/ 6723178 w 7893278"/>
                <a:gd name="connsiteY5" fmla="*/ 175350 h 1600980"/>
                <a:gd name="connsiteX6" fmla="*/ 6723316 w 7893278"/>
                <a:gd name="connsiteY6" fmla="*/ 157085 h 1600980"/>
                <a:gd name="connsiteX7" fmla="*/ 6723178 w 7893278"/>
                <a:gd name="connsiteY7" fmla="*/ 175350 h 1600980"/>
                <a:gd name="connsiteX8" fmla="*/ 774431 w 7893278"/>
                <a:gd name="connsiteY8" fmla="*/ 201265 h 1600980"/>
                <a:gd name="connsiteX9" fmla="*/ 774431 w 7893278"/>
                <a:gd name="connsiteY9" fmla="*/ 201265 h 1600980"/>
                <a:gd name="connsiteX10" fmla="*/ 1567271 w 7893278"/>
                <a:gd name="connsiteY10" fmla="*/ 422513 h 1600980"/>
                <a:gd name="connsiteX11" fmla="*/ 1567271 w 7893278"/>
                <a:gd name="connsiteY11" fmla="*/ 422513 h 1600980"/>
                <a:gd name="connsiteX12" fmla="*/ 7878079 w 7893278"/>
                <a:gd name="connsiteY12" fmla="*/ 779750 h 1600980"/>
                <a:gd name="connsiteX13" fmla="*/ 7886626 w 7893278"/>
                <a:gd name="connsiteY13" fmla="*/ 780163 h 1600980"/>
                <a:gd name="connsiteX14" fmla="*/ 7887866 w 7893278"/>
                <a:gd name="connsiteY14" fmla="*/ 718269 h 1600980"/>
                <a:gd name="connsiteX15" fmla="*/ 7875184 w 7893278"/>
                <a:gd name="connsiteY15" fmla="*/ 745839 h 1600980"/>
                <a:gd name="connsiteX16" fmla="*/ 7878079 w 7893278"/>
                <a:gd name="connsiteY16" fmla="*/ 779750 h 1600980"/>
                <a:gd name="connsiteX17" fmla="*/ 5283136 w 7893278"/>
                <a:gd name="connsiteY17" fmla="*/ 994381 h 1600980"/>
                <a:gd name="connsiteX18" fmla="*/ 5280034 w 7893278"/>
                <a:gd name="connsiteY18" fmla="*/ 977081 h 1600980"/>
                <a:gd name="connsiteX19" fmla="*/ 5283136 w 7893278"/>
                <a:gd name="connsiteY19" fmla="*/ 994381 h 1600980"/>
                <a:gd name="connsiteX20" fmla="*/ 6943668 w 7893278"/>
                <a:gd name="connsiteY20" fmla="*/ 1172344 h 1600980"/>
                <a:gd name="connsiteX21" fmla="*/ 6947666 w 7893278"/>
                <a:gd name="connsiteY21" fmla="*/ 1149186 h 1600980"/>
                <a:gd name="connsiteX22" fmla="*/ 6943668 w 7893278"/>
                <a:gd name="connsiteY22" fmla="*/ 1172344 h 1600980"/>
                <a:gd name="connsiteX23" fmla="*/ 967765 w 7893278"/>
                <a:gd name="connsiteY23" fmla="*/ 1305576 h 1600980"/>
                <a:gd name="connsiteX24" fmla="*/ 967765 w 7893278"/>
                <a:gd name="connsiteY24" fmla="*/ 1305576 h 1600980"/>
                <a:gd name="connsiteX25" fmla="*/ 6532119 w 7893278"/>
                <a:gd name="connsiteY25" fmla="*/ 1519862 h 1600980"/>
                <a:gd name="connsiteX26" fmla="*/ 6547834 w 7893278"/>
                <a:gd name="connsiteY26" fmla="*/ 1508283 h 1600980"/>
                <a:gd name="connsiteX27" fmla="*/ 6532119 w 7893278"/>
                <a:gd name="connsiteY27" fmla="*/ 1519862 h 1600980"/>
                <a:gd name="connsiteX28" fmla="*/ 4597405 w 7893278"/>
                <a:gd name="connsiteY28" fmla="*/ 1559011 h 1600980"/>
                <a:gd name="connsiteX29" fmla="*/ 4626698 w 7893278"/>
                <a:gd name="connsiteY29" fmla="*/ 1596989 h 1600980"/>
                <a:gd name="connsiteX30" fmla="*/ 4597405 w 7893278"/>
                <a:gd name="connsiteY30" fmla="*/ 1559011 h 1600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893278" h="1600980">
                  <a:moveTo>
                    <a:pt x="2891" y="16341"/>
                  </a:moveTo>
                  <a:cubicBezTo>
                    <a:pt x="13916" y="15789"/>
                    <a:pt x="12125" y="-3234"/>
                    <a:pt x="1924" y="-3992"/>
                  </a:cubicBezTo>
                  <a:cubicBezTo>
                    <a:pt x="-8967" y="-2958"/>
                    <a:pt x="-6966" y="15169"/>
                    <a:pt x="2891" y="16341"/>
                  </a:cubicBezTo>
                  <a:close/>
                  <a:moveTo>
                    <a:pt x="7838999" y="98844"/>
                  </a:moveTo>
                  <a:cubicBezTo>
                    <a:pt x="7861675" y="97327"/>
                    <a:pt x="7827833" y="78373"/>
                    <a:pt x="7838999" y="98844"/>
                  </a:cubicBezTo>
                  <a:moveTo>
                    <a:pt x="6723178" y="175350"/>
                  </a:moveTo>
                  <a:cubicBezTo>
                    <a:pt x="6732552" y="174936"/>
                    <a:pt x="6732827" y="157567"/>
                    <a:pt x="6723316" y="157085"/>
                  </a:cubicBezTo>
                  <a:cubicBezTo>
                    <a:pt x="6714218" y="158394"/>
                    <a:pt x="6713873" y="174109"/>
                    <a:pt x="6723178" y="175350"/>
                  </a:cubicBezTo>
                  <a:moveTo>
                    <a:pt x="774431" y="201265"/>
                  </a:moveTo>
                  <a:cubicBezTo>
                    <a:pt x="797177" y="199749"/>
                    <a:pt x="763541" y="180726"/>
                    <a:pt x="774431" y="201265"/>
                  </a:cubicBezTo>
                  <a:moveTo>
                    <a:pt x="1567271" y="422513"/>
                  </a:moveTo>
                  <a:cubicBezTo>
                    <a:pt x="1590154" y="421066"/>
                    <a:pt x="1556106" y="402181"/>
                    <a:pt x="1567271" y="422513"/>
                  </a:cubicBezTo>
                  <a:moveTo>
                    <a:pt x="7878079" y="779750"/>
                  </a:moveTo>
                  <a:lnTo>
                    <a:pt x="7886626" y="780163"/>
                  </a:lnTo>
                  <a:cubicBezTo>
                    <a:pt x="7886695" y="759555"/>
                    <a:pt x="7887453" y="738946"/>
                    <a:pt x="7887866" y="718269"/>
                  </a:cubicBezTo>
                  <a:cubicBezTo>
                    <a:pt x="7876218" y="722680"/>
                    <a:pt x="7878148" y="736258"/>
                    <a:pt x="7875184" y="745839"/>
                  </a:cubicBezTo>
                  <a:cubicBezTo>
                    <a:pt x="7876563" y="757073"/>
                    <a:pt x="7877114" y="768446"/>
                    <a:pt x="7878079" y="779750"/>
                  </a:cubicBezTo>
                  <a:moveTo>
                    <a:pt x="5283136" y="994381"/>
                  </a:moveTo>
                  <a:cubicBezTo>
                    <a:pt x="5293819" y="993692"/>
                    <a:pt x="5288512" y="977150"/>
                    <a:pt x="5280034" y="977081"/>
                  </a:cubicBezTo>
                  <a:cubicBezTo>
                    <a:pt x="5269144" y="977770"/>
                    <a:pt x="5274520" y="994381"/>
                    <a:pt x="5283136" y="994381"/>
                  </a:cubicBezTo>
                  <a:moveTo>
                    <a:pt x="6943668" y="1172344"/>
                  </a:moveTo>
                  <a:cubicBezTo>
                    <a:pt x="6956764" y="1177514"/>
                    <a:pt x="6960072" y="1151736"/>
                    <a:pt x="6947666" y="1149186"/>
                  </a:cubicBezTo>
                  <a:cubicBezTo>
                    <a:pt x="6937603" y="1150771"/>
                    <a:pt x="6938016" y="1166348"/>
                    <a:pt x="6943668" y="1172344"/>
                  </a:cubicBezTo>
                  <a:moveTo>
                    <a:pt x="967765" y="1305576"/>
                  </a:moveTo>
                  <a:cubicBezTo>
                    <a:pt x="990303" y="1302543"/>
                    <a:pt x="955565" y="1285725"/>
                    <a:pt x="967765" y="1305576"/>
                  </a:cubicBezTo>
                  <a:moveTo>
                    <a:pt x="6532119" y="1519862"/>
                  </a:moveTo>
                  <a:cubicBezTo>
                    <a:pt x="6538942" y="1527858"/>
                    <a:pt x="6554451" y="1517381"/>
                    <a:pt x="6547834" y="1508283"/>
                  </a:cubicBezTo>
                  <a:cubicBezTo>
                    <a:pt x="6540942" y="1500288"/>
                    <a:pt x="6525571" y="1510971"/>
                    <a:pt x="6532119" y="1519862"/>
                  </a:cubicBezTo>
                  <a:moveTo>
                    <a:pt x="4597405" y="1559011"/>
                  </a:moveTo>
                  <a:cubicBezTo>
                    <a:pt x="4602161" y="1575002"/>
                    <a:pt x="4614222" y="1586719"/>
                    <a:pt x="4626698" y="1596989"/>
                  </a:cubicBezTo>
                  <a:cubicBezTo>
                    <a:pt x="4626491" y="1579482"/>
                    <a:pt x="4612361" y="1565904"/>
                    <a:pt x="4597405" y="1559011"/>
                  </a:cubicBezTo>
                </a:path>
              </a:pathLst>
            </a:custGeom>
            <a:grpFill/>
            <a:ln w="689" cap="flat">
              <a:noFill/>
              <a:prstDash val="solid"/>
              <a:miter/>
            </a:ln>
          </p:spPr>
          <p:txBody>
            <a:bodyPr rtlCol="0" anchor="ctr"/>
            <a:lstStyle/>
            <a:p>
              <a:endParaRPr lang="en-US" sz="2400" dirty="0"/>
            </a:p>
          </p:txBody>
        </p:sp>
        <p:sp>
          <p:nvSpPr>
            <p:cNvPr id="81" name="Graphic 8">
              <a:extLst>
                <a:ext uri="{FF2B5EF4-FFF2-40B4-BE49-F238E27FC236}">
                  <a16:creationId xmlns:a16="http://schemas.microsoft.com/office/drawing/2014/main" id="{0C7B20E0-692A-4965-B19B-D2B2EAC493B5}"/>
                </a:ext>
              </a:extLst>
            </p:cNvPr>
            <p:cNvSpPr/>
            <p:nvPr/>
          </p:nvSpPr>
          <p:spPr>
            <a:xfrm flipV="1">
              <a:off x="660699" y="1310601"/>
              <a:ext cx="4564378" cy="2091689"/>
            </a:xfrm>
            <a:custGeom>
              <a:avLst/>
              <a:gdLst>
                <a:gd name="connsiteX0" fmla="*/ -3584 w 4564378"/>
                <a:gd name="connsiteY0" fmla="*/ -1001 h 2091689"/>
                <a:gd name="connsiteX1" fmla="*/ -3584 w 4564378"/>
                <a:gd name="connsiteY1" fmla="*/ -1001 h 2091689"/>
                <a:gd name="connsiteX2" fmla="*/ 4558055 w 4564378"/>
                <a:gd name="connsiteY2" fmla="*/ 2088105 h 2091689"/>
                <a:gd name="connsiteX3" fmla="*/ 4558055 w 4564378"/>
                <a:gd name="connsiteY3" fmla="*/ 2088105 h 2091689"/>
              </a:gdLst>
              <a:ahLst/>
              <a:cxnLst>
                <a:cxn ang="0">
                  <a:pos x="connsiteX0" y="connsiteY0"/>
                </a:cxn>
                <a:cxn ang="0">
                  <a:pos x="connsiteX1" y="connsiteY1"/>
                </a:cxn>
                <a:cxn ang="0">
                  <a:pos x="connsiteX2" y="connsiteY2"/>
                </a:cxn>
                <a:cxn ang="0">
                  <a:pos x="connsiteX3" y="connsiteY3"/>
                </a:cxn>
              </a:cxnLst>
              <a:rect l="l" t="t" r="r" b="b"/>
              <a:pathLst>
                <a:path w="4564378" h="2091689">
                  <a:moveTo>
                    <a:pt x="-3584" y="-1001"/>
                  </a:moveTo>
                  <a:cubicBezTo>
                    <a:pt x="70" y="-4447"/>
                    <a:pt x="70" y="-4447"/>
                    <a:pt x="-3584" y="-1001"/>
                  </a:cubicBezTo>
                  <a:close/>
                  <a:moveTo>
                    <a:pt x="4558055" y="2088105"/>
                  </a:moveTo>
                  <a:cubicBezTo>
                    <a:pt x="4561708" y="2084590"/>
                    <a:pt x="4561708" y="2084590"/>
                    <a:pt x="4558055" y="2088105"/>
                  </a:cubicBezTo>
                </a:path>
              </a:pathLst>
            </a:custGeom>
            <a:grpFill/>
            <a:ln w="689" cap="flat">
              <a:noFill/>
              <a:prstDash val="solid"/>
              <a:miter/>
            </a:ln>
          </p:spPr>
          <p:txBody>
            <a:bodyPr rtlCol="0" anchor="ctr"/>
            <a:lstStyle/>
            <a:p>
              <a:endParaRPr lang="en-US" sz="2400" dirty="0"/>
            </a:p>
          </p:txBody>
        </p:sp>
        <p:sp>
          <p:nvSpPr>
            <p:cNvPr id="82" name="Graphic 8">
              <a:extLst>
                <a:ext uri="{FF2B5EF4-FFF2-40B4-BE49-F238E27FC236}">
                  <a16:creationId xmlns:a16="http://schemas.microsoft.com/office/drawing/2014/main" id="{A86C77EA-19AA-4309-B3A1-C8E2FE883F18}"/>
                </a:ext>
              </a:extLst>
            </p:cNvPr>
            <p:cNvSpPr/>
            <p:nvPr/>
          </p:nvSpPr>
          <p:spPr>
            <a:xfrm flipV="1">
              <a:off x="5970685" y="1311291"/>
              <a:ext cx="10093" cy="9496"/>
            </a:xfrm>
            <a:custGeom>
              <a:avLst/>
              <a:gdLst>
                <a:gd name="connsiteX0" fmla="*/ -5500 w 10093"/>
                <a:gd name="connsiteY0" fmla="*/ 4200 h 9496"/>
                <a:gd name="connsiteX1" fmla="*/ -5500 w 10093"/>
                <a:gd name="connsiteY1" fmla="*/ 4200 h 9496"/>
                <a:gd name="connsiteX2" fmla="*/ -5500 w 10093"/>
                <a:gd name="connsiteY2" fmla="*/ 4200 h 9496"/>
              </a:gdLst>
              <a:ahLst/>
              <a:cxnLst>
                <a:cxn ang="0">
                  <a:pos x="connsiteX0" y="connsiteY0"/>
                </a:cxn>
                <a:cxn ang="0">
                  <a:pos x="connsiteX1" y="connsiteY1"/>
                </a:cxn>
                <a:cxn ang="0">
                  <a:pos x="connsiteX2" y="connsiteY2"/>
                </a:cxn>
              </a:cxnLst>
              <a:rect l="l" t="t" r="r" b="b"/>
              <a:pathLst>
                <a:path w="10093" h="9496">
                  <a:moveTo>
                    <a:pt x="-5500" y="4200"/>
                  </a:moveTo>
                  <a:cubicBezTo>
                    <a:pt x="17107" y="4200"/>
                    <a:pt x="-15287" y="-17166"/>
                    <a:pt x="-5500" y="4200"/>
                  </a:cubicBezTo>
                  <a:lnTo>
                    <a:pt x="-5500" y="4200"/>
                  </a:lnTo>
                </a:path>
              </a:pathLst>
            </a:custGeom>
            <a:grpFill/>
            <a:ln w="689" cap="flat">
              <a:noFill/>
              <a:prstDash val="solid"/>
              <a:miter/>
            </a:ln>
          </p:spPr>
          <p:txBody>
            <a:bodyPr rtlCol="0" anchor="ctr"/>
            <a:lstStyle/>
            <a:p>
              <a:endParaRPr lang="en-US" sz="2400" dirty="0"/>
            </a:p>
          </p:txBody>
        </p:sp>
        <p:sp>
          <p:nvSpPr>
            <p:cNvPr id="83" name="Graphic 8">
              <a:extLst>
                <a:ext uri="{FF2B5EF4-FFF2-40B4-BE49-F238E27FC236}">
                  <a16:creationId xmlns:a16="http://schemas.microsoft.com/office/drawing/2014/main" id="{6BB1BCBB-2119-4B04-B383-16885932955F}"/>
                </a:ext>
              </a:extLst>
            </p:cNvPr>
            <p:cNvSpPr/>
            <p:nvPr/>
          </p:nvSpPr>
          <p:spPr>
            <a:xfrm flipV="1">
              <a:off x="6160402" y="1311497"/>
              <a:ext cx="2739" cy="2894"/>
            </a:xfrm>
            <a:custGeom>
              <a:avLst/>
              <a:gdLst>
                <a:gd name="connsiteX0" fmla="*/ -7631 w 2739"/>
                <a:gd name="connsiteY0" fmla="*/ -2406 h 2894"/>
                <a:gd name="connsiteX1" fmla="*/ -7631 w 2739"/>
                <a:gd name="connsiteY1" fmla="*/ -2406 h 2894"/>
                <a:gd name="connsiteX2" fmla="*/ -7631 w 2739"/>
                <a:gd name="connsiteY2" fmla="*/ -2406 h 2894"/>
              </a:gdLst>
              <a:ahLst/>
              <a:cxnLst>
                <a:cxn ang="0">
                  <a:pos x="connsiteX0" y="connsiteY0"/>
                </a:cxn>
                <a:cxn ang="0">
                  <a:pos x="connsiteX1" y="connsiteY1"/>
                </a:cxn>
                <a:cxn ang="0">
                  <a:pos x="connsiteX2" y="connsiteY2"/>
                </a:cxn>
              </a:cxnLst>
              <a:rect l="l" t="t" r="r" b="b"/>
              <a:pathLst>
                <a:path w="2739" h="2894">
                  <a:moveTo>
                    <a:pt x="-7631" y="-2406"/>
                  </a:moveTo>
                  <a:cubicBezTo>
                    <a:pt x="-3978" y="-6266"/>
                    <a:pt x="-3978" y="-6266"/>
                    <a:pt x="-7631" y="-2406"/>
                  </a:cubicBezTo>
                  <a:lnTo>
                    <a:pt x="-7631" y="-2406"/>
                  </a:lnTo>
                </a:path>
              </a:pathLst>
            </a:custGeom>
            <a:grpFill/>
            <a:ln w="689" cap="flat">
              <a:noFill/>
              <a:prstDash val="solid"/>
              <a:miter/>
            </a:ln>
          </p:spPr>
          <p:txBody>
            <a:bodyPr rtlCol="0" anchor="ctr"/>
            <a:lstStyle/>
            <a:p>
              <a:endParaRPr lang="en-US" sz="2400" dirty="0"/>
            </a:p>
          </p:txBody>
        </p:sp>
        <p:sp>
          <p:nvSpPr>
            <p:cNvPr id="84" name="Graphic 8">
              <a:extLst>
                <a:ext uri="{FF2B5EF4-FFF2-40B4-BE49-F238E27FC236}">
                  <a16:creationId xmlns:a16="http://schemas.microsoft.com/office/drawing/2014/main" id="{98B596AB-0405-4D4A-B253-80A5063BDF31}"/>
                </a:ext>
              </a:extLst>
            </p:cNvPr>
            <p:cNvSpPr/>
            <p:nvPr/>
          </p:nvSpPr>
          <p:spPr>
            <a:xfrm flipV="1">
              <a:off x="1396677" y="1310739"/>
              <a:ext cx="6566173" cy="2489970"/>
            </a:xfrm>
            <a:custGeom>
              <a:avLst/>
              <a:gdLst>
                <a:gd name="connsiteX0" fmla="*/ 450237 w 6566173"/>
                <a:gd name="connsiteY0" fmla="*/ 32308 h 2489970"/>
                <a:gd name="connsiteX1" fmla="*/ 450237 w 6566173"/>
                <a:gd name="connsiteY1" fmla="*/ 32308 h 2489970"/>
                <a:gd name="connsiteX2" fmla="*/ 358223 w 6566173"/>
                <a:gd name="connsiteY2" fmla="*/ 37822 h 2489970"/>
                <a:gd name="connsiteX3" fmla="*/ 369458 w 6566173"/>
                <a:gd name="connsiteY3" fmla="*/ 27690 h 2489970"/>
                <a:gd name="connsiteX4" fmla="*/ 358223 w 6566173"/>
                <a:gd name="connsiteY4" fmla="*/ 37822 h 2489970"/>
                <a:gd name="connsiteX5" fmla="*/ 193976 w 6566173"/>
                <a:gd name="connsiteY5" fmla="*/ 39545 h 2489970"/>
                <a:gd name="connsiteX6" fmla="*/ 205831 w 6566173"/>
                <a:gd name="connsiteY6" fmla="*/ 23278 h 2489970"/>
                <a:gd name="connsiteX7" fmla="*/ 193976 w 6566173"/>
                <a:gd name="connsiteY7" fmla="*/ 39545 h 2489970"/>
                <a:gd name="connsiteX8" fmla="*/ 478635 w 6566173"/>
                <a:gd name="connsiteY8" fmla="*/ 46575 h 2489970"/>
                <a:gd name="connsiteX9" fmla="*/ 494832 w 6566173"/>
                <a:gd name="connsiteY9" fmla="*/ 34858 h 2489970"/>
                <a:gd name="connsiteX10" fmla="*/ 478635 w 6566173"/>
                <a:gd name="connsiteY10" fmla="*/ 46575 h 2489970"/>
                <a:gd name="connsiteX11" fmla="*/ 145591 w 6566173"/>
                <a:gd name="connsiteY11" fmla="*/ 51469 h 2489970"/>
                <a:gd name="connsiteX12" fmla="*/ 150347 w 6566173"/>
                <a:gd name="connsiteY12" fmla="*/ 36857 h 2489970"/>
                <a:gd name="connsiteX13" fmla="*/ 145591 w 6566173"/>
                <a:gd name="connsiteY13" fmla="*/ 51469 h 2489970"/>
                <a:gd name="connsiteX14" fmla="*/ 491730 w 6566173"/>
                <a:gd name="connsiteY14" fmla="*/ 60429 h 2489970"/>
                <a:gd name="connsiteX15" fmla="*/ 491730 w 6566173"/>
                <a:gd name="connsiteY15" fmla="*/ 60429 h 2489970"/>
                <a:gd name="connsiteX16" fmla="*/ 573819 w 6566173"/>
                <a:gd name="connsiteY16" fmla="*/ 66563 h 2489970"/>
                <a:gd name="connsiteX17" fmla="*/ 573819 w 6566173"/>
                <a:gd name="connsiteY17" fmla="*/ 66563 h 2489970"/>
                <a:gd name="connsiteX18" fmla="*/ 214722 w 6566173"/>
                <a:gd name="connsiteY18" fmla="*/ 66770 h 2489970"/>
                <a:gd name="connsiteX19" fmla="*/ 214722 w 6566173"/>
                <a:gd name="connsiteY19" fmla="*/ 66770 h 2489970"/>
                <a:gd name="connsiteX20" fmla="*/ 572441 w 6566173"/>
                <a:gd name="connsiteY20" fmla="*/ 86482 h 2489970"/>
                <a:gd name="connsiteX21" fmla="*/ 572441 w 6566173"/>
                <a:gd name="connsiteY21" fmla="*/ 86482 h 2489970"/>
                <a:gd name="connsiteX22" fmla="*/ 424598 w 6566173"/>
                <a:gd name="connsiteY22" fmla="*/ 95305 h 2489970"/>
                <a:gd name="connsiteX23" fmla="*/ 428251 w 6566173"/>
                <a:gd name="connsiteY23" fmla="*/ 75454 h 2489970"/>
                <a:gd name="connsiteX24" fmla="*/ 424598 w 6566173"/>
                <a:gd name="connsiteY24" fmla="*/ 95305 h 2489970"/>
                <a:gd name="connsiteX25" fmla="*/ 146280 w 6566173"/>
                <a:gd name="connsiteY25" fmla="*/ 95718 h 2489970"/>
                <a:gd name="connsiteX26" fmla="*/ 146280 w 6566173"/>
                <a:gd name="connsiteY26" fmla="*/ 95718 h 2489970"/>
                <a:gd name="connsiteX27" fmla="*/ 622067 w 6566173"/>
                <a:gd name="connsiteY27" fmla="*/ 99440 h 2489970"/>
                <a:gd name="connsiteX28" fmla="*/ 625444 w 6566173"/>
                <a:gd name="connsiteY28" fmla="*/ 78625 h 2489970"/>
                <a:gd name="connsiteX29" fmla="*/ 622067 w 6566173"/>
                <a:gd name="connsiteY29" fmla="*/ 99440 h 2489970"/>
                <a:gd name="connsiteX30" fmla="*/ 608075 w 6566173"/>
                <a:gd name="connsiteY30" fmla="*/ 115224 h 2489970"/>
                <a:gd name="connsiteX31" fmla="*/ 608075 w 6566173"/>
                <a:gd name="connsiteY31" fmla="*/ 115224 h 2489970"/>
                <a:gd name="connsiteX32" fmla="*/ 113472 w 6566173"/>
                <a:gd name="connsiteY32" fmla="*/ 115362 h 2489970"/>
                <a:gd name="connsiteX33" fmla="*/ 117056 w 6566173"/>
                <a:gd name="connsiteY33" fmla="*/ 99923 h 2489970"/>
                <a:gd name="connsiteX34" fmla="*/ 110646 w 6566173"/>
                <a:gd name="connsiteY34" fmla="*/ 76488 h 2489970"/>
                <a:gd name="connsiteX35" fmla="*/ 135321 w 6566173"/>
                <a:gd name="connsiteY35" fmla="*/ 81382 h 2489970"/>
                <a:gd name="connsiteX36" fmla="*/ 126361 w 6566173"/>
                <a:gd name="connsiteY36" fmla="*/ 108056 h 2489970"/>
                <a:gd name="connsiteX37" fmla="*/ 129531 w 6566173"/>
                <a:gd name="connsiteY37" fmla="*/ 117085 h 2489970"/>
                <a:gd name="connsiteX38" fmla="*/ 113472 w 6566173"/>
                <a:gd name="connsiteY38" fmla="*/ 115362 h 2489970"/>
                <a:gd name="connsiteX39" fmla="*/ 386827 w 6566173"/>
                <a:gd name="connsiteY39" fmla="*/ 122599 h 2489970"/>
                <a:gd name="connsiteX40" fmla="*/ 386758 w 6566173"/>
                <a:gd name="connsiteY40" fmla="*/ 104334 h 2489970"/>
                <a:gd name="connsiteX41" fmla="*/ 386827 w 6566173"/>
                <a:gd name="connsiteY41" fmla="*/ 122599 h 2489970"/>
                <a:gd name="connsiteX42" fmla="*/ 200041 w 6566173"/>
                <a:gd name="connsiteY42" fmla="*/ 98062 h 2489970"/>
                <a:gd name="connsiteX43" fmla="*/ 249391 w 6566173"/>
                <a:gd name="connsiteY43" fmla="*/ 106057 h 2489970"/>
                <a:gd name="connsiteX44" fmla="*/ 234917 w 6566173"/>
                <a:gd name="connsiteY44" fmla="*/ 123702 h 2489970"/>
                <a:gd name="connsiteX45" fmla="*/ 200041 w 6566173"/>
                <a:gd name="connsiteY45" fmla="*/ 98062 h 2489970"/>
                <a:gd name="connsiteX46" fmla="*/ 173367 w 6566173"/>
                <a:gd name="connsiteY46" fmla="*/ 81589 h 2489970"/>
                <a:gd name="connsiteX47" fmla="*/ 182603 w 6566173"/>
                <a:gd name="connsiteY47" fmla="*/ 78005 h 2489970"/>
                <a:gd name="connsiteX48" fmla="*/ 173919 w 6566173"/>
                <a:gd name="connsiteY48" fmla="*/ 125011 h 2489970"/>
                <a:gd name="connsiteX49" fmla="*/ 173367 w 6566173"/>
                <a:gd name="connsiteY49" fmla="*/ 81589 h 2489970"/>
                <a:gd name="connsiteX50" fmla="*/ 547766 w 6566173"/>
                <a:gd name="connsiteY50" fmla="*/ 150651 h 2489970"/>
                <a:gd name="connsiteX51" fmla="*/ 647982 w 6566173"/>
                <a:gd name="connsiteY51" fmla="*/ 156165 h 2489970"/>
                <a:gd name="connsiteX52" fmla="*/ 627650 w 6566173"/>
                <a:gd name="connsiteY52" fmla="*/ 119153 h 2489970"/>
                <a:gd name="connsiteX53" fmla="*/ 653083 w 6566173"/>
                <a:gd name="connsiteY53" fmla="*/ 121220 h 2489970"/>
                <a:gd name="connsiteX54" fmla="*/ 661147 w 6566173"/>
                <a:gd name="connsiteY54" fmla="*/ 89239 h 2489970"/>
                <a:gd name="connsiteX55" fmla="*/ 648534 w 6566173"/>
                <a:gd name="connsiteY55" fmla="*/ 69251 h 2489970"/>
                <a:gd name="connsiteX56" fmla="*/ 651015 w 6566173"/>
                <a:gd name="connsiteY56" fmla="*/ 33204 h 2489970"/>
                <a:gd name="connsiteX57" fmla="*/ 579471 w 6566173"/>
                <a:gd name="connsiteY57" fmla="*/ 29551 h 2489970"/>
                <a:gd name="connsiteX58" fmla="*/ 592911 w 6566173"/>
                <a:gd name="connsiteY58" fmla="*/ 49401 h 2489970"/>
                <a:gd name="connsiteX59" fmla="*/ 572854 w 6566173"/>
                <a:gd name="connsiteY59" fmla="*/ 28379 h 2489970"/>
                <a:gd name="connsiteX60" fmla="*/ 527847 w 6566173"/>
                <a:gd name="connsiteY60" fmla="*/ 28655 h 2489970"/>
                <a:gd name="connsiteX61" fmla="*/ 519231 w 6566173"/>
                <a:gd name="connsiteY61" fmla="*/ 49470 h 2489970"/>
                <a:gd name="connsiteX62" fmla="*/ 522195 w 6566173"/>
                <a:gd name="connsiteY62" fmla="*/ 25001 h 2489970"/>
                <a:gd name="connsiteX63" fmla="*/ 407987 w 6566173"/>
                <a:gd name="connsiteY63" fmla="*/ 18867 h 2489970"/>
                <a:gd name="connsiteX64" fmla="*/ 393168 w 6566173"/>
                <a:gd name="connsiteY64" fmla="*/ 26656 h 2489970"/>
                <a:gd name="connsiteX65" fmla="*/ 328861 w 6566173"/>
                <a:gd name="connsiteY65" fmla="*/ 13836 h 2489970"/>
                <a:gd name="connsiteX66" fmla="*/ 338166 w 6566173"/>
                <a:gd name="connsiteY66" fmla="*/ 40647 h 2489970"/>
                <a:gd name="connsiteX67" fmla="*/ 350228 w 6566173"/>
                <a:gd name="connsiteY67" fmla="*/ 44921 h 2489970"/>
                <a:gd name="connsiteX68" fmla="*/ 340509 w 6566173"/>
                <a:gd name="connsiteY68" fmla="*/ 61463 h 2489970"/>
                <a:gd name="connsiteX69" fmla="*/ 335547 w 6566173"/>
                <a:gd name="connsiteY69" fmla="*/ 49814 h 2489970"/>
                <a:gd name="connsiteX70" fmla="*/ 325553 w 6566173"/>
                <a:gd name="connsiteY70" fmla="*/ 45196 h 2489970"/>
                <a:gd name="connsiteX71" fmla="*/ 327276 w 6566173"/>
                <a:gd name="connsiteY71" fmla="*/ 15972 h 2489970"/>
                <a:gd name="connsiteX72" fmla="*/ 132840 w 6566173"/>
                <a:gd name="connsiteY72" fmla="*/ 3842 h 2489970"/>
                <a:gd name="connsiteX73" fmla="*/ 134287 w 6566173"/>
                <a:gd name="connsiteY73" fmla="*/ 32859 h 2489970"/>
                <a:gd name="connsiteX74" fmla="*/ 112162 w 6566173"/>
                <a:gd name="connsiteY74" fmla="*/ 11286 h 2489970"/>
                <a:gd name="connsiteX75" fmla="*/ 116160 w 6566173"/>
                <a:gd name="connsiteY75" fmla="*/ -3258 h 2489970"/>
                <a:gd name="connsiteX76" fmla="*/ 103409 w 6566173"/>
                <a:gd name="connsiteY76" fmla="*/ 7839 h 2489970"/>
                <a:gd name="connsiteX77" fmla="*/ 68740 w 6566173"/>
                <a:gd name="connsiteY77" fmla="*/ 30929 h 2489970"/>
                <a:gd name="connsiteX78" fmla="*/ 77700 w 6566173"/>
                <a:gd name="connsiteY78" fmla="*/ 55191 h 2489970"/>
                <a:gd name="connsiteX79" fmla="*/ 48062 w 6566173"/>
                <a:gd name="connsiteY79" fmla="*/ 34858 h 2489970"/>
                <a:gd name="connsiteX80" fmla="*/ 60469 w 6566173"/>
                <a:gd name="connsiteY80" fmla="*/ 22314 h 2489970"/>
                <a:gd name="connsiteX81" fmla="*/ 50406 w 6566173"/>
                <a:gd name="connsiteY81" fmla="*/ 15283 h 2489970"/>
                <a:gd name="connsiteX82" fmla="*/ 37379 w 6566173"/>
                <a:gd name="connsiteY82" fmla="*/ 7081 h 2489970"/>
                <a:gd name="connsiteX83" fmla="*/ 29108 w 6566173"/>
                <a:gd name="connsiteY83" fmla="*/ 23072 h 2489970"/>
                <a:gd name="connsiteX84" fmla="*/ 23181 w 6566173"/>
                <a:gd name="connsiteY84" fmla="*/ 35065 h 2489970"/>
                <a:gd name="connsiteX85" fmla="*/ 15599 w 6566173"/>
                <a:gd name="connsiteY85" fmla="*/ 12044 h 2489970"/>
                <a:gd name="connsiteX86" fmla="*/ -5768 w 6566173"/>
                <a:gd name="connsiteY86" fmla="*/ 23416 h 2489970"/>
                <a:gd name="connsiteX87" fmla="*/ 15737 w 6566173"/>
                <a:gd name="connsiteY87" fmla="*/ 29757 h 2489970"/>
                <a:gd name="connsiteX88" fmla="*/ -4114 w 6566173"/>
                <a:gd name="connsiteY88" fmla="*/ 39545 h 2489970"/>
                <a:gd name="connsiteX89" fmla="*/ -5768 w 6566173"/>
                <a:gd name="connsiteY89" fmla="*/ 53054 h 2489970"/>
                <a:gd name="connsiteX90" fmla="*/ 17046 w 6566173"/>
                <a:gd name="connsiteY90" fmla="*/ 48505 h 2489970"/>
                <a:gd name="connsiteX91" fmla="*/ 15875 w 6566173"/>
                <a:gd name="connsiteY91" fmla="*/ 61187 h 2489970"/>
                <a:gd name="connsiteX92" fmla="*/ 37034 w 6566173"/>
                <a:gd name="connsiteY92" fmla="*/ 59602 h 2489970"/>
                <a:gd name="connsiteX93" fmla="*/ 47787 w 6566173"/>
                <a:gd name="connsiteY93" fmla="*/ 58775 h 2489970"/>
                <a:gd name="connsiteX94" fmla="*/ 69705 w 6566173"/>
                <a:gd name="connsiteY94" fmla="*/ 74007 h 2489970"/>
                <a:gd name="connsiteX95" fmla="*/ 85419 w 6566173"/>
                <a:gd name="connsiteY95" fmla="*/ 65253 h 2489970"/>
                <a:gd name="connsiteX96" fmla="*/ 107406 w 6566173"/>
                <a:gd name="connsiteY96" fmla="*/ 80417 h 2489970"/>
                <a:gd name="connsiteX97" fmla="*/ 86936 w 6566173"/>
                <a:gd name="connsiteY97" fmla="*/ 79383 h 2489970"/>
                <a:gd name="connsiteX98" fmla="*/ 76528 w 6566173"/>
                <a:gd name="connsiteY98" fmla="*/ 119290 h 2489970"/>
                <a:gd name="connsiteX99" fmla="*/ 268345 w 6566173"/>
                <a:gd name="connsiteY99" fmla="*/ 132179 h 2489970"/>
                <a:gd name="connsiteX100" fmla="*/ 267794 w 6566173"/>
                <a:gd name="connsiteY100" fmla="*/ 126114 h 2489970"/>
                <a:gd name="connsiteX101" fmla="*/ 248150 w 6566173"/>
                <a:gd name="connsiteY101" fmla="*/ 125080 h 2489970"/>
                <a:gd name="connsiteX102" fmla="*/ 280063 w 6566173"/>
                <a:gd name="connsiteY102" fmla="*/ 113707 h 2489970"/>
                <a:gd name="connsiteX103" fmla="*/ 300189 w 6566173"/>
                <a:gd name="connsiteY103" fmla="*/ 99785 h 2489970"/>
                <a:gd name="connsiteX104" fmla="*/ 297914 w 6566173"/>
                <a:gd name="connsiteY104" fmla="*/ 71732 h 2489970"/>
                <a:gd name="connsiteX105" fmla="*/ 318798 w 6566173"/>
                <a:gd name="connsiteY105" fmla="*/ 95925 h 2489970"/>
                <a:gd name="connsiteX106" fmla="*/ 313629 w 6566173"/>
                <a:gd name="connsiteY106" fmla="*/ 54570 h 2489970"/>
                <a:gd name="connsiteX107" fmla="*/ 334237 w 6566173"/>
                <a:gd name="connsiteY107" fmla="*/ 91721 h 2489970"/>
                <a:gd name="connsiteX108" fmla="*/ 329895 w 6566173"/>
                <a:gd name="connsiteY108" fmla="*/ 71319 h 2489970"/>
                <a:gd name="connsiteX109" fmla="*/ 359395 w 6566173"/>
                <a:gd name="connsiteY109" fmla="*/ 89377 h 2489970"/>
                <a:gd name="connsiteX110" fmla="*/ 362634 w 6566173"/>
                <a:gd name="connsiteY110" fmla="*/ 98199 h 2489970"/>
                <a:gd name="connsiteX111" fmla="*/ 296605 w 6566173"/>
                <a:gd name="connsiteY111" fmla="*/ 104678 h 2489970"/>
                <a:gd name="connsiteX112" fmla="*/ 296605 w 6566173"/>
                <a:gd name="connsiteY112" fmla="*/ 121358 h 2489970"/>
                <a:gd name="connsiteX113" fmla="*/ 305496 w 6566173"/>
                <a:gd name="connsiteY113" fmla="*/ 120324 h 2489970"/>
                <a:gd name="connsiteX114" fmla="*/ 304669 w 6566173"/>
                <a:gd name="connsiteY114" fmla="*/ 136453 h 2489970"/>
                <a:gd name="connsiteX115" fmla="*/ 332308 w 6566173"/>
                <a:gd name="connsiteY115" fmla="*/ 135695 h 2489970"/>
                <a:gd name="connsiteX116" fmla="*/ 335133 w 6566173"/>
                <a:gd name="connsiteY116" fmla="*/ 123426 h 2489970"/>
                <a:gd name="connsiteX117" fmla="*/ 334444 w 6566173"/>
                <a:gd name="connsiteY117" fmla="*/ 137142 h 2489970"/>
                <a:gd name="connsiteX118" fmla="*/ 441346 w 6566173"/>
                <a:gd name="connsiteY118" fmla="*/ 143621 h 2489970"/>
                <a:gd name="connsiteX119" fmla="*/ 431421 w 6566173"/>
                <a:gd name="connsiteY119" fmla="*/ 108814 h 2489970"/>
                <a:gd name="connsiteX120" fmla="*/ 419980 w 6566173"/>
                <a:gd name="connsiteY120" fmla="*/ 106539 h 2489970"/>
                <a:gd name="connsiteX121" fmla="*/ 450720 w 6566173"/>
                <a:gd name="connsiteY121" fmla="*/ 106953 h 2489970"/>
                <a:gd name="connsiteX122" fmla="*/ 459129 w 6566173"/>
                <a:gd name="connsiteY122" fmla="*/ 146516 h 2489970"/>
                <a:gd name="connsiteX123" fmla="*/ 456303 w 6566173"/>
                <a:gd name="connsiteY123" fmla="*/ 114397 h 2489970"/>
                <a:gd name="connsiteX124" fmla="*/ 467882 w 6566173"/>
                <a:gd name="connsiteY124" fmla="*/ 108469 h 2489970"/>
                <a:gd name="connsiteX125" fmla="*/ 451065 w 6566173"/>
                <a:gd name="connsiteY125" fmla="*/ 97648 h 2489970"/>
                <a:gd name="connsiteX126" fmla="*/ 436728 w 6566173"/>
                <a:gd name="connsiteY126" fmla="*/ 58085 h 2489970"/>
                <a:gd name="connsiteX127" fmla="*/ 404816 w 6566173"/>
                <a:gd name="connsiteY127" fmla="*/ 45334 h 2489970"/>
                <a:gd name="connsiteX128" fmla="*/ 424115 w 6566173"/>
                <a:gd name="connsiteY128" fmla="*/ 29551 h 2489970"/>
                <a:gd name="connsiteX129" fmla="*/ 448997 w 6566173"/>
                <a:gd name="connsiteY129" fmla="*/ 59808 h 2489970"/>
                <a:gd name="connsiteX130" fmla="*/ 464850 w 6566173"/>
                <a:gd name="connsiteY130" fmla="*/ 34444 h 2489970"/>
                <a:gd name="connsiteX131" fmla="*/ 467193 w 6566173"/>
                <a:gd name="connsiteY131" fmla="*/ 80417 h 2489970"/>
                <a:gd name="connsiteX132" fmla="*/ 491179 w 6566173"/>
                <a:gd name="connsiteY132" fmla="*/ 82140 h 2489970"/>
                <a:gd name="connsiteX133" fmla="*/ 506894 w 6566173"/>
                <a:gd name="connsiteY133" fmla="*/ 46437 h 2489970"/>
                <a:gd name="connsiteX134" fmla="*/ 511994 w 6566173"/>
                <a:gd name="connsiteY134" fmla="*/ 69803 h 2489970"/>
                <a:gd name="connsiteX135" fmla="*/ 528674 w 6566173"/>
                <a:gd name="connsiteY135" fmla="*/ 54088 h 2489970"/>
                <a:gd name="connsiteX136" fmla="*/ 501931 w 6566173"/>
                <a:gd name="connsiteY136" fmla="*/ 81658 h 2489970"/>
                <a:gd name="connsiteX137" fmla="*/ 491868 w 6566173"/>
                <a:gd name="connsiteY137" fmla="*/ 114741 h 2489970"/>
                <a:gd name="connsiteX138" fmla="*/ 477807 w 6566173"/>
                <a:gd name="connsiteY138" fmla="*/ 99440 h 2489970"/>
                <a:gd name="connsiteX139" fmla="*/ 465470 w 6566173"/>
                <a:gd name="connsiteY139" fmla="*/ 123840 h 2489970"/>
                <a:gd name="connsiteX140" fmla="*/ 507100 w 6566173"/>
                <a:gd name="connsiteY140" fmla="*/ 123977 h 2489970"/>
                <a:gd name="connsiteX141" fmla="*/ 499312 w 6566173"/>
                <a:gd name="connsiteY141" fmla="*/ 133902 h 2489970"/>
                <a:gd name="connsiteX142" fmla="*/ 476636 w 6566173"/>
                <a:gd name="connsiteY142" fmla="*/ 142794 h 2489970"/>
                <a:gd name="connsiteX143" fmla="*/ 510271 w 6566173"/>
                <a:gd name="connsiteY143" fmla="*/ 148308 h 2489970"/>
                <a:gd name="connsiteX144" fmla="*/ 517439 w 6566173"/>
                <a:gd name="connsiteY144" fmla="*/ 128113 h 2489970"/>
                <a:gd name="connsiteX145" fmla="*/ 542941 w 6566173"/>
                <a:gd name="connsiteY145" fmla="*/ 129215 h 2489970"/>
                <a:gd name="connsiteX146" fmla="*/ 548593 w 6566173"/>
                <a:gd name="connsiteY146" fmla="*/ 92341 h 2489970"/>
                <a:gd name="connsiteX147" fmla="*/ 558105 w 6566173"/>
                <a:gd name="connsiteY147" fmla="*/ 99095 h 2489970"/>
                <a:gd name="connsiteX148" fmla="*/ 546456 w 6566173"/>
                <a:gd name="connsiteY148" fmla="*/ 111226 h 2489970"/>
                <a:gd name="connsiteX149" fmla="*/ 547766 w 6566173"/>
                <a:gd name="connsiteY149" fmla="*/ 150651 h 2489970"/>
                <a:gd name="connsiteX150" fmla="*/ 6474663 w 6566173"/>
                <a:gd name="connsiteY150" fmla="*/ 2451562 h 2489970"/>
                <a:gd name="connsiteX151" fmla="*/ 6490447 w 6566173"/>
                <a:gd name="connsiteY151" fmla="*/ 2443980 h 2489970"/>
                <a:gd name="connsiteX152" fmla="*/ 6474663 w 6566173"/>
                <a:gd name="connsiteY152" fmla="*/ 2451562 h 2489970"/>
                <a:gd name="connsiteX153" fmla="*/ 6513054 w 6566173"/>
                <a:gd name="connsiteY153" fmla="*/ 2483888 h 2489970"/>
                <a:gd name="connsiteX154" fmla="*/ 6557373 w 6566173"/>
                <a:gd name="connsiteY154" fmla="*/ 2486713 h 2489970"/>
                <a:gd name="connsiteX155" fmla="*/ 6553099 w 6566173"/>
                <a:gd name="connsiteY155" fmla="*/ 2457972 h 2489970"/>
                <a:gd name="connsiteX156" fmla="*/ 6560406 w 6566173"/>
                <a:gd name="connsiteY156" fmla="*/ 2446737 h 2489970"/>
                <a:gd name="connsiteX157" fmla="*/ 6513468 w 6566173"/>
                <a:gd name="connsiteY157" fmla="*/ 2436123 h 2489970"/>
                <a:gd name="connsiteX158" fmla="*/ 6514088 w 6566173"/>
                <a:gd name="connsiteY158" fmla="*/ 2447633 h 2489970"/>
                <a:gd name="connsiteX159" fmla="*/ 6545587 w 6566173"/>
                <a:gd name="connsiteY159" fmla="*/ 2464864 h 2489970"/>
                <a:gd name="connsiteX160" fmla="*/ 6546207 w 6566173"/>
                <a:gd name="connsiteY160" fmla="*/ 2465416 h 2489970"/>
                <a:gd name="connsiteX161" fmla="*/ 6498580 w 6566173"/>
                <a:gd name="connsiteY161" fmla="*/ 2454388 h 2489970"/>
                <a:gd name="connsiteX162" fmla="*/ 6490999 w 6566173"/>
                <a:gd name="connsiteY162" fmla="*/ 2435502 h 2489970"/>
                <a:gd name="connsiteX163" fmla="*/ 6341777 w 6566173"/>
                <a:gd name="connsiteY163" fmla="*/ 2426611 h 2489970"/>
                <a:gd name="connsiteX164" fmla="*/ 6347084 w 6566173"/>
                <a:gd name="connsiteY164" fmla="*/ 2463968 h 2489970"/>
                <a:gd name="connsiteX165" fmla="*/ 6328130 w 6566173"/>
                <a:gd name="connsiteY165" fmla="*/ 2464933 h 2489970"/>
                <a:gd name="connsiteX166" fmla="*/ 6332955 w 6566173"/>
                <a:gd name="connsiteY166" fmla="*/ 2446048 h 2489970"/>
                <a:gd name="connsiteX167" fmla="*/ 6317033 w 6566173"/>
                <a:gd name="connsiteY167" fmla="*/ 2440741 h 2489970"/>
                <a:gd name="connsiteX168" fmla="*/ 6317102 w 6566173"/>
                <a:gd name="connsiteY168" fmla="*/ 2426956 h 2489970"/>
                <a:gd name="connsiteX169" fmla="*/ 6293530 w 6566173"/>
                <a:gd name="connsiteY169" fmla="*/ 2432332 h 2489970"/>
                <a:gd name="connsiteX170" fmla="*/ 6304902 w 6566173"/>
                <a:gd name="connsiteY170" fmla="*/ 2470999 h 2489970"/>
                <a:gd name="connsiteX171" fmla="*/ 6357215 w 6566173"/>
                <a:gd name="connsiteY171" fmla="*/ 2473687 h 2489970"/>
                <a:gd name="connsiteX172" fmla="*/ 6356802 w 6566173"/>
                <a:gd name="connsiteY172" fmla="*/ 2444187 h 2489970"/>
                <a:gd name="connsiteX173" fmla="*/ 6365211 w 6566173"/>
                <a:gd name="connsiteY173" fmla="*/ 2475341 h 2489970"/>
                <a:gd name="connsiteX174" fmla="*/ 6420419 w 6566173"/>
                <a:gd name="connsiteY174" fmla="*/ 2478925 h 2489970"/>
                <a:gd name="connsiteX175" fmla="*/ 6419179 w 6566173"/>
                <a:gd name="connsiteY175" fmla="*/ 2466519 h 2489970"/>
                <a:gd name="connsiteX176" fmla="*/ 6421798 w 6566173"/>
                <a:gd name="connsiteY176" fmla="*/ 2478787 h 2489970"/>
                <a:gd name="connsiteX177" fmla="*/ 6491894 w 6566173"/>
                <a:gd name="connsiteY177" fmla="*/ 2483129 h 2489970"/>
                <a:gd name="connsiteX178" fmla="*/ 6478454 w 6566173"/>
                <a:gd name="connsiteY178" fmla="*/ 2465347 h 2489970"/>
                <a:gd name="connsiteX179" fmla="*/ 6513054 w 6566173"/>
                <a:gd name="connsiteY179" fmla="*/ 2483888 h 248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6566173" h="2489970">
                  <a:moveTo>
                    <a:pt x="450237" y="32308"/>
                  </a:moveTo>
                  <a:cubicBezTo>
                    <a:pt x="453822" y="28310"/>
                    <a:pt x="453822" y="28310"/>
                    <a:pt x="450237" y="32308"/>
                  </a:cubicBezTo>
                  <a:close/>
                  <a:moveTo>
                    <a:pt x="358223" y="37822"/>
                  </a:moveTo>
                  <a:cubicBezTo>
                    <a:pt x="356155" y="28103"/>
                    <a:pt x="359946" y="24726"/>
                    <a:pt x="369458" y="27690"/>
                  </a:cubicBezTo>
                  <a:cubicBezTo>
                    <a:pt x="371388" y="37339"/>
                    <a:pt x="367597" y="40716"/>
                    <a:pt x="358223" y="37822"/>
                  </a:cubicBezTo>
                  <a:moveTo>
                    <a:pt x="193976" y="39545"/>
                  </a:moveTo>
                  <a:cubicBezTo>
                    <a:pt x="189013" y="32790"/>
                    <a:pt x="197353" y="19074"/>
                    <a:pt x="205831" y="23278"/>
                  </a:cubicBezTo>
                  <a:cubicBezTo>
                    <a:pt x="211276" y="30033"/>
                    <a:pt x="202178" y="43680"/>
                    <a:pt x="193976" y="39545"/>
                  </a:cubicBezTo>
                  <a:moveTo>
                    <a:pt x="478635" y="46575"/>
                  </a:moveTo>
                  <a:cubicBezTo>
                    <a:pt x="472431" y="37822"/>
                    <a:pt x="488008" y="27690"/>
                    <a:pt x="494832" y="34858"/>
                  </a:cubicBezTo>
                  <a:cubicBezTo>
                    <a:pt x="501793" y="44300"/>
                    <a:pt x="485665" y="54157"/>
                    <a:pt x="478635" y="46575"/>
                  </a:cubicBezTo>
                  <a:moveTo>
                    <a:pt x="145591" y="51469"/>
                  </a:moveTo>
                  <a:cubicBezTo>
                    <a:pt x="139456" y="43060"/>
                    <a:pt x="141042" y="38166"/>
                    <a:pt x="150347" y="36857"/>
                  </a:cubicBezTo>
                  <a:cubicBezTo>
                    <a:pt x="156412" y="45403"/>
                    <a:pt x="154827" y="50228"/>
                    <a:pt x="145591" y="51469"/>
                  </a:cubicBezTo>
                  <a:moveTo>
                    <a:pt x="491730" y="60429"/>
                  </a:moveTo>
                  <a:cubicBezTo>
                    <a:pt x="495038" y="56569"/>
                    <a:pt x="495038" y="56569"/>
                    <a:pt x="491730" y="60429"/>
                  </a:cubicBezTo>
                  <a:moveTo>
                    <a:pt x="573819" y="66563"/>
                  </a:moveTo>
                  <a:cubicBezTo>
                    <a:pt x="570925" y="43060"/>
                    <a:pt x="594635" y="75041"/>
                    <a:pt x="573819" y="66563"/>
                  </a:cubicBezTo>
                  <a:moveTo>
                    <a:pt x="214722" y="66770"/>
                  </a:moveTo>
                  <a:cubicBezTo>
                    <a:pt x="203281" y="46644"/>
                    <a:pt x="237398" y="64495"/>
                    <a:pt x="214722" y="66770"/>
                  </a:cubicBezTo>
                  <a:moveTo>
                    <a:pt x="572441" y="86482"/>
                  </a:moveTo>
                  <a:cubicBezTo>
                    <a:pt x="561827" y="65667"/>
                    <a:pt x="595048" y="85242"/>
                    <a:pt x="572441" y="86482"/>
                  </a:cubicBezTo>
                  <a:moveTo>
                    <a:pt x="424598" y="95305"/>
                  </a:moveTo>
                  <a:cubicBezTo>
                    <a:pt x="419015" y="90411"/>
                    <a:pt x="418532" y="75868"/>
                    <a:pt x="428251" y="75454"/>
                  </a:cubicBezTo>
                  <a:cubicBezTo>
                    <a:pt x="440657" y="76626"/>
                    <a:pt x="436522" y="99854"/>
                    <a:pt x="424598" y="95305"/>
                  </a:cubicBezTo>
                  <a:moveTo>
                    <a:pt x="146280" y="95718"/>
                  </a:moveTo>
                  <a:cubicBezTo>
                    <a:pt x="145935" y="73042"/>
                    <a:pt x="167647" y="105092"/>
                    <a:pt x="146280" y="95718"/>
                  </a:cubicBezTo>
                  <a:moveTo>
                    <a:pt x="622067" y="99440"/>
                  </a:moveTo>
                  <a:cubicBezTo>
                    <a:pt x="616001" y="95029"/>
                    <a:pt x="615657" y="77729"/>
                    <a:pt x="625444" y="78625"/>
                  </a:cubicBezTo>
                  <a:cubicBezTo>
                    <a:pt x="631165" y="83381"/>
                    <a:pt x="632198" y="100681"/>
                    <a:pt x="622067" y="99440"/>
                  </a:cubicBezTo>
                  <a:moveTo>
                    <a:pt x="608075" y="115224"/>
                  </a:moveTo>
                  <a:cubicBezTo>
                    <a:pt x="611797" y="111502"/>
                    <a:pt x="611797" y="111502"/>
                    <a:pt x="608075" y="115224"/>
                  </a:cubicBezTo>
                  <a:moveTo>
                    <a:pt x="113472" y="115362"/>
                  </a:moveTo>
                  <a:cubicBezTo>
                    <a:pt x="114368" y="111502"/>
                    <a:pt x="116160" y="103782"/>
                    <a:pt x="117056" y="99923"/>
                  </a:cubicBezTo>
                  <a:cubicBezTo>
                    <a:pt x="95827" y="105230"/>
                    <a:pt x="110990" y="85242"/>
                    <a:pt x="110646" y="76488"/>
                  </a:cubicBezTo>
                  <a:cubicBezTo>
                    <a:pt x="118779" y="78280"/>
                    <a:pt x="127050" y="79866"/>
                    <a:pt x="135321" y="81382"/>
                  </a:cubicBezTo>
                  <a:cubicBezTo>
                    <a:pt x="135872" y="91652"/>
                    <a:pt x="138216" y="103300"/>
                    <a:pt x="126361" y="108056"/>
                  </a:cubicBezTo>
                  <a:lnTo>
                    <a:pt x="129531" y="117085"/>
                  </a:lnTo>
                  <a:cubicBezTo>
                    <a:pt x="125534" y="116671"/>
                    <a:pt x="117470" y="115775"/>
                    <a:pt x="113472" y="115362"/>
                  </a:cubicBezTo>
                  <a:moveTo>
                    <a:pt x="386827" y="122599"/>
                  </a:moveTo>
                  <a:cubicBezTo>
                    <a:pt x="377591" y="121496"/>
                    <a:pt x="377177" y="105299"/>
                    <a:pt x="386758" y="104334"/>
                  </a:cubicBezTo>
                  <a:cubicBezTo>
                    <a:pt x="395925" y="105230"/>
                    <a:pt x="396338" y="122047"/>
                    <a:pt x="386827" y="122599"/>
                  </a:cubicBezTo>
                  <a:moveTo>
                    <a:pt x="200041" y="98062"/>
                  </a:moveTo>
                  <a:cubicBezTo>
                    <a:pt x="216721" y="98751"/>
                    <a:pt x="233401" y="101094"/>
                    <a:pt x="249391" y="106057"/>
                  </a:cubicBezTo>
                  <a:cubicBezTo>
                    <a:pt x="245807" y="110468"/>
                    <a:pt x="238570" y="119290"/>
                    <a:pt x="234917" y="123702"/>
                  </a:cubicBezTo>
                  <a:cubicBezTo>
                    <a:pt x="220925" y="118532"/>
                    <a:pt x="203625" y="115155"/>
                    <a:pt x="200041" y="98062"/>
                  </a:cubicBezTo>
                  <a:moveTo>
                    <a:pt x="173367" y="81589"/>
                  </a:moveTo>
                  <a:cubicBezTo>
                    <a:pt x="175711" y="80693"/>
                    <a:pt x="180329" y="78901"/>
                    <a:pt x="182603" y="78005"/>
                  </a:cubicBezTo>
                  <a:cubicBezTo>
                    <a:pt x="174263" y="92410"/>
                    <a:pt x="173988" y="108883"/>
                    <a:pt x="173919" y="125011"/>
                  </a:cubicBezTo>
                  <a:cubicBezTo>
                    <a:pt x="161168" y="113501"/>
                    <a:pt x="172816" y="95856"/>
                    <a:pt x="173367" y="81589"/>
                  </a:cubicBezTo>
                  <a:moveTo>
                    <a:pt x="547766" y="150651"/>
                  </a:moveTo>
                  <a:cubicBezTo>
                    <a:pt x="581194" y="152030"/>
                    <a:pt x="614485" y="155476"/>
                    <a:pt x="647982" y="156165"/>
                  </a:cubicBezTo>
                  <a:cubicBezTo>
                    <a:pt x="643226" y="142863"/>
                    <a:pt x="635300" y="131008"/>
                    <a:pt x="627650" y="119153"/>
                  </a:cubicBezTo>
                  <a:cubicBezTo>
                    <a:pt x="633991" y="119704"/>
                    <a:pt x="646742" y="120669"/>
                    <a:pt x="653083" y="121220"/>
                  </a:cubicBezTo>
                  <a:cubicBezTo>
                    <a:pt x="655771" y="110606"/>
                    <a:pt x="658321" y="99923"/>
                    <a:pt x="661147" y="89239"/>
                  </a:cubicBezTo>
                  <a:cubicBezTo>
                    <a:pt x="656943" y="82623"/>
                    <a:pt x="652669" y="76006"/>
                    <a:pt x="648534" y="69251"/>
                  </a:cubicBezTo>
                  <a:cubicBezTo>
                    <a:pt x="649568" y="57327"/>
                    <a:pt x="650326" y="45265"/>
                    <a:pt x="651015" y="33204"/>
                  </a:cubicBezTo>
                  <a:cubicBezTo>
                    <a:pt x="627167" y="31894"/>
                    <a:pt x="603319" y="31136"/>
                    <a:pt x="579471" y="29551"/>
                  </a:cubicBezTo>
                  <a:cubicBezTo>
                    <a:pt x="582849" y="34513"/>
                    <a:pt x="589534" y="44438"/>
                    <a:pt x="592911" y="49401"/>
                  </a:cubicBezTo>
                  <a:cubicBezTo>
                    <a:pt x="583676" y="45059"/>
                    <a:pt x="574302" y="39545"/>
                    <a:pt x="572854" y="28379"/>
                  </a:cubicBezTo>
                  <a:cubicBezTo>
                    <a:pt x="557829" y="27690"/>
                    <a:pt x="542803" y="27552"/>
                    <a:pt x="527847" y="28655"/>
                  </a:cubicBezTo>
                  <a:cubicBezTo>
                    <a:pt x="527020" y="36512"/>
                    <a:pt x="524194" y="43473"/>
                    <a:pt x="519231" y="49470"/>
                  </a:cubicBezTo>
                  <a:cubicBezTo>
                    <a:pt x="519989" y="43404"/>
                    <a:pt x="521437" y="31136"/>
                    <a:pt x="522195" y="25001"/>
                  </a:cubicBezTo>
                  <a:cubicBezTo>
                    <a:pt x="484011" y="25553"/>
                    <a:pt x="446171" y="18867"/>
                    <a:pt x="407987" y="18867"/>
                  </a:cubicBezTo>
                  <a:cubicBezTo>
                    <a:pt x="404265" y="20797"/>
                    <a:pt x="396890" y="24726"/>
                    <a:pt x="393168" y="26656"/>
                  </a:cubicBezTo>
                  <a:cubicBezTo>
                    <a:pt x="374489" y="12733"/>
                    <a:pt x="350779" y="14939"/>
                    <a:pt x="328861" y="13836"/>
                  </a:cubicBezTo>
                  <a:cubicBezTo>
                    <a:pt x="331342" y="22934"/>
                    <a:pt x="332583" y="32790"/>
                    <a:pt x="338166" y="40647"/>
                  </a:cubicBezTo>
                  <a:cubicBezTo>
                    <a:pt x="341130" y="41750"/>
                    <a:pt x="347195" y="43887"/>
                    <a:pt x="350228" y="44921"/>
                  </a:cubicBezTo>
                  <a:cubicBezTo>
                    <a:pt x="347747" y="49056"/>
                    <a:pt x="342922" y="57327"/>
                    <a:pt x="340509" y="61463"/>
                  </a:cubicBezTo>
                  <a:cubicBezTo>
                    <a:pt x="339269" y="58499"/>
                    <a:pt x="336788" y="52709"/>
                    <a:pt x="335547" y="49814"/>
                  </a:cubicBezTo>
                  <a:cubicBezTo>
                    <a:pt x="333066" y="48643"/>
                    <a:pt x="328034" y="46368"/>
                    <a:pt x="325553" y="45196"/>
                  </a:cubicBezTo>
                  <a:cubicBezTo>
                    <a:pt x="325967" y="35478"/>
                    <a:pt x="326587" y="25760"/>
                    <a:pt x="327276" y="15972"/>
                  </a:cubicBezTo>
                  <a:cubicBezTo>
                    <a:pt x="262762" y="9838"/>
                    <a:pt x="197767" y="2394"/>
                    <a:pt x="132840" y="3842"/>
                  </a:cubicBezTo>
                  <a:cubicBezTo>
                    <a:pt x="136768" y="13215"/>
                    <a:pt x="135872" y="23141"/>
                    <a:pt x="134287" y="32859"/>
                  </a:cubicBezTo>
                  <a:cubicBezTo>
                    <a:pt x="127326" y="25277"/>
                    <a:pt x="120226" y="17833"/>
                    <a:pt x="112162" y="11286"/>
                  </a:cubicBezTo>
                  <a:cubicBezTo>
                    <a:pt x="113196" y="7701"/>
                    <a:pt x="115195" y="395"/>
                    <a:pt x="116160" y="-3258"/>
                  </a:cubicBezTo>
                  <a:cubicBezTo>
                    <a:pt x="112989" y="-501"/>
                    <a:pt x="106648" y="5082"/>
                    <a:pt x="103409" y="7839"/>
                  </a:cubicBezTo>
                  <a:cubicBezTo>
                    <a:pt x="95000" y="20108"/>
                    <a:pt x="85213" y="31963"/>
                    <a:pt x="68740" y="30929"/>
                  </a:cubicBezTo>
                  <a:cubicBezTo>
                    <a:pt x="71772" y="39062"/>
                    <a:pt x="74736" y="47126"/>
                    <a:pt x="77700" y="55191"/>
                  </a:cubicBezTo>
                  <a:cubicBezTo>
                    <a:pt x="67499" y="48918"/>
                    <a:pt x="57643" y="42095"/>
                    <a:pt x="48062" y="34858"/>
                  </a:cubicBezTo>
                  <a:cubicBezTo>
                    <a:pt x="51164" y="31756"/>
                    <a:pt x="57367" y="25484"/>
                    <a:pt x="60469" y="22314"/>
                  </a:cubicBezTo>
                  <a:cubicBezTo>
                    <a:pt x="57919" y="20521"/>
                    <a:pt x="52887" y="17075"/>
                    <a:pt x="50406" y="15283"/>
                  </a:cubicBezTo>
                  <a:cubicBezTo>
                    <a:pt x="47097" y="13215"/>
                    <a:pt x="40618" y="9149"/>
                    <a:pt x="37379" y="7081"/>
                  </a:cubicBezTo>
                  <a:cubicBezTo>
                    <a:pt x="34553" y="12457"/>
                    <a:pt x="31796" y="17764"/>
                    <a:pt x="29108" y="23072"/>
                  </a:cubicBezTo>
                  <a:lnTo>
                    <a:pt x="23181" y="35065"/>
                  </a:lnTo>
                  <a:cubicBezTo>
                    <a:pt x="21251" y="29344"/>
                    <a:pt x="17460" y="17764"/>
                    <a:pt x="15599" y="12044"/>
                  </a:cubicBezTo>
                  <a:cubicBezTo>
                    <a:pt x="8431" y="15835"/>
                    <a:pt x="1331" y="19625"/>
                    <a:pt x="-5768" y="23416"/>
                  </a:cubicBezTo>
                  <a:cubicBezTo>
                    <a:pt x="-392" y="25001"/>
                    <a:pt x="10361" y="28172"/>
                    <a:pt x="15737" y="29757"/>
                  </a:cubicBezTo>
                  <a:cubicBezTo>
                    <a:pt x="9120" y="33135"/>
                    <a:pt x="2503" y="36374"/>
                    <a:pt x="-4114" y="39545"/>
                  </a:cubicBezTo>
                  <a:cubicBezTo>
                    <a:pt x="-4527" y="42922"/>
                    <a:pt x="-5354" y="49677"/>
                    <a:pt x="-5768" y="53054"/>
                  </a:cubicBezTo>
                  <a:cubicBezTo>
                    <a:pt x="-47" y="51882"/>
                    <a:pt x="11326" y="49608"/>
                    <a:pt x="17046" y="48505"/>
                  </a:cubicBezTo>
                  <a:lnTo>
                    <a:pt x="15875" y="61187"/>
                  </a:lnTo>
                  <a:cubicBezTo>
                    <a:pt x="21182" y="60773"/>
                    <a:pt x="31796" y="60015"/>
                    <a:pt x="37034" y="59602"/>
                  </a:cubicBezTo>
                  <a:cubicBezTo>
                    <a:pt x="39722" y="59395"/>
                    <a:pt x="45099" y="58981"/>
                    <a:pt x="47787" y="58775"/>
                  </a:cubicBezTo>
                  <a:cubicBezTo>
                    <a:pt x="55093" y="63875"/>
                    <a:pt x="62399" y="68906"/>
                    <a:pt x="69705" y="74007"/>
                  </a:cubicBezTo>
                  <a:cubicBezTo>
                    <a:pt x="73633" y="71801"/>
                    <a:pt x="81491" y="67390"/>
                    <a:pt x="85419" y="65253"/>
                  </a:cubicBezTo>
                  <a:cubicBezTo>
                    <a:pt x="92725" y="70354"/>
                    <a:pt x="100100" y="75385"/>
                    <a:pt x="107406" y="80417"/>
                  </a:cubicBezTo>
                  <a:cubicBezTo>
                    <a:pt x="102306" y="80141"/>
                    <a:pt x="92036" y="79659"/>
                    <a:pt x="86936" y="79383"/>
                  </a:cubicBezTo>
                  <a:cubicBezTo>
                    <a:pt x="82731" y="92548"/>
                    <a:pt x="80181" y="106057"/>
                    <a:pt x="76528" y="119290"/>
                  </a:cubicBezTo>
                  <a:cubicBezTo>
                    <a:pt x="140215" y="126734"/>
                    <a:pt x="204383" y="128457"/>
                    <a:pt x="268345" y="132179"/>
                  </a:cubicBezTo>
                  <a:lnTo>
                    <a:pt x="267794" y="126114"/>
                  </a:lnTo>
                  <a:cubicBezTo>
                    <a:pt x="262900" y="125838"/>
                    <a:pt x="253044" y="125287"/>
                    <a:pt x="248150" y="125080"/>
                  </a:cubicBezTo>
                  <a:cubicBezTo>
                    <a:pt x="246014" y="103024"/>
                    <a:pt x="267174" y="113639"/>
                    <a:pt x="280063" y="113707"/>
                  </a:cubicBezTo>
                  <a:cubicBezTo>
                    <a:pt x="286817" y="109227"/>
                    <a:pt x="293434" y="104472"/>
                    <a:pt x="300189" y="99785"/>
                  </a:cubicBezTo>
                  <a:cubicBezTo>
                    <a:pt x="299637" y="92754"/>
                    <a:pt x="298465" y="78694"/>
                    <a:pt x="297914" y="71732"/>
                  </a:cubicBezTo>
                  <a:cubicBezTo>
                    <a:pt x="304393" y="80210"/>
                    <a:pt x="309218" y="90411"/>
                    <a:pt x="318798" y="95925"/>
                  </a:cubicBezTo>
                  <a:cubicBezTo>
                    <a:pt x="316455" y="82278"/>
                    <a:pt x="314732" y="68424"/>
                    <a:pt x="313629" y="54570"/>
                  </a:cubicBezTo>
                  <a:cubicBezTo>
                    <a:pt x="331687" y="59946"/>
                    <a:pt x="321486" y="82209"/>
                    <a:pt x="334237" y="91721"/>
                  </a:cubicBezTo>
                  <a:cubicBezTo>
                    <a:pt x="333204" y="86620"/>
                    <a:pt x="330998" y="76419"/>
                    <a:pt x="329895" y="71319"/>
                  </a:cubicBezTo>
                  <a:cubicBezTo>
                    <a:pt x="339062" y="78349"/>
                    <a:pt x="348712" y="84828"/>
                    <a:pt x="359395" y="89377"/>
                  </a:cubicBezTo>
                  <a:cubicBezTo>
                    <a:pt x="360222" y="91583"/>
                    <a:pt x="361807" y="95994"/>
                    <a:pt x="362634" y="98199"/>
                  </a:cubicBezTo>
                  <a:cubicBezTo>
                    <a:pt x="340578" y="100061"/>
                    <a:pt x="316868" y="93306"/>
                    <a:pt x="296605" y="104678"/>
                  </a:cubicBezTo>
                  <a:cubicBezTo>
                    <a:pt x="296605" y="108814"/>
                    <a:pt x="296605" y="117223"/>
                    <a:pt x="296605" y="121358"/>
                  </a:cubicBezTo>
                  <a:lnTo>
                    <a:pt x="305496" y="120324"/>
                  </a:lnTo>
                  <a:cubicBezTo>
                    <a:pt x="305289" y="124391"/>
                    <a:pt x="304876" y="132386"/>
                    <a:pt x="304669" y="136453"/>
                  </a:cubicBezTo>
                  <a:cubicBezTo>
                    <a:pt x="311561" y="136246"/>
                    <a:pt x="325346" y="135901"/>
                    <a:pt x="332308" y="135695"/>
                  </a:cubicBezTo>
                  <a:cubicBezTo>
                    <a:pt x="332997" y="132662"/>
                    <a:pt x="334444" y="126527"/>
                    <a:pt x="335133" y="123426"/>
                  </a:cubicBezTo>
                  <a:cubicBezTo>
                    <a:pt x="334996" y="126872"/>
                    <a:pt x="334651" y="133696"/>
                    <a:pt x="334444" y="137142"/>
                  </a:cubicBezTo>
                  <a:cubicBezTo>
                    <a:pt x="370078" y="136591"/>
                    <a:pt x="405574" y="143621"/>
                    <a:pt x="441346" y="143621"/>
                  </a:cubicBezTo>
                  <a:cubicBezTo>
                    <a:pt x="439416" y="131766"/>
                    <a:pt x="435625" y="120117"/>
                    <a:pt x="431421" y="108814"/>
                  </a:cubicBezTo>
                  <a:cubicBezTo>
                    <a:pt x="428595" y="108262"/>
                    <a:pt x="422874" y="107091"/>
                    <a:pt x="419980" y="106539"/>
                  </a:cubicBezTo>
                  <a:cubicBezTo>
                    <a:pt x="430180" y="106884"/>
                    <a:pt x="440450" y="107022"/>
                    <a:pt x="450720" y="106953"/>
                  </a:cubicBezTo>
                  <a:cubicBezTo>
                    <a:pt x="449548" y="120255"/>
                    <a:pt x="427630" y="154028"/>
                    <a:pt x="459129" y="146516"/>
                  </a:cubicBezTo>
                  <a:cubicBezTo>
                    <a:pt x="477807" y="142036"/>
                    <a:pt x="461610" y="123771"/>
                    <a:pt x="456303" y="114397"/>
                  </a:cubicBezTo>
                  <a:cubicBezTo>
                    <a:pt x="459198" y="112880"/>
                    <a:pt x="464987" y="109917"/>
                    <a:pt x="467882" y="108469"/>
                  </a:cubicBezTo>
                  <a:cubicBezTo>
                    <a:pt x="467744" y="99302"/>
                    <a:pt x="462093" y="95718"/>
                    <a:pt x="451065" y="97648"/>
                  </a:cubicBezTo>
                  <a:cubicBezTo>
                    <a:pt x="449893" y="83312"/>
                    <a:pt x="443414" y="70561"/>
                    <a:pt x="436728" y="58085"/>
                  </a:cubicBezTo>
                  <a:cubicBezTo>
                    <a:pt x="424184" y="59877"/>
                    <a:pt x="410123" y="58568"/>
                    <a:pt x="404816" y="45334"/>
                  </a:cubicBezTo>
                  <a:cubicBezTo>
                    <a:pt x="414603" y="43404"/>
                    <a:pt x="421013" y="38166"/>
                    <a:pt x="424115" y="29551"/>
                  </a:cubicBezTo>
                  <a:cubicBezTo>
                    <a:pt x="431421" y="40303"/>
                    <a:pt x="436246" y="54363"/>
                    <a:pt x="448997" y="59808"/>
                  </a:cubicBezTo>
                  <a:cubicBezTo>
                    <a:pt x="454580" y="51675"/>
                    <a:pt x="459611" y="42991"/>
                    <a:pt x="464850" y="34444"/>
                  </a:cubicBezTo>
                  <a:cubicBezTo>
                    <a:pt x="464367" y="49814"/>
                    <a:pt x="464367" y="65322"/>
                    <a:pt x="467193" y="80417"/>
                  </a:cubicBezTo>
                  <a:cubicBezTo>
                    <a:pt x="475257" y="77936"/>
                    <a:pt x="483459" y="79039"/>
                    <a:pt x="491179" y="82140"/>
                  </a:cubicBezTo>
                  <a:cubicBezTo>
                    <a:pt x="501104" y="72697"/>
                    <a:pt x="504205" y="59464"/>
                    <a:pt x="506894" y="46437"/>
                  </a:cubicBezTo>
                  <a:cubicBezTo>
                    <a:pt x="508617" y="54294"/>
                    <a:pt x="510271" y="62083"/>
                    <a:pt x="511994" y="69803"/>
                  </a:cubicBezTo>
                  <a:cubicBezTo>
                    <a:pt x="517508" y="64702"/>
                    <a:pt x="523091" y="59326"/>
                    <a:pt x="528674" y="54088"/>
                  </a:cubicBezTo>
                  <a:cubicBezTo>
                    <a:pt x="520885" y="64151"/>
                    <a:pt x="521161" y="93788"/>
                    <a:pt x="501931" y="81658"/>
                  </a:cubicBezTo>
                  <a:cubicBezTo>
                    <a:pt x="500208" y="93030"/>
                    <a:pt x="506342" y="110055"/>
                    <a:pt x="491868" y="114741"/>
                  </a:cubicBezTo>
                  <a:cubicBezTo>
                    <a:pt x="487181" y="109641"/>
                    <a:pt x="482563" y="104541"/>
                    <a:pt x="477807" y="99440"/>
                  </a:cubicBezTo>
                  <a:cubicBezTo>
                    <a:pt x="474775" y="105505"/>
                    <a:pt x="468571" y="117705"/>
                    <a:pt x="465470" y="123840"/>
                  </a:cubicBezTo>
                  <a:cubicBezTo>
                    <a:pt x="478566" y="131697"/>
                    <a:pt x="493178" y="125080"/>
                    <a:pt x="507100" y="123977"/>
                  </a:cubicBezTo>
                  <a:lnTo>
                    <a:pt x="499312" y="133902"/>
                  </a:lnTo>
                  <a:cubicBezTo>
                    <a:pt x="491179" y="131352"/>
                    <a:pt x="479668" y="134454"/>
                    <a:pt x="476636" y="142794"/>
                  </a:cubicBezTo>
                  <a:cubicBezTo>
                    <a:pt x="487457" y="146447"/>
                    <a:pt x="498967" y="147067"/>
                    <a:pt x="510271" y="148308"/>
                  </a:cubicBezTo>
                  <a:cubicBezTo>
                    <a:pt x="512545" y="141622"/>
                    <a:pt x="514958" y="134867"/>
                    <a:pt x="517439" y="128113"/>
                  </a:cubicBezTo>
                  <a:cubicBezTo>
                    <a:pt x="523780" y="128388"/>
                    <a:pt x="536600" y="128940"/>
                    <a:pt x="542941" y="129215"/>
                  </a:cubicBezTo>
                  <a:cubicBezTo>
                    <a:pt x="537496" y="116189"/>
                    <a:pt x="543079" y="103989"/>
                    <a:pt x="548593" y="92341"/>
                  </a:cubicBezTo>
                  <a:cubicBezTo>
                    <a:pt x="551005" y="93995"/>
                    <a:pt x="555761" y="97441"/>
                    <a:pt x="558105" y="99095"/>
                  </a:cubicBezTo>
                  <a:cubicBezTo>
                    <a:pt x="554176" y="103162"/>
                    <a:pt x="550316" y="107229"/>
                    <a:pt x="546456" y="111226"/>
                  </a:cubicBezTo>
                  <a:cubicBezTo>
                    <a:pt x="547146" y="124391"/>
                    <a:pt x="547628" y="137486"/>
                    <a:pt x="547766" y="150651"/>
                  </a:cubicBezTo>
                  <a:moveTo>
                    <a:pt x="6474663" y="2451562"/>
                  </a:moveTo>
                  <a:cubicBezTo>
                    <a:pt x="6465703" y="2441223"/>
                    <a:pt x="6484795" y="2437088"/>
                    <a:pt x="6490447" y="2443980"/>
                  </a:cubicBezTo>
                  <a:cubicBezTo>
                    <a:pt x="6501751" y="2453974"/>
                    <a:pt x="6479833" y="2460660"/>
                    <a:pt x="6474663" y="2451562"/>
                  </a:cubicBezTo>
                  <a:moveTo>
                    <a:pt x="6513054" y="2483888"/>
                  </a:moveTo>
                  <a:cubicBezTo>
                    <a:pt x="6527735" y="2484990"/>
                    <a:pt x="6542554" y="2485542"/>
                    <a:pt x="6557373" y="2486713"/>
                  </a:cubicBezTo>
                  <a:cubicBezTo>
                    <a:pt x="6555926" y="2477133"/>
                    <a:pt x="6554478" y="2467552"/>
                    <a:pt x="6553099" y="2457972"/>
                  </a:cubicBezTo>
                  <a:cubicBezTo>
                    <a:pt x="6554960" y="2455146"/>
                    <a:pt x="6558545" y="2449563"/>
                    <a:pt x="6560406" y="2446737"/>
                  </a:cubicBezTo>
                  <a:cubicBezTo>
                    <a:pt x="6547310" y="2435433"/>
                    <a:pt x="6529252" y="2437777"/>
                    <a:pt x="6513468" y="2436123"/>
                  </a:cubicBezTo>
                  <a:cubicBezTo>
                    <a:pt x="6513606" y="2439018"/>
                    <a:pt x="6513950" y="2444807"/>
                    <a:pt x="6514088" y="2447633"/>
                  </a:cubicBezTo>
                  <a:cubicBezTo>
                    <a:pt x="6526839" y="2448047"/>
                    <a:pt x="6535248" y="2458730"/>
                    <a:pt x="6545587" y="2464864"/>
                  </a:cubicBezTo>
                  <a:lnTo>
                    <a:pt x="6546207" y="2465416"/>
                  </a:lnTo>
                  <a:cubicBezTo>
                    <a:pt x="6529941" y="2463555"/>
                    <a:pt x="6511745" y="2465898"/>
                    <a:pt x="6498580" y="2454388"/>
                  </a:cubicBezTo>
                  <a:cubicBezTo>
                    <a:pt x="6517741" y="2450183"/>
                    <a:pt x="6500165" y="2433848"/>
                    <a:pt x="6490999" y="2435502"/>
                  </a:cubicBezTo>
                  <a:cubicBezTo>
                    <a:pt x="6441235" y="2432607"/>
                    <a:pt x="6391609" y="2427714"/>
                    <a:pt x="6341777" y="2426611"/>
                  </a:cubicBezTo>
                  <a:cubicBezTo>
                    <a:pt x="6342673" y="2439224"/>
                    <a:pt x="6344672" y="2451631"/>
                    <a:pt x="6347084" y="2463968"/>
                  </a:cubicBezTo>
                  <a:cubicBezTo>
                    <a:pt x="6342328" y="2464175"/>
                    <a:pt x="6332817" y="2464657"/>
                    <a:pt x="6328130" y="2464933"/>
                  </a:cubicBezTo>
                  <a:cubicBezTo>
                    <a:pt x="6328474" y="2458248"/>
                    <a:pt x="6330128" y="2451975"/>
                    <a:pt x="6332955" y="2446048"/>
                  </a:cubicBezTo>
                  <a:cubicBezTo>
                    <a:pt x="6347704" y="2431574"/>
                    <a:pt x="6323167" y="2433848"/>
                    <a:pt x="6317033" y="2440741"/>
                  </a:cubicBezTo>
                  <a:cubicBezTo>
                    <a:pt x="6317033" y="2437295"/>
                    <a:pt x="6317102" y="2430402"/>
                    <a:pt x="6317102" y="2426956"/>
                  </a:cubicBezTo>
                  <a:cubicBezTo>
                    <a:pt x="6308968" y="2427921"/>
                    <a:pt x="6300146" y="2426818"/>
                    <a:pt x="6293530" y="2432332"/>
                  </a:cubicBezTo>
                  <a:cubicBezTo>
                    <a:pt x="6297182" y="2445290"/>
                    <a:pt x="6301731" y="2457903"/>
                    <a:pt x="6304902" y="2470999"/>
                  </a:cubicBezTo>
                  <a:cubicBezTo>
                    <a:pt x="6322271" y="2471757"/>
                    <a:pt x="6339778" y="2472239"/>
                    <a:pt x="6357215" y="2473687"/>
                  </a:cubicBezTo>
                  <a:cubicBezTo>
                    <a:pt x="6356802" y="2463900"/>
                    <a:pt x="6356664" y="2454043"/>
                    <a:pt x="6356802" y="2444187"/>
                  </a:cubicBezTo>
                  <a:cubicBezTo>
                    <a:pt x="6365694" y="2452320"/>
                    <a:pt x="6367486" y="2463900"/>
                    <a:pt x="6365211" y="2475341"/>
                  </a:cubicBezTo>
                  <a:cubicBezTo>
                    <a:pt x="6383545" y="2476168"/>
                    <a:pt x="6401948" y="2477340"/>
                    <a:pt x="6420419" y="2478925"/>
                  </a:cubicBezTo>
                  <a:lnTo>
                    <a:pt x="6419179" y="2466519"/>
                  </a:lnTo>
                  <a:cubicBezTo>
                    <a:pt x="6419868" y="2469620"/>
                    <a:pt x="6421109" y="2475754"/>
                    <a:pt x="6421798" y="2478787"/>
                  </a:cubicBezTo>
                  <a:cubicBezTo>
                    <a:pt x="6445164" y="2479614"/>
                    <a:pt x="6468529" y="2481406"/>
                    <a:pt x="6491894" y="2483129"/>
                  </a:cubicBezTo>
                  <a:cubicBezTo>
                    <a:pt x="6488586" y="2478718"/>
                    <a:pt x="6481832" y="2469758"/>
                    <a:pt x="6478454" y="2465347"/>
                  </a:cubicBezTo>
                  <a:cubicBezTo>
                    <a:pt x="6490929" y="2469482"/>
                    <a:pt x="6503405" y="2474514"/>
                    <a:pt x="6513054" y="2483888"/>
                  </a:cubicBezTo>
                </a:path>
              </a:pathLst>
            </a:custGeom>
            <a:grpFill/>
            <a:ln w="689" cap="flat">
              <a:noFill/>
              <a:prstDash val="solid"/>
              <a:miter/>
            </a:ln>
          </p:spPr>
          <p:txBody>
            <a:bodyPr rtlCol="0" anchor="ctr"/>
            <a:lstStyle/>
            <a:p>
              <a:endParaRPr lang="en-US" sz="2400" dirty="0"/>
            </a:p>
          </p:txBody>
        </p:sp>
        <p:sp>
          <p:nvSpPr>
            <p:cNvPr id="85" name="Graphic 8">
              <a:extLst>
                <a:ext uri="{FF2B5EF4-FFF2-40B4-BE49-F238E27FC236}">
                  <a16:creationId xmlns:a16="http://schemas.microsoft.com/office/drawing/2014/main" id="{49308902-E6BC-4569-8B5D-DFAEF35DC164}"/>
                </a:ext>
              </a:extLst>
            </p:cNvPr>
            <p:cNvSpPr/>
            <p:nvPr/>
          </p:nvSpPr>
          <p:spPr>
            <a:xfrm flipV="1">
              <a:off x="7655308" y="1311360"/>
              <a:ext cx="458003" cy="746867"/>
            </a:xfrm>
            <a:custGeom>
              <a:avLst/>
              <a:gdLst>
                <a:gd name="connsiteX0" fmla="*/ -9797 w 458003"/>
                <a:gd name="connsiteY0" fmla="*/ -2208 h 746867"/>
                <a:gd name="connsiteX1" fmla="*/ -9797 w 458003"/>
                <a:gd name="connsiteY1" fmla="*/ -2208 h 746867"/>
                <a:gd name="connsiteX2" fmla="*/ 445519 w 458003"/>
                <a:gd name="connsiteY2" fmla="*/ 742177 h 746867"/>
                <a:gd name="connsiteX3" fmla="*/ 445519 w 458003"/>
                <a:gd name="connsiteY3" fmla="*/ 742177 h 746867"/>
              </a:gdLst>
              <a:ahLst/>
              <a:cxnLst>
                <a:cxn ang="0">
                  <a:pos x="connsiteX0" y="connsiteY0"/>
                </a:cxn>
                <a:cxn ang="0">
                  <a:pos x="connsiteX1" y="connsiteY1"/>
                </a:cxn>
                <a:cxn ang="0">
                  <a:pos x="connsiteX2" y="connsiteY2"/>
                </a:cxn>
                <a:cxn ang="0">
                  <a:pos x="connsiteX3" y="connsiteY3"/>
                </a:cxn>
              </a:cxnLst>
              <a:rect l="l" t="t" r="r" b="b"/>
              <a:pathLst>
                <a:path w="458003" h="746867">
                  <a:moveTo>
                    <a:pt x="-9797" y="-2208"/>
                  </a:moveTo>
                  <a:cubicBezTo>
                    <a:pt x="-5800" y="-5517"/>
                    <a:pt x="-5800" y="-5517"/>
                    <a:pt x="-9797" y="-2208"/>
                  </a:cubicBezTo>
                  <a:close/>
                  <a:moveTo>
                    <a:pt x="445519" y="742177"/>
                  </a:moveTo>
                  <a:cubicBezTo>
                    <a:pt x="449103" y="738387"/>
                    <a:pt x="449103" y="738387"/>
                    <a:pt x="445519" y="742177"/>
                  </a:cubicBezTo>
                </a:path>
              </a:pathLst>
            </a:custGeom>
            <a:grpFill/>
            <a:ln w="689" cap="flat">
              <a:noFill/>
              <a:prstDash val="solid"/>
              <a:miter/>
            </a:ln>
          </p:spPr>
          <p:txBody>
            <a:bodyPr rtlCol="0" anchor="ctr"/>
            <a:lstStyle/>
            <a:p>
              <a:endParaRPr lang="en-US" sz="2400" dirty="0"/>
            </a:p>
          </p:txBody>
        </p:sp>
        <p:sp>
          <p:nvSpPr>
            <p:cNvPr id="86" name="Graphic 8">
              <a:extLst>
                <a:ext uri="{FF2B5EF4-FFF2-40B4-BE49-F238E27FC236}">
                  <a16:creationId xmlns:a16="http://schemas.microsoft.com/office/drawing/2014/main" id="{A47253A6-1B00-4C2F-802A-3E298BB36533}"/>
                </a:ext>
              </a:extLst>
            </p:cNvPr>
            <p:cNvSpPr/>
            <p:nvPr/>
          </p:nvSpPr>
          <p:spPr>
            <a:xfrm flipV="1">
              <a:off x="2304267" y="1317563"/>
              <a:ext cx="6237368" cy="1601597"/>
            </a:xfrm>
            <a:custGeom>
              <a:avLst/>
              <a:gdLst>
                <a:gd name="connsiteX0" fmla="*/ 4330388 w 6237368"/>
                <a:gd name="connsiteY0" fmla="*/ 5462 h 1601597"/>
                <a:gd name="connsiteX1" fmla="*/ 4330388 w 6237368"/>
                <a:gd name="connsiteY1" fmla="*/ 5462 h 1601597"/>
                <a:gd name="connsiteX2" fmla="*/ 6219612 w 6237368"/>
                <a:gd name="connsiteY2" fmla="*/ 148274 h 1601597"/>
                <a:gd name="connsiteX3" fmla="*/ 6220715 w 6237368"/>
                <a:gd name="connsiteY3" fmla="*/ 127665 h 1601597"/>
                <a:gd name="connsiteX4" fmla="*/ 6219612 w 6237368"/>
                <a:gd name="connsiteY4" fmla="*/ 148274 h 1601597"/>
                <a:gd name="connsiteX5" fmla="*/ -4626 w 6237368"/>
                <a:gd name="connsiteY5" fmla="*/ 274061 h 1601597"/>
                <a:gd name="connsiteX6" fmla="*/ -4626 w 6237368"/>
                <a:gd name="connsiteY6" fmla="*/ 274061 h 1601597"/>
                <a:gd name="connsiteX7" fmla="*/ 113097 w 6237368"/>
                <a:gd name="connsiteY7" fmla="*/ 417149 h 1601597"/>
                <a:gd name="connsiteX8" fmla="*/ 123298 w 6237368"/>
                <a:gd name="connsiteY8" fmla="*/ 394473 h 1601597"/>
                <a:gd name="connsiteX9" fmla="*/ 113097 w 6237368"/>
                <a:gd name="connsiteY9" fmla="*/ 417149 h 1601597"/>
                <a:gd name="connsiteX10" fmla="*/ 2883936 w 6237368"/>
                <a:gd name="connsiteY10" fmla="*/ 699395 h 1601597"/>
                <a:gd name="connsiteX11" fmla="*/ 2888485 w 6237368"/>
                <a:gd name="connsiteY11" fmla="*/ 677063 h 1601597"/>
                <a:gd name="connsiteX12" fmla="*/ 2883936 w 6237368"/>
                <a:gd name="connsiteY12" fmla="*/ 699395 h 1601597"/>
                <a:gd name="connsiteX13" fmla="*/ 3068792 w 6237368"/>
                <a:gd name="connsiteY13" fmla="*/ 1045879 h 1601597"/>
                <a:gd name="connsiteX14" fmla="*/ 3068792 w 6237368"/>
                <a:gd name="connsiteY14" fmla="*/ 1045879 h 1601597"/>
                <a:gd name="connsiteX15" fmla="*/ 2235769 w 6237368"/>
                <a:gd name="connsiteY15" fmla="*/ 1357212 h 1601597"/>
                <a:gd name="connsiteX16" fmla="*/ 2238526 w 6237368"/>
                <a:gd name="connsiteY16" fmla="*/ 1371134 h 1601597"/>
                <a:gd name="connsiteX17" fmla="*/ 2241283 w 6237368"/>
                <a:gd name="connsiteY17" fmla="*/ 1359142 h 1601597"/>
                <a:gd name="connsiteX18" fmla="*/ 2235769 w 6237368"/>
                <a:gd name="connsiteY18" fmla="*/ 1357212 h 1601597"/>
                <a:gd name="connsiteX19" fmla="*/ 2413870 w 6237368"/>
                <a:gd name="connsiteY19" fmla="*/ 1394431 h 1601597"/>
                <a:gd name="connsiteX20" fmla="*/ 2418695 w 6237368"/>
                <a:gd name="connsiteY20" fmla="*/ 1396568 h 1601597"/>
                <a:gd name="connsiteX21" fmla="*/ 2410631 w 6237368"/>
                <a:gd name="connsiteY21" fmla="*/ 1359693 h 1601597"/>
                <a:gd name="connsiteX22" fmla="*/ 2409459 w 6237368"/>
                <a:gd name="connsiteY22" fmla="*/ 1391330 h 1601597"/>
                <a:gd name="connsiteX23" fmla="*/ 2413870 w 6237368"/>
                <a:gd name="connsiteY23" fmla="*/ 1394431 h 1601597"/>
                <a:gd name="connsiteX24" fmla="*/ 3228980 w 6237368"/>
                <a:gd name="connsiteY24" fmla="*/ 1597621 h 1601597"/>
                <a:gd name="connsiteX25" fmla="*/ 3225664 w 6237368"/>
                <a:gd name="connsiteY25" fmla="*/ 1579631 h 1601597"/>
                <a:gd name="connsiteX26" fmla="*/ 3228980 w 6237368"/>
                <a:gd name="connsiteY26" fmla="*/ 1597621 h 1601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237368" h="1601597">
                  <a:moveTo>
                    <a:pt x="4330388" y="5462"/>
                  </a:moveTo>
                  <a:cubicBezTo>
                    <a:pt x="4353064" y="4497"/>
                    <a:pt x="4319774" y="-15284"/>
                    <a:pt x="4330388" y="5462"/>
                  </a:cubicBezTo>
                  <a:close/>
                  <a:moveTo>
                    <a:pt x="6219612" y="148274"/>
                  </a:moveTo>
                  <a:cubicBezTo>
                    <a:pt x="6233052" y="152961"/>
                    <a:pt x="6235189" y="120842"/>
                    <a:pt x="6220715" y="127665"/>
                  </a:cubicBezTo>
                  <a:cubicBezTo>
                    <a:pt x="6215959" y="134420"/>
                    <a:pt x="6215546" y="141312"/>
                    <a:pt x="6219612" y="148274"/>
                  </a:cubicBezTo>
                  <a:moveTo>
                    <a:pt x="-4626" y="274061"/>
                  </a:moveTo>
                  <a:cubicBezTo>
                    <a:pt x="18257" y="273234"/>
                    <a:pt x="-15034" y="253315"/>
                    <a:pt x="-4626" y="274061"/>
                  </a:cubicBezTo>
                  <a:moveTo>
                    <a:pt x="113097" y="417149"/>
                  </a:moveTo>
                  <a:cubicBezTo>
                    <a:pt x="122953" y="418252"/>
                    <a:pt x="126951" y="401848"/>
                    <a:pt x="123298" y="394473"/>
                  </a:cubicBezTo>
                  <a:cubicBezTo>
                    <a:pt x="112959" y="391784"/>
                    <a:pt x="106343" y="410187"/>
                    <a:pt x="113097" y="417149"/>
                  </a:cubicBezTo>
                  <a:moveTo>
                    <a:pt x="2883936" y="699395"/>
                  </a:moveTo>
                  <a:cubicBezTo>
                    <a:pt x="2894964" y="703048"/>
                    <a:pt x="2900616" y="679131"/>
                    <a:pt x="2888485" y="677063"/>
                  </a:cubicBezTo>
                  <a:cubicBezTo>
                    <a:pt x="2879939" y="679889"/>
                    <a:pt x="2879870" y="692916"/>
                    <a:pt x="2883936" y="699395"/>
                  </a:cubicBezTo>
                  <a:moveTo>
                    <a:pt x="3068792" y="1045879"/>
                  </a:moveTo>
                  <a:cubicBezTo>
                    <a:pt x="3091537" y="1044018"/>
                    <a:pt x="3057557" y="1025615"/>
                    <a:pt x="3068792" y="1045879"/>
                  </a:cubicBezTo>
                  <a:moveTo>
                    <a:pt x="2235769" y="1357212"/>
                  </a:moveTo>
                  <a:cubicBezTo>
                    <a:pt x="2236458" y="1360658"/>
                    <a:pt x="2237837" y="1367620"/>
                    <a:pt x="2238526" y="1371134"/>
                  </a:cubicBezTo>
                  <a:cubicBezTo>
                    <a:pt x="2239215" y="1368171"/>
                    <a:pt x="2240594" y="1362174"/>
                    <a:pt x="2241283" y="1359142"/>
                  </a:cubicBezTo>
                  <a:lnTo>
                    <a:pt x="2235769" y="1357212"/>
                  </a:lnTo>
                  <a:moveTo>
                    <a:pt x="2413870" y="1394431"/>
                  </a:moveTo>
                  <a:cubicBezTo>
                    <a:pt x="2415042" y="1394982"/>
                    <a:pt x="2417454" y="1396085"/>
                    <a:pt x="2418695" y="1396568"/>
                  </a:cubicBezTo>
                  <a:cubicBezTo>
                    <a:pt x="2414421" y="1384851"/>
                    <a:pt x="2416972" y="1370514"/>
                    <a:pt x="2410631" y="1359693"/>
                  </a:cubicBezTo>
                  <a:cubicBezTo>
                    <a:pt x="2396915" y="1361140"/>
                    <a:pt x="2404772" y="1383541"/>
                    <a:pt x="2409459" y="1391330"/>
                  </a:cubicBezTo>
                  <a:lnTo>
                    <a:pt x="2413870" y="1394431"/>
                  </a:lnTo>
                  <a:moveTo>
                    <a:pt x="3228980" y="1597621"/>
                  </a:moveTo>
                  <a:cubicBezTo>
                    <a:pt x="3239863" y="1596863"/>
                    <a:pt x="3233935" y="1580045"/>
                    <a:pt x="3225664" y="1579631"/>
                  </a:cubicBezTo>
                  <a:cubicBezTo>
                    <a:pt x="3215325" y="1580803"/>
                    <a:pt x="3220908" y="1597001"/>
                    <a:pt x="3228980" y="1597621"/>
                  </a:cubicBezTo>
                </a:path>
              </a:pathLst>
            </a:custGeom>
            <a:grpFill/>
            <a:ln w="689" cap="flat">
              <a:noFill/>
              <a:prstDash val="solid"/>
              <a:miter/>
            </a:ln>
          </p:spPr>
          <p:txBody>
            <a:bodyPr rtlCol="0" anchor="ctr"/>
            <a:lstStyle/>
            <a:p>
              <a:endParaRPr lang="en-US" sz="2400" dirty="0"/>
            </a:p>
          </p:txBody>
        </p:sp>
        <p:sp>
          <p:nvSpPr>
            <p:cNvPr id="87" name="Graphic 8">
              <a:extLst>
                <a:ext uri="{FF2B5EF4-FFF2-40B4-BE49-F238E27FC236}">
                  <a16:creationId xmlns:a16="http://schemas.microsoft.com/office/drawing/2014/main" id="{D8BDC320-436B-43A4-B966-54BCA3C74D47}"/>
                </a:ext>
              </a:extLst>
            </p:cNvPr>
            <p:cNvSpPr/>
            <p:nvPr/>
          </p:nvSpPr>
          <p:spPr>
            <a:xfrm flipV="1">
              <a:off x="2410006" y="1319010"/>
              <a:ext cx="6135524" cy="1663036"/>
            </a:xfrm>
            <a:custGeom>
              <a:avLst/>
              <a:gdLst>
                <a:gd name="connsiteX0" fmla="*/ 688472 w 6135524"/>
                <a:gd name="connsiteY0" fmla="*/ 5680 h 1663036"/>
                <a:gd name="connsiteX1" fmla="*/ 688472 w 6135524"/>
                <a:gd name="connsiteY1" fmla="*/ 5680 h 1663036"/>
                <a:gd name="connsiteX2" fmla="*/ 3494324 w 6135524"/>
                <a:gd name="connsiteY2" fmla="*/ 641371 h 1663036"/>
                <a:gd name="connsiteX3" fmla="*/ 3494324 w 6135524"/>
                <a:gd name="connsiteY3" fmla="*/ 641371 h 1663036"/>
                <a:gd name="connsiteX4" fmla="*/ -6771 w 6135524"/>
                <a:gd name="connsiteY4" fmla="*/ 819610 h 1663036"/>
                <a:gd name="connsiteX5" fmla="*/ -6771 w 6135524"/>
                <a:gd name="connsiteY5" fmla="*/ 819610 h 1663036"/>
                <a:gd name="connsiteX6" fmla="*/ 2096946 w 6135524"/>
                <a:gd name="connsiteY6" fmla="*/ 1411673 h 1663036"/>
                <a:gd name="connsiteX7" fmla="*/ 2096946 w 6135524"/>
                <a:gd name="connsiteY7" fmla="*/ 1411673 h 1663036"/>
                <a:gd name="connsiteX8" fmla="*/ 3694826 w 6135524"/>
                <a:gd name="connsiteY8" fmla="*/ 1522917 h 1663036"/>
                <a:gd name="connsiteX9" fmla="*/ 3723361 w 6135524"/>
                <a:gd name="connsiteY9" fmla="*/ 1540631 h 1663036"/>
                <a:gd name="connsiteX10" fmla="*/ 3713297 w 6135524"/>
                <a:gd name="connsiteY10" fmla="*/ 1518161 h 1663036"/>
                <a:gd name="connsiteX11" fmla="*/ 3726944 w 6135524"/>
                <a:gd name="connsiteY11" fmla="*/ 1513061 h 1663036"/>
                <a:gd name="connsiteX12" fmla="*/ 3710540 w 6135524"/>
                <a:gd name="connsiteY12" fmla="*/ 1505617 h 1663036"/>
                <a:gd name="connsiteX13" fmla="*/ 3693171 w 6135524"/>
                <a:gd name="connsiteY13" fmla="*/ 1504859 h 1663036"/>
                <a:gd name="connsiteX14" fmla="*/ 3694826 w 6135524"/>
                <a:gd name="connsiteY14" fmla="*/ 1522917 h 1663036"/>
                <a:gd name="connsiteX15" fmla="*/ 6120490 w 6135524"/>
                <a:gd name="connsiteY15" fmla="*/ 1659112 h 1663036"/>
                <a:gd name="connsiteX16" fmla="*/ 6120490 w 6135524"/>
                <a:gd name="connsiteY16" fmla="*/ 1659112 h 166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35524" h="1663036">
                  <a:moveTo>
                    <a:pt x="688472" y="5680"/>
                  </a:moveTo>
                  <a:cubicBezTo>
                    <a:pt x="711010" y="3750"/>
                    <a:pt x="677581" y="-14929"/>
                    <a:pt x="688472" y="5680"/>
                  </a:cubicBezTo>
                  <a:close/>
                  <a:moveTo>
                    <a:pt x="3494324" y="641371"/>
                  </a:moveTo>
                  <a:cubicBezTo>
                    <a:pt x="3516724" y="639993"/>
                    <a:pt x="3483710" y="620349"/>
                    <a:pt x="3494324" y="641371"/>
                  </a:cubicBezTo>
                  <a:moveTo>
                    <a:pt x="-6771" y="819610"/>
                  </a:moveTo>
                  <a:cubicBezTo>
                    <a:pt x="-3049" y="815819"/>
                    <a:pt x="-3049" y="815819"/>
                    <a:pt x="-6771" y="819610"/>
                  </a:cubicBezTo>
                  <a:moveTo>
                    <a:pt x="2096946" y="1411673"/>
                  </a:moveTo>
                  <a:cubicBezTo>
                    <a:pt x="2100599" y="1407882"/>
                    <a:pt x="2100599" y="1407882"/>
                    <a:pt x="2096946" y="1411673"/>
                  </a:cubicBezTo>
                  <a:moveTo>
                    <a:pt x="3694826" y="1522917"/>
                  </a:moveTo>
                  <a:cubicBezTo>
                    <a:pt x="3704337" y="1528845"/>
                    <a:pt x="3713711" y="1534772"/>
                    <a:pt x="3723361" y="1540631"/>
                  </a:cubicBezTo>
                  <a:cubicBezTo>
                    <a:pt x="3719915" y="1533187"/>
                    <a:pt x="3716606" y="1525674"/>
                    <a:pt x="3713297" y="1518161"/>
                  </a:cubicBezTo>
                  <a:cubicBezTo>
                    <a:pt x="3716744" y="1516921"/>
                    <a:pt x="3723498" y="1514371"/>
                    <a:pt x="3726944" y="1513061"/>
                  </a:cubicBezTo>
                  <a:cubicBezTo>
                    <a:pt x="3722816" y="1511200"/>
                    <a:pt x="3714676" y="1507478"/>
                    <a:pt x="3710540" y="1505617"/>
                  </a:cubicBezTo>
                  <a:cubicBezTo>
                    <a:pt x="3706198" y="1505410"/>
                    <a:pt x="3697514" y="1505066"/>
                    <a:pt x="3693171" y="1504859"/>
                  </a:cubicBezTo>
                  <a:cubicBezTo>
                    <a:pt x="3693585" y="1509339"/>
                    <a:pt x="3694413" y="1518368"/>
                    <a:pt x="3694826" y="1522917"/>
                  </a:cubicBezTo>
                  <a:moveTo>
                    <a:pt x="6120490" y="1659112"/>
                  </a:moveTo>
                  <a:cubicBezTo>
                    <a:pt x="6143304" y="1659044"/>
                    <a:pt x="6110565" y="1637953"/>
                    <a:pt x="6120490" y="1659112"/>
                  </a:cubicBezTo>
                </a:path>
              </a:pathLst>
            </a:custGeom>
            <a:grpFill/>
            <a:ln w="689" cap="flat">
              <a:noFill/>
              <a:prstDash val="solid"/>
              <a:miter/>
            </a:ln>
          </p:spPr>
          <p:txBody>
            <a:bodyPr rtlCol="0" anchor="ctr"/>
            <a:lstStyle/>
            <a:p>
              <a:endParaRPr lang="en-US" sz="2400" dirty="0"/>
            </a:p>
          </p:txBody>
        </p:sp>
        <p:sp>
          <p:nvSpPr>
            <p:cNvPr id="88" name="Graphic 8">
              <a:extLst>
                <a:ext uri="{FF2B5EF4-FFF2-40B4-BE49-F238E27FC236}">
                  <a16:creationId xmlns:a16="http://schemas.microsoft.com/office/drawing/2014/main" id="{B0681EA1-1A6A-490D-A379-F026ECD5859D}"/>
                </a:ext>
              </a:extLst>
            </p:cNvPr>
            <p:cNvSpPr/>
            <p:nvPr/>
          </p:nvSpPr>
          <p:spPr>
            <a:xfrm flipV="1">
              <a:off x="563928" y="1325146"/>
              <a:ext cx="7753375" cy="2152790"/>
            </a:xfrm>
            <a:custGeom>
              <a:avLst/>
              <a:gdLst>
                <a:gd name="connsiteX0" fmla="*/ 2908461 w 7753375"/>
                <a:gd name="connsiteY0" fmla="*/ 12066 h 2152790"/>
                <a:gd name="connsiteX1" fmla="*/ 2913148 w 7753375"/>
                <a:gd name="connsiteY1" fmla="*/ -3511 h 2152790"/>
                <a:gd name="connsiteX2" fmla="*/ 2908461 w 7753375"/>
                <a:gd name="connsiteY2" fmla="*/ 12066 h 2152790"/>
                <a:gd name="connsiteX3" fmla="*/ 5934734 w 7753375"/>
                <a:gd name="connsiteY3" fmla="*/ 674294 h 2152790"/>
                <a:gd name="connsiteX4" fmla="*/ 5951827 w 7753375"/>
                <a:gd name="connsiteY4" fmla="*/ 650446 h 2152790"/>
                <a:gd name="connsiteX5" fmla="*/ 5934734 w 7753375"/>
                <a:gd name="connsiteY5" fmla="*/ 674294 h 2152790"/>
                <a:gd name="connsiteX6" fmla="*/ 7733873 w 7753375"/>
                <a:gd name="connsiteY6" fmla="*/ 693317 h 2152790"/>
                <a:gd name="connsiteX7" fmla="*/ 7742006 w 7753375"/>
                <a:gd name="connsiteY7" fmla="*/ 671675 h 2152790"/>
                <a:gd name="connsiteX8" fmla="*/ 7733873 w 7753375"/>
                <a:gd name="connsiteY8" fmla="*/ 693317 h 2152790"/>
                <a:gd name="connsiteX9" fmla="*/ 4377865 w 7753375"/>
                <a:gd name="connsiteY9" fmla="*/ 729640 h 2152790"/>
                <a:gd name="connsiteX10" fmla="*/ 4377865 w 7753375"/>
                <a:gd name="connsiteY10" fmla="*/ 729640 h 2152790"/>
                <a:gd name="connsiteX11" fmla="*/ 6521007 w 7753375"/>
                <a:gd name="connsiteY11" fmla="*/ 750662 h 2152790"/>
                <a:gd name="connsiteX12" fmla="*/ 6521007 w 7753375"/>
                <a:gd name="connsiteY12" fmla="*/ 750662 h 2152790"/>
                <a:gd name="connsiteX13" fmla="*/ 1248618 w 7753375"/>
                <a:gd name="connsiteY13" fmla="*/ 1025878 h 2152790"/>
                <a:gd name="connsiteX14" fmla="*/ 1248618 w 7753375"/>
                <a:gd name="connsiteY14" fmla="*/ 1025878 h 2152790"/>
                <a:gd name="connsiteX15" fmla="*/ -5467 w 7753375"/>
                <a:gd name="connsiteY15" fmla="*/ 1309020 h 2152790"/>
                <a:gd name="connsiteX16" fmla="*/ -5467 w 7753375"/>
                <a:gd name="connsiteY16" fmla="*/ 1309020 h 2152790"/>
                <a:gd name="connsiteX17" fmla="*/ 7347620 w 7753375"/>
                <a:gd name="connsiteY17" fmla="*/ 1736146 h 2152790"/>
                <a:gd name="connsiteX18" fmla="*/ 7358441 w 7753375"/>
                <a:gd name="connsiteY18" fmla="*/ 1718640 h 2152790"/>
                <a:gd name="connsiteX19" fmla="*/ 7347620 w 7753375"/>
                <a:gd name="connsiteY19" fmla="*/ 1736146 h 2152790"/>
                <a:gd name="connsiteX20" fmla="*/ 6658649 w 7753375"/>
                <a:gd name="connsiteY20" fmla="*/ 2108408 h 2152790"/>
                <a:gd name="connsiteX21" fmla="*/ 6658649 w 7753375"/>
                <a:gd name="connsiteY21" fmla="*/ 2108408 h 2152790"/>
                <a:gd name="connsiteX22" fmla="*/ 4253869 w 7753375"/>
                <a:gd name="connsiteY22" fmla="*/ 2148660 h 2152790"/>
                <a:gd name="connsiteX23" fmla="*/ 4252146 w 7753375"/>
                <a:gd name="connsiteY23" fmla="*/ 2129361 h 2152790"/>
                <a:gd name="connsiteX24" fmla="*/ 4253869 w 7753375"/>
                <a:gd name="connsiteY24" fmla="*/ 2148660 h 215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753375" h="2152790">
                  <a:moveTo>
                    <a:pt x="2908461" y="12066"/>
                  </a:moveTo>
                  <a:cubicBezTo>
                    <a:pt x="2917352" y="10412"/>
                    <a:pt x="2918937" y="5242"/>
                    <a:pt x="2913148" y="-3511"/>
                  </a:cubicBezTo>
                  <a:cubicBezTo>
                    <a:pt x="2904187" y="-1788"/>
                    <a:pt x="2902602" y="3381"/>
                    <a:pt x="2908461" y="12066"/>
                  </a:cubicBezTo>
                  <a:close/>
                  <a:moveTo>
                    <a:pt x="5934734" y="674294"/>
                  </a:moveTo>
                  <a:cubicBezTo>
                    <a:pt x="5945004" y="676568"/>
                    <a:pt x="5956445" y="659957"/>
                    <a:pt x="5951827" y="650446"/>
                  </a:cubicBezTo>
                  <a:cubicBezTo>
                    <a:pt x="5940042" y="645414"/>
                    <a:pt x="5929358" y="664713"/>
                    <a:pt x="5934734" y="674294"/>
                  </a:cubicBezTo>
                  <a:moveTo>
                    <a:pt x="7733873" y="693317"/>
                  </a:moveTo>
                  <a:cubicBezTo>
                    <a:pt x="7744557" y="697590"/>
                    <a:pt x="7754689" y="673329"/>
                    <a:pt x="7742006" y="671675"/>
                  </a:cubicBezTo>
                  <a:cubicBezTo>
                    <a:pt x="7734907" y="675396"/>
                    <a:pt x="7729463" y="686011"/>
                    <a:pt x="7733873" y="693317"/>
                  </a:cubicBezTo>
                  <a:moveTo>
                    <a:pt x="4377865" y="729640"/>
                  </a:moveTo>
                  <a:cubicBezTo>
                    <a:pt x="4381518" y="726194"/>
                    <a:pt x="4381518" y="726194"/>
                    <a:pt x="4377865" y="729640"/>
                  </a:cubicBezTo>
                  <a:moveTo>
                    <a:pt x="6521007" y="750662"/>
                  </a:moveTo>
                  <a:cubicBezTo>
                    <a:pt x="6524178" y="746733"/>
                    <a:pt x="6524178" y="746733"/>
                    <a:pt x="6521007" y="750662"/>
                  </a:cubicBezTo>
                  <a:moveTo>
                    <a:pt x="1248618" y="1025878"/>
                  </a:moveTo>
                  <a:cubicBezTo>
                    <a:pt x="1252202" y="1022225"/>
                    <a:pt x="1252202" y="1022225"/>
                    <a:pt x="1248618" y="1025878"/>
                  </a:cubicBezTo>
                  <a:moveTo>
                    <a:pt x="-5467" y="1309020"/>
                  </a:moveTo>
                  <a:cubicBezTo>
                    <a:pt x="15350" y="1319359"/>
                    <a:pt x="-4291" y="1286344"/>
                    <a:pt x="-5467" y="1309020"/>
                  </a:cubicBezTo>
                  <a:moveTo>
                    <a:pt x="7347620" y="1736146"/>
                  </a:moveTo>
                  <a:cubicBezTo>
                    <a:pt x="7356305" y="1739868"/>
                    <a:pt x="7363059" y="1725187"/>
                    <a:pt x="7358441" y="1718640"/>
                  </a:cubicBezTo>
                  <a:cubicBezTo>
                    <a:pt x="7349688" y="1715055"/>
                    <a:pt x="7342175" y="1729599"/>
                    <a:pt x="7347620" y="1736146"/>
                  </a:cubicBezTo>
                  <a:moveTo>
                    <a:pt x="6658649" y="2108408"/>
                  </a:moveTo>
                  <a:cubicBezTo>
                    <a:pt x="6662027" y="2104618"/>
                    <a:pt x="6662027" y="2104618"/>
                    <a:pt x="6658649" y="2108408"/>
                  </a:cubicBezTo>
                  <a:moveTo>
                    <a:pt x="4253869" y="2148660"/>
                  </a:moveTo>
                  <a:cubicBezTo>
                    <a:pt x="4268206" y="2153554"/>
                    <a:pt x="4264760" y="2127776"/>
                    <a:pt x="4252146" y="2129361"/>
                  </a:cubicBezTo>
                  <a:cubicBezTo>
                    <a:pt x="4242910" y="2131636"/>
                    <a:pt x="4248287" y="2145007"/>
                    <a:pt x="4253869" y="2148660"/>
                  </a:cubicBezTo>
                </a:path>
              </a:pathLst>
            </a:custGeom>
            <a:grpFill/>
            <a:ln w="689" cap="flat">
              <a:noFill/>
              <a:prstDash val="solid"/>
              <a:miter/>
            </a:ln>
          </p:spPr>
          <p:txBody>
            <a:bodyPr rtlCol="0" anchor="ctr"/>
            <a:lstStyle/>
            <a:p>
              <a:endParaRPr lang="en-US" sz="2400" dirty="0"/>
            </a:p>
          </p:txBody>
        </p:sp>
        <p:sp>
          <p:nvSpPr>
            <p:cNvPr id="89" name="Graphic 8">
              <a:extLst>
                <a:ext uri="{FF2B5EF4-FFF2-40B4-BE49-F238E27FC236}">
                  <a16:creationId xmlns:a16="http://schemas.microsoft.com/office/drawing/2014/main" id="{BF79EE12-E64A-4617-9A77-E26CD36964EA}"/>
                </a:ext>
              </a:extLst>
            </p:cNvPr>
            <p:cNvSpPr/>
            <p:nvPr/>
          </p:nvSpPr>
          <p:spPr>
            <a:xfrm flipV="1">
              <a:off x="1394006" y="1324869"/>
              <a:ext cx="3472611" cy="308810"/>
            </a:xfrm>
            <a:custGeom>
              <a:avLst/>
              <a:gdLst>
                <a:gd name="connsiteX0" fmla="*/ -2527 w 3472611"/>
                <a:gd name="connsiteY0" fmla="*/ 7545 h 308810"/>
                <a:gd name="connsiteX1" fmla="*/ 9190 w 3472611"/>
                <a:gd name="connsiteY1" fmla="*/ -3758 h 308810"/>
                <a:gd name="connsiteX2" fmla="*/ -2527 w 3472611"/>
                <a:gd name="connsiteY2" fmla="*/ 7545 h 308810"/>
                <a:gd name="connsiteX3" fmla="*/ 3466104 w 3472611"/>
                <a:gd name="connsiteY3" fmla="*/ 303783 h 308810"/>
                <a:gd name="connsiteX4" fmla="*/ 3466104 w 3472611"/>
                <a:gd name="connsiteY4" fmla="*/ 303783 h 308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72611" h="308810">
                  <a:moveTo>
                    <a:pt x="-2527" y="7545"/>
                  </a:moveTo>
                  <a:cubicBezTo>
                    <a:pt x="8845" y="10992"/>
                    <a:pt x="12774" y="7201"/>
                    <a:pt x="9190" y="-3758"/>
                  </a:cubicBezTo>
                  <a:cubicBezTo>
                    <a:pt x="-2251" y="-7273"/>
                    <a:pt x="-6111" y="-3483"/>
                    <a:pt x="-2527" y="7545"/>
                  </a:cubicBezTo>
                  <a:close/>
                  <a:moveTo>
                    <a:pt x="3466104" y="303783"/>
                  </a:moveTo>
                  <a:cubicBezTo>
                    <a:pt x="3469689" y="300130"/>
                    <a:pt x="3469689" y="300130"/>
                    <a:pt x="3466104" y="303783"/>
                  </a:cubicBezTo>
                </a:path>
              </a:pathLst>
            </a:custGeom>
            <a:grpFill/>
            <a:ln w="689" cap="flat">
              <a:noFill/>
              <a:prstDash val="solid"/>
              <a:miter/>
            </a:ln>
          </p:spPr>
          <p:txBody>
            <a:bodyPr rtlCol="0" anchor="ctr"/>
            <a:lstStyle/>
            <a:p>
              <a:endParaRPr lang="en-US" sz="2400" dirty="0"/>
            </a:p>
          </p:txBody>
        </p:sp>
        <p:sp>
          <p:nvSpPr>
            <p:cNvPr id="90" name="Graphic 8">
              <a:extLst>
                <a:ext uri="{FF2B5EF4-FFF2-40B4-BE49-F238E27FC236}">
                  <a16:creationId xmlns:a16="http://schemas.microsoft.com/office/drawing/2014/main" id="{8A918F65-BBDD-4DD0-B03B-6070C1B8063B}"/>
                </a:ext>
              </a:extLst>
            </p:cNvPr>
            <p:cNvSpPr/>
            <p:nvPr/>
          </p:nvSpPr>
          <p:spPr>
            <a:xfrm flipV="1">
              <a:off x="2250308" y="1326512"/>
              <a:ext cx="6456767" cy="1658957"/>
            </a:xfrm>
            <a:custGeom>
              <a:avLst/>
              <a:gdLst>
                <a:gd name="connsiteX0" fmla="*/ 6436715 w 6456767"/>
                <a:gd name="connsiteY0" fmla="*/ 121390 h 1658957"/>
                <a:gd name="connsiteX1" fmla="*/ 6444297 w 6456767"/>
                <a:gd name="connsiteY1" fmla="*/ 114360 h 1658957"/>
                <a:gd name="connsiteX2" fmla="*/ 6444434 w 6456767"/>
                <a:gd name="connsiteY2" fmla="*/ 60116 h 1658957"/>
                <a:gd name="connsiteX3" fmla="*/ 6423068 w 6456767"/>
                <a:gd name="connsiteY3" fmla="*/ 42540 h 1658957"/>
                <a:gd name="connsiteX4" fmla="*/ 6423620 w 6456767"/>
                <a:gd name="connsiteY4" fmla="*/ -3915 h 1658957"/>
                <a:gd name="connsiteX5" fmla="*/ 6417623 w 6456767"/>
                <a:gd name="connsiteY5" fmla="*/ 86583 h 1658957"/>
                <a:gd name="connsiteX6" fmla="*/ 6425136 w 6456767"/>
                <a:gd name="connsiteY6" fmla="*/ 86721 h 1658957"/>
                <a:gd name="connsiteX7" fmla="*/ 6433200 w 6456767"/>
                <a:gd name="connsiteY7" fmla="*/ 63838 h 1658957"/>
                <a:gd name="connsiteX8" fmla="*/ 6437060 w 6456767"/>
                <a:gd name="connsiteY8" fmla="*/ 63149 h 1658957"/>
                <a:gd name="connsiteX9" fmla="*/ 6436715 w 6456767"/>
                <a:gd name="connsiteY9" fmla="*/ 121390 h 1658957"/>
                <a:gd name="connsiteX10" fmla="*/ 29827 w 6456767"/>
                <a:gd name="connsiteY10" fmla="*/ 1319024 h 1658957"/>
                <a:gd name="connsiteX11" fmla="*/ 82416 w 6456767"/>
                <a:gd name="connsiteY11" fmla="*/ 1320058 h 1658957"/>
                <a:gd name="connsiteX12" fmla="*/ 95925 w 6456767"/>
                <a:gd name="connsiteY12" fmla="*/ 1304481 h 1658957"/>
                <a:gd name="connsiteX13" fmla="*/ 92203 w 6456767"/>
                <a:gd name="connsiteY13" fmla="*/ 1280013 h 1658957"/>
                <a:gd name="connsiteX14" fmla="*/ 85104 w 6456767"/>
                <a:gd name="connsiteY14" fmla="*/ 1280289 h 1658957"/>
                <a:gd name="connsiteX15" fmla="*/ 85035 w 6456767"/>
                <a:gd name="connsiteY15" fmla="*/ 1302482 h 1658957"/>
                <a:gd name="connsiteX16" fmla="*/ 47402 w 6456767"/>
                <a:gd name="connsiteY16" fmla="*/ 1299312 h 1658957"/>
                <a:gd name="connsiteX17" fmla="*/ 47402 w 6456767"/>
                <a:gd name="connsiteY17" fmla="*/ 1317301 h 1658957"/>
                <a:gd name="connsiteX18" fmla="*/ 30309 w 6456767"/>
                <a:gd name="connsiteY18" fmla="*/ 1293867 h 1658957"/>
                <a:gd name="connsiteX19" fmla="*/ 48850 w 6456767"/>
                <a:gd name="connsiteY19" fmla="*/ 1282908 h 1658957"/>
                <a:gd name="connsiteX20" fmla="*/ 49194 w 6456767"/>
                <a:gd name="connsiteY20" fmla="*/ 1278290 h 1658957"/>
                <a:gd name="connsiteX21" fmla="*/ 41268 w 6456767"/>
                <a:gd name="connsiteY21" fmla="*/ 1280013 h 1658957"/>
                <a:gd name="connsiteX22" fmla="*/ 31412 w 6456767"/>
                <a:gd name="connsiteY22" fmla="*/ 1282081 h 1658957"/>
                <a:gd name="connsiteX23" fmla="*/ 30516 w 6456767"/>
                <a:gd name="connsiteY23" fmla="*/ 1263609 h 1658957"/>
                <a:gd name="connsiteX24" fmla="*/ 27414 w 6456767"/>
                <a:gd name="connsiteY24" fmla="*/ 1268985 h 1658957"/>
                <a:gd name="connsiteX25" fmla="*/ 4669 w 6456767"/>
                <a:gd name="connsiteY25" fmla="*/ 1280495 h 1658957"/>
                <a:gd name="connsiteX26" fmla="*/ 5427 w 6456767"/>
                <a:gd name="connsiteY26" fmla="*/ 1268709 h 1658957"/>
                <a:gd name="connsiteX27" fmla="*/ 6254 w 6456767"/>
                <a:gd name="connsiteY27" fmla="*/ 1265401 h 1658957"/>
                <a:gd name="connsiteX28" fmla="*/ -1672 w 6456767"/>
                <a:gd name="connsiteY28" fmla="*/ 1290490 h 1658957"/>
                <a:gd name="connsiteX29" fmla="*/ -6772 w 6456767"/>
                <a:gd name="connsiteY29" fmla="*/ 1306273 h 1658957"/>
                <a:gd name="connsiteX30" fmla="*/ 22865 w 6456767"/>
                <a:gd name="connsiteY30" fmla="*/ 1301793 h 1658957"/>
                <a:gd name="connsiteX31" fmla="*/ 29827 w 6456767"/>
                <a:gd name="connsiteY31" fmla="*/ 1319024 h 1658957"/>
                <a:gd name="connsiteX32" fmla="*/ 2870762 w 6456767"/>
                <a:gd name="connsiteY32" fmla="*/ 1638076 h 1658957"/>
                <a:gd name="connsiteX33" fmla="*/ 2874139 w 6456767"/>
                <a:gd name="connsiteY33" fmla="*/ 1649931 h 1658957"/>
                <a:gd name="connsiteX34" fmla="*/ 2870762 w 6456767"/>
                <a:gd name="connsiteY34" fmla="*/ 1638076 h 165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456767" h="1658957">
                  <a:moveTo>
                    <a:pt x="6436715" y="121390"/>
                  </a:moveTo>
                  <a:lnTo>
                    <a:pt x="6444297" y="114360"/>
                  </a:lnTo>
                  <a:cubicBezTo>
                    <a:pt x="6449259" y="97060"/>
                    <a:pt x="6454084" y="76727"/>
                    <a:pt x="6444434" y="60116"/>
                  </a:cubicBezTo>
                  <a:cubicBezTo>
                    <a:pt x="6437818" y="53637"/>
                    <a:pt x="6430236" y="48192"/>
                    <a:pt x="6423068" y="42540"/>
                  </a:cubicBezTo>
                  <a:cubicBezTo>
                    <a:pt x="6422930" y="27101"/>
                    <a:pt x="6423068" y="11593"/>
                    <a:pt x="6423620" y="-3915"/>
                  </a:cubicBezTo>
                  <a:cubicBezTo>
                    <a:pt x="6417141" y="25792"/>
                    <a:pt x="6415417" y="56325"/>
                    <a:pt x="6417623" y="86583"/>
                  </a:cubicBezTo>
                  <a:lnTo>
                    <a:pt x="6425136" y="86721"/>
                  </a:lnTo>
                  <a:cubicBezTo>
                    <a:pt x="6427892" y="79208"/>
                    <a:pt x="6430581" y="71558"/>
                    <a:pt x="6433200" y="63838"/>
                  </a:cubicBezTo>
                  <a:lnTo>
                    <a:pt x="6437060" y="63149"/>
                  </a:lnTo>
                  <a:cubicBezTo>
                    <a:pt x="6436163" y="82586"/>
                    <a:pt x="6435750" y="102022"/>
                    <a:pt x="6436715" y="121390"/>
                  </a:cubicBezTo>
                  <a:close/>
                  <a:moveTo>
                    <a:pt x="29827" y="1319024"/>
                  </a:moveTo>
                  <a:cubicBezTo>
                    <a:pt x="47265" y="1319576"/>
                    <a:pt x="65185" y="1321919"/>
                    <a:pt x="82416" y="1320058"/>
                  </a:cubicBezTo>
                  <a:cubicBezTo>
                    <a:pt x="85793" y="1316198"/>
                    <a:pt x="92548" y="1308341"/>
                    <a:pt x="95925" y="1304481"/>
                  </a:cubicBezTo>
                  <a:cubicBezTo>
                    <a:pt x="94616" y="1296348"/>
                    <a:pt x="93375" y="1288215"/>
                    <a:pt x="92203" y="1280013"/>
                  </a:cubicBezTo>
                  <a:cubicBezTo>
                    <a:pt x="90411" y="1280082"/>
                    <a:pt x="86896" y="1280220"/>
                    <a:pt x="85104" y="1280289"/>
                  </a:cubicBezTo>
                  <a:cubicBezTo>
                    <a:pt x="85035" y="1285871"/>
                    <a:pt x="85035" y="1296899"/>
                    <a:pt x="85035" y="1302482"/>
                  </a:cubicBezTo>
                  <a:cubicBezTo>
                    <a:pt x="72215" y="1305239"/>
                    <a:pt x="59188" y="1305791"/>
                    <a:pt x="47402" y="1299312"/>
                  </a:cubicBezTo>
                  <a:cubicBezTo>
                    <a:pt x="47402" y="1303792"/>
                    <a:pt x="47402" y="1312821"/>
                    <a:pt x="47402" y="1317301"/>
                  </a:cubicBezTo>
                  <a:cubicBezTo>
                    <a:pt x="42164" y="1309444"/>
                    <a:pt x="28793" y="1304688"/>
                    <a:pt x="30309" y="1293867"/>
                  </a:cubicBezTo>
                  <a:cubicBezTo>
                    <a:pt x="34927" y="1291110"/>
                    <a:pt x="44232" y="1285596"/>
                    <a:pt x="48850" y="1282908"/>
                  </a:cubicBezTo>
                  <a:lnTo>
                    <a:pt x="49194" y="1278290"/>
                  </a:lnTo>
                  <a:lnTo>
                    <a:pt x="41268" y="1280013"/>
                  </a:lnTo>
                  <a:lnTo>
                    <a:pt x="31412" y="1282081"/>
                  </a:lnTo>
                  <a:cubicBezTo>
                    <a:pt x="31205" y="1277463"/>
                    <a:pt x="30723" y="1268227"/>
                    <a:pt x="30516" y="1263609"/>
                  </a:cubicBezTo>
                  <a:lnTo>
                    <a:pt x="27414" y="1268985"/>
                  </a:lnTo>
                  <a:cubicBezTo>
                    <a:pt x="23968" y="1277325"/>
                    <a:pt x="11906" y="1296004"/>
                    <a:pt x="4669" y="1280495"/>
                  </a:cubicBezTo>
                  <a:cubicBezTo>
                    <a:pt x="4876" y="1277532"/>
                    <a:pt x="5220" y="1271673"/>
                    <a:pt x="5427" y="1268709"/>
                  </a:cubicBezTo>
                  <a:lnTo>
                    <a:pt x="6254" y="1265401"/>
                  </a:lnTo>
                  <a:cubicBezTo>
                    <a:pt x="3566" y="1273810"/>
                    <a:pt x="947" y="1282150"/>
                    <a:pt x="-1672" y="1290490"/>
                  </a:cubicBezTo>
                  <a:cubicBezTo>
                    <a:pt x="-2981" y="1294418"/>
                    <a:pt x="-5532" y="1302345"/>
                    <a:pt x="-6772" y="1306273"/>
                  </a:cubicBezTo>
                  <a:cubicBezTo>
                    <a:pt x="2946" y="1304619"/>
                    <a:pt x="12871" y="1302551"/>
                    <a:pt x="22865" y="1301793"/>
                  </a:cubicBezTo>
                  <a:cubicBezTo>
                    <a:pt x="24588" y="1306136"/>
                    <a:pt x="28103" y="1314682"/>
                    <a:pt x="29827" y="1319024"/>
                  </a:cubicBezTo>
                  <a:moveTo>
                    <a:pt x="2870762" y="1638076"/>
                  </a:moveTo>
                  <a:cubicBezTo>
                    <a:pt x="2855530" y="1634285"/>
                    <a:pt x="2867453" y="1667369"/>
                    <a:pt x="2874139" y="1649931"/>
                  </a:cubicBezTo>
                  <a:cubicBezTo>
                    <a:pt x="2873312" y="1646968"/>
                    <a:pt x="2871589" y="1641040"/>
                    <a:pt x="2870762" y="1638076"/>
                  </a:cubicBezTo>
                </a:path>
              </a:pathLst>
            </a:custGeom>
            <a:grpFill/>
            <a:ln w="689" cap="flat">
              <a:noFill/>
              <a:prstDash val="solid"/>
              <a:miter/>
            </a:ln>
          </p:spPr>
          <p:txBody>
            <a:bodyPr rtlCol="0" anchor="ctr"/>
            <a:lstStyle/>
            <a:p>
              <a:endParaRPr lang="en-US" sz="2400" dirty="0"/>
            </a:p>
          </p:txBody>
        </p:sp>
        <p:sp>
          <p:nvSpPr>
            <p:cNvPr id="91" name="Graphic 8">
              <a:extLst>
                <a:ext uri="{FF2B5EF4-FFF2-40B4-BE49-F238E27FC236}">
                  <a16:creationId xmlns:a16="http://schemas.microsoft.com/office/drawing/2014/main" id="{457AB745-02F8-4F45-93CC-500A60A077AA}"/>
                </a:ext>
              </a:extLst>
            </p:cNvPr>
            <p:cNvSpPr/>
            <p:nvPr/>
          </p:nvSpPr>
          <p:spPr>
            <a:xfrm flipV="1">
              <a:off x="1214437" y="1323421"/>
              <a:ext cx="4276844" cy="2247149"/>
            </a:xfrm>
            <a:custGeom>
              <a:avLst/>
              <a:gdLst>
                <a:gd name="connsiteX0" fmla="*/ 2280135 w 4276844"/>
                <a:gd name="connsiteY0" fmla="*/ 10831 h 2247149"/>
                <a:gd name="connsiteX1" fmla="*/ 2278825 w 4276844"/>
                <a:gd name="connsiteY1" fmla="*/ -3436 h 2247149"/>
                <a:gd name="connsiteX2" fmla="*/ 2280135 w 4276844"/>
                <a:gd name="connsiteY2" fmla="*/ 10831 h 2247149"/>
                <a:gd name="connsiteX3" fmla="*/ -2166 w 4276844"/>
                <a:gd name="connsiteY3" fmla="*/ 469662 h 2247149"/>
                <a:gd name="connsiteX4" fmla="*/ -2166 w 4276844"/>
                <a:gd name="connsiteY4" fmla="*/ 469662 h 2247149"/>
                <a:gd name="connsiteX5" fmla="*/ 453839 w 4276844"/>
                <a:gd name="connsiteY5" fmla="*/ 1999513 h 2247149"/>
                <a:gd name="connsiteX6" fmla="*/ 458388 w 4276844"/>
                <a:gd name="connsiteY6" fmla="*/ 1984074 h 2247149"/>
                <a:gd name="connsiteX7" fmla="*/ 453839 w 4276844"/>
                <a:gd name="connsiteY7" fmla="*/ 1999513 h 2247149"/>
                <a:gd name="connsiteX8" fmla="*/ 3605211 w 4276844"/>
                <a:gd name="connsiteY8" fmla="*/ 2065543 h 2247149"/>
                <a:gd name="connsiteX9" fmla="*/ 3609277 w 4276844"/>
                <a:gd name="connsiteY9" fmla="*/ 2048174 h 2247149"/>
                <a:gd name="connsiteX10" fmla="*/ 3634366 w 4276844"/>
                <a:gd name="connsiteY10" fmla="*/ 2061338 h 2247149"/>
                <a:gd name="connsiteX11" fmla="*/ 3690264 w 4276844"/>
                <a:gd name="connsiteY11" fmla="*/ 2063406 h 2247149"/>
                <a:gd name="connsiteX12" fmla="*/ 3679305 w 4276844"/>
                <a:gd name="connsiteY12" fmla="*/ 2047347 h 2247149"/>
                <a:gd name="connsiteX13" fmla="*/ 3703222 w 4276844"/>
                <a:gd name="connsiteY13" fmla="*/ 2038800 h 2247149"/>
                <a:gd name="connsiteX14" fmla="*/ 3686473 w 4276844"/>
                <a:gd name="connsiteY14" fmla="*/ 2029978 h 2247149"/>
                <a:gd name="connsiteX15" fmla="*/ 3708322 w 4276844"/>
                <a:gd name="connsiteY15" fmla="*/ 2033838 h 2247149"/>
                <a:gd name="connsiteX16" fmla="*/ 3744783 w 4276844"/>
                <a:gd name="connsiteY16" fmla="*/ 2041695 h 2247149"/>
                <a:gd name="connsiteX17" fmla="*/ 3734789 w 4276844"/>
                <a:gd name="connsiteY17" fmla="*/ 2016124 h 2247149"/>
                <a:gd name="connsiteX18" fmla="*/ 3719488 w 4276844"/>
                <a:gd name="connsiteY18" fmla="*/ 2031012 h 2247149"/>
                <a:gd name="connsiteX19" fmla="*/ 3713767 w 4276844"/>
                <a:gd name="connsiteY19" fmla="*/ 2020053 h 2247149"/>
                <a:gd name="connsiteX20" fmla="*/ 3637192 w 4276844"/>
                <a:gd name="connsiteY20" fmla="*/ 2018536 h 2247149"/>
                <a:gd name="connsiteX21" fmla="*/ 3648151 w 4276844"/>
                <a:gd name="connsiteY21" fmla="*/ 2024119 h 2247149"/>
                <a:gd name="connsiteX22" fmla="*/ 3639673 w 4276844"/>
                <a:gd name="connsiteY22" fmla="*/ 2059340 h 2247149"/>
                <a:gd name="connsiteX23" fmla="*/ 3624785 w 4276844"/>
                <a:gd name="connsiteY23" fmla="*/ 2018950 h 2247149"/>
                <a:gd name="connsiteX24" fmla="*/ 3594045 w 4276844"/>
                <a:gd name="connsiteY24" fmla="*/ 2047416 h 2247149"/>
                <a:gd name="connsiteX25" fmla="*/ 3587090 w 4276844"/>
                <a:gd name="connsiteY25" fmla="*/ 2019088 h 2247149"/>
                <a:gd name="connsiteX26" fmla="*/ 3601144 w 4276844"/>
                <a:gd name="connsiteY26" fmla="*/ 2030529 h 2247149"/>
                <a:gd name="connsiteX27" fmla="*/ 3600041 w 4276844"/>
                <a:gd name="connsiteY27" fmla="*/ 2010128 h 2247149"/>
                <a:gd name="connsiteX28" fmla="*/ 3582604 w 4276844"/>
                <a:gd name="connsiteY28" fmla="*/ 2015779 h 2247149"/>
                <a:gd name="connsiteX29" fmla="*/ 3583293 w 4276844"/>
                <a:gd name="connsiteY29" fmla="*/ 2048863 h 2247149"/>
                <a:gd name="connsiteX30" fmla="*/ 3606865 w 4276844"/>
                <a:gd name="connsiteY30" fmla="*/ 2052447 h 2247149"/>
                <a:gd name="connsiteX31" fmla="*/ 3605211 w 4276844"/>
                <a:gd name="connsiteY31" fmla="*/ 2065543 h 2247149"/>
                <a:gd name="connsiteX32" fmla="*/ 4193896 w 4276844"/>
                <a:gd name="connsiteY32" fmla="*/ 2098213 h 2247149"/>
                <a:gd name="connsiteX33" fmla="*/ 4202098 w 4276844"/>
                <a:gd name="connsiteY33" fmla="*/ 2098489 h 2247149"/>
                <a:gd name="connsiteX34" fmla="*/ 4219743 w 4276844"/>
                <a:gd name="connsiteY34" fmla="*/ 2061476 h 2247149"/>
                <a:gd name="connsiteX35" fmla="*/ 4225739 w 4276844"/>
                <a:gd name="connsiteY35" fmla="*/ 2062648 h 2247149"/>
                <a:gd name="connsiteX36" fmla="*/ 4254343 w 4276844"/>
                <a:gd name="connsiteY36" fmla="*/ 2055962 h 2247149"/>
                <a:gd name="connsiteX37" fmla="*/ 4259788 w 4276844"/>
                <a:gd name="connsiteY37" fmla="*/ 2069885 h 2247149"/>
                <a:gd name="connsiteX38" fmla="*/ 4272746 w 4276844"/>
                <a:gd name="connsiteY38" fmla="*/ 2052516 h 2247149"/>
                <a:gd name="connsiteX39" fmla="*/ 4182592 w 4276844"/>
                <a:gd name="connsiteY39" fmla="*/ 2047347 h 2247149"/>
                <a:gd name="connsiteX40" fmla="*/ 4180593 w 4276844"/>
                <a:gd name="connsiteY40" fmla="*/ 2056445 h 2247149"/>
                <a:gd name="connsiteX41" fmla="*/ 4198928 w 4276844"/>
                <a:gd name="connsiteY41" fmla="*/ 2055273 h 2247149"/>
                <a:gd name="connsiteX42" fmla="*/ 4196171 w 4276844"/>
                <a:gd name="connsiteY42" fmla="*/ 2078845 h 2247149"/>
                <a:gd name="connsiteX43" fmla="*/ 4194861 w 4276844"/>
                <a:gd name="connsiteY43" fmla="*/ 2090425 h 2247149"/>
                <a:gd name="connsiteX44" fmla="*/ 4193896 w 4276844"/>
                <a:gd name="connsiteY44" fmla="*/ 2098213 h 2247149"/>
                <a:gd name="connsiteX45" fmla="*/ 4242557 w 4276844"/>
                <a:gd name="connsiteY45" fmla="*/ 2243713 h 2247149"/>
                <a:gd name="connsiteX46" fmla="*/ 4255997 w 4276844"/>
                <a:gd name="connsiteY46" fmla="*/ 2243231 h 2247149"/>
                <a:gd name="connsiteX47" fmla="*/ 4255997 w 4276844"/>
                <a:gd name="connsiteY47" fmla="*/ 2209526 h 2247149"/>
                <a:gd name="connsiteX48" fmla="*/ 4243039 w 4276844"/>
                <a:gd name="connsiteY48" fmla="*/ 2216281 h 2247149"/>
                <a:gd name="connsiteX49" fmla="*/ 4242557 w 4276844"/>
                <a:gd name="connsiteY49" fmla="*/ 2243713 h 224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276844" h="2247149">
                  <a:moveTo>
                    <a:pt x="2280135" y="10831"/>
                  </a:moveTo>
                  <a:cubicBezTo>
                    <a:pt x="2288613" y="6144"/>
                    <a:pt x="2288130" y="1388"/>
                    <a:pt x="2278825" y="-3436"/>
                  </a:cubicBezTo>
                  <a:cubicBezTo>
                    <a:pt x="2270347" y="1319"/>
                    <a:pt x="2270761" y="6075"/>
                    <a:pt x="2280135" y="10831"/>
                  </a:cubicBezTo>
                  <a:close/>
                  <a:moveTo>
                    <a:pt x="-2166" y="469662"/>
                  </a:moveTo>
                  <a:cubicBezTo>
                    <a:pt x="20579" y="469387"/>
                    <a:pt x="-12091" y="448640"/>
                    <a:pt x="-2166" y="469662"/>
                  </a:cubicBezTo>
                  <a:moveTo>
                    <a:pt x="453839" y="1999513"/>
                  </a:moveTo>
                  <a:cubicBezTo>
                    <a:pt x="462730" y="1997859"/>
                    <a:pt x="464247" y="1992690"/>
                    <a:pt x="458388" y="1984074"/>
                  </a:cubicBezTo>
                  <a:cubicBezTo>
                    <a:pt x="449359" y="1985728"/>
                    <a:pt x="447843" y="1990898"/>
                    <a:pt x="453839" y="1999513"/>
                  </a:cubicBezTo>
                  <a:moveTo>
                    <a:pt x="3605211" y="2065543"/>
                  </a:moveTo>
                  <a:cubicBezTo>
                    <a:pt x="3606176" y="2061201"/>
                    <a:pt x="3608243" y="2052516"/>
                    <a:pt x="3609277" y="2048174"/>
                  </a:cubicBezTo>
                  <a:cubicBezTo>
                    <a:pt x="3621408" y="2044245"/>
                    <a:pt x="3628921" y="2051207"/>
                    <a:pt x="3634366" y="2061338"/>
                  </a:cubicBezTo>
                  <a:cubicBezTo>
                    <a:pt x="3652975" y="2061890"/>
                    <a:pt x="3671585" y="2062579"/>
                    <a:pt x="3690264" y="2063406"/>
                  </a:cubicBezTo>
                  <a:cubicBezTo>
                    <a:pt x="3686542" y="2058030"/>
                    <a:pt x="3682889" y="2052723"/>
                    <a:pt x="3679305" y="2047347"/>
                  </a:cubicBezTo>
                  <a:cubicBezTo>
                    <a:pt x="3688954" y="2047967"/>
                    <a:pt x="3696881" y="2045141"/>
                    <a:pt x="3703222" y="2038800"/>
                  </a:cubicBezTo>
                  <a:cubicBezTo>
                    <a:pt x="3699017" y="2036594"/>
                    <a:pt x="3690677" y="2032183"/>
                    <a:pt x="3686473" y="2029978"/>
                  </a:cubicBezTo>
                  <a:cubicBezTo>
                    <a:pt x="3691160" y="2017089"/>
                    <a:pt x="3702946" y="2028737"/>
                    <a:pt x="3708322" y="2033838"/>
                  </a:cubicBezTo>
                  <a:cubicBezTo>
                    <a:pt x="3717903" y="2043005"/>
                    <a:pt x="3732721" y="2039489"/>
                    <a:pt x="3744783" y="2041695"/>
                  </a:cubicBezTo>
                  <a:cubicBezTo>
                    <a:pt x="3743198" y="2032528"/>
                    <a:pt x="3740992" y="2023361"/>
                    <a:pt x="3734789" y="2016124"/>
                  </a:cubicBezTo>
                  <a:cubicBezTo>
                    <a:pt x="3730929" y="2019846"/>
                    <a:pt x="3723279" y="2027290"/>
                    <a:pt x="3719488" y="2031012"/>
                  </a:cubicBezTo>
                  <a:lnTo>
                    <a:pt x="3713767" y="2020053"/>
                  </a:lnTo>
                  <a:cubicBezTo>
                    <a:pt x="3688265" y="2019708"/>
                    <a:pt x="3662625" y="2020397"/>
                    <a:pt x="3637192" y="2018536"/>
                  </a:cubicBezTo>
                  <a:cubicBezTo>
                    <a:pt x="3639949" y="2019984"/>
                    <a:pt x="3645394" y="2022741"/>
                    <a:pt x="3648151" y="2024119"/>
                  </a:cubicBezTo>
                  <a:cubicBezTo>
                    <a:pt x="3650563" y="2036525"/>
                    <a:pt x="3664762" y="2067197"/>
                    <a:pt x="3639673" y="2059340"/>
                  </a:cubicBezTo>
                  <a:cubicBezTo>
                    <a:pt x="3634710" y="2045899"/>
                    <a:pt x="3637467" y="2028393"/>
                    <a:pt x="3624785" y="2018950"/>
                  </a:cubicBezTo>
                  <a:cubicBezTo>
                    <a:pt x="3610242" y="2023223"/>
                    <a:pt x="3604315" y="2037973"/>
                    <a:pt x="3594045" y="2047416"/>
                  </a:cubicBezTo>
                  <a:cubicBezTo>
                    <a:pt x="3592322" y="2040316"/>
                    <a:pt x="3588807" y="2026187"/>
                    <a:pt x="3587090" y="2019088"/>
                  </a:cubicBezTo>
                  <a:cubicBezTo>
                    <a:pt x="3590599" y="2021914"/>
                    <a:pt x="3597629" y="2027634"/>
                    <a:pt x="3601144" y="2030529"/>
                  </a:cubicBezTo>
                  <a:cubicBezTo>
                    <a:pt x="3600869" y="2025429"/>
                    <a:pt x="3600317" y="2015228"/>
                    <a:pt x="3600041" y="2010128"/>
                  </a:cubicBezTo>
                  <a:cubicBezTo>
                    <a:pt x="3594183" y="2012057"/>
                    <a:pt x="3588324" y="2013918"/>
                    <a:pt x="3582604" y="2015779"/>
                  </a:cubicBezTo>
                  <a:cubicBezTo>
                    <a:pt x="3582810" y="2026807"/>
                    <a:pt x="3583086" y="2037835"/>
                    <a:pt x="3583293" y="2048863"/>
                  </a:cubicBezTo>
                  <a:cubicBezTo>
                    <a:pt x="3591081" y="2050104"/>
                    <a:pt x="3598939" y="2051276"/>
                    <a:pt x="3606865" y="2052447"/>
                  </a:cubicBezTo>
                  <a:lnTo>
                    <a:pt x="3605211" y="2065543"/>
                  </a:lnTo>
                  <a:moveTo>
                    <a:pt x="4193896" y="2098213"/>
                  </a:moveTo>
                  <a:lnTo>
                    <a:pt x="4202098" y="2098489"/>
                  </a:lnTo>
                  <a:cubicBezTo>
                    <a:pt x="4204786" y="2085669"/>
                    <a:pt x="4196515" y="2052034"/>
                    <a:pt x="4219743" y="2061476"/>
                  </a:cubicBezTo>
                  <a:lnTo>
                    <a:pt x="4225739" y="2062648"/>
                  </a:lnTo>
                  <a:cubicBezTo>
                    <a:pt x="4235320" y="2060925"/>
                    <a:pt x="4244762" y="2058375"/>
                    <a:pt x="4254343" y="2055962"/>
                  </a:cubicBezTo>
                  <a:cubicBezTo>
                    <a:pt x="4255721" y="2059478"/>
                    <a:pt x="4258410" y="2066439"/>
                    <a:pt x="4259788" y="2069885"/>
                  </a:cubicBezTo>
                  <a:cubicBezTo>
                    <a:pt x="4264061" y="2064164"/>
                    <a:pt x="4268404" y="2058375"/>
                    <a:pt x="4272746" y="2052516"/>
                  </a:cubicBezTo>
                  <a:cubicBezTo>
                    <a:pt x="4242626" y="2052310"/>
                    <a:pt x="4212299" y="2053688"/>
                    <a:pt x="4182592" y="2047347"/>
                  </a:cubicBezTo>
                  <a:cubicBezTo>
                    <a:pt x="4182110" y="2049621"/>
                    <a:pt x="4181076" y="2054170"/>
                    <a:pt x="4180593" y="2056445"/>
                  </a:cubicBezTo>
                  <a:cubicBezTo>
                    <a:pt x="4185211" y="2056169"/>
                    <a:pt x="4194378" y="2055549"/>
                    <a:pt x="4198928" y="2055273"/>
                  </a:cubicBezTo>
                  <a:cubicBezTo>
                    <a:pt x="4198238" y="2061132"/>
                    <a:pt x="4196860" y="2072918"/>
                    <a:pt x="4196171" y="2078845"/>
                  </a:cubicBezTo>
                  <a:cubicBezTo>
                    <a:pt x="4195826" y="2081740"/>
                    <a:pt x="4195137" y="2087530"/>
                    <a:pt x="4194861" y="2090425"/>
                  </a:cubicBezTo>
                  <a:lnTo>
                    <a:pt x="4193896" y="2098213"/>
                  </a:lnTo>
                  <a:moveTo>
                    <a:pt x="4242557" y="2243713"/>
                  </a:moveTo>
                  <a:cubicBezTo>
                    <a:pt x="4245934" y="2243575"/>
                    <a:pt x="4252620" y="2243368"/>
                    <a:pt x="4255997" y="2243231"/>
                  </a:cubicBezTo>
                  <a:cubicBezTo>
                    <a:pt x="4255928" y="2231996"/>
                    <a:pt x="4255928" y="2220761"/>
                    <a:pt x="4255997" y="2209526"/>
                  </a:cubicBezTo>
                  <a:cubicBezTo>
                    <a:pt x="4252758" y="2211181"/>
                    <a:pt x="4246279" y="2214558"/>
                    <a:pt x="4243039" y="2216281"/>
                  </a:cubicBezTo>
                  <a:cubicBezTo>
                    <a:pt x="4242833" y="2225448"/>
                    <a:pt x="4242626" y="2234615"/>
                    <a:pt x="4242557" y="2243713"/>
                  </a:cubicBezTo>
                </a:path>
              </a:pathLst>
            </a:custGeom>
            <a:grpFill/>
            <a:ln w="689" cap="flat">
              <a:noFill/>
              <a:prstDash val="solid"/>
              <a:miter/>
            </a:ln>
          </p:spPr>
          <p:txBody>
            <a:bodyPr rtlCol="0" anchor="ctr"/>
            <a:lstStyle/>
            <a:p>
              <a:endParaRPr lang="en-US" sz="2400" dirty="0"/>
            </a:p>
          </p:txBody>
        </p:sp>
        <p:sp>
          <p:nvSpPr>
            <p:cNvPr id="92" name="Graphic 8">
              <a:extLst>
                <a:ext uri="{FF2B5EF4-FFF2-40B4-BE49-F238E27FC236}">
                  <a16:creationId xmlns:a16="http://schemas.microsoft.com/office/drawing/2014/main" id="{87BD2EC4-5C64-4E66-9B04-546A4DA30B50}"/>
                </a:ext>
              </a:extLst>
            </p:cNvPr>
            <p:cNvSpPr/>
            <p:nvPr/>
          </p:nvSpPr>
          <p:spPr>
            <a:xfrm flipV="1">
              <a:off x="822443" y="1324317"/>
              <a:ext cx="4913043" cy="2325758"/>
            </a:xfrm>
            <a:custGeom>
              <a:avLst/>
              <a:gdLst>
                <a:gd name="connsiteX0" fmla="*/ 1804392 w 4913043"/>
                <a:gd name="connsiteY0" fmla="*/ -786 h 2325758"/>
                <a:gd name="connsiteX1" fmla="*/ 1804392 w 4913043"/>
                <a:gd name="connsiteY1" fmla="*/ -786 h 2325758"/>
                <a:gd name="connsiteX2" fmla="*/ 3196531 w 4913043"/>
                <a:gd name="connsiteY2" fmla="*/ 110459 h 2325758"/>
                <a:gd name="connsiteX3" fmla="*/ 3213694 w 4913043"/>
                <a:gd name="connsiteY3" fmla="*/ 92607 h 2325758"/>
                <a:gd name="connsiteX4" fmla="*/ 3196531 w 4913043"/>
                <a:gd name="connsiteY4" fmla="*/ 110459 h 2325758"/>
                <a:gd name="connsiteX5" fmla="*/ -1640 w 4913043"/>
                <a:gd name="connsiteY5" fmla="*/ 453221 h 2325758"/>
                <a:gd name="connsiteX6" fmla="*/ -1640 w 4913043"/>
                <a:gd name="connsiteY6" fmla="*/ 453221 h 2325758"/>
                <a:gd name="connsiteX7" fmla="*/ 170465 w 4913043"/>
                <a:gd name="connsiteY7" fmla="*/ 943482 h 2325758"/>
                <a:gd name="connsiteX8" fmla="*/ 170465 w 4913043"/>
                <a:gd name="connsiteY8" fmla="*/ 943482 h 2325758"/>
                <a:gd name="connsiteX9" fmla="*/ 4526501 w 4913043"/>
                <a:gd name="connsiteY9" fmla="*/ 1260949 h 2325758"/>
                <a:gd name="connsiteX10" fmla="*/ 4526501 w 4913043"/>
                <a:gd name="connsiteY10" fmla="*/ 1260949 h 2325758"/>
                <a:gd name="connsiteX11" fmla="*/ 1583213 w 4913043"/>
                <a:gd name="connsiteY11" fmla="*/ 1281419 h 2325758"/>
                <a:gd name="connsiteX12" fmla="*/ 1601202 w 4913043"/>
                <a:gd name="connsiteY12" fmla="*/ 1270529 h 2325758"/>
                <a:gd name="connsiteX13" fmla="*/ 1583213 w 4913043"/>
                <a:gd name="connsiteY13" fmla="*/ 1281419 h 2325758"/>
                <a:gd name="connsiteX14" fmla="*/ 4906344 w 4913043"/>
                <a:gd name="connsiteY14" fmla="*/ 1294308 h 2325758"/>
                <a:gd name="connsiteX15" fmla="*/ 4906344 w 4913043"/>
                <a:gd name="connsiteY15" fmla="*/ 1294308 h 2325758"/>
                <a:gd name="connsiteX16" fmla="*/ 1976152 w 4913043"/>
                <a:gd name="connsiteY16" fmla="*/ 1336903 h 2325758"/>
                <a:gd name="connsiteX17" fmla="*/ 1984836 w 4913043"/>
                <a:gd name="connsiteY17" fmla="*/ 1317742 h 2325758"/>
                <a:gd name="connsiteX18" fmla="*/ 1976152 w 4913043"/>
                <a:gd name="connsiteY18" fmla="*/ 1336903 h 2325758"/>
                <a:gd name="connsiteX19" fmla="*/ 439546 w 4913043"/>
                <a:gd name="connsiteY19" fmla="*/ 1433605 h 2325758"/>
                <a:gd name="connsiteX20" fmla="*/ 447748 w 4913043"/>
                <a:gd name="connsiteY20" fmla="*/ 1414237 h 2325758"/>
                <a:gd name="connsiteX21" fmla="*/ 439546 w 4913043"/>
                <a:gd name="connsiteY21" fmla="*/ 1433605 h 2325758"/>
                <a:gd name="connsiteX22" fmla="*/ 4347641 w 4913043"/>
                <a:gd name="connsiteY22" fmla="*/ 2149042 h 2325758"/>
                <a:gd name="connsiteX23" fmla="*/ 4353638 w 4913043"/>
                <a:gd name="connsiteY23" fmla="*/ 2146285 h 2325758"/>
                <a:gd name="connsiteX24" fmla="*/ 4347021 w 4913043"/>
                <a:gd name="connsiteY24" fmla="*/ 2117130 h 2325758"/>
                <a:gd name="connsiteX25" fmla="*/ 4347641 w 4913043"/>
                <a:gd name="connsiteY25" fmla="*/ 2149042 h 2325758"/>
                <a:gd name="connsiteX26" fmla="*/ 2362819 w 4913043"/>
                <a:gd name="connsiteY26" fmla="*/ 2183091 h 2325758"/>
                <a:gd name="connsiteX27" fmla="*/ 2362819 w 4913043"/>
                <a:gd name="connsiteY27" fmla="*/ 2183091 h 2325758"/>
                <a:gd name="connsiteX28" fmla="*/ 2699516 w 4913043"/>
                <a:gd name="connsiteY28" fmla="*/ 2220241 h 2325758"/>
                <a:gd name="connsiteX29" fmla="*/ 2710889 w 4913043"/>
                <a:gd name="connsiteY29" fmla="*/ 2208524 h 2325758"/>
                <a:gd name="connsiteX30" fmla="*/ 2699516 w 4913043"/>
                <a:gd name="connsiteY30" fmla="*/ 2220241 h 2325758"/>
                <a:gd name="connsiteX31" fmla="*/ 4849964 w 4913043"/>
                <a:gd name="connsiteY31" fmla="*/ 2322388 h 2325758"/>
                <a:gd name="connsiteX32" fmla="*/ 4849964 w 4913043"/>
                <a:gd name="connsiteY32" fmla="*/ 2322388 h 23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913043" h="2325758">
                  <a:moveTo>
                    <a:pt x="1804392" y="-786"/>
                  </a:moveTo>
                  <a:cubicBezTo>
                    <a:pt x="1808114" y="-4232"/>
                    <a:pt x="1808114" y="-4232"/>
                    <a:pt x="1804392" y="-786"/>
                  </a:cubicBezTo>
                  <a:close/>
                  <a:moveTo>
                    <a:pt x="3196531" y="110459"/>
                  </a:moveTo>
                  <a:cubicBezTo>
                    <a:pt x="3206043" y="118799"/>
                    <a:pt x="3221896" y="101912"/>
                    <a:pt x="3213694" y="92607"/>
                  </a:cubicBezTo>
                  <a:cubicBezTo>
                    <a:pt x="3203906" y="86335"/>
                    <a:pt x="3189777" y="100947"/>
                    <a:pt x="3196531" y="110459"/>
                  </a:cubicBezTo>
                  <a:moveTo>
                    <a:pt x="-1640" y="453221"/>
                  </a:moveTo>
                  <a:cubicBezTo>
                    <a:pt x="21174" y="451498"/>
                    <a:pt x="-12944" y="432957"/>
                    <a:pt x="-1640" y="453221"/>
                  </a:cubicBezTo>
                  <a:moveTo>
                    <a:pt x="170465" y="943482"/>
                  </a:moveTo>
                  <a:cubicBezTo>
                    <a:pt x="190797" y="954716"/>
                    <a:pt x="172188" y="920668"/>
                    <a:pt x="170465" y="943482"/>
                  </a:cubicBezTo>
                  <a:moveTo>
                    <a:pt x="4526501" y="1260949"/>
                  </a:moveTo>
                  <a:cubicBezTo>
                    <a:pt x="4549384" y="1259639"/>
                    <a:pt x="4515542" y="1240478"/>
                    <a:pt x="4526501" y="1260949"/>
                  </a:cubicBezTo>
                  <a:moveTo>
                    <a:pt x="1583213" y="1281419"/>
                  </a:moveTo>
                  <a:cubicBezTo>
                    <a:pt x="1589898" y="1289828"/>
                    <a:pt x="1608577" y="1280937"/>
                    <a:pt x="1601202" y="1270529"/>
                  </a:cubicBezTo>
                  <a:cubicBezTo>
                    <a:pt x="1594378" y="1261638"/>
                    <a:pt x="1574942" y="1270736"/>
                    <a:pt x="1583213" y="1281419"/>
                  </a:cubicBezTo>
                  <a:moveTo>
                    <a:pt x="4906344" y="1294308"/>
                  </a:moveTo>
                  <a:cubicBezTo>
                    <a:pt x="4909935" y="1290724"/>
                    <a:pt x="4909935" y="1290724"/>
                    <a:pt x="4906344" y="1294308"/>
                  </a:cubicBezTo>
                  <a:moveTo>
                    <a:pt x="1976152" y="1336903"/>
                  </a:moveTo>
                  <a:cubicBezTo>
                    <a:pt x="1987180" y="1345726"/>
                    <a:pt x="1991522" y="1323739"/>
                    <a:pt x="1984836" y="1317742"/>
                  </a:cubicBezTo>
                  <a:cubicBezTo>
                    <a:pt x="1975049" y="1314572"/>
                    <a:pt x="1970569" y="1330700"/>
                    <a:pt x="1976152" y="1336903"/>
                  </a:cubicBezTo>
                  <a:moveTo>
                    <a:pt x="439546" y="1433605"/>
                  </a:moveTo>
                  <a:cubicBezTo>
                    <a:pt x="450850" y="1442151"/>
                    <a:pt x="454434" y="1420165"/>
                    <a:pt x="447748" y="1414237"/>
                  </a:cubicBezTo>
                  <a:cubicBezTo>
                    <a:pt x="437961" y="1411273"/>
                    <a:pt x="433826" y="1427608"/>
                    <a:pt x="439546" y="1433605"/>
                  </a:cubicBezTo>
                  <a:moveTo>
                    <a:pt x="4347641" y="2149042"/>
                  </a:moveTo>
                  <a:cubicBezTo>
                    <a:pt x="4349158" y="2148353"/>
                    <a:pt x="4352122" y="2146975"/>
                    <a:pt x="4353638" y="2146285"/>
                  </a:cubicBezTo>
                  <a:cubicBezTo>
                    <a:pt x="4356671" y="2138015"/>
                    <a:pt x="4358738" y="2118233"/>
                    <a:pt x="4347021" y="2117130"/>
                  </a:cubicBezTo>
                  <a:cubicBezTo>
                    <a:pt x="4346401" y="2127745"/>
                    <a:pt x="4346125" y="2138428"/>
                    <a:pt x="4347641" y="2149042"/>
                  </a:cubicBezTo>
                  <a:moveTo>
                    <a:pt x="2362819" y="2183091"/>
                  </a:moveTo>
                  <a:cubicBezTo>
                    <a:pt x="2366403" y="2179576"/>
                    <a:pt x="2366403" y="2179576"/>
                    <a:pt x="2362819" y="2183091"/>
                  </a:cubicBezTo>
                  <a:moveTo>
                    <a:pt x="2699516" y="2220241"/>
                  </a:moveTo>
                  <a:cubicBezTo>
                    <a:pt x="2710751" y="2223619"/>
                    <a:pt x="2714541" y="2219759"/>
                    <a:pt x="2710889" y="2208524"/>
                  </a:cubicBezTo>
                  <a:cubicBezTo>
                    <a:pt x="2699585" y="2205216"/>
                    <a:pt x="2695794" y="2209076"/>
                    <a:pt x="2699516" y="2220241"/>
                  </a:cubicBezTo>
                  <a:moveTo>
                    <a:pt x="4849964" y="2322388"/>
                  </a:moveTo>
                  <a:cubicBezTo>
                    <a:pt x="4872640" y="2321699"/>
                    <a:pt x="4839626" y="2301435"/>
                    <a:pt x="4849964" y="2322388"/>
                  </a:cubicBezTo>
                </a:path>
              </a:pathLst>
            </a:custGeom>
            <a:grpFill/>
            <a:ln w="689" cap="flat">
              <a:noFill/>
              <a:prstDash val="solid"/>
              <a:miter/>
            </a:ln>
          </p:spPr>
          <p:txBody>
            <a:bodyPr rtlCol="0" anchor="ctr"/>
            <a:lstStyle/>
            <a:p>
              <a:endParaRPr lang="en-US" sz="2400" dirty="0"/>
            </a:p>
          </p:txBody>
        </p:sp>
        <p:sp>
          <p:nvSpPr>
            <p:cNvPr id="93" name="Graphic 8">
              <a:extLst>
                <a:ext uri="{FF2B5EF4-FFF2-40B4-BE49-F238E27FC236}">
                  <a16:creationId xmlns:a16="http://schemas.microsoft.com/office/drawing/2014/main" id="{CEE440CC-FCAD-4AF8-BF34-2D0F89BF0014}"/>
                </a:ext>
              </a:extLst>
            </p:cNvPr>
            <p:cNvSpPr/>
            <p:nvPr/>
          </p:nvSpPr>
          <p:spPr>
            <a:xfrm flipV="1">
              <a:off x="7196991" y="1324495"/>
              <a:ext cx="903962" cy="2036782"/>
            </a:xfrm>
            <a:custGeom>
              <a:avLst/>
              <a:gdLst>
                <a:gd name="connsiteX0" fmla="*/ -7327 w 903962"/>
                <a:gd name="connsiteY0" fmla="*/ 5866 h 2036782"/>
                <a:gd name="connsiteX1" fmla="*/ -7327 w 903962"/>
                <a:gd name="connsiteY1" fmla="*/ 5866 h 2036782"/>
                <a:gd name="connsiteX2" fmla="*/ 883110 w 903962"/>
                <a:gd name="connsiteY2" fmla="*/ 2032388 h 2036782"/>
                <a:gd name="connsiteX3" fmla="*/ 893863 w 903962"/>
                <a:gd name="connsiteY3" fmla="*/ 2021497 h 2036782"/>
                <a:gd name="connsiteX4" fmla="*/ 883110 w 903962"/>
                <a:gd name="connsiteY4" fmla="*/ 2032388 h 203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962" h="2036782">
                  <a:moveTo>
                    <a:pt x="-7327" y="5866"/>
                  </a:moveTo>
                  <a:cubicBezTo>
                    <a:pt x="15349" y="4487"/>
                    <a:pt x="-18010" y="-14743"/>
                    <a:pt x="-7327" y="5866"/>
                  </a:cubicBezTo>
                  <a:close/>
                  <a:moveTo>
                    <a:pt x="883110" y="2032388"/>
                  </a:moveTo>
                  <a:cubicBezTo>
                    <a:pt x="892415" y="2034938"/>
                    <a:pt x="895999" y="2031285"/>
                    <a:pt x="893863" y="2021497"/>
                  </a:cubicBezTo>
                  <a:cubicBezTo>
                    <a:pt x="884282" y="2019016"/>
                    <a:pt x="880767" y="2022600"/>
                    <a:pt x="883110" y="2032388"/>
                  </a:cubicBezTo>
                </a:path>
              </a:pathLst>
            </a:custGeom>
            <a:grpFill/>
            <a:ln w="689" cap="flat">
              <a:noFill/>
              <a:prstDash val="solid"/>
              <a:miter/>
            </a:ln>
          </p:spPr>
          <p:txBody>
            <a:bodyPr rtlCol="0" anchor="ctr"/>
            <a:lstStyle/>
            <a:p>
              <a:endParaRPr lang="en-US" sz="2400" dirty="0"/>
            </a:p>
          </p:txBody>
        </p:sp>
        <p:sp>
          <p:nvSpPr>
            <p:cNvPr id="94" name="Graphic 8">
              <a:extLst>
                <a:ext uri="{FF2B5EF4-FFF2-40B4-BE49-F238E27FC236}">
                  <a16:creationId xmlns:a16="http://schemas.microsoft.com/office/drawing/2014/main" id="{66FCC3E1-6E06-473E-AF88-971649B0657D}"/>
                </a:ext>
              </a:extLst>
            </p:cNvPr>
            <p:cNvSpPr/>
            <p:nvPr/>
          </p:nvSpPr>
          <p:spPr>
            <a:xfrm flipV="1">
              <a:off x="707708" y="1331830"/>
              <a:ext cx="4076269" cy="2422114"/>
            </a:xfrm>
            <a:custGeom>
              <a:avLst/>
              <a:gdLst>
                <a:gd name="connsiteX0" fmla="*/ -3336 w 4076269"/>
                <a:gd name="connsiteY0" fmla="*/ -487 h 2422114"/>
                <a:gd name="connsiteX1" fmla="*/ -3336 w 4076269"/>
                <a:gd name="connsiteY1" fmla="*/ -487 h 2422114"/>
                <a:gd name="connsiteX2" fmla="*/ 4070245 w 4076269"/>
                <a:gd name="connsiteY2" fmla="*/ 2418836 h 2422114"/>
                <a:gd name="connsiteX3" fmla="*/ 4070245 w 4076269"/>
                <a:gd name="connsiteY3" fmla="*/ 2418836 h 2422114"/>
              </a:gdLst>
              <a:ahLst/>
              <a:cxnLst>
                <a:cxn ang="0">
                  <a:pos x="connsiteX0" y="connsiteY0"/>
                </a:cxn>
                <a:cxn ang="0">
                  <a:pos x="connsiteX1" y="connsiteY1"/>
                </a:cxn>
                <a:cxn ang="0">
                  <a:pos x="connsiteX2" y="connsiteY2"/>
                </a:cxn>
                <a:cxn ang="0">
                  <a:pos x="connsiteX3" y="connsiteY3"/>
                </a:cxn>
              </a:cxnLst>
              <a:rect l="l" t="t" r="r" b="b"/>
              <a:pathLst>
                <a:path w="4076269" h="2422114">
                  <a:moveTo>
                    <a:pt x="-3336" y="-487"/>
                  </a:moveTo>
                  <a:cubicBezTo>
                    <a:pt x="315" y="-4209"/>
                    <a:pt x="315" y="-4209"/>
                    <a:pt x="-3336" y="-487"/>
                  </a:cubicBezTo>
                  <a:close/>
                  <a:moveTo>
                    <a:pt x="4070245" y="2418836"/>
                  </a:moveTo>
                  <a:cubicBezTo>
                    <a:pt x="4073829" y="2415114"/>
                    <a:pt x="4073829" y="2415114"/>
                    <a:pt x="4070245" y="2418836"/>
                  </a:cubicBezTo>
                </a:path>
              </a:pathLst>
            </a:custGeom>
            <a:grpFill/>
            <a:ln w="689" cap="flat">
              <a:noFill/>
              <a:prstDash val="solid"/>
              <a:miter/>
            </a:ln>
          </p:spPr>
          <p:txBody>
            <a:bodyPr rtlCol="0" anchor="ctr"/>
            <a:lstStyle/>
            <a:p>
              <a:endParaRPr lang="en-US" sz="2400" dirty="0"/>
            </a:p>
          </p:txBody>
        </p:sp>
        <p:sp>
          <p:nvSpPr>
            <p:cNvPr id="95" name="Graphic 8">
              <a:extLst>
                <a:ext uri="{FF2B5EF4-FFF2-40B4-BE49-F238E27FC236}">
                  <a16:creationId xmlns:a16="http://schemas.microsoft.com/office/drawing/2014/main" id="{EFDDA712-4316-4ABB-A07B-972C0A86CC3F}"/>
                </a:ext>
              </a:extLst>
            </p:cNvPr>
            <p:cNvSpPr/>
            <p:nvPr/>
          </p:nvSpPr>
          <p:spPr>
            <a:xfrm flipV="1">
              <a:off x="1624335" y="1332037"/>
              <a:ext cx="3226087" cy="795510"/>
            </a:xfrm>
            <a:custGeom>
              <a:avLst/>
              <a:gdLst>
                <a:gd name="connsiteX0" fmla="*/ -3954 w 3226087"/>
                <a:gd name="connsiteY0" fmla="*/ -1876 h 795510"/>
                <a:gd name="connsiteX1" fmla="*/ -3954 w 3226087"/>
                <a:gd name="connsiteY1" fmla="*/ -1876 h 795510"/>
                <a:gd name="connsiteX2" fmla="*/ 279877 w 3226087"/>
                <a:gd name="connsiteY2" fmla="*/ 391477 h 795510"/>
                <a:gd name="connsiteX3" fmla="*/ 279877 w 3226087"/>
                <a:gd name="connsiteY3" fmla="*/ 391477 h 795510"/>
                <a:gd name="connsiteX4" fmla="*/ 3214343 w 3226087"/>
                <a:gd name="connsiteY4" fmla="*/ 790895 h 795510"/>
                <a:gd name="connsiteX5" fmla="*/ 3214343 w 3226087"/>
                <a:gd name="connsiteY5" fmla="*/ 790895 h 795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26087" h="795510">
                  <a:moveTo>
                    <a:pt x="-3954" y="-1876"/>
                  </a:moveTo>
                  <a:cubicBezTo>
                    <a:pt x="-301" y="-5529"/>
                    <a:pt x="-301" y="-5529"/>
                    <a:pt x="-3954" y="-1876"/>
                  </a:cubicBezTo>
                  <a:close/>
                  <a:moveTo>
                    <a:pt x="279877" y="391477"/>
                  </a:moveTo>
                  <a:cubicBezTo>
                    <a:pt x="283668" y="387548"/>
                    <a:pt x="283668" y="387548"/>
                    <a:pt x="279877" y="391477"/>
                  </a:cubicBezTo>
                  <a:moveTo>
                    <a:pt x="3214343" y="790895"/>
                  </a:moveTo>
                  <a:cubicBezTo>
                    <a:pt x="3236675" y="788414"/>
                    <a:pt x="3202695" y="770562"/>
                    <a:pt x="3214343" y="790895"/>
                  </a:cubicBezTo>
                </a:path>
              </a:pathLst>
            </a:custGeom>
            <a:grpFill/>
            <a:ln w="689" cap="flat">
              <a:noFill/>
              <a:prstDash val="solid"/>
              <a:miter/>
            </a:ln>
          </p:spPr>
          <p:txBody>
            <a:bodyPr rtlCol="0" anchor="ctr"/>
            <a:lstStyle/>
            <a:p>
              <a:endParaRPr lang="en-US" sz="2400" dirty="0"/>
            </a:p>
          </p:txBody>
        </p:sp>
        <p:sp>
          <p:nvSpPr>
            <p:cNvPr id="96" name="Graphic 8">
              <a:extLst>
                <a:ext uri="{FF2B5EF4-FFF2-40B4-BE49-F238E27FC236}">
                  <a16:creationId xmlns:a16="http://schemas.microsoft.com/office/drawing/2014/main" id="{F2D33D3C-C073-4467-AC6B-38304C2EE9F7}"/>
                </a:ext>
              </a:extLst>
            </p:cNvPr>
            <p:cNvSpPr/>
            <p:nvPr/>
          </p:nvSpPr>
          <p:spPr>
            <a:xfrm flipV="1">
              <a:off x="5136489" y="1332244"/>
              <a:ext cx="11259" cy="16472"/>
            </a:xfrm>
            <a:custGeom>
              <a:avLst/>
              <a:gdLst>
                <a:gd name="connsiteX0" fmla="*/ -2797 w 11259"/>
                <a:gd name="connsiteY0" fmla="*/ 11217 h 16472"/>
                <a:gd name="connsiteX1" fmla="*/ 1408 w 11259"/>
                <a:gd name="connsiteY1" fmla="*/ -5256 h 16472"/>
                <a:gd name="connsiteX2" fmla="*/ -2797 w 11259"/>
                <a:gd name="connsiteY2" fmla="*/ 11217 h 16472"/>
                <a:gd name="connsiteX3" fmla="*/ -2797 w 11259"/>
                <a:gd name="connsiteY3" fmla="*/ 11217 h 16472"/>
              </a:gdLst>
              <a:ahLst/>
              <a:cxnLst>
                <a:cxn ang="0">
                  <a:pos x="connsiteX0" y="connsiteY0"/>
                </a:cxn>
                <a:cxn ang="0">
                  <a:pos x="connsiteX1" y="connsiteY1"/>
                </a:cxn>
                <a:cxn ang="0">
                  <a:pos x="connsiteX2" y="connsiteY2"/>
                </a:cxn>
                <a:cxn ang="0">
                  <a:pos x="connsiteX3" y="connsiteY3"/>
                </a:cxn>
              </a:cxnLst>
              <a:rect l="l" t="t" r="r" b="b"/>
              <a:pathLst>
                <a:path w="11259" h="16472">
                  <a:moveTo>
                    <a:pt x="-2797" y="11217"/>
                  </a:moveTo>
                  <a:cubicBezTo>
                    <a:pt x="5819" y="9149"/>
                    <a:pt x="7197" y="3704"/>
                    <a:pt x="1408" y="-5256"/>
                  </a:cubicBezTo>
                  <a:cubicBezTo>
                    <a:pt x="-7277" y="-3119"/>
                    <a:pt x="-8655" y="2326"/>
                    <a:pt x="-2797" y="11217"/>
                  </a:cubicBezTo>
                  <a:lnTo>
                    <a:pt x="-2797" y="11217"/>
                  </a:lnTo>
                </a:path>
              </a:pathLst>
            </a:custGeom>
            <a:grpFill/>
            <a:ln w="689" cap="flat">
              <a:noFill/>
              <a:prstDash val="solid"/>
              <a:miter/>
            </a:ln>
          </p:spPr>
          <p:txBody>
            <a:bodyPr rtlCol="0" anchor="ctr"/>
            <a:lstStyle/>
            <a:p>
              <a:endParaRPr lang="en-US" sz="2400" dirty="0"/>
            </a:p>
          </p:txBody>
        </p:sp>
        <p:sp>
          <p:nvSpPr>
            <p:cNvPr id="97" name="Graphic 8">
              <a:extLst>
                <a:ext uri="{FF2B5EF4-FFF2-40B4-BE49-F238E27FC236}">
                  <a16:creationId xmlns:a16="http://schemas.microsoft.com/office/drawing/2014/main" id="{F13A285B-BCF4-45DB-BA34-0EB7B136DDD2}"/>
                </a:ext>
              </a:extLst>
            </p:cNvPr>
            <p:cNvSpPr/>
            <p:nvPr/>
          </p:nvSpPr>
          <p:spPr>
            <a:xfrm flipV="1">
              <a:off x="561068" y="1327143"/>
              <a:ext cx="8024308" cy="1935868"/>
            </a:xfrm>
            <a:custGeom>
              <a:avLst/>
              <a:gdLst>
                <a:gd name="connsiteX0" fmla="*/ 6745362 w 8024308"/>
                <a:gd name="connsiteY0" fmla="*/ 55985 h 1935868"/>
                <a:gd name="connsiteX1" fmla="*/ 6747223 w 8024308"/>
                <a:gd name="connsiteY1" fmla="*/ 50954 h 1935868"/>
                <a:gd name="connsiteX2" fmla="*/ 6749428 w 8024308"/>
                <a:gd name="connsiteY2" fmla="*/ 41373 h 1935868"/>
                <a:gd name="connsiteX3" fmla="*/ 6778929 w 8024308"/>
                <a:gd name="connsiteY3" fmla="*/ 33792 h 1935868"/>
                <a:gd name="connsiteX4" fmla="*/ 6780927 w 8024308"/>
                <a:gd name="connsiteY4" fmla="*/ 11529 h 1935868"/>
                <a:gd name="connsiteX5" fmla="*/ 6763213 w 8024308"/>
                <a:gd name="connsiteY5" fmla="*/ 25038 h 1935868"/>
                <a:gd name="connsiteX6" fmla="*/ 6750118 w 8024308"/>
                <a:gd name="connsiteY6" fmla="*/ 26899 h 1935868"/>
                <a:gd name="connsiteX7" fmla="*/ 6758044 w 8024308"/>
                <a:gd name="connsiteY7" fmla="*/ 8496 h 1935868"/>
                <a:gd name="connsiteX8" fmla="*/ 6727924 w 8024308"/>
                <a:gd name="connsiteY8" fmla="*/ 6291 h 1935868"/>
                <a:gd name="connsiteX9" fmla="*/ 6708901 w 8024308"/>
                <a:gd name="connsiteY9" fmla="*/ 20420 h 1935868"/>
                <a:gd name="connsiteX10" fmla="*/ 6722617 w 8024308"/>
                <a:gd name="connsiteY10" fmla="*/ 6291 h 1935868"/>
                <a:gd name="connsiteX11" fmla="*/ 6629569 w 8024308"/>
                <a:gd name="connsiteY11" fmla="*/ 1259 h 1935868"/>
                <a:gd name="connsiteX12" fmla="*/ 6602274 w 8024308"/>
                <a:gd name="connsiteY12" fmla="*/ 9599 h 1935868"/>
                <a:gd name="connsiteX13" fmla="*/ 6618472 w 8024308"/>
                <a:gd name="connsiteY13" fmla="*/ 4223 h 1935868"/>
                <a:gd name="connsiteX14" fmla="*/ 6595175 w 8024308"/>
                <a:gd name="connsiteY14" fmla="*/ -2807 h 1935868"/>
                <a:gd name="connsiteX15" fmla="*/ 6606410 w 8024308"/>
                <a:gd name="connsiteY15" fmla="*/ 22970 h 1935868"/>
                <a:gd name="connsiteX16" fmla="*/ 6608478 w 8024308"/>
                <a:gd name="connsiteY16" fmla="*/ 44888 h 1935868"/>
                <a:gd name="connsiteX17" fmla="*/ 6628604 w 8024308"/>
                <a:gd name="connsiteY17" fmla="*/ 46956 h 1935868"/>
                <a:gd name="connsiteX18" fmla="*/ 6616886 w 8024308"/>
                <a:gd name="connsiteY18" fmla="*/ 20765 h 1935868"/>
                <a:gd name="connsiteX19" fmla="*/ 6644043 w 8024308"/>
                <a:gd name="connsiteY19" fmla="*/ 13114 h 1935868"/>
                <a:gd name="connsiteX20" fmla="*/ 6635979 w 8024308"/>
                <a:gd name="connsiteY20" fmla="*/ 47301 h 1935868"/>
                <a:gd name="connsiteX21" fmla="*/ 6682916 w 8024308"/>
                <a:gd name="connsiteY21" fmla="*/ 50678 h 1935868"/>
                <a:gd name="connsiteX22" fmla="*/ 6672715 w 8024308"/>
                <a:gd name="connsiteY22" fmla="*/ 32413 h 1935868"/>
                <a:gd name="connsiteX23" fmla="*/ 6662515 w 8024308"/>
                <a:gd name="connsiteY23" fmla="*/ 36617 h 1935868"/>
                <a:gd name="connsiteX24" fmla="*/ 6663617 w 8024308"/>
                <a:gd name="connsiteY24" fmla="*/ 24694 h 1935868"/>
                <a:gd name="connsiteX25" fmla="*/ 6672371 w 8024308"/>
                <a:gd name="connsiteY25" fmla="*/ 19317 h 1935868"/>
                <a:gd name="connsiteX26" fmla="*/ 6679677 w 8024308"/>
                <a:gd name="connsiteY26" fmla="*/ 12287 h 1935868"/>
                <a:gd name="connsiteX27" fmla="*/ 6690842 w 8024308"/>
                <a:gd name="connsiteY27" fmla="*/ 20972 h 1935868"/>
                <a:gd name="connsiteX28" fmla="*/ 6692084 w 8024308"/>
                <a:gd name="connsiteY28" fmla="*/ 52677 h 1935868"/>
                <a:gd name="connsiteX29" fmla="*/ 6717241 w 8024308"/>
                <a:gd name="connsiteY29" fmla="*/ 29587 h 1935868"/>
                <a:gd name="connsiteX30" fmla="*/ 6728131 w 8024308"/>
                <a:gd name="connsiteY30" fmla="*/ 42338 h 1935868"/>
                <a:gd name="connsiteX31" fmla="*/ 6731784 w 8024308"/>
                <a:gd name="connsiteY31" fmla="*/ 20972 h 1935868"/>
                <a:gd name="connsiteX32" fmla="*/ 6745362 w 8024308"/>
                <a:gd name="connsiteY32" fmla="*/ 55985 h 1935868"/>
                <a:gd name="connsiteX33" fmla="*/ 7811695 w 8024308"/>
                <a:gd name="connsiteY33" fmla="*/ 94583 h 1935868"/>
                <a:gd name="connsiteX34" fmla="*/ 7811695 w 8024308"/>
                <a:gd name="connsiteY34" fmla="*/ 94583 h 1935868"/>
                <a:gd name="connsiteX35" fmla="*/ 7780403 w 8024308"/>
                <a:gd name="connsiteY35" fmla="*/ 119603 h 1935868"/>
                <a:gd name="connsiteX36" fmla="*/ 7849328 w 8024308"/>
                <a:gd name="connsiteY36" fmla="*/ 122980 h 1935868"/>
                <a:gd name="connsiteX37" fmla="*/ 7859184 w 8024308"/>
                <a:gd name="connsiteY37" fmla="*/ 112848 h 1935868"/>
                <a:gd name="connsiteX38" fmla="*/ 7897023 w 8024308"/>
                <a:gd name="connsiteY38" fmla="*/ 123807 h 1935868"/>
                <a:gd name="connsiteX39" fmla="*/ 7895300 w 8024308"/>
                <a:gd name="connsiteY39" fmla="*/ 87829 h 1935868"/>
                <a:gd name="connsiteX40" fmla="*/ 7904468 w 8024308"/>
                <a:gd name="connsiteY40" fmla="*/ 103061 h 1935868"/>
                <a:gd name="connsiteX41" fmla="*/ 7913014 w 8024308"/>
                <a:gd name="connsiteY41" fmla="*/ 80247 h 1935868"/>
                <a:gd name="connsiteX42" fmla="*/ 7845812 w 8024308"/>
                <a:gd name="connsiteY42" fmla="*/ 82246 h 1935868"/>
                <a:gd name="connsiteX43" fmla="*/ 7857668 w 8024308"/>
                <a:gd name="connsiteY43" fmla="*/ 111332 h 1935868"/>
                <a:gd name="connsiteX44" fmla="*/ 7837680 w 8024308"/>
                <a:gd name="connsiteY44" fmla="*/ 111332 h 1935868"/>
                <a:gd name="connsiteX45" fmla="*/ 7837404 w 8024308"/>
                <a:gd name="connsiteY45" fmla="*/ 76525 h 1935868"/>
                <a:gd name="connsiteX46" fmla="*/ 7760553 w 8024308"/>
                <a:gd name="connsiteY46" fmla="*/ 72183 h 1935868"/>
                <a:gd name="connsiteX47" fmla="*/ 7752420 w 8024308"/>
                <a:gd name="connsiteY47" fmla="*/ 118638 h 1935868"/>
                <a:gd name="connsiteX48" fmla="*/ 7760897 w 8024308"/>
                <a:gd name="connsiteY48" fmla="*/ 117949 h 1935868"/>
                <a:gd name="connsiteX49" fmla="*/ 7760829 w 8024308"/>
                <a:gd name="connsiteY49" fmla="*/ 97409 h 1935868"/>
                <a:gd name="connsiteX50" fmla="*/ 7780403 w 8024308"/>
                <a:gd name="connsiteY50" fmla="*/ 119603 h 1935868"/>
                <a:gd name="connsiteX51" fmla="*/ 7936793 w 8024308"/>
                <a:gd name="connsiteY51" fmla="*/ 121739 h 1935868"/>
                <a:gd name="connsiteX52" fmla="*/ 7941342 w 8024308"/>
                <a:gd name="connsiteY52" fmla="*/ 105887 h 1935868"/>
                <a:gd name="connsiteX53" fmla="*/ 7936793 w 8024308"/>
                <a:gd name="connsiteY53" fmla="*/ 121739 h 1935868"/>
                <a:gd name="connsiteX54" fmla="*/ 8000548 w 8024308"/>
                <a:gd name="connsiteY54" fmla="*/ 136558 h 1935868"/>
                <a:gd name="connsiteX55" fmla="*/ 8014816 w 8024308"/>
                <a:gd name="connsiteY55" fmla="*/ 139039 h 1935868"/>
                <a:gd name="connsiteX56" fmla="*/ 8018675 w 8024308"/>
                <a:gd name="connsiteY56" fmla="*/ 86726 h 1935868"/>
                <a:gd name="connsiteX57" fmla="*/ 7946236 w 8024308"/>
                <a:gd name="connsiteY57" fmla="*/ 81832 h 1935868"/>
                <a:gd name="connsiteX58" fmla="*/ 7946925 w 8024308"/>
                <a:gd name="connsiteY58" fmla="*/ 96858 h 1935868"/>
                <a:gd name="connsiteX59" fmla="*/ 7928384 w 8024308"/>
                <a:gd name="connsiteY59" fmla="*/ 77903 h 1935868"/>
                <a:gd name="connsiteX60" fmla="*/ 7908396 w 8024308"/>
                <a:gd name="connsiteY60" fmla="*/ 102716 h 1935868"/>
                <a:gd name="connsiteX61" fmla="*/ 7929901 w 8024308"/>
                <a:gd name="connsiteY61" fmla="*/ 113813 h 1935868"/>
                <a:gd name="connsiteX62" fmla="*/ 7897368 w 8024308"/>
                <a:gd name="connsiteY62" fmla="*/ 113331 h 1935868"/>
                <a:gd name="connsiteX63" fmla="*/ 7948993 w 8024308"/>
                <a:gd name="connsiteY63" fmla="*/ 129114 h 1935868"/>
                <a:gd name="connsiteX64" fmla="*/ 7957470 w 8024308"/>
                <a:gd name="connsiteY64" fmla="*/ 113951 h 1935868"/>
                <a:gd name="connsiteX65" fmla="*/ 7959400 w 8024308"/>
                <a:gd name="connsiteY65" fmla="*/ 130286 h 1935868"/>
                <a:gd name="connsiteX66" fmla="*/ 7998757 w 8024308"/>
                <a:gd name="connsiteY66" fmla="*/ 134353 h 1935868"/>
                <a:gd name="connsiteX67" fmla="*/ 8000824 w 8024308"/>
                <a:gd name="connsiteY67" fmla="*/ 124014 h 1935868"/>
                <a:gd name="connsiteX68" fmla="*/ 8000548 w 8024308"/>
                <a:gd name="connsiteY68" fmla="*/ 136558 h 1935868"/>
                <a:gd name="connsiteX69" fmla="*/ -4564 w 8024308"/>
                <a:gd name="connsiteY69" fmla="*/ 1009420 h 1935868"/>
                <a:gd name="connsiteX70" fmla="*/ 5222 w 8024308"/>
                <a:gd name="connsiteY70" fmla="*/ 985089 h 1935868"/>
                <a:gd name="connsiteX71" fmla="*/ 28312 w 8024308"/>
                <a:gd name="connsiteY71" fmla="*/ 979506 h 1935868"/>
                <a:gd name="connsiteX72" fmla="*/ 27004 w 8024308"/>
                <a:gd name="connsiteY72" fmla="*/ 990672 h 1935868"/>
                <a:gd name="connsiteX73" fmla="*/ 38443 w 8024308"/>
                <a:gd name="connsiteY73" fmla="*/ 1007421 h 1935868"/>
                <a:gd name="connsiteX74" fmla="*/ 42512 w 8024308"/>
                <a:gd name="connsiteY74" fmla="*/ 1003354 h 1935868"/>
                <a:gd name="connsiteX75" fmla="*/ 50920 w 8024308"/>
                <a:gd name="connsiteY75" fmla="*/ 880255 h 1935868"/>
                <a:gd name="connsiteX76" fmla="*/ 44649 w 8024308"/>
                <a:gd name="connsiteY76" fmla="*/ 884735 h 1935868"/>
                <a:gd name="connsiteX77" fmla="*/ 38721 w 8024308"/>
                <a:gd name="connsiteY77" fmla="*/ 913890 h 1935868"/>
                <a:gd name="connsiteX78" fmla="*/ 24658 w 8024308"/>
                <a:gd name="connsiteY78" fmla="*/ 932982 h 1935868"/>
                <a:gd name="connsiteX79" fmla="*/ 18388 w 8024308"/>
                <a:gd name="connsiteY79" fmla="*/ 926365 h 1935868"/>
                <a:gd name="connsiteX80" fmla="*/ 28175 w 8024308"/>
                <a:gd name="connsiteY80" fmla="*/ 949179 h 1935868"/>
                <a:gd name="connsiteX81" fmla="*/ 6945 w 8024308"/>
                <a:gd name="connsiteY81" fmla="*/ 974819 h 1935868"/>
                <a:gd name="connsiteX82" fmla="*/ 15214 w 8024308"/>
                <a:gd name="connsiteY82" fmla="*/ 945182 h 1935868"/>
                <a:gd name="connsiteX83" fmla="*/ -2841 w 8024308"/>
                <a:gd name="connsiteY83" fmla="*/ 957037 h 1935868"/>
                <a:gd name="connsiteX84" fmla="*/ -4564 w 8024308"/>
                <a:gd name="connsiteY84" fmla="*/ 1009420 h 1935868"/>
                <a:gd name="connsiteX85" fmla="*/ 7091777 w 8024308"/>
                <a:gd name="connsiteY85" fmla="*/ 1914676 h 1935868"/>
                <a:gd name="connsiteX86" fmla="*/ 7072203 w 8024308"/>
                <a:gd name="connsiteY86" fmla="*/ 1889449 h 1935868"/>
                <a:gd name="connsiteX87" fmla="*/ 7088124 w 8024308"/>
                <a:gd name="connsiteY87" fmla="*/ 1891724 h 1935868"/>
                <a:gd name="connsiteX88" fmla="*/ 7099359 w 8024308"/>
                <a:gd name="connsiteY88" fmla="*/ 1913848 h 1935868"/>
                <a:gd name="connsiteX89" fmla="*/ 7091777 w 8024308"/>
                <a:gd name="connsiteY89" fmla="*/ 1914676 h 1935868"/>
                <a:gd name="connsiteX90" fmla="*/ 7088607 w 8024308"/>
                <a:gd name="connsiteY90" fmla="*/ 1929563 h 1935868"/>
                <a:gd name="connsiteX91" fmla="*/ 7125068 w 8024308"/>
                <a:gd name="connsiteY91" fmla="*/ 1932182 h 1935868"/>
                <a:gd name="connsiteX92" fmla="*/ 7123827 w 8024308"/>
                <a:gd name="connsiteY92" fmla="*/ 1884486 h 1935868"/>
                <a:gd name="connsiteX93" fmla="*/ 6956547 w 8024308"/>
                <a:gd name="connsiteY93" fmla="*/ 1877594 h 1935868"/>
                <a:gd name="connsiteX94" fmla="*/ 6968885 w 8024308"/>
                <a:gd name="connsiteY94" fmla="*/ 1897514 h 1935868"/>
                <a:gd name="connsiteX95" fmla="*/ 6944692 w 8024308"/>
                <a:gd name="connsiteY95" fmla="*/ 1872701 h 1935868"/>
                <a:gd name="connsiteX96" fmla="*/ 6899202 w 8024308"/>
                <a:gd name="connsiteY96" fmla="*/ 1870633 h 1935868"/>
                <a:gd name="connsiteX97" fmla="*/ 6921603 w 8024308"/>
                <a:gd name="connsiteY97" fmla="*/ 1887381 h 1935868"/>
                <a:gd name="connsiteX98" fmla="*/ 6941521 w 8024308"/>
                <a:gd name="connsiteY98" fmla="*/ 1915985 h 1935868"/>
                <a:gd name="connsiteX99" fmla="*/ 6936835 w 8024308"/>
                <a:gd name="connsiteY99" fmla="*/ 1880006 h 1935868"/>
                <a:gd name="connsiteX100" fmla="*/ 6946278 w 8024308"/>
                <a:gd name="connsiteY100" fmla="*/ 1920810 h 1935868"/>
                <a:gd name="connsiteX101" fmla="*/ 7016443 w 8024308"/>
                <a:gd name="connsiteY101" fmla="*/ 1918122 h 1935868"/>
                <a:gd name="connsiteX102" fmla="*/ 6982946 w 8024308"/>
                <a:gd name="connsiteY102" fmla="*/ 1905371 h 1935868"/>
                <a:gd name="connsiteX103" fmla="*/ 7008999 w 8024308"/>
                <a:gd name="connsiteY103" fmla="*/ 1888209 h 1935868"/>
                <a:gd name="connsiteX104" fmla="*/ 7008172 w 8024308"/>
                <a:gd name="connsiteY104" fmla="*/ 1899995 h 1935868"/>
                <a:gd name="connsiteX105" fmla="*/ 7025609 w 8024308"/>
                <a:gd name="connsiteY105" fmla="*/ 1929701 h 1935868"/>
                <a:gd name="connsiteX106" fmla="*/ 7036982 w 8024308"/>
                <a:gd name="connsiteY106" fmla="*/ 1910816 h 1935868"/>
                <a:gd name="connsiteX107" fmla="*/ 7068274 w 8024308"/>
                <a:gd name="connsiteY107" fmla="*/ 1929150 h 1935868"/>
                <a:gd name="connsiteX108" fmla="*/ 7069377 w 8024308"/>
                <a:gd name="connsiteY108" fmla="*/ 1914124 h 1935868"/>
                <a:gd name="connsiteX109" fmla="*/ 7088607 w 8024308"/>
                <a:gd name="connsiteY109" fmla="*/ 1929563 h 193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8024308" h="1935868">
                  <a:moveTo>
                    <a:pt x="6745362" y="55985"/>
                  </a:moveTo>
                  <a:lnTo>
                    <a:pt x="6747223" y="50954"/>
                  </a:lnTo>
                  <a:cubicBezTo>
                    <a:pt x="6747775" y="48541"/>
                    <a:pt x="6748877" y="43786"/>
                    <a:pt x="6749428" y="41373"/>
                  </a:cubicBezTo>
                  <a:cubicBezTo>
                    <a:pt x="6759216" y="39099"/>
                    <a:pt x="6769210" y="37031"/>
                    <a:pt x="6778929" y="33792"/>
                  </a:cubicBezTo>
                  <a:cubicBezTo>
                    <a:pt x="6779411" y="28209"/>
                    <a:pt x="6780444" y="17112"/>
                    <a:pt x="6780927" y="11529"/>
                  </a:cubicBezTo>
                  <a:cubicBezTo>
                    <a:pt x="6775068" y="16216"/>
                    <a:pt x="6769141" y="20696"/>
                    <a:pt x="6763213" y="25038"/>
                  </a:cubicBezTo>
                  <a:cubicBezTo>
                    <a:pt x="6759905" y="25452"/>
                    <a:pt x="6753357" y="26417"/>
                    <a:pt x="6750118" y="26899"/>
                  </a:cubicBezTo>
                  <a:cubicBezTo>
                    <a:pt x="6752117" y="22281"/>
                    <a:pt x="6756114" y="13114"/>
                    <a:pt x="6758044" y="8496"/>
                  </a:cubicBezTo>
                  <a:cubicBezTo>
                    <a:pt x="6747913" y="7738"/>
                    <a:pt x="6737849" y="7049"/>
                    <a:pt x="6727924" y="6291"/>
                  </a:cubicBezTo>
                  <a:cubicBezTo>
                    <a:pt x="6725305" y="15320"/>
                    <a:pt x="6716207" y="17319"/>
                    <a:pt x="6708901" y="20420"/>
                  </a:cubicBezTo>
                  <a:cubicBezTo>
                    <a:pt x="6712347" y="16905"/>
                    <a:pt x="6719240" y="9806"/>
                    <a:pt x="6722617" y="6291"/>
                  </a:cubicBezTo>
                  <a:cubicBezTo>
                    <a:pt x="6691601" y="4154"/>
                    <a:pt x="6660654" y="570"/>
                    <a:pt x="6629569" y="1259"/>
                  </a:cubicBezTo>
                  <a:cubicBezTo>
                    <a:pt x="6624055" y="10357"/>
                    <a:pt x="6611166" y="21523"/>
                    <a:pt x="6602274" y="9599"/>
                  </a:cubicBezTo>
                  <a:cubicBezTo>
                    <a:pt x="6606341" y="8221"/>
                    <a:pt x="6614474" y="5601"/>
                    <a:pt x="6618472" y="4223"/>
                  </a:cubicBezTo>
                  <a:cubicBezTo>
                    <a:pt x="6613992" y="-2807"/>
                    <a:pt x="6606203" y="-5151"/>
                    <a:pt x="6595175" y="-2807"/>
                  </a:cubicBezTo>
                  <a:cubicBezTo>
                    <a:pt x="6596760" y="6842"/>
                    <a:pt x="6600483" y="15458"/>
                    <a:pt x="6606410" y="22970"/>
                  </a:cubicBezTo>
                  <a:cubicBezTo>
                    <a:pt x="6607030" y="30345"/>
                    <a:pt x="6607720" y="37651"/>
                    <a:pt x="6608478" y="44888"/>
                  </a:cubicBezTo>
                  <a:cubicBezTo>
                    <a:pt x="6613510" y="45371"/>
                    <a:pt x="6623572" y="46474"/>
                    <a:pt x="6628604" y="46956"/>
                  </a:cubicBezTo>
                  <a:cubicBezTo>
                    <a:pt x="6628121" y="36273"/>
                    <a:pt x="6637357" y="17801"/>
                    <a:pt x="6616886" y="20765"/>
                  </a:cubicBezTo>
                  <a:cubicBezTo>
                    <a:pt x="6625847" y="18008"/>
                    <a:pt x="6634876" y="15595"/>
                    <a:pt x="6644043" y="13114"/>
                  </a:cubicBezTo>
                  <a:cubicBezTo>
                    <a:pt x="6639838" y="24211"/>
                    <a:pt x="6635979" y="35446"/>
                    <a:pt x="6635979" y="47301"/>
                  </a:cubicBezTo>
                  <a:cubicBezTo>
                    <a:pt x="6651555" y="48817"/>
                    <a:pt x="6667201" y="49851"/>
                    <a:pt x="6682916" y="50678"/>
                  </a:cubicBezTo>
                  <a:cubicBezTo>
                    <a:pt x="6680366" y="46129"/>
                    <a:pt x="6675266" y="36962"/>
                    <a:pt x="6672715" y="32413"/>
                  </a:cubicBezTo>
                  <a:cubicBezTo>
                    <a:pt x="6670165" y="33447"/>
                    <a:pt x="6665065" y="35584"/>
                    <a:pt x="6662515" y="36617"/>
                  </a:cubicBezTo>
                  <a:cubicBezTo>
                    <a:pt x="6662791" y="32689"/>
                    <a:pt x="6663135" y="28760"/>
                    <a:pt x="6663617" y="24694"/>
                  </a:cubicBezTo>
                  <a:cubicBezTo>
                    <a:pt x="6665823" y="23315"/>
                    <a:pt x="6670165" y="20627"/>
                    <a:pt x="6672371" y="19317"/>
                  </a:cubicBezTo>
                  <a:cubicBezTo>
                    <a:pt x="6674232" y="17525"/>
                    <a:pt x="6677885" y="14079"/>
                    <a:pt x="6679677" y="12287"/>
                  </a:cubicBezTo>
                  <a:cubicBezTo>
                    <a:pt x="6682503" y="14493"/>
                    <a:pt x="6688085" y="18835"/>
                    <a:pt x="6690842" y="20972"/>
                  </a:cubicBezTo>
                  <a:cubicBezTo>
                    <a:pt x="6690705" y="31586"/>
                    <a:pt x="6691118" y="42200"/>
                    <a:pt x="6692084" y="52677"/>
                  </a:cubicBezTo>
                  <a:cubicBezTo>
                    <a:pt x="6706488" y="51850"/>
                    <a:pt x="6716138" y="44819"/>
                    <a:pt x="6717241" y="29587"/>
                  </a:cubicBezTo>
                  <a:cubicBezTo>
                    <a:pt x="6719929" y="32758"/>
                    <a:pt x="6725374" y="39168"/>
                    <a:pt x="6728131" y="42338"/>
                  </a:cubicBezTo>
                  <a:cubicBezTo>
                    <a:pt x="6729027" y="37031"/>
                    <a:pt x="6730888" y="26348"/>
                    <a:pt x="6731784" y="20972"/>
                  </a:cubicBezTo>
                  <a:cubicBezTo>
                    <a:pt x="6736953" y="32413"/>
                    <a:pt x="6741157" y="44199"/>
                    <a:pt x="6745362" y="55985"/>
                  </a:cubicBezTo>
                  <a:close/>
                  <a:moveTo>
                    <a:pt x="7811695" y="94583"/>
                  </a:moveTo>
                  <a:cubicBezTo>
                    <a:pt x="7800598" y="74250"/>
                    <a:pt x="7834578" y="92791"/>
                    <a:pt x="7811695" y="94583"/>
                  </a:cubicBezTo>
                  <a:moveTo>
                    <a:pt x="7780403" y="119603"/>
                  </a:moveTo>
                  <a:cubicBezTo>
                    <a:pt x="7803286" y="121602"/>
                    <a:pt x="7826445" y="119740"/>
                    <a:pt x="7849328" y="122980"/>
                  </a:cubicBezTo>
                  <a:cubicBezTo>
                    <a:pt x="7852498" y="119672"/>
                    <a:pt x="7855807" y="116294"/>
                    <a:pt x="7859184" y="112848"/>
                  </a:cubicBezTo>
                  <a:cubicBezTo>
                    <a:pt x="7860425" y="132698"/>
                    <a:pt x="7884755" y="123600"/>
                    <a:pt x="7897023" y="123807"/>
                  </a:cubicBezTo>
                  <a:cubicBezTo>
                    <a:pt x="7896610" y="111814"/>
                    <a:pt x="7895921" y="99821"/>
                    <a:pt x="7895300" y="87829"/>
                  </a:cubicBezTo>
                  <a:cubicBezTo>
                    <a:pt x="7897575" y="91619"/>
                    <a:pt x="7902193" y="99270"/>
                    <a:pt x="7904468" y="103061"/>
                  </a:cubicBezTo>
                  <a:cubicBezTo>
                    <a:pt x="7907225" y="95479"/>
                    <a:pt x="7910050" y="87897"/>
                    <a:pt x="7913014" y="80247"/>
                  </a:cubicBezTo>
                  <a:cubicBezTo>
                    <a:pt x="7890751" y="81281"/>
                    <a:pt x="7865939" y="70322"/>
                    <a:pt x="7845812" y="82246"/>
                  </a:cubicBezTo>
                  <a:cubicBezTo>
                    <a:pt x="7843125" y="93549"/>
                    <a:pt x="7847122" y="103268"/>
                    <a:pt x="7857668" y="111332"/>
                  </a:cubicBezTo>
                  <a:cubicBezTo>
                    <a:pt x="7852636" y="111332"/>
                    <a:pt x="7842711" y="111332"/>
                    <a:pt x="7837680" y="111332"/>
                  </a:cubicBezTo>
                  <a:cubicBezTo>
                    <a:pt x="7834647" y="99890"/>
                    <a:pt x="7836163" y="88173"/>
                    <a:pt x="7837404" y="76525"/>
                  </a:cubicBezTo>
                  <a:cubicBezTo>
                    <a:pt x="7811971" y="71976"/>
                    <a:pt x="7786124" y="72251"/>
                    <a:pt x="7760553" y="72183"/>
                  </a:cubicBezTo>
                  <a:cubicBezTo>
                    <a:pt x="7754694" y="87070"/>
                    <a:pt x="7751179" y="102647"/>
                    <a:pt x="7752420" y="118638"/>
                  </a:cubicBezTo>
                  <a:lnTo>
                    <a:pt x="7760897" y="117949"/>
                  </a:lnTo>
                  <a:cubicBezTo>
                    <a:pt x="7760897" y="112779"/>
                    <a:pt x="7760829" y="102509"/>
                    <a:pt x="7760829" y="97409"/>
                  </a:cubicBezTo>
                  <a:cubicBezTo>
                    <a:pt x="7770685" y="101544"/>
                    <a:pt x="7775303" y="110918"/>
                    <a:pt x="7780403" y="119603"/>
                  </a:cubicBezTo>
                  <a:moveTo>
                    <a:pt x="7936793" y="121739"/>
                  </a:moveTo>
                  <a:cubicBezTo>
                    <a:pt x="7930866" y="113193"/>
                    <a:pt x="7932451" y="107885"/>
                    <a:pt x="7941342" y="105887"/>
                  </a:cubicBezTo>
                  <a:cubicBezTo>
                    <a:pt x="7947201" y="114571"/>
                    <a:pt x="7945615" y="119878"/>
                    <a:pt x="7936793" y="121739"/>
                  </a:cubicBezTo>
                  <a:moveTo>
                    <a:pt x="8000548" y="136558"/>
                  </a:moveTo>
                  <a:lnTo>
                    <a:pt x="8014816" y="139039"/>
                  </a:lnTo>
                  <a:cubicBezTo>
                    <a:pt x="8016194" y="121602"/>
                    <a:pt x="8018469" y="104232"/>
                    <a:pt x="8018675" y="86726"/>
                  </a:cubicBezTo>
                  <a:cubicBezTo>
                    <a:pt x="7994414" y="86726"/>
                    <a:pt x="7970359" y="83555"/>
                    <a:pt x="7946236" y="81832"/>
                  </a:cubicBezTo>
                  <a:cubicBezTo>
                    <a:pt x="7946442" y="85623"/>
                    <a:pt x="7946787" y="93067"/>
                    <a:pt x="7946925" y="96858"/>
                  </a:cubicBezTo>
                  <a:cubicBezTo>
                    <a:pt x="7940722" y="90517"/>
                    <a:pt x="7934519" y="84175"/>
                    <a:pt x="7928384" y="77903"/>
                  </a:cubicBezTo>
                  <a:cubicBezTo>
                    <a:pt x="7921630" y="86312"/>
                    <a:pt x="7915082" y="94583"/>
                    <a:pt x="7908396" y="102716"/>
                  </a:cubicBezTo>
                  <a:cubicBezTo>
                    <a:pt x="7915564" y="106231"/>
                    <a:pt x="7922733" y="109884"/>
                    <a:pt x="7929901" y="113813"/>
                  </a:cubicBezTo>
                  <a:cubicBezTo>
                    <a:pt x="7918942" y="113951"/>
                    <a:pt x="7908121" y="113744"/>
                    <a:pt x="7897368" y="113331"/>
                  </a:cubicBezTo>
                  <a:cubicBezTo>
                    <a:pt x="7902469" y="135387"/>
                    <a:pt x="7932727" y="123600"/>
                    <a:pt x="7948993" y="129114"/>
                  </a:cubicBezTo>
                  <a:cubicBezTo>
                    <a:pt x="7951129" y="125323"/>
                    <a:pt x="7955334" y="117742"/>
                    <a:pt x="7957470" y="113951"/>
                  </a:cubicBezTo>
                  <a:cubicBezTo>
                    <a:pt x="7957953" y="118017"/>
                    <a:pt x="7958918" y="126220"/>
                    <a:pt x="7959400" y="130286"/>
                  </a:cubicBezTo>
                  <a:cubicBezTo>
                    <a:pt x="7972359" y="131664"/>
                    <a:pt x="7985523" y="132974"/>
                    <a:pt x="7998757" y="134353"/>
                  </a:cubicBezTo>
                  <a:cubicBezTo>
                    <a:pt x="7999239" y="131733"/>
                    <a:pt x="8000273" y="126564"/>
                    <a:pt x="8000824" y="124014"/>
                  </a:cubicBezTo>
                  <a:cubicBezTo>
                    <a:pt x="8000755" y="127116"/>
                    <a:pt x="8000618" y="133457"/>
                    <a:pt x="8000548" y="136558"/>
                  </a:cubicBezTo>
                  <a:moveTo>
                    <a:pt x="-4564" y="1009420"/>
                  </a:moveTo>
                  <a:cubicBezTo>
                    <a:pt x="-981" y="1001493"/>
                    <a:pt x="2465" y="993360"/>
                    <a:pt x="5222" y="985089"/>
                  </a:cubicBezTo>
                  <a:cubicBezTo>
                    <a:pt x="12944" y="983228"/>
                    <a:pt x="20661" y="981367"/>
                    <a:pt x="28312" y="979506"/>
                  </a:cubicBezTo>
                  <a:cubicBezTo>
                    <a:pt x="28038" y="982332"/>
                    <a:pt x="27349" y="987915"/>
                    <a:pt x="27004" y="990672"/>
                  </a:cubicBezTo>
                  <a:cubicBezTo>
                    <a:pt x="29898" y="994877"/>
                    <a:pt x="35549" y="1003217"/>
                    <a:pt x="38443" y="1007421"/>
                  </a:cubicBezTo>
                  <a:lnTo>
                    <a:pt x="42512" y="1003354"/>
                  </a:lnTo>
                  <a:cubicBezTo>
                    <a:pt x="48096" y="962620"/>
                    <a:pt x="48373" y="921265"/>
                    <a:pt x="50920" y="880255"/>
                  </a:cubicBezTo>
                  <a:cubicBezTo>
                    <a:pt x="49334" y="881358"/>
                    <a:pt x="46166" y="883563"/>
                    <a:pt x="44649" y="884735"/>
                  </a:cubicBezTo>
                  <a:cubicBezTo>
                    <a:pt x="42719" y="894522"/>
                    <a:pt x="41060" y="904241"/>
                    <a:pt x="38721" y="913890"/>
                  </a:cubicBezTo>
                  <a:cubicBezTo>
                    <a:pt x="35686" y="921403"/>
                    <a:pt x="31000" y="927744"/>
                    <a:pt x="24658" y="932982"/>
                  </a:cubicBezTo>
                  <a:cubicBezTo>
                    <a:pt x="23073" y="931328"/>
                    <a:pt x="19974" y="928020"/>
                    <a:pt x="18388" y="926365"/>
                  </a:cubicBezTo>
                  <a:cubicBezTo>
                    <a:pt x="10117" y="936566"/>
                    <a:pt x="21764" y="942632"/>
                    <a:pt x="28175" y="949179"/>
                  </a:cubicBezTo>
                  <a:cubicBezTo>
                    <a:pt x="24107" y="960207"/>
                    <a:pt x="20111" y="972200"/>
                    <a:pt x="6945" y="974819"/>
                  </a:cubicBezTo>
                  <a:cubicBezTo>
                    <a:pt x="9636" y="964963"/>
                    <a:pt x="12393" y="955038"/>
                    <a:pt x="15214" y="945182"/>
                  </a:cubicBezTo>
                  <a:cubicBezTo>
                    <a:pt x="9084" y="949042"/>
                    <a:pt x="3088" y="952970"/>
                    <a:pt x="-2841" y="957037"/>
                  </a:cubicBezTo>
                  <a:cubicBezTo>
                    <a:pt x="-2634" y="974544"/>
                    <a:pt x="-7803" y="991982"/>
                    <a:pt x="-4564" y="1009420"/>
                  </a:cubicBezTo>
                  <a:moveTo>
                    <a:pt x="7091777" y="1914676"/>
                  </a:moveTo>
                  <a:cubicBezTo>
                    <a:pt x="7085299" y="1906198"/>
                    <a:pt x="7078613" y="1897927"/>
                    <a:pt x="7072203" y="1889449"/>
                  </a:cubicBezTo>
                  <a:cubicBezTo>
                    <a:pt x="7076200" y="1890000"/>
                    <a:pt x="7084127" y="1891172"/>
                    <a:pt x="7088124" y="1891724"/>
                  </a:cubicBezTo>
                  <a:cubicBezTo>
                    <a:pt x="7091708" y="1899168"/>
                    <a:pt x="7095499" y="1906474"/>
                    <a:pt x="7099359" y="1913848"/>
                  </a:cubicBezTo>
                  <a:cubicBezTo>
                    <a:pt x="7097498" y="1914055"/>
                    <a:pt x="7093707" y="1914469"/>
                    <a:pt x="7091777" y="1914676"/>
                  </a:cubicBezTo>
                  <a:moveTo>
                    <a:pt x="7088607" y="1929563"/>
                  </a:moveTo>
                  <a:cubicBezTo>
                    <a:pt x="7100669" y="1930735"/>
                    <a:pt x="7112730" y="1931424"/>
                    <a:pt x="7125068" y="1932182"/>
                  </a:cubicBezTo>
                  <a:cubicBezTo>
                    <a:pt x="7127273" y="1916261"/>
                    <a:pt x="7125620" y="1900270"/>
                    <a:pt x="7123827" y="1884486"/>
                  </a:cubicBezTo>
                  <a:cubicBezTo>
                    <a:pt x="7068067" y="1882074"/>
                    <a:pt x="7012376" y="1874148"/>
                    <a:pt x="6956547" y="1877594"/>
                  </a:cubicBezTo>
                  <a:cubicBezTo>
                    <a:pt x="6959580" y="1882557"/>
                    <a:pt x="6965783" y="1892551"/>
                    <a:pt x="6968885" y="1897514"/>
                  </a:cubicBezTo>
                  <a:cubicBezTo>
                    <a:pt x="6959993" y="1890069"/>
                    <a:pt x="6952274" y="1881316"/>
                    <a:pt x="6944692" y="1872701"/>
                  </a:cubicBezTo>
                  <a:cubicBezTo>
                    <a:pt x="6929460" y="1871804"/>
                    <a:pt x="6914296" y="1870771"/>
                    <a:pt x="6899202" y="1870633"/>
                  </a:cubicBezTo>
                  <a:cubicBezTo>
                    <a:pt x="6905267" y="1877870"/>
                    <a:pt x="6913607" y="1882488"/>
                    <a:pt x="6921603" y="1887381"/>
                  </a:cubicBezTo>
                  <a:cubicBezTo>
                    <a:pt x="6925945" y="1898616"/>
                    <a:pt x="6921671" y="1918191"/>
                    <a:pt x="6941521" y="1915985"/>
                  </a:cubicBezTo>
                  <a:cubicBezTo>
                    <a:pt x="6939798" y="1903992"/>
                    <a:pt x="6938282" y="1892000"/>
                    <a:pt x="6936835" y="1880006"/>
                  </a:cubicBezTo>
                  <a:cubicBezTo>
                    <a:pt x="6954617" y="1885107"/>
                    <a:pt x="6943796" y="1907508"/>
                    <a:pt x="6946278" y="1920810"/>
                  </a:cubicBezTo>
                  <a:cubicBezTo>
                    <a:pt x="6969643" y="1923774"/>
                    <a:pt x="6993284" y="1923636"/>
                    <a:pt x="7016443" y="1918122"/>
                  </a:cubicBezTo>
                  <a:cubicBezTo>
                    <a:pt x="7005277" y="1913642"/>
                    <a:pt x="6994111" y="1909437"/>
                    <a:pt x="6982946" y="1905371"/>
                  </a:cubicBezTo>
                  <a:cubicBezTo>
                    <a:pt x="6994800" y="1907163"/>
                    <a:pt x="7007620" y="1901442"/>
                    <a:pt x="7008999" y="1888209"/>
                  </a:cubicBezTo>
                  <a:cubicBezTo>
                    <a:pt x="7008792" y="1891172"/>
                    <a:pt x="7008378" y="1897031"/>
                    <a:pt x="7008172" y="1899995"/>
                  </a:cubicBezTo>
                  <a:cubicBezTo>
                    <a:pt x="7014513" y="1909575"/>
                    <a:pt x="7020027" y="1919638"/>
                    <a:pt x="7025609" y="1929701"/>
                  </a:cubicBezTo>
                  <a:cubicBezTo>
                    <a:pt x="7028436" y="1925014"/>
                    <a:pt x="7034156" y="1915503"/>
                    <a:pt x="7036982" y="1910816"/>
                  </a:cubicBezTo>
                  <a:cubicBezTo>
                    <a:pt x="7047390" y="1916950"/>
                    <a:pt x="7057659" y="1923153"/>
                    <a:pt x="7068274" y="1929150"/>
                  </a:cubicBezTo>
                  <a:lnTo>
                    <a:pt x="7069377" y="1914124"/>
                  </a:lnTo>
                  <a:cubicBezTo>
                    <a:pt x="7076614" y="1918053"/>
                    <a:pt x="7083162" y="1923153"/>
                    <a:pt x="7088607" y="1929563"/>
                  </a:cubicBezTo>
                </a:path>
              </a:pathLst>
            </a:custGeom>
            <a:grpFill/>
            <a:ln w="689" cap="flat">
              <a:noFill/>
              <a:prstDash val="solid"/>
              <a:miter/>
            </a:ln>
          </p:spPr>
          <p:txBody>
            <a:bodyPr rtlCol="0" anchor="ctr"/>
            <a:lstStyle/>
            <a:p>
              <a:endParaRPr lang="en-US" sz="2400" dirty="0"/>
            </a:p>
          </p:txBody>
        </p:sp>
        <p:sp>
          <p:nvSpPr>
            <p:cNvPr id="98" name="Graphic 8">
              <a:extLst>
                <a:ext uri="{FF2B5EF4-FFF2-40B4-BE49-F238E27FC236}">
                  <a16:creationId xmlns:a16="http://schemas.microsoft.com/office/drawing/2014/main" id="{BB1B8D2F-A3A2-46B5-82E5-9FCF5456BCAD}"/>
                </a:ext>
              </a:extLst>
            </p:cNvPr>
            <p:cNvSpPr/>
            <p:nvPr/>
          </p:nvSpPr>
          <p:spPr>
            <a:xfrm flipV="1">
              <a:off x="8131715" y="1331899"/>
              <a:ext cx="2687" cy="2636"/>
            </a:xfrm>
            <a:custGeom>
              <a:avLst/>
              <a:gdLst>
                <a:gd name="connsiteX0" fmla="*/ -10110 w 2687"/>
                <a:gd name="connsiteY0" fmla="*/ -2631 h 2636"/>
                <a:gd name="connsiteX1" fmla="*/ -10110 w 2687"/>
                <a:gd name="connsiteY1" fmla="*/ -2631 h 2636"/>
                <a:gd name="connsiteX2" fmla="*/ -10110 w 2687"/>
                <a:gd name="connsiteY2" fmla="*/ -2631 h 2636"/>
              </a:gdLst>
              <a:ahLst/>
              <a:cxnLst>
                <a:cxn ang="0">
                  <a:pos x="connsiteX0" y="connsiteY0"/>
                </a:cxn>
                <a:cxn ang="0">
                  <a:pos x="connsiteX1" y="connsiteY1"/>
                </a:cxn>
                <a:cxn ang="0">
                  <a:pos x="connsiteX2" y="connsiteY2"/>
                </a:cxn>
              </a:cxnLst>
              <a:rect l="l" t="t" r="r" b="b"/>
              <a:pathLst>
                <a:path w="2687" h="2636">
                  <a:moveTo>
                    <a:pt x="-10110" y="-2631"/>
                  </a:moveTo>
                  <a:cubicBezTo>
                    <a:pt x="-6526" y="-6147"/>
                    <a:pt x="-6526" y="-6147"/>
                    <a:pt x="-10110" y="-2631"/>
                  </a:cubicBezTo>
                  <a:lnTo>
                    <a:pt x="-10110" y="-2631"/>
                  </a:lnTo>
                </a:path>
              </a:pathLst>
            </a:custGeom>
            <a:grpFill/>
            <a:ln w="689" cap="flat">
              <a:noFill/>
              <a:prstDash val="solid"/>
              <a:miter/>
            </a:ln>
          </p:spPr>
          <p:txBody>
            <a:bodyPr rtlCol="0" anchor="ctr"/>
            <a:lstStyle/>
            <a:p>
              <a:endParaRPr lang="en-US" sz="2400" dirty="0"/>
            </a:p>
          </p:txBody>
        </p:sp>
        <p:sp>
          <p:nvSpPr>
            <p:cNvPr id="99" name="Graphic 8">
              <a:extLst>
                <a:ext uri="{FF2B5EF4-FFF2-40B4-BE49-F238E27FC236}">
                  <a16:creationId xmlns:a16="http://schemas.microsoft.com/office/drawing/2014/main" id="{216ED9FB-ED32-466A-81F4-2132CE1FFC9E}"/>
                </a:ext>
              </a:extLst>
            </p:cNvPr>
            <p:cNvSpPr/>
            <p:nvPr/>
          </p:nvSpPr>
          <p:spPr>
            <a:xfrm flipV="1">
              <a:off x="1149116" y="1337515"/>
              <a:ext cx="6164687" cy="2347229"/>
            </a:xfrm>
            <a:custGeom>
              <a:avLst/>
              <a:gdLst>
                <a:gd name="connsiteX0" fmla="*/ 1725063 w 6164687"/>
                <a:gd name="connsiteY0" fmla="*/ -746 h 2347229"/>
                <a:gd name="connsiteX1" fmla="*/ 1725063 w 6164687"/>
                <a:gd name="connsiteY1" fmla="*/ -746 h 2347229"/>
                <a:gd name="connsiteX2" fmla="*/ 4764088 w 6164687"/>
                <a:gd name="connsiteY2" fmla="*/ 259582 h 2347229"/>
                <a:gd name="connsiteX3" fmla="*/ 4771256 w 6164687"/>
                <a:gd name="connsiteY3" fmla="*/ 224293 h 2347229"/>
                <a:gd name="connsiteX4" fmla="*/ 4764088 w 6164687"/>
                <a:gd name="connsiteY4" fmla="*/ 259582 h 2347229"/>
                <a:gd name="connsiteX5" fmla="*/ 4852173 w 6164687"/>
                <a:gd name="connsiteY5" fmla="*/ 273712 h 2347229"/>
                <a:gd name="connsiteX6" fmla="*/ 4852173 w 6164687"/>
                <a:gd name="connsiteY6" fmla="*/ 273712 h 2347229"/>
                <a:gd name="connsiteX7" fmla="*/ 2557879 w 6164687"/>
                <a:gd name="connsiteY7" fmla="*/ 1149606 h 2347229"/>
                <a:gd name="connsiteX8" fmla="*/ 2557879 w 6164687"/>
                <a:gd name="connsiteY8" fmla="*/ 1149606 h 2347229"/>
                <a:gd name="connsiteX9" fmla="*/ 5839932 w 6164687"/>
                <a:gd name="connsiteY9" fmla="*/ 1223907 h 2347229"/>
                <a:gd name="connsiteX10" fmla="*/ 5847100 w 6164687"/>
                <a:gd name="connsiteY10" fmla="*/ 1188479 h 2347229"/>
                <a:gd name="connsiteX11" fmla="*/ 5839932 w 6164687"/>
                <a:gd name="connsiteY11" fmla="*/ 1223907 h 2347229"/>
                <a:gd name="connsiteX12" fmla="*/ 5322377 w 6164687"/>
                <a:gd name="connsiteY12" fmla="*/ 1315369 h 2347229"/>
                <a:gd name="connsiteX13" fmla="*/ 5322377 w 6164687"/>
                <a:gd name="connsiteY13" fmla="*/ 1315369 h 2347229"/>
                <a:gd name="connsiteX14" fmla="*/ 845 w 6164687"/>
                <a:gd name="connsiteY14" fmla="*/ 1461076 h 2347229"/>
                <a:gd name="connsiteX15" fmla="*/ 5463 w 6164687"/>
                <a:gd name="connsiteY15" fmla="*/ 1442880 h 2347229"/>
                <a:gd name="connsiteX16" fmla="*/ 845 w 6164687"/>
                <a:gd name="connsiteY16" fmla="*/ 1461076 h 2347229"/>
                <a:gd name="connsiteX17" fmla="*/ 85071 w 6164687"/>
                <a:gd name="connsiteY17" fmla="*/ 1535928 h 2347229"/>
                <a:gd name="connsiteX18" fmla="*/ 85071 w 6164687"/>
                <a:gd name="connsiteY18" fmla="*/ 1535928 h 2347229"/>
                <a:gd name="connsiteX19" fmla="*/ 83072 w 6164687"/>
                <a:gd name="connsiteY19" fmla="*/ 1557640 h 2347229"/>
                <a:gd name="connsiteX20" fmla="*/ 83072 w 6164687"/>
                <a:gd name="connsiteY20" fmla="*/ 1557640 h 2347229"/>
                <a:gd name="connsiteX21" fmla="*/ 4509273 w 6164687"/>
                <a:gd name="connsiteY21" fmla="*/ 1770410 h 2347229"/>
                <a:gd name="connsiteX22" fmla="*/ 4509273 w 6164687"/>
                <a:gd name="connsiteY22" fmla="*/ 1770410 h 2347229"/>
                <a:gd name="connsiteX23" fmla="*/ 6156641 w 6164687"/>
                <a:gd name="connsiteY23" fmla="*/ 1866491 h 2347229"/>
                <a:gd name="connsiteX24" fmla="*/ 6156641 w 6164687"/>
                <a:gd name="connsiteY24" fmla="*/ 1866491 h 2347229"/>
                <a:gd name="connsiteX25" fmla="*/ 2042392 w 6164687"/>
                <a:gd name="connsiteY25" fmla="*/ 2205944 h 2347229"/>
                <a:gd name="connsiteX26" fmla="*/ 2042392 w 6164687"/>
                <a:gd name="connsiteY26" fmla="*/ 2205944 h 2347229"/>
                <a:gd name="connsiteX27" fmla="*/ 4866579 w 6164687"/>
                <a:gd name="connsiteY27" fmla="*/ 2343449 h 2347229"/>
                <a:gd name="connsiteX28" fmla="*/ 4877676 w 6164687"/>
                <a:gd name="connsiteY28" fmla="*/ 2331801 h 2347229"/>
                <a:gd name="connsiteX29" fmla="*/ 4866579 w 6164687"/>
                <a:gd name="connsiteY29" fmla="*/ 2343449 h 234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164687" h="2347229">
                  <a:moveTo>
                    <a:pt x="1725063" y="-746"/>
                  </a:moveTo>
                  <a:cubicBezTo>
                    <a:pt x="1728785" y="-4192"/>
                    <a:pt x="1728785" y="-4192"/>
                    <a:pt x="1725063" y="-746"/>
                  </a:cubicBezTo>
                  <a:close/>
                  <a:moveTo>
                    <a:pt x="4764088" y="259582"/>
                  </a:moveTo>
                  <a:cubicBezTo>
                    <a:pt x="4776218" y="257859"/>
                    <a:pt x="4783938" y="229255"/>
                    <a:pt x="4771256" y="224293"/>
                  </a:cubicBezTo>
                  <a:cubicBezTo>
                    <a:pt x="4765328" y="234356"/>
                    <a:pt x="4761814" y="248141"/>
                    <a:pt x="4764088" y="259582"/>
                  </a:cubicBezTo>
                  <a:moveTo>
                    <a:pt x="4852173" y="273712"/>
                  </a:moveTo>
                  <a:cubicBezTo>
                    <a:pt x="4874850" y="272885"/>
                    <a:pt x="4841835" y="252828"/>
                    <a:pt x="4852173" y="273712"/>
                  </a:cubicBezTo>
                  <a:moveTo>
                    <a:pt x="2557879" y="1149606"/>
                  </a:moveTo>
                  <a:cubicBezTo>
                    <a:pt x="2580693" y="1149261"/>
                    <a:pt x="2547472" y="1128722"/>
                    <a:pt x="2557879" y="1149606"/>
                  </a:cubicBezTo>
                  <a:moveTo>
                    <a:pt x="5839932" y="1223907"/>
                  </a:moveTo>
                  <a:cubicBezTo>
                    <a:pt x="5853235" y="1223838"/>
                    <a:pt x="5859438" y="1192959"/>
                    <a:pt x="5847100" y="1188479"/>
                  </a:cubicBezTo>
                  <a:cubicBezTo>
                    <a:pt x="5841655" y="1198956"/>
                    <a:pt x="5838829" y="1212258"/>
                    <a:pt x="5839932" y="1223907"/>
                  </a:cubicBezTo>
                  <a:moveTo>
                    <a:pt x="5322377" y="1315369"/>
                  </a:moveTo>
                  <a:cubicBezTo>
                    <a:pt x="5326168" y="1312061"/>
                    <a:pt x="5326168" y="1312061"/>
                    <a:pt x="5322377" y="1315369"/>
                  </a:cubicBezTo>
                  <a:moveTo>
                    <a:pt x="845" y="1461076"/>
                  </a:moveTo>
                  <a:cubicBezTo>
                    <a:pt x="12079" y="1464109"/>
                    <a:pt x="15595" y="1446188"/>
                    <a:pt x="5463" y="1442880"/>
                  </a:cubicBezTo>
                  <a:cubicBezTo>
                    <a:pt x="-4945" y="1440192"/>
                    <a:pt x="-9976" y="1458664"/>
                    <a:pt x="845" y="1461076"/>
                  </a:cubicBezTo>
                  <a:moveTo>
                    <a:pt x="85071" y="1535928"/>
                  </a:moveTo>
                  <a:cubicBezTo>
                    <a:pt x="88793" y="1532482"/>
                    <a:pt x="88793" y="1532482"/>
                    <a:pt x="85071" y="1535928"/>
                  </a:cubicBezTo>
                  <a:moveTo>
                    <a:pt x="83072" y="1557640"/>
                  </a:moveTo>
                  <a:cubicBezTo>
                    <a:pt x="105817" y="1556399"/>
                    <a:pt x="72457" y="1536962"/>
                    <a:pt x="83072" y="1557640"/>
                  </a:cubicBezTo>
                  <a:moveTo>
                    <a:pt x="4509273" y="1770410"/>
                  </a:moveTo>
                  <a:cubicBezTo>
                    <a:pt x="4512513" y="1766619"/>
                    <a:pt x="4512513" y="1766619"/>
                    <a:pt x="4509273" y="1770410"/>
                  </a:cubicBezTo>
                  <a:moveTo>
                    <a:pt x="6156641" y="1866491"/>
                  </a:moveTo>
                  <a:cubicBezTo>
                    <a:pt x="6160431" y="1863182"/>
                    <a:pt x="6160431" y="1863182"/>
                    <a:pt x="6156641" y="1866491"/>
                  </a:cubicBezTo>
                  <a:moveTo>
                    <a:pt x="2042392" y="2205944"/>
                  </a:moveTo>
                  <a:cubicBezTo>
                    <a:pt x="2063552" y="2215732"/>
                    <a:pt x="2042530" y="2183131"/>
                    <a:pt x="2042392" y="2205944"/>
                  </a:cubicBezTo>
                  <a:moveTo>
                    <a:pt x="4866579" y="2343449"/>
                  </a:moveTo>
                  <a:cubicBezTo>
                    <a:pt x="4875952" y="2345310"/>
                    <a:pt x="4879675" y="2341381"/>
                    <a:pt x="4877676" y="2331801"/>
                  </a:cubicBezTo>
                  <a:cubicBezTo>
                    <a:pt x="4868164" y="2330009"/>
                    <a:pt x="4864442" y="2333869"/>
                    <a:pt x="4866579" y="2343449"/>
                  </a:cubicBezTo>
                </a:path>
              </a:pathLst>
            </a:custGeom>
            <a:grpFill/>
            <a:ln w="689" cap="flat">
              <a:noFill/>
              <a:prstDash val="solid"/>
              <a:miter/>
            </a:ln>
          </p:spPr>
          <p:txBody>
            <a:bodyPr rtlCol="0" anchor="ctr"/>
            <a:lstStyle/>
            <a:p>
              <a:endParaRPr lang="en-US" sz="2400" dirty="0"/>
            </a:p>
          </p:txBody>
        </p:sp>
        <p:sp>
          <p:nvSpPr>
            <p:cNvPr id="100" name="Graphic 8">
              <a:extLst>
                <a:ext uri="{FF2B5EF4-FFF2-40B4-BE49-F238E27FC236}">
                  <a16:creationId xmlns:a16="http://schemas.microsoft.com/office/drawing/2014/main" id="{68B794BE-1404-4AD5-BF09-95A2E9D7CA45}"/>
                </a:ext>
              </a:extLst>
            </p:cNvPr>
            <p:cNvSpPr/>
            <p:nvPr/>
          </p:nvSpPr>
          <p:spPr>
            <a:xfrm flipV="1">
              <a:off x="4860391" y="1346235"/>
              <a:ext cx="10196" cy="9687"/>
            </a:xfrm>
            <a:custGeom>
              <a:avLst/>
              <a:gdLst>
                <a:gd name="connsiteX0" fmla="*/ -3841 w 10196"/>
                <a:gd name="connsiteY0" fmla="*/ 4449 h 9687"/>
                <a:gd name="connsiteX1" fmla="*/ -3841 w 10196"/>
                <a:gd name="connsiteY1" fmla="*/ 4449 h 9687"/>
                <a:gd name="connsiteX2" fmla="*/ -3841 w 10196"/>
                <a:gd name="connsiteY2" fmla="*/ 4449 h 9687"/>
              </a:gdLst>
              <a:ahLst/>
              <a:cxnLst>
                <a:cxn ang="0">
                  <a:pos x="connsiteX0" y="connsiteY0"/>
                </a:cxn>
                <a:cxn ang="0">
                  <a:pos x="connsiteX1" y="connsiteY1"/>
                </a:cxn>
                <a:cxn ang="0">
                  <a:pos x="connsiteX2" y="connsiteY2"/>
                </a:cxn>
              </a:cxnLst>
              <a:rect l="l" t="t" r="r" b="b"/>
              <a:pathLst>
                <a:path w="10196" h="9687">
                  <a:moveTo>
                    <a:pt x="-3841" y="4449"/>
                  </a:moveTo>
                  <a:cubicBezTo>
                    <a:pt x="18697" y="3071"/>
                    <a:pt x="-14456" y="-16642"/>
                    <a:pt x="-3841" y="4449"/>
                  </a:cubicBezTo>
                  <a:lnTo>
                    <a:pt x="-3841" y="4449"/>
                  </a:lnTo>
                </a:path>
              </a:pathLst>
            </a:custGeom>
            <a:grpFill/>
            <a:ln w="689" cap="flat">
              <a:noFill/>
              <a:prstDash val="solid"/>
              <a:miter/>
            </a:ln>
          </p:spPr>
          <p:txBody>
            <a:bodyPr rtlCol="0" anchor="ctr"/>
            <a:lstStyle/>
            <a:p>
              <a:endParaRPr lang="en-US" sz="2400" dirty="0"/>
            </a:p>
          </p:txBody>
        </p:sp>
        <p:sp>
          <p:nvSpPr>
            <p:cNvPr id="101" name="Graphic 8">
              <a:extLst>
                <a:ext uri="{FF2B5EF4-FFF2-40B4-BE49-F238E27FC236}">
                  <a16:creationId xmlns:a16="http://schemas.microsoft.com/office/drawing/2014/main" id="{021A8D40-9DD0-4FCB-BD75-D6FBB15EDEE9}"/>
                </a:ext>
              </a:extLst>
            </p:cNvPr>
            <p:cNvSpPr/>
            <p:nvPr/>
          </p:nvSpPr>
          <p:spPr>
            <a:xfrm flipV="1">
              <a:off x="1146090" y="1345477"/>
              <a:ext cx="6506856" cy="1891136"/>
            </a:xfrm>
            <a:custGeom>
              <a:avLst/>
              <a:gdLst>
                <a:gd name="connsiteX0" fmla="*/ 879346 w 6506856"/>
                <a:gd name="connsiteY0" fmla="*/ -953 h 1891136"/>
                <a:gd name="connsiteX1" fmla="*/ 879346 w 6506856"/>
                <a:gd name="connsiteY1" fmla="*/ -953 h 1891136"/>
                <a:gd name="connsiteX2" fmla="*/ 1939959 w 6506856"/>
                <a:gd name="connsiteY2" fmla="*/ 386128 h 1891136"/>
                <a:gd name="connsiteX3" fmla="*/ 1961394 w 6506856"/>
                <a:gd name="connsiteY3" fmla="*/ 401705 h 1891136"/>
                <a:gd name="connsiteX4" fmla="*/ 1957741 w 6506856"/>
                <a:gd name="connsiteY4" fmla="*/ 372136 h 1891136"/>
                <a:gd name="connsiteX5" fmla="*/ 1941337 w 6506856"/>
                <a:gd name="connsiteY5" fmla="*/ 317961 h 1891136"/>
                <a:gd name="connsiteX6" fmla="*/ 1931067 w 6506856"/>
                <a:gd name="connsiteY6" fmla="*/ 328369 h 1891136"/>
                <a:gd name="connsiteX7" fmla="*/ 1950297 w 6506856"/>
                <a:gd name="connsiteY7" fmla="*/ 336640 h 1891136"/>
                <a:gd name="connsiteX8" fmla="*/ 1939959 w 6506856"/>
                <a:gd name="connsiteY8" fmla="*/ 386128 h 1891136"/>
                <a:gd name="connsiteX9" fmla="*/ -3785 w 6506856"/>
                <a:gd name="connsiteY9" fmla="*/ 1150639 h 1891136"/>
                <a:gd name="connsiteX10" fmla="*/ 5727 w 6506856"/>
                <a:gd name="connsiteY10" fmla="*/ 1141404 h 1891136"/>
                <a:gd name="connsiteX11" fmla="*/ -3785 w 6506856"/>
                <a:gd name="connsiteY11" fmla="*/ 1150639 h 1891136"/>
                <a:gd name="connsiteX12" fmla="*/ 6488984 w 6506856"/>
                <a:gd name="connsiteY12" fmla="*/ 1565359 h 1891136"/>
                <a:gd name="connsiteX13" fmla="*/ 6501321 w 6506856"/>
                <a:gd name="connsiteY13" fmla="*/ 1552953 h 1891136"/>
                <a:gd name="connsiteX14" fmla="*/ 6488984 w 6506856"/>
                <a:gd name="connsiteY14" fmla="*/ 1565359 h 1891136"/>
                <a:gd name="connsiteX15" fmla="*/ 4560611 w 6506856"/>
                <a:gd name="connsiteY15" fmla="*/ 1887444 h 1891136"/>
                <a:gd name="connsiteX16" fmla="*/ 4560611 w 6506856"/>
                <a:gd name="connsiteY16" fmla="*/ 1887444 h 189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06856" h="1891136">
                  <a:moveTo>
                    <a:pt x="879346" y="-953"/>
                  </a:moveTo>
                  <a:cubicBezTo>
                    <a:pt x="883275" y="-4606"/>
                    <a:pt x="883275" y="-4606"/>
                    <a:pt x="879346" y="-953"/>
                  </a:cubicBezTo>
                  <a:close/>
                  <a:moveTo>
                    <a:pt x="1939959" y="386128"/>
                  </a:moveTo>
                  <a:cubicBezTo>
                    <a:pt x="1946989" y="391435"/>
                    <a:pt x="1954088" y="396673"/>
                    <a:pt x="1961394" y="401705"/>
                  </a:cubicBezTo>
                  <a:cubicBezTo>
                    <a:pt x="1960360" y="391848"/>
                    <a:pt x="1959120" y="381992"/>
                    <a:pt x="1957741" y="372136"/>
                  </a:cubicBezTo>
                  <a:cubicBezTo>
                    <a:pt x="1969183" y="351458"/>
                    <a:pt x="1952434" y="334227"/>
                    <a:pt x="1941337" y="317961"/>
                  </a:cubicBezTo>
                  <a:cubicBezTo>
                    <a:pt x="1938787" y="320511"/>
                    <a:pt x="1933618" y="325750"/>
                    <a:pt x="1931067" y="328369"/>
                  </a:cubicBezTo>
                  <a:cubicBezTo>
                    <a:pt x="1935892" y="330436"/>
                    <a:pt x="1945473" y="334572"/>
                    <a:pt x="1950297" y="336640"/>
                  </a:cubicBezTo>
                  <a:cubicBezTo>
                    <a:pt x="1941613" y="351734"/>
                    <a:pt x="1942095" y="369448"/>
                    <a:pt x="1939959" y="386128"/>
                  </a:cubicBezTo>
                  <a:moveTo>
                    <a:pt x="-3785" y="1150639"/>
                  </a:moveTo>
                  <a:cubicBezTo>
                    <a:pt x="6485" y="1153741"/>
                    <a:pt x="9656" y="1150639"/>
                    <a:pt x="5727" y="1141404"/>
                  </a:cubicBezTo>
                  <a:cubicBezTo>
                    <a:pt x="-4543" y="1138233"/>
                    <a:pt x="-7713" y="1141335"/>
                    <a:pt x="-3785" y="1150639"/>
                  </a:cubicBezTo>
                  <a:moveTo>
                    <a:pt x="6488984" y="1565359"/>
                  </a:moveTo>
                  <a:cubicBezTo>
                    <a:pt x="6498082" y="1567013"/>
                    <a:pt x="6502218" y="1562947"/>
                    <a:pt x="6501321" y="1552953"/>
                  </a:cubicBezTo>
                  <a:cubicBezTo>
                    <a:pt x="6492016" y="1551436"/>
                    <a:pt x="6487881" y="1555572"/>
                    <a:pt x="6488984" y="1565359"/>
                  </a:cubicBezTo>
                  <a:moveTo>
                    <a:pt x="4560611" y="1887444"/>
                  </a:moveTo>
                  <a:cubicBezTo>
                    <a:pt x="4564264" y="1883515"/>
                    <a:pt x="4564264" y="1883515"/>
                    <a:pt x="4560611" y="1887444"/>
                  </a:cubicBezTo>
                </a:path>
              </a:pathLst>
            </a:custGeom>
            <a:grpFill/>
            <a:ln w="689" cap="flat">
              <a:noFill/>
              <a:prstDash val="solid"/>
              <a:miter/>
            </a:ln>
          </p:spPr>
          <p:txBody>
            <a:bodyPr rtlCol="0" anchor="ctr"/>
            <a:lstStyle/>
            <a:p>
              <a:endParaRPr lang="en-US" sz="2400" dirty="0"/>
            </a:p>
          </p:txBody>
        </p:sp>
        <p:sp>
          <p:nvSpPr>
            <p:cNvPr id="102" name="Graphic 8">
              <a:extLst>
                <a:ext uri="{FF2B5EF4-FFF2-40B4-BE49-F238E27FC236}">
                  <a16:creationId xmlns:a16="http://schemas.microsoft.com/office/drawing/2014/main" id="{7460C546-CB8C-49C4-BC8B-488249F58E68}"/>
                </a:ext>
              </a:extLst>
            </p:cNvPr>
            <p:cNvSpPr/>
            <p:nvPr/>
          </p:nvSpPr>
          <p:spPr>
            <a:xfrm flipV="1">
              <a:off x="579161" y="1342376"/>
              <a:ext cx="8117391" cy="1889330"/>
            </a:xfrm>
            <a:custGeom>
              <a:avLst/>
              <a:gdLst>
                <a:gd name="connsiteX0" fmla="*/ 6830988 w 8117391"/>
                <a:gd name="connsiteY0" fmla="*/ 30732 h 1889330"/>
                <a:gd name="connsiteX1" fmla="*/ 6867932 w 8117391"/>
                <a:gd name="connsiteY1" fmla="*/ 31008 h 1889330"/>
                <a:gd name="connsiteX2" fmla="*/ 6865520 w 8117391"/>
                <a:gd name="connsiteY2" fmla="*/ 14948 h 1889330"/>
                <a:gd name="connsiteX3" fmla="*/ 6828438 w 8117391"/>
                <a:gd name="connsiteY3" fmla="*/ -215 h 1889330"/>
                <a:gd name="connsiteX4" fmla="*/ 6827266 w 8117391"/>
                <a:gd name="connsiteY4" fmla="*/ 12949 h 1889330"/>
                <a:gd name="connsiteX5" fmla="*/ 6840637 w 8117391"/>
                <a:gd name="connsiteY5" fmla="*/ 10606 h 1889330"/>
                <a:gd name="connsiteX6" fmla="*/ 6830988 w 8117391"/>
                <a:gd name="connsiteY6" fmla="*/ 30732 h 1889330"/>
                <a:gd name="connsiteX7" fmla="*/ -5715 w 8117391"/>
                <a:gd name="connsiteY7" fmla="*/ 671249 h 1889330"/>
                <a:gd name="connsiteX8" fmla="*/ 12138 w 8117391"/>
                <a:gd name="connsiteY8" fmla="*/ 692753 h 1889330"/>
                <a:gd name="connsiteX9" fmla="*/ 9244 w 8117391"/>
                <a:gd name="connsiteY9" fmla="*/ 683793 h 1889330"/>
                <a:gd name="connsiteX10" fmla="*/ 4761 w 8117391"/>
                <a:gd name="connsiteY10" fmla="*/ 661530 h 1889330"/>
                <a:gd name="connsiteX11" fmla="*/ 3108 w 8117391"/>
                <a:gd name="connsiteY11" fmla="*/ 650020 h 1889330"/>
                <a:gd name="connsiteX12" fmla="*/ -2683 w 8117391"/>
                <a:gd name="connsiteY12" fmla="*/ 638716 h 1889330"/>
                <a:gd name="connsiteX13" fmla="*/ -3992 w 8117391"/>
                <a:gd name="connsiteY13" fmla="*/ 649675 h 1889330"/>
                <a:gd name="connsiteX14" fmla="*/ -5715 w 8117391"/>
                <a:gd name="connsiteY14" fmla="*/ 671249 h 1889330"/>
                <a:gd name="connsiteX15" fmla="*/ 8087139 w 8117391"/>
                <a:gd name="connsiteY15" fmla="*/ 738933 h 1889330"/>
                <a:gd name="connsiteX16" fmla="*/ 8102647 w 8117391"/>
                <a:gd name="connsiteY16" fmla="*/ 774704 h 1889330"/>
                <a:gd name="connsiteX17" fmla="*/ 8110298 w 8117391"/>
                <a:gd name="connsiteY17" fmla="*/ 759127 h 1889330"/>
                <a:gd name="connsiteX18" fmla="*/ 8107197 w 8117391"/>
                <a:gd name="connsiteY18" fmla="*/ 749271 h 1889330"/>
                <a:gd name="connsiteX19" fmla="*/ 8111677 w 8117391"/>
                <a:gd name="connsiteY19" fmla="*/ 719013 h 1889330"/>
                <a:gd name="connsiteX20" fmla="*/ 8098926 w 8117391"/>
                <a:gd name="connsiteY20" fmla="*/ 718944 h 1889330"/>
                <a:gd name="connsiteX21" fmla="*/ 8087139 w 8117391"/>
                <a:gd name="connsiteY21" fmla="*/ 738933 h 1889330"/>
                <a:gd name="connsiteX22" fmla="*/ 3720764 w 8117391"/>
                <a:gd name="connsiteY22" fmla="*/ 969003 h 1889330"/>
                <a:gd name="connsiteX23" fmla="*/ 3732206 w 8117391"/>
                <a:gd name="connsiteY23" fmla="*/ 1039375 h 1889330"/>
                <a:gd name="connsiteX24" fmla="*/ 3744543 w 8117391"/>
                <a:gd name="connsiteY24" fmla="*/ 1021317 h 1889330"/>
                <a:gd name="connsiteX25" fmla="*/ 3747783 w 8117391"/>
                <a:gd name="connsiteY25" fmla="*/ 1006773 h 1889330"/>
                <a:gd name="connsiteX26" fmla="*/ 3745646 w 8117391"/>
                <a:gd name="connsiteY26" fmla="*/ 984442 h 1889330"/>
                <a:gd name="connsiteX27" fmla="*/ 3720764 w 8117391"/>
                <a:gd name="connsiteY27" fmla="*/ 969003 h 1889330"/>
                <a:gd name="connsiteX28" fmla="*/ 4391815 w 8117391"/>
                <a:gd name="connsiteY28" fmla="*/ 1710908 h 1889330"/>
                <a:gd name="connsiteX29" fmla="*/ 4399879 w 8117391"/>
                <a:gd name="connsiteY29" fmla="*/ 1733032 h 1889330"/>
                <a:gd name="connsiteX30" fmla="*/ 4404841 w 8117391"/>
                <a:gd name="connsiteY30" fmla="*/ 1703119 h 1889330"/>
                <a:gd name="connsiteX31" fmla="*/ 4391125 w 8117391"/>
                <a:gd name="connsiteY31" fmla="*/ 1685888 h 1889330"/>
                <a:gd name="connsiteX32" fmla="*/ 4391815 w 8117391"/>
                <a:gd name="connsiteY32" fmla="*/ 1710908 h 1889330"/>
                <a:gd name="connsiteX33" fmla="*/ 6643168 w 8117391"/>
                <a:gd name="connsiteY33" fmla="*/ 1861990 h 1889330"/>
                <a:gd name="connsiteX34" fmla="*/ 6643168 w 8117391"/>
                <a:gd name="connsiteY34" fmla="*/ 1861990 h 1889330"/>
                <a:gd name="connsiteX35" fmla="*/ 6648752 w 8117391"/>
                <a:gd name="connsiteY35" fmla="*/ 1845242 h 1889330"/>
                <a:gd name="connsiteX36" fmla="*/ 6617184 w 8117391"/>
                <a:gd name="connsiteY36" fmla="*/ 1843518 h 1889330"/>
                <a:gd name="connsiteX37" fmla="*/ 6616150 w 8117391"/>
                <a:gd name="connsiteY37" fmla="*/ 1832628 h 1889330"/>
                <a:gd name="connsiteX38" fmla="*/ 6649648 w 8117391"/>
                <a:gd name="connsiteY38" fmla="*/ 1828838 h 1889330"/>
                <a:gd name="connsiteX39" fmla="*/ 6676390 w 8117391"/>
                <a:gd name="connsiteY39" fmla="*/ 1873294 h 1889330"/>
                <a:gd name="connsiteX40" fmla="*/ 6648752 w 8117391"/>
                <a:gd name="connsiteY40" fmla="*/ 1845242 h 1889330"/>
                <a:gd name="connsiteX41" fmla="*/ 6601262 w 8117391"/>
                <a:gd name="connsiteY41" fmla="*/ 1869434 h 1889330"/>
                <a:gd name="connsiteX42" fmla="*/ 6682249 w 8117391"/>
                <a:gd name="connsiteY42" fmla="*/ 1873777 h 1889330"/>
                <a:gd name="connsiteX43" fmla="*/ 6694724 w 8117391"/>
                <a:gd name="connsiteY43" fmla="*/ 1846896 h 1889330"/>
                <a:gd name="connsiteX44" fmla="*/ 6677148 w 8117391"/>
                <a:gd name="connsiteY44" fmla="*/ 1825805 h 1889330"/>
                <a:gd name="connsiteX45" fmla="*/ 6592026 w 8117391"/>
                <a:gd name="connsiteY45" fmla="*/ 1825047 h 1889330"/>
                <a:gd name="connsiteX46" fmla="*/ 6605674 w 8117391"/>
                <a:gd name="connsiteY46" fmla="*/ 1829251 h 1889330"/>
                <a:gd name="connsiteX47" fmla="*/ 6601262 w 8117391"/>
                <a:gd name="connsiteY47" fmla="*/ 1869434 h 1889330"/>
                <a:gd name="connsiteX48" fmla="*/ 6794113 w 8117391"/>
                <a:gd name="connsiteY48" fmla="*/ 1882323 h 1889330"/>
                <a:gd name="connsiteX49" fmla="*/ 6862763 w 8117391"/>
                <a:gd name="connsiteY49" fmla="*/ 1885631 h 1889330"/>
                <a:gd name="connsiteX50" fmla="*/ 6857317 w 8117391"/>
                <a:gd name="connsiteY50" fmla="*/ 1836350 h 1889330"/>
                <a:gd name="connsiteX51" fmla="*/ 6783568 w 8117391"/>
                <a:gd name="connsiteY51" fmla="*/ 1832215 h 1889330"/>
                <a:gd name="connsiteX52" fmla="*/ 6783844 w 8117391"/>
                <a:gd name="connsiteY52" fmla="*/ 1849170 h 1889330"/>
                <a:gd name="connsiteX53" fmla="*/ 6761512 w 8117391"/>
                <a:gd name="connsiteY53" fmla="*/ 1829527 h 1889330"/>
                <a:gd name="connsiteX54" fmla="*/ 6773161 w 8117391"/>
                <a:gd name="connsiteY54" fmla="*/ 1865299 h 1889330"/>
                <a:gd name="connsiteX55" fmla="*/ 6798800 w 8117391"/>
                <a:gd name="connsiteY55" fmla="*/ 1871020 h 1889330"/>
                <a:gd name="connsiteX56" fmla="*/ 6794113 w 8117391"/>
                <a:gd name="connsiteY56" fmla="*/ 1882323 h 1889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8117391" h="1889330">
                  <a:moveTo>
                    <a:pt x="6830988" y="30732"/>
                  </a:moveTo>
                  <a:cubicBezTo>
                    <a:pt x="6843119" y="30939"/>
                    <a:pt x="6855526" y="31077"/>
                    <a:pt x="6867932" y="31008"/>
                  </a:cubicBezTo>
                  <a:cubicBezTo>
                    <a:pt x="6867380" y="27010"/>
                    <a:pt x="6866140" y="18946"/>
                    <a:pt x="6865520" y="14948"/>
                  </a:cubicBezTo>
                  <a:cubicBezTo>
                    <a:pt x="6855181" y="5299"/>
                    <a:pt x="6844290" y="-10830"/>
                    <a:pt x="6828438" y="-215"/>
                  </a:cubicBezTo>
                  <a:lnTo>
                    <a:pt x="6827266" y="12949"/>
                  </a:lnTo>
                  <a:cubicBezTo>
                    <a:pt x="6830643" y="12398"/>
                    <a:pt x="6837329" y="11226"/>
                    <a:pt x="6840637" y="10606"/>
                  </a:cubicBezTo>
                  <a:cubicBezTo>
                    <a:pt x="6837329" y="17361"/>
                    <a:pt x="6834090" y="24046"/>
                    <a:pt x="6830988" y="30732"/>
                  </a:cubicBezTo>
                  <a:close/>
                  <a:moveTo>
                    <a:pt x="-5715" y="671249"/>
                  </a:moveTo>
                  <a:cubicBezTo>
                    <a:pt x="281" y="678348"/>
                    <a:pt x="6207" y="685516"/>
                    <a:pt x="12138" y="692753"/>
                  </a:cubicBezTo>
                  <a:lnTo>
                    <a:pt x="9244" y="683793"/>
                  </a:lnTo>
                  <a:cubicBezTo>
                    <a:pt x="7036" y="676556"/>
                    <a:pt x="5523" y="669112"/>
                    <a:pt x="4761" y="661530"/>
                  </a:cubicBezTo>
                  <a:cubicBezTo>
                    <a:pt x="4352" y="658635"/>
                    <a:pt x="3523" y="652915"/>
                    <a:pt x="3108" y="650020"/>
                  </a:cubicBezTo>
                  <a:lnTo>
                    <a:pt x="-2683" y="638716"/>
                  </a:lnTo>
                  <a:lnTo>
                    <a:pt x="-3992" y="649675"/>
                  </a:lnTo>
                  <a:cubicBezTo>
                    <a:pt x="-4406" y="655051"/>
                    <a:pt x="-5300" y="665872"/>
                    <a:pt x="-5715" y="671249"/>
                  </a:cubicBezTo>
                  <a:moveTo>
                    <a:pt x="8087139" y="738933"/>
                  </a:moveTo>
                  <a:cubicBezTo>
                    <a:pt x="8089552" y="751959"/>
                    <a:pt x="8090379" y="766502"/>
                    <a:pt x="8102647" y="774704"/>
                  </a:cubicBezTo>
                  <a:cubicBezTo>
                    <a:pt x="8104508" y="770845"/>
                    <a:pt x="8108368" y="763056"/>
                    <a:pt x="8110298" y="759127"/>
                  </a:cubicBezTo>
                  <a:cubicBezTo>
                    <a:pt x="8109540" y="756646"/>
                    <a:pt x="8107955" y="751753"/>
                    <a:pt x="8107197" y="749271"/>
                  </a:cubicBezTo>
                  <a:cubicBezTo>
                    <a:pt x="8108644" y="739208"/>
                    <a:pt x="8110091" y="729145"/>
                    <a:pt x="8111677" y="719013"/>
                  </a:cubicBezTo>
                  <a:cubicBezTo>
                    <a:pt x="8108506" y="719013"/>
                    <a:pt x="8102096" y="718944"/>
                    <a:pt x="8098926" y="718944"/>
                  </a:cubicBezTo>
                  <a:cubicBezTo>
                    <a:pt x="8094859" y="725630"/>
                    <a:pt x="8090930" y="732316"/>
                    <a:pt x="8087139" y="738933"/>
                  </a:cubicBezTo>
                  <a:moveTo>
                    <a:pt x="3720764" y="969003"/>
                  </a:moveTo>
                  <a:cubicBezTo>
                    <a:pt x="3718559" y="993265"/>
                    <a:pt x="3715526" y="1019111"/>
                    <a:pt x="3732206" y="1039375"/>
                  </a:cubicBezTo>
                  <a:cubicBezTo>
                    <a:pt x="3735307" y="1034895"/>
                    <a:pt x="3741442" y="1025866"/>
                    <a:pt x="3744543" y="1021317"/>
                  </a:cubicBezTo>
                  <a:cubicBezTo>
                    <a:pt x="3745370" y="1017733"/>
                    <a:pt x="3747025" y="1010427"/>
                    <a:pt x="3747783" y="1006773"/>
                  </a:cubicBezTo>
                  <a:cubicBezTo>
                    <a:pt x="3747300" y="1001191"/>
                    <a:pt x="3746198" y="990025"/>
                    <a:pt x="3745646" y="984442"/>
                  </a:cubicBezTo>
                  <a:cubicBezTo>
                    <a:pt x="3733653" y="985751"/>
                    <a:pt x="3726347" y="978377"/>
                    <a:pt x="3720764" y="969003"/>
                  </a:cubicBezTo>
                  <a:moveTo>
                    <a:pt x="4391815" y="1710908"/>
                  </a:moveTo>
                  <a:cubicBezTo>
                    <a:pt x="4383957" y="1721453"/>
                    <a:pt x="4383751" y="1732894"/>
                    <a:pt x="4399879" y="1733032"/>
                  </a:cubicBezTo>
                  <a:cubicBezTo>
                    <a:pt x="4401395" y="1723107"/>
                    <a:pt x="4403118" y="1713113"/>
                    <a:pt x="4404841" y="1703119"/>
                  </a:cubicBezTo>
                  <a:cubicBezTo>
                    <a:pt x="4401395" y="1698846"/>
                    <a:pt x="4394572" y="1690161"/>
                    <a:pt x="4391125" y="1685888"/>
                  </a:cubicBezTo>
                  <a:cubicBezTo>
                    <a:pt x="4391263" y="1692160"/>
                    <a:pt x="4391608" y="1704704"/>
                    <a:pt x="4391815" y="1710908"/>
                  </a:cubicBezTo>
                  <a:moveTo>
                    <a:pt x="6643168" y="1861990"/>
                  </a:moveTo>
                  <a:cubicBezTo>
                    <a:pt x="6646546" y="1858200"/>
                    <a:pt x="6646546" y="1858200"/>
                    <a:pt x="6643168" y="1861990"/>
                  </a:cubicBezTo>
                  <a:moveTo>
                    <a:pt x="6648752" y="1845242"/>
                  </a:moveTo>
                  <a:cubicBezTo>
                    <a:pt x="6638206" y="1844070"/>
                    <a:pt x="6627660" y="1843518"/>
                    <a:pt x="6617184" y="1843518"/>
                  </a:cubicBezTo>
                  <a:lnTo>
                    <a:pt x="6616150" y="1832628"/>
                  </a:lnTo>
                  <a:cubicBezTo>
                    <a:pt x="6627178" y="1831664"/>
                    <a:pt x="6638550" y="1830492"/>
                    <a:pt x="6649648" y="1828838"/>
                  </a:cubicBezTo>
                  <a:cubicBezTo>
                    <a:pt x="6666672" y="1837109"/>
                    <a:pt x="6689762" y="1851169"/>
                    <a:pt x="6676390" y="1873294"/>
                  </a:cubicBezTo>
                  <a:cubicBezTo>
                    <a:pt x="6665638" y="1865506"/>
                    <a:pt x="6657987" y="1854478"/>
                    <a:pt x="6648752" y="1845242"/>
                  </a:cubicBezTo>
                  <a:moveTo>
                    <a:pt x="6601262" y="1869434"/>
                  </a:moveTo>
                  <a:cubicBezTo>
                    <a:pt x="6628143" y="1871226"/>
                    <a:pt x="6655162" y="1872811"/>
                    <a:pt x="6682249" y="1873777"/>
                  </a:cubicBezTo>
                  <a:cubicBezTo>
                    <a:pt x="6695344" y="1874397"/>
                    <a:pt x="6690382" y="1854822"/>
                    <a:pt x="6694724" y="1846896"/>
                  </a:cubicBezTo>
                  <a:cubicBezTo>
                    <a:pt x="6687418" y="1841037"/>
                    <a:pt x="6680594" y="1834627"/>
                    <a:pt x="6677148" y="1825805"/>
                  </a:cubicBezTo>
                  <a:cubicBezTo>
                    <a:pt x="6648752" y="1826081"/>
                    <a:pt x="6620285" y="1821463"/>
                    <a:pt x="6592026" y="1825047"/>
                  </a:cubicBezTo>
                  <a:cubicBezTo>
                    <a:pt x="6595472" y="1826081"/>
                    <a:pt x="6602296" y="1828217"/>
                    <a:pt x="6605674" y="1829251"/>
                  </a:cubicBezTo>
                  <a:cubicBezTo>
                    <a:pt x="6603743" y="1842623"/>
                    <a:pt x="6602296" y="1855994"/>
                    <a:pt x="6601262" y="1869434"/>
                  </a:cubicBezTo>
                  <a:moveTo>
                    <a:pt x="6794113" y="1882323"/>
                  </a:moveTo>
                  <a:cubicBezTo>
                    <a:pt x="6816996" y="1882737"/>
                    <a:pt x="6839810" y="1884046"/>
                    <a:pt x="6862763" y="1885631"/>
                  </a:cubicBezTo>
                  <a:cubicBezTo>
                    <a:pt x="6853388" y="1870882"/>
                    <a:pt x="6857317" y="1852823"/>
                    <a:pt x="6857317" y="1836350"/>
                  </a:cubicBezTo>
                  <a:cubicBezTo>
                    <a:pt x="6832573" y="1838349"/>
                    <a:pt x="6808036" y="1834627"/>
                    <a:pt x="6783568" y="1832215"/>
                  </a:cubicBezTo>
                  <a:cubicBezTo>
                    <a:pt x="6783637" y="1836488"/>
                    <a:pt x="6783775" y="1844966"/>
                    <a:pt x="6783844" y="1849170"/>
                  </a:cubicBezTo>
                  <a:cubicBezTo>
                    <a:pt x="6782810" y="1836144"/>
                    <a:pt x="6775159" y="1829251"/>
                    <a:pt x="6761512" y="1829527"/>
                  </a:cubicBezTo>
                  <a:cubicBezTo>
                    <a:pt x="6761374" y="1842692"/>
                    <a:pt x="6765234" y="1854891"/>
                    <a:pt x="6773161" y="1865299"/>
                  </a:cubicBezTo>
                  <a:cubicBezTo>
                    <a:pt x="6781638" y="1867091"/>
                    <a:pt x="6790184" y="1869021"/>
                    <a:pt x="6798800" y="1871020"/>
                  </a:cubicBezTo>
                  <a:cubicBezTo>
                    <a:pt x="6797629" y="1873845"/>
                    <a:pt x="6795285" y="1879497"/>
                    <a:pt x="6794113" y="1882323"/>
                  </a:cubicBezTo>
                </a:path>
              </a:pathLst>
            </a:custGeom>
            <a:grpFill/>
            <a:ln w="689" cap="flat">
              <a:noFill/>
              <a:prstDash val="solid"/>
              <a:miter/>
            </a:ln>
          </p:spPr>
          <p:txBody>
            <a:bodyPr rtlCol="0" anchor="ctr"/>
            <a:lstStyle/>
            <a:p>
              <a:endParaRPr lang="en-US" sz="2400" dirty="0"/>
            </a:p>
          </p:txBody>
        </p:sp>
        <p:sp>
          <p:nvSpPr>
            <p:cNvPr id="103" name="Graphic 8">
              <a:extLst>
                <a:ext uri="{FF2B5EF4-FFF2-40B4-BE49-F238E27FC236}">
                  <a16:creationId xmlns:a16="http://schemas.microsoft.com/office/drawing/2014/main" id="{535788A0-D5CE-40F7-B7E0-82A85F0F0D00}"/>
                </a:ext>
              </a:extLst>
            </p:cNvPr>
            <p:cNvSpPr/>
            <p:nvPr/>
          </p:nvSpPr>
          <p:spPr>
            <a:xfrm flipV="1">
              <a:off x="5368389" y="1338711"/>
              <a:ext cx="2127565" cy="1993759"/>
            </a:xfrm>
            <a:custGeom>
              <a:avLst/>
              <a:gdLst>
                <a:gd name="connsiteX0" fmla="*/ -7971 w 2127565"/>
                <a:gd name="connsiteY0" fmla="*/ -415 h 1993759"/>
                <a:gd name="connsiteX1" fmla="*/ -7971 w 2127565"/>
                <a:gd name="connsiteY1" fmla="*/ -415 h 1993759"/>
                <a:gd name="connsiteX2" fmla="*/ 2068796 w 2127565"/>
                <a:gd name="connsiteY2" fmla="*/ 1956631 h 1993759"/>
                <a:gd name="connsiteX3" fmla="*/ 2119594 w 2127565"/>
                <a:gd name="connsiteY3" fmla="*/ 1989232 h 1993759"/>
                <a:gd name="connsiteX4" fmla="*/ 2107532 w 2127565"/>
                <a:gd name="connsiteY4" fmla="*/ 1960284 h 1993759"/>
                <a:gd name="connsiteX5" fmla="*/ 2088371 w 2127565"/>
                <a:gd name="connsiteY5" fmla="*/ 1960973 h 1993759"/>
                <a:gd name="connsiteX6" fmla="*/ 2079066 w 2127565"/>
                <a:gd name="connsiteY6" fmla="*/ 1937815 h 1993759"/>
                <a:gd name="connsiteX7" fmla="*/ 2068796 w 2127565"/>
                <a:gd name="connsiteY7" fmla="*/ 1956631 h 199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7565" h="1993759">
                  <a:moveTo>
                    <a:pt x="-7971" y="-415"/>
                  </a:moveTo>
                  <a:cubicBezTo>
                    <a:pt x="-3836" y="-4688"/>
                    <a:pt x="-3836" y="-4688"/>
                    <a:pt x="-7971" y="-415"/>
                  </a:cubicBezTo>
                  <a:close/>
                  <a:moveTo>
                    <a:pt x="2068796" y="1956631"/>
                  </a:moveTo>
                  <a:cubicBezTo>
                    <a:pt x="2071002" y="1982271"/>
                    <a:pt x="2096228" y="1993575"/>
                    <a:pt x="2119594" y="1989232"/>
                  </a:cubicBezTo>
                  <a:cubicBezTo>
                    <a:pt x="2115527" y="1979583"/>
                    <a:pt x="2111530" y="1969934"/>
                    <a:pt x="2107532" y="1960284"/>
                  </a:cubicBezTo>
                  <a:cubicBezTo>
                    <a:pt x="2102707" y="1960491"/>
                    <a:pt x="2093127" y="1960836"/>
                    <a:pt x="2088371" y="1960973"/>
                  </a:cubicBezTo>
                  <a:cubicBezTo>
                    <a:pt x="2086027" y="1955184"/>
                    <a:pt x="2081341" y="1943605"/>
                    <a:pt x="2079066" y="1937815"/>
                  </a:cubicBezTo>
                  <a:cubicBezTo>
                    <a:pt x="2073138" y="1942846"/>
                    <a:pt x="2069762" y="1949187"/>
                    <a:pt x="2068796" y="1956631"/>
                  </a:cubicBezTo>
                </a:path>
              </a:pathLst>
            </a:custGeom>
            <a:grpFill/>
            <a:ln w="689" cap="flat">
              <a:noFill/>
              <a:prstDash val="solid"/>
              <a:miter/>
            </a:ln>
          </p:spPr>
          <p:txBody>
            <a:bodyPr rtlCol="0" anchor="ctr"/>
            <a:lstStyle/>
            <a:p>
              <a:endParaRPr lang="en-US" sz="2400" dirty="0"/>
            </a:p>
          </p:txBody>
        </p:sp>
        <p:sp>
          <p:nvSpPr>
            <p:cNvPr id="104" name="Graphic 8">
              <a:extLst>
                <a:ext uri="{FF2B5EF4-FFF2-40B4-BE49-F238E27FC236}">
                  <a16:creationId xmlns:a16="http://schemas.microsoft.com/office/drawing/2014/main" id="{EC27A856-47F1-47BD-BB5F-21D8EAE7B713}"/>
                </a:ext>
              </a:extLst>
            </p:cNvPr>
            <p:cNvSpPr/>
            <p:nvPr/>
          </p:nvSpPr>
          <p:spPr>
            <a:xfrm flipV="1">
              <a:off x="1544379" y="1353404"/>
              <a:ext cx="6762256" cy="2407192"/>
            </a:xfrm>
            <a:custGeom>
              <a:avLst/>
              <a:gdLst>
                <a:gd name="connsiteX0" fmla="*/ -2421 w 6762256"/>
                <a:gd name="connsiteY0" fmla="*/ 11356 h 2407192"/>
                <a:gd name="connsiteX1" fmla="*/ 2335 w 6762256"/>
                <a:gd name="connsiteY1" fmla="*/ -3256 h 2407192"/>
                <a:gd name="connsiteX2" fmla="*/ -2421 w 6762256"/>
                <a:gd name="connsiteY2" fmla="*/ 11356 h 2407192"/>
                <a:gd name="connsiteX3" fmla="*/ 716187 w 6762256"/>
                <a:gd name="connsiteY3" fmla="*/ 103164 h 2407192"/>
                <a:gd name="connsiteX4" fmla="*/ 726457 w 6762256"/>
                <a:gd name="connsiteY4" fmla="*/ 92688 h 2407192"/>
                <a:gd name="connsiteX5" fmla="*/ 716187 w 6762256"/>
                <a:gd name="connsiteY5" fmla="*/ 103164 h 2407192"/>
                <a:gd name="connsiteX6" fmla="*/ 2477901 w 6762256"/>
                <a:gd name="connsiteY6" fmla="*/ 176569 h 2407192"/>
                <a:gd name="connsiteX7" fmla="*/ 2495408 w 6762256"/>
                <a:gd name="connsiteY7" fmla="*/ 128666 h 2407192"/>
                <a:gd name="connsiteX8" fmla="*/ 2487137 w 6762256"/>
                <a:gd name="connsiteY8" fmla="*/ 122532 h 2407192"/>
                <a:gd name="connsiteX9" fmla="*/ 2477901 w 6762256"/>
                <a:gd name="connsiteY9" fmla="*/ 176569 h 2407192"/>
                <a:gd name="connsiteX10" fmla="*/ 3739290 w 6762256"/>
                <a:gd name="connsiteY10" fmla="*/ 246390 h 2407192"/>
                <a:gd name="connsiteX11" fmla="*/ 3739290 w 6762256"/>
                <a:gd name="connsiteY11" fmla="*/ 246390 h 2407192"/>
                <a:gd name="connsiteX12" fmla="*/ 5015774 w 6762256"/>
                <a:gd name="connsiteY12" fmla="*/ 820394 h 2407192"/>
                <a:gd name="connsiteX13" fmla="*/ 5009158 w 6762256"/>
                <a:gd name="connsiteY13" fmla="*/ 812330 h 2407192"/>
                <a:gd name="connsiteX14" fmla="*/ 5015774 w 6762256"/>
                <a:gd name="connsiteY14" fmla="*/ 820394 h 2407192"/>
                <a:gd name="connsiteX15" fmla="*/ 6741027 w 6762256"/>
                <a:gd name="connsiteY15" fmla="*/ 1397086 h 2407192"/>
                <a:gd name="connsiteX16" fmla="*/ 6755018 w 6762256"/>
                <a:gd name="connsiteY16" fmla="*/ 1380820 h 2407192"/>
                <a:gd name="connsiteX17" fmla="*/ 6741027 w 6762256"/>
                <a:gd name="connsiteY17" fmla="*/ 1397086 h 2407192"/>
                <a:gd name="connsiteX18" fmla="*/ 4918453 w 6762256"/>
                <a:gd name="connsiteY18" fmla="*/ 1632464 h 2407192"/>
                <a:gd name="connsiteX19" fmla="*/ 4918453 w 6762256"/>
                <a:gd name="connsiteY19" fmla="*/ 1632464 h 2407192"/>
                <a:gd name="connsiteX20" fmla="*/ 5538981 w 6762256"/>
                <a:gd name="connsiteY20" fmla="*/ 1970608 h 2407192"/>
                <a:gd name="connsiteX21" fmla="*/ 5538981 w 6762256"/>
                <a:gd name="connsiteY21" fmla="*/ 1970608 h 2407192"/>
                <a:gd name="connsiteX22" fmla="*/ 4497944 w 6762256"/>
                <a:gd name="connsiteY22" fmla="*/ 1970263 h 2407192"/>
                <a:gd name="connsiteX23" fmla="*/ 4497944 w 6762256"/>
                <a:gd name="connsiteY23" fmla="*/ 1970263 h 2407192"/>
                <a:gd name="connsiteX24" fmla="*/ 6386134 w 6762256"/>
                <a:gd name="connsiteY24" fmla="*/ 2080060 h 2407192"/>
                <a:gd name="connsiteX25" fmla="*/ 6386134 w 6762256"/>
                <a:gd name="connsiteY25" fmla="*/ 2080060 h 2407192"/>
                <a:gd name="connsiteX26" fmla="*/ 1038961 w 6762256"/>
                <a:gd name="connsiteY26" fmla="*/ 2213085 h 2407192"/>
                <a:gd name="connsiteX27" fmla="*/ 1038961 w 6762256"/>
                <a:gd name="connsiteY27" fmla="*/ 2213085 h 2407192"/>
                <a:gd name="connsiteX28" fmla="*/ 3333393 w 6762256"/>
                <a:gd name="connsiteY28" fmla="*/ 2403937 h 2407192"/>
                <a:gd name="connsiteX29" fmla="*/ 3338563 w 6762256"/>
                <a:gd name="connsiteY29" fmla="*/ 2388843 h 2407192"/>
                <a:gd name="connsiteX30" fmla="*/ 3333393 w 6762256"/>
                <a:gd name="connsiteY30" fmla="*/ 2403937 h 240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762256" h="2407192">
                  <a:moveTo>
                    <a:pt x="-2421" y="11356"/>
                  </a:moveTo>
                  <a:cubicBezTo>
                    <a:pt x="6815" y="10116"/>
                    <a:pt x="8400" y="5291"/>
                    <a:pt x="2335" y="-3256"/>
                  </a:cubicBezTo>
                  <a:cubicBezTo>
                    <a:pt x="-6970" y="-1946"/>
                    <a:pt x="-8555" y="2948"/>
                    <a:pt x="-2421" y="11356"/>
                  </a:cubicBezTo>
                  <a:close/>
                  <a:moveTo>
                    <a:pt x="716187" y="103164"/>
                  </a:moveTo>
                  <a:cubicBezTo>
                    <a:pt x="725837" y="105783"/>
                    <a:pt x="729283" y="102337"/>
                    <a:pt x="726457" y="92688"/>
                  </a:cubicBezTo>
                  <a:cubicBezTo>
                    <a:pt x="716808" y="90206"/>
                    <a:pt x="713361" y="93721"/>
                    <a:pt x="716187" y="103164"/>
                  </a:cubicBezTo>
                  <a:moveTo>
                    <a:pt x="2477901" y="176569"/>
                  </a:moveTo>
                  <a:cubicBezTo>
                    <a:pt x="2500095" y="174570"/>
                    <a:pt x="2494029" y="145070"/>
                    <a:pt x="2495408" y="128666"/>
                  </a:cubicBezTo>
                  <a:cubicBezTo>
                    <a:pt x="2493340" y="127150"/>
                    <a:pt x="2489204" y="124048"/>
                    <a:pt x="2487137" y="122532"/>
                  </a:cubicBezTo>
                  <a:cubicBezTo>
                    <a:pt x="2486103" y="140866"/>
                    <a:pt x="2484380" y="159269"/>
                    <a:pt x="2477901" y="176569"/>
                  </a:cubicBezTo>
                  <a:moveTo>
                    <a:pt x="3739290" y="246390"/>
                  </a:moveTo>
                  <a:cubicBezTo>
                    <a:pt x="3762035" y="246596"/>
                    <a:pt x="3729503" y="225299"/>
                    <a:pt x="3739290" y="246390"/>
                  </a:cubicBezTo>
                  <a:moveTo>
                    <a:pt x="5015774" y="820394"/>
                  </a:moveTo>
                  <a:cubicBezTo>
                    <a:pt x="5039140" y="826390"/>
                    <a:pt x="5014396" y="791652"/>
                    <a:pt x="5009158" y="812330"/>
                  </a:cubicBezTo>
                  <a:cubicBezTo>
                    <a:pt x="5010812" y="814328"/>
                    <a:pt x="5014120" y="818395"/>
                    <a:pt x="5015774" y="820394"/>
                  </a:cubicBezTo>
                  <a:moveTo>
                    <a:pt x="6741027" y="1397086"/>
                  </a:moveTo>
                  <a:cubicBezTo>
                    <a:pt x="6749228" y="1404323"/>
                    <a:pt x="6759705" y="1388126"/>
                    <a:pt x="6755018" y="1380820"/>
                  </a:cubicBezTo>
                  <a:cubicBezTo>
                    <a:pt x="6746058" y="1376064"/>
                    <a:pt x="6734272" y="1388815"/>
                    <a:pt x="6741027" y="1397086"/>
                  </a:cubicBezTo>
                  <a:moveTo>
                    <a:pt x="4918453" y="1632464"/>
                  </a:moveTo>
                  <a:cubicBezTo>
                    <a:pt x="4941129" y="1630947"/>
                    <a:pt x="4907494" y="1611924"/>
                    <a:pt x="4918453" y="1632464"/>
                  </a:cubicBezTo>
                  <a:moveTo>
                    <a:pt x="5538981" y="1970608"/>
                  </a:moveTo>
                  <a:cubicBezTo>
                    <a:pt x="5561657" y="1968471"/>
                    <a:pt x="5527539" y="1950344"/>
                    <a:pt x="5538981" y="1970608"/>
                  </a:cubicBezTo>
                  <a:moveTo>
                    <a:pt x="4497944" y="1970263"/>
                  </a:moveTo>
                  <a:cubicBezTo>
                    <a:pt x="4520758" y="1969643"/>
                    <a:pt x="4487260" y="1949586"/>
                    <a:pt x="4497944" y="1970263"/>
                  </a:cubicBezTo>
                  <a:moveTo>
                    <a:pt x="6386134" y="2080060"/>
                  </a:moveTo>
                  <a:cubicBezTo>
                    <a:pt x="6408810" y="2080267"/>
                    <a:pt x="6376691" y="2058763"/>
                    <a:pt x="6386134" y="2080060"/>
                  </a:cubicBezTo>
                  <a:moveTo>
                    <a:pt x="1038961" y="2213085"/>
                  </a:moveTo>
                  <a:cubicBezTo>
                    <a:pt x="1059639" y="2223285"/>
                    <a:pt x="1039719" y="2190133"/>
                    <a:pt x="1038961" y="2213085"/>
                  </a:cubicBezTo>
                  <a:moveTo>
                    <a:pt x="3333393" y="2403937"/>
                  </a:moveTo>
                  <a:cubicBezTo>
                    <a:pt x="3342491" y="2402352"/>
                    <a:pt x="3344214" y="2397320"/>
                    <a:pt x="3338563" y="2388843"/>
                  </a:cubicBezTo>
                  <a:cubicBezTo>
                    <a:pt x="3329326" y="2390428"/>
                    <a:pt x="3327603" y="2395528"/>
                    <a:pt x="3333393" y="2403937"/>
                  </a:cubicBezTo>
                </a:path>
              </a:pathLst>
            </a:custGeom>
            <a:grpFill/>
            <a:ln w="689" cap="flat">
              <a:noFill/>
              <a:prstDash val="solid"/>
              <a:miter/>
            </a:ln>
          </p:spPr>
          <p:txBody>
            <a:bodyPr rtlCol="0" anchor="ctr"/>
            <a:lstStyle/>
            <a:p>
              <a:endParaRPr lang="en-US" sz="2400" dirty="0"/>
            </a:p>
          </p:txBody>
        </p:sp>
        <p:sp>
          <p:nvSpPr>
            <p:cNvPr id="105" name="Graphic 8">
              <a:extLst>
                <a:ext uri="{FF2B5EF4-FFF2-40B4-BE49-F238E27FC236}">
                  <a16:creationId xmlns:a16="http://schemas.microsoft.com/office/drawing/2014/main" id="{D69BCEC8-63FC-434F-A9FB-4D2AC01FA8E7}"/>
                </a:ext>
              </a:extLst>
            </p:cNvPr>
            <p:cNvSpPr/>
            <p:nvPr/>
          </p:nvSpPr>
          <p:spPr>
            <a:xfrm flipV="1">
              <a:off x="588676" y="1349819"/>
              <a:ext cx="7487623" cy="2301806"/>
            </a:xfrm>
            <a:custGeom>
              <a:avLst/>
              <a:gdLst>
                <a:gd name="connsiteX0" fmla="*/ 390776 w 7487623"/>
                <a:gd name="connsiteY0" fmla="*/ 37662 h 2301806"/>
                <a:gd name="connsiteX1" fmla="*/ 400150 w 7487623"/>
                <a:gd name="connsiteY1" fmla="*/ 15744 h 2301806"/>
                <a:gd name="connsiteX2" fmla="*/ 390776 w 7487623"/>
                <a:gd name="connsiteY2" fmla="*/ 37662 h 2301806"/>
                <a:gd name="connsiteX3" fmla="*/ 366032 w 7487623"/>
                <a:gd name="connsiteY3" fmla="*/ 45864 h 2301806"/>
                <a:gd name="connsiteX4" fmla="*/ 414900 w 7487623"/>
                <a:gd name="connsiteY4" fmla="*/ 48483 h 2301806"/>
                <a:gd name="connsiteX5" fmla="*/ 397324 w 7487623"/>
                <a:gd name="connsiteY5" fmla="*/ 1821 h 2301806"/>
                <a:gd name="connsiteX6" fmla="*/ 404974 w 7487623"/>
                <a:gd name="connsiteY6" fmla="*/ 1821 h 2301806"/>
                <a:gd name="connsiteX7" fmla="*/ 407731 w 7487623"/>
                <a:gd name="connsiteY7" fmla="*/ 1752 h 2301806"/>
                <a:gd name="connsiteX8" fmla="*/ 324333 w 7487623"/>
                <a:gd name="connsiteY8" fmla="*/ -3348 h 2301806"/>
                <a:gd name="connsiteX9" fmla="*/ 323437 w 7487623"/>
                <a:gd name="connsiteY9" fmla="*/ 6922 h 2301806"/>
                <a:gd name="connsiteX10" fmla="*/ 306068 w 7487623"/>
                <a:gd name="connsiteY10" fmla="*/ 4165 h 2301806"/>
                <a:gd name="connsiteX11" fmla="*/ 316751 w 7487623"/>
                <a:gd name="connsiteY11" fmla="*/ 13676 h 2301806"/>
                <a:gd name="connsiteX12" fmla="*/ 300416 w 7487623"/>
                <a:gd name="connsiteY12" fmla="*/ 10782 h 2301806"/>
                <a:gd name="connsiteX13" fmla="*/ 294488 w 7487623"/>
                <a:gd name="connsiteY13" fmla="*/ 34492 h 2301806"/>
                <a:gd name="connsiteX14" fmla="*/ 225701 w 7487623"/>
                <a:gd name="connsiteY14" fmla="*/ 34285 h 2301806"/>
                <a:gd name="connsiteX15" fmla="*/ 220463 w 7487623"/>
                <a:gd name="connsiteY15" fmla="*/ 16502 h 2301806"/>
                <a:gd name="connsiteX16" fmla="*/ 209435 w 7487623"/>
                <a:gd name="connsiteY16" fmla="*/ 24153 h 2301806"/>
                <a:gd name="connsiteX17" fmla="*/ 207643 w 7487623"/>
                <a:gd name="connsiteY17" fmla="*/ 40557 h 2301806"/>
                <a:gd name="connsiteX18" fmla="*/ 298348 w 7487623"/>
                <a:gd name="connsiteY18" fmla="*/ 41729 h 2301806"/>
                <a:gd name="connsiteX19" fmla="*/ 314890 w 7487623"/>
                <a:gd name="connsiteY19" fmla="*/ 25393 h 2301806"/>
                <a:gd name="connsiteX20" fmla="*/ 310203 w 7487623"/>
                <a:gd name="connsiteY20" fmla="*/ 44417 h 2301806"/>
                <a:gd name="connsiteX21" fmla="*/ 328124 w 7487623"/>
                <a:gd name="connsiteY21" fmla="*/ 33596 h 2301806"/>
                <a:gd name="connsiteX22" fmla="*/ 348249 w 7487623"/>
                <a:gd name="connsiteY22" fmla="*/ 23464 h 2301806"/>
                <a:gd name="connsiteX23" fmla="*/ 328192 w 7487623"/>
                <a:gd name="connsiteY23" fmla="*/ 7335 h 2301806"/>
                <a:gd name="connsiteX24" fmla="*/ 361138 w 7487623"/>
                <a:gd name="connsiteY24" fmla="*/ 27806 h 2301806"/>
                <a:gd name="connsiteX25" fmla="*/ 372856 w 7487623"/>
                <a:gd name="connsiteY25" fmla="*/ 25462 h 2301806"/>
                <a:gd name="connsiteX26" fmla="*/ 366032 w 7487623"/>
                <a:gd name="connsiteY26" fmla="*/ 45864 h 2301806"/>
                <a:gd name="connsiteX27" fmla="*/ 7322250 w 7487623"/>
                <a:gd name="connsiteY27" fmla="*/ 455759 h 2301806"/>
                <a:gd name="connsiteX28" fmla="*/ 7322250 w 7487623"/>
                <a:gd name="connsiteY28" fmla="*/ 455759 h 2301806"/>
                <a:gd name="connsiteX29" fmla="*/ 7205767 w 7487623"/>
                <a:gd name="connsiteY29" fmla="*/ 454656 h 2301806"/>
                <a:gd name="connsiteX30" fmla="*/ 7214865 w 7487623"/>
                <a:gd name="connsiteY30" fmla="*/ 440044 h 2301806"/>
                <a:gd name="connsiteX31" fmla="*/ 7205767 w 7487623"/>
                <a:gd name="connsiteY31" fmla="*/ 454656 h 2301806"/>
                <a:gd name="connsiteX32" fmla="*/ 7109893 w 7487623"/>
                <a:gd name="connsiteY32" fmla="*/ 455621 h 2301806"/>
                <a:gd name="connsiteX33" fmla="*/ 7109893 w 7487623"/>
                <a:gd name="connsiteY33" fmla="*/ 455621 h 2301806"/>
                <a:gd name="connsiteX34" fmla="*/ 7295783 w 7487623"/>
                <a:gd name="connsiteY34" fmla="*/ 462238 h 2301806"/>
                <a:gd name="connsiteX35" fmla="*/ 7295162 w 7487623"/>
                <a:gd name="connsiteY35" fmla="*/ 443697 h 2301806"/>
                <a:gd name="connsiteX36" fmla="*/ 7295783 w 7487623"/>
                <a:gd name="connsiteY36" fmla="*/ 462238 h 2301806"/>
                <a:gd name="connsiteX37" fmla="*/ 7454861 w 7487623"/>
                <a:gd name="connsiteY37" fmla="*/ 469199 h 2301806"/>
                <a:gd name="connsiteX38" fmla="*/ 7453000 w 7487623"/>
                <a:gd name="connsiteY38" fmla="*/ 463892 h 2301806"/>
                <a:gd name="connsiteX39" fmla="*/ 7461271 w 7487623"/>
                <a:gd name="connsiteY39" fmla="*/ 454725 h 2301806"/>
                <a:gd name="connsiteX40" fmla="*/ 7454861 w 7487623"/>
                <a:gd name="connsiteY40" fmla="*/ 469199 h 2301806"/>
                <a:gd name="connsiteX41" fmla="*/ 7438388 w 7487623"/>
                <a:gd name="connsiteY41" fmla="*/ 490083 h 2301806"/>
                <a:gd name="connsiteX42" fmla="*/ 7476090 w 7487623"/>
                <a:gd name="connsiteY42" fmla="*/ 492840 h 2301806"/>
                <a:gd name="connsiteX43" fmla="*/ 7478157 w 7487623"/>
                <a:gd name="connsiteY43" fmla="*/ 467545 h 2301806"/>
                <a:gd name="connsiteX44" fmla="*/ 7481190 w 7487623"/>
                <a:gd name="connsiteY44" fmla="*/ 460997 h 2301806"/>
                <a:gd name="connsiteX45" fmla="*/ 7482293 w 7487623"/>
                <a:gd name="connsiteY45" fmla="*/ 446730 h 2301806"/>
                <a:gd name="connsiteX46" fmla="*/ 7422122 w 7487623"/>
                <a:gd name="connsiteY46" fmla="*/ 439286 h 2301806"/>
                <a:gd name="connsiteX47" fmla="*/ 7417572 w 7487623"/>
                <a:gd name="connsiteY47" fmla="*/ 451692 h 2301806"/>
                <a:gd name="connsiteX48" fmla="*/ 7408750 w 7487623"/>
                <a:gd name="connsiteY48" fmla="*/ 439493 h 2301806"/>
                <a:gd name="connsiteX49" fmla="*/ 7355609 w 7487623"/>
                <a:gd name="connsiteY49" fmla="*/ 436942 h 2301806"/>
                <a:gd name="connsiteX50" fmla="*/ 7351681 w 7487623"/>
                <a:gd name="connsiteY50" fmla="*/ 452175 h 2301806"/>
                <a:gd name="connsiteX51" fmla="*/ 7350647 w 7487623"/>
                <a:gd name="connsiteY51" fmla="*/ 435150 h 2301806"/>
                <a:gd name="connsiteX52" fmla="*/ 7339136 w 7487623"/>
                <a:gd name="connsiteY52" fmla="*/ 441698 h 2301806"/>
                <a:gd name="connsiteX53" fmla="*/ 7313703 w 7487623"/>
                <a:gd name="connsiteY53" fmla="*/ 431635 h 2301806"/>
                <a:gd name="connsiteX54" fmla="*/ 7309705 w 7487623"/>
                <a:gd name="connsiteY54" fmla="*/ 444662 h 2301806"/>
                <a:gd name="connsiteX55" fmla="*/ 7310532 w 7487623"/>
                <a:gd name="connsiteY55" fmla="*/ 432669 h 2301806"/>
                <a:gd name="connsiteX56" fmla="*/ 7268558 w 7487623"/>
                <a:gd name="connsiteY56" fmla="*/ 429981 h 2301806"/>
                <a:gd name="connsiteX57" fmla="*/ 7253739 w 7487623"/>
                <a:gd name="connsiteY57" fmla="*/ 468510 h 2301806"/>
                <a:gd name="connsiteX58" fmla="*/ 7248156 w 7487623"/>
                <a:gd name="connsiteY58" fmla="*/ 468923 h 2301806"/>
                <a:gd name="connsiteX59" fmla="*/ 7265938 w 7487623"/>
                <a:gd name="connsiteY59" fmla="*/ 441147 h 2301806"/>
                <a:gd name="connsiteX60" fmla="*/ 7247328 w 7487623"/>
                <a:gd name="connsiteY60" fmla="*/ 441216 h 2301806"/>
                <a:gd name="connsiteX61" fmla="*/ 7246984 w 7487623"/>
                <a:gd name="connsiteY61" fmla="*/ 437632 h 2301806"/>
                <a:gd name="connsiteX62" fmla="*/ 7264284 w 7487623"/>
                <a:gd name="connsiteY62" fmla="*/ 440113 h 2301806"/>
                <a:gd name="connsiteX63" fmla="*/ 7264904 w 7487623"/>
                <a:gd name="connsiteY63" fmla="*/ 429361 h 2301806"/>
                <a:gd name="connsiteX64" fmla="*/ 7154625 w 7487623"/>
                <a:gd name="connsiteY64" fmla="*/ 424398 h 2301806"/>
                <a:gd name="connsiteX65" fmla="*/ 7152212 w 7487623"/>
                <a:gd name="connsiteY65" fmla="*/ 436805 h 2301806"/>
                <a:gd name="connsiteX66" fmla="*/ 7151799 w 7487623"/>
                <a:gd name="connsiteY66" fmla="*/ 424674 h 2301806"/>
                <a:gd name="connsiteX67" fmla="*/ 7132294 w 7487623"/>
                <a:gd name="connsiteY67" fmla="*/ 425639 h 2301806"/>
                <a:gd name="connsiteX68" fmla="*/ 7132707 w 7487623"/>
                <a:gd name="connsiteY68" fmla="*/ 432462 h 2301806"/>
                <a:gd name="connsiteX69" fmla="*/ 7113408 w 7487623"/>
                <a:gd name="connsiteY69" fmla="*/ 438734 h 2301806"/>
                <a:gd name="connsiteX70" fmla="*/ 7102380 w 7487623"/>
                <a:gd name="connsiteY70" fmla="*/ 443008 h 2301806"/>
                <a:gd name="connsiteX71" fmla="*/ 7095281 w 7487623"/>
                <a:gd name="connsiteY71" fmla="*/ 467614 h 2301806"/>
                <a:gd name="connsiteX72" fmla="*/ 7146630 w 7487623"/>
                <a:gd name="connsiteY72" fmla="*/ 468855 h 2301806"/>
                <a:gd name="connsiteX73" fmla="*/ 7152695 w 7487623"/>
                <a:gd name="connsiteY73" fmla="*/ 444662 h 2301806"/>
                <a:gd name="connsiteX74" fmla="*/ 7172270 w 7487623"/>
                <a:gd name="connsiteY74" fmla="*/ 456862 h 2301806"/>
                <a:gd name="connsiteX75" fmla="*/ 7174338 w 7487623"/>
                <a:gd name="connsiteY75" fmla="*/ 472576 h 2301806"/>
                <a:gd name="connsiteX76" fmla="*/ 7397584 w 7487623"/>
                <a:gd name="connsiteY76" fmla="*/ 482226 h 2301806"/>
                <a:gd name="connsiteX77" fmla="*/ 7378561 w 7487623"/>
                <a:gd name="connsiteY77" fmla="*/ 450934 h 2301806"/>
                <a:gd name="connsiteX78" fmla="*/ 7389727 w 7487623"/>
                <a:gd name="connsiteY78" fmla="*/ 477677 h 2301806"/>
                <a:gd name="connsiteX79" fmla="*/ 7363466 w 7487623"/>
                <a:gd name="connsiteY79" fmla="*/ 471680 h 2301806"/>
                <a:gd name="connsiteX80" fmla="*/ 7375322 w 7487623"/>
                <a:gd name="connsiteY80" fmla="*/ 466856 h 2301806"/>
                <a:gd name="connsiteX81" fmla="*/ 7373736 w 7487623"/>
                <a:gd name="connsiteY81" fmla="*/ 451968 h 2301806"/>
                <a:gd name="connsiteX82" fmla="*/ 7364225 w 7487623"/>
                <a:gd name="connsiteY82" fmla="*/ 455208 h 2301806"/>
                <a:gd name="connsiteX83" fmla="*/ 7363053 w 7487623"/>
                <a:gd name="connsiteY83" fmla="*/ 439355 h 2301806"/>
                <a:gd name="connsiteX84" fmla="*/ 7438388 w 7487623"/>
                <a:gd name="connsiteY84" fmla="*/ 490083 h 2301806"/>
                <a:gd name="connsiteX85" fmla="*/ 3074 w 7487623"/>
                <a:gd name="connsiteY85" fmla="*/ 1224337 h 2301806"/>
                <a:gd name="connsiteX86" fmla="*/ 24304 w 7487623"/>
                <a:gd name="connsiteY86" fmla="*/ 1268173 h 2301806"/>
                <a:gd name="connsiteX87" fmla="*/ 26094 w 7487623"/>
                <a:gd name="connsiteY87" fmla="*/ 1202419 h 2301806"/>
                <a:gd name="connsiteX88" fmla="*/ -5331 w 7487623"/>
                <a:gd name="connsiteY88" fmla="*/ 1207589 h 2301806"/>
                <a:gd name="connsiteX89" fmla="*/ 15414 w 7487623"/>
                <a:gd name="connsiteY89" fmla="*/ 1227163 h 2301806"/>
                <a:gd name="connsiteX90" fmla="*/ 3074 w 7487623"/>
                <a:gd name="connsiteY90" fmla="*/ 1224337 h 2301806"/>
                <a:gd name="connsiteX91" fmla="*/ 5513530 w 7487623"/>
                <a:gd name="connsiteY91" fmla="*/ 1431732 h 2301806"/>
                <a:gd name="connsiteX92" fmla="*/ 5529727 w 7487623"/>
                <a:gd name="connsiteY92" fmla="*/ 1411468 h 2301806"/>
                <a:gd name="connsiteX93" fmla="*/ 5519388 w 7487623"/>
                <a:gd name="connsiteY93" fmla="*/ 1409951 h 2301806"/>
                <a:gd name="connsiteX94" fmla="*/ 5513530 w 7487623"/>
                <a:gd name="connsiteY94" fmla="*/ 1431732 h 2301806"/>
                <a:gd name="connsiteX95" fmla="*/ 1292655 w 7487623"/>
                <a:gd name="connsiteY95" fmla="*/ 2075763 h 2301806"/>
                <a:gd name="connsiteX96" fmla="*/ 1303683 w 7487623"/>
                <a:gd name="connsiteY96" fmla="*/ 2065838 h 2301806"/>
                <a:gd name="connsiteX97" fmla="*/ 1292655 w 7487623"/>
                <a:gd name="connsiteY97" fmla="*/ 2075763 h 2301806"/>
                <a:gd name="connsiteX98" fmla="*/ 1430573 w 7487623"/>
                <a:gd name="connsiteY98" fmla="*/ 2081622 h 2301806"/>
                <a:gd name="connsiteX99" fmla="*/ 1430573 w 7487623"/>
                <a:gd name="connsiteY99" fmla="*/ 2081622 h 2301806"/>
                <a:gd name="connsiteX100" fmla="*/ 1405415 w 7487623"/>
                <a:gd name="connsiteY100" fmla="*/ 2085068 h 2301806"/>
                <a:gd name="connsiteX101" fmla="*/ 1398523 w 7487623"/>
                <a:gd name="connsiteY101" fmla="*/ 2047504 h 2301806"/>
                <a:gd name="connsiteX102" fmla="*/ 1405415 w 7487623"/>
                <a:gd name="connsiteY102" fmla="*/ 2085068 h 2301806"/>
                <a:gd name="connsiteX103" fmla="*/ 1437052 w 7487623"/>
                <a:gd name="connsiteY103" fmla="*/ 2158335 h 2301806"/>
                <a:gd name="connsiteX104" fmla="*/ 1477924 w 7487623"/>
                <a:gd name="connsiteY104" fmla="*/ 2157232 h 2301806"/>
                <a:gd name="connsiteX105" fmla="*/ 1450974 w 7487623"/>
                <a:gd name="connsiteY105" fmla="*/ 2118772 h 2301806"/>
                <a:gd name="connsiteX106" fmla="*/ 1477510 w 7487623"/>
                <a:gd name="connsiteY106" fmla="*/ 2124906 h 2301806"/>
                <a:gd name="connsiteX107" fmla="*/ 1500945 w 7487623"/>
                <a:gd name="connsiteY107" fmla="*/ 2131937 h 2301806"/>
                <a:gd name="connsiteX108" fmla="*/ 1499566 w 7487623"/>
                <a:gd name="connsiteY108" fmla="*/ 2113947 h 2301806"/>
                <a:gd name="connsiteX109" fmla="*/ 1511973 w 7487623"/>
                <a:gd name="connsiteY109" fmla="*/ 2116842 h 2301806"/>
                <a:gd name="connsiteX110" fmla="*/ 1502186 w 7487623"/>
                <a:gd name="connsiteY110" fmla="*/ 2097199 h 2301806"/>
                <a:gd name="connsiteX111" fmla="*/ 1490399 w 7487623"/>
                <a:gd name="connsiteY111" fmla="*/ 2108227 h 2301806"/>
                <a:gd name="connsiteX112" fmla="*/ 1488125 w 7487623"/>
                <a:gd name="connsiteY112" fmla="*/ 2082035 h 2301806"/>
                <a:gd name="connsiteX113" fmla="*/ 1482060 w 7487623"/>
                <a:gd name="connsiteY113" fmla="*/ 2110364 h 2301806"/>
                <a:gd name="connsiteX114" fmla="*/ 1462347 w 7487623"/>
                <a:gd name="connsiteY114" fmla="*/ 2105883 h 2301806"/>
                <a:gd name="connsiteX115" fmla="*/ 1477373 w 7487623"/>
                <a:gd name="connsiteY115" fmla="*/ 2099887 h 2301806"/>
                <a:gd name="connsiteX116" fmla="*/ 1430090 w 7487623"/>
                <a:gd name="connsiteY116" fmla="*/ 2065011 h 2301806"/>
                <a:gd name="connsiteX117" fmla="*/ 1436294 w 7487623"/>
                <a:gd name="connsiteY117" fmla="*/ 2058877 h 2301806"/>
                <a:gd name="connsiteX118" fmla="*/ 1460762 w 7487623"/>
                <a:gd name="connsiteY118" fmla="*/ 2069284 h 2301806"/>
                <a:gd name="connsiteX119" fmla="*/ 1457522 w 7487623"/>
                <a:gd name="connsiteY119" fmla="*/ 2036890 h 2301806"/>
                <a:gd name="connsiteX120" fmla="*/ 1388805 w 7487623"/>
                <a:gd name="connsiteY120" fmla="*/ 2032754 h 2301806"/>
                <a:gd name="connsiteX121" fmla="*/ 1387495 w 7487623"/>
                <a:gd name="connsiteY121" fmla="*/ 2044678 h 2301806"/>
                <a:gd name="connsiteX122" fmla="*/ 1338490 w 7487623"/>
                <a:gd name="connsiteY122" fmla="*/ 2061427 h 2301806"/>
                <a:gd name="connsiteX123" fmla="*/ 1315951 w 7487623"/>
                <a:gd name="connsiteY123" fmla="*/ 2068940 h 2301806"/>
                <a:gd name="connsiteX124" fmla="*/ 1311195 w 7487623"/>
                <a:gd name="connsiteY124" fmla="*/ 2055017 h 2301806"/>
                <a:gd name="connsiteX125" fmla="*/ 1309886 w 7487623"/>
                <a:gd name="connsiteY125" fmla="*/ 2051571 h 2301806"/>
                <a:gd name="connsiteX126" fmla="*/ 1298513 w 7487623"/>
                <a:gd name="connsiteY126" fmla="*/ 2033375 h 2301806"/>
                <a:gd name="connsiteX127" fmla="*/ 1288450 w 7487623"/>
                <a:gd name="connsiteY127" fmla="*/ 2091409 h 2301806"/>
                <a:gd name="connsiteX128" fmla="*/ 1267911 w 7487623"/>
                <a:gd name="connsiteY128" fmla="*/ 2137864 h 2301806"/>
                <a:gd name="connsiteX129" fmla="*/ 1271633 w 7487623"/>
                <a:gd name="connsiteY129" fmla="*/ 2149582 h 2301806"/>
                <a:gd name="connsiteX130" fmla="*/ 1281213 w 7487623"/>
                <a:gd name="connsiteY130" fmla="*/ 2140897 h 2301806"/>
                <a:gd name="connsiteX131" fmla="*/ 1303820 w 7487623"/>
                <a:gd name="connsiteY131" fmla="*/ 2150478 h 2301806"/>
                <a:gd name="connsiteX132" fmla="*/ 1318157 w 7487623"/>
                <a:gd name="connsiteY132" fmla="*/ 2121805 h 2301806"/>
                <a:gd name="connsiteX133" fmla="*/ 1286038 w 7487623"/>
                <a:gd name="connsiteY133" fmla="*/ 2131730 h 2301806"/>
                <a:gd name="connsiteX134" fmla="*/ 1309955 w 7487623"/>
                <a:gd name="connsiteY134" fmla="*/ 2087342 h 2301806"/>
                <a:gd name="connsiteX135" fmla="*/ 1341316 w 7487623"/>
                <a:gd name="connsiteY135" fmla="*/ 2088239 h 2301806"/>
                <a:gd name="connsiteX136" fmla="*/ 1345864 w 7487623"/>
                <a:gd name="connsiteY136" fmla="*/ 2073144 h 2301806"/>
                <a:gd name="connsiteX137" fmla="*/ 1380947 w 7487623"/>
                <a:gd name="connsiteY137" fmla="*/ 2059359 h 2301806"/>
                <a:gd name="connsiteX138" fmla="*/ 1392251 w 7487623"/>
                <a:gd name="connsiteY138" fmla="*/ 2071559 h 2301806"/>
                <a:gd name="connsiteX139" fmla="*/ 1391493 w 7487623"/>
                <a:gd name="connsiteY139" fmla="*/ 2104574 h 2301806"/>
                <a:gd name="connsiteX140" fmla="*/ 1378190 w 7487623"/>
                <a:gd name="connsiteY140" fmla="*/ 2077211 h 2301806"/>
                <a:gd name="connsiteX141" fmla="*/ 1366611 w 7487623"/>
                <a:gd name="connsiteY141" fmla="*/ 2090927 h 2301806"/>
                <a:gd name="connsiteX142" fmla="*/ 1380809 w 7487623"/>
                <a:gd name="connsiteY142" fmla="*/ 2093270 h 2301806"/>
                <a:gd name="connsiteX143" fmla="*/ 1356203 w 7487623"/>
                <a:gd name="connsiteY143" fmla="*/ 2112776 h 2301806"/>
                <a:gd name="connsiteX144" fmla="*/ 1361304 w 7487623"/>
                <a:gd name="connsiteY144" fmla="*/ 2085482 h 2301806"/>
                <a:gd name="connsiteX145" fmla="*/ 1305682 w 7487623"/>
                <a:gd name="connsiteY145" fmla="*/ 2101955 h 2301806"/>
                <a:gd name="connsiteX146" fmla="*/ 1322223 w 7487623"/>
                <a:gd name="connsiteY146" fmla="*/ 2115533 h 2301806"/>
                <a:gd name="connsiteX147" fmla="*/ 1321190 w 7487623"/>
                <a:gd name="connsiteY147" fmla="*/ 2132419 h 2301806"/>
                <a:gd name="connsiteX148" fmla="*/ 1306784 w 7487623"/>
                <a:gd name="connsiteY148" fmla="*/ 2149926 h 2301806"/>
                <a:gd name="connsiteX149" fmla="*/ 1336629 w 7487623"/>
                <a:gd name="connsiteY149" fmla="*/ 2149168 h 2301806"/>
                <a:gd name="connsiteX150" fmla="*/ 1335802 w 7487623"/>
                <a:gd name="connsiteY150" fmla="*/ 2116567 h 2301806"/>
                <a:gd name="connsiteX151" fmla="*/ 1350069 w 7487623"/>
                <a:gd name="connsiteY151" fmla="*/ 2142482 h 2301806"/>
                <a:gd name="connsiteX152" fmla="*/ 1368403 w 7487623"/>
                <a:gd name="connsiteY152" fmla="*/ 2155096 h 2301806"/>
                <a:gd name="connsiteX153" fmla="*/ 1370057 w 7487623"/>
                <a:gd name="connsiteY153" fmla="*/ 2128146 h 2301806"/>
                <a:gd name="connsiteX154" fmla="*/ 1393491 w 7487623"/>
                <a:gd name="connsiteY154" fmla="*/ 2134005 h 2301806"/>
                <a:gd name="connsiteX155" fmla="*/ 1391975 w 7487623"/>
                <a:gd name="connsiteY155" fmla="*/ 2117118 h 2301806"/>
                <a:gd name="connsiteX156" fmla="*/ 1402245 w 7487623"/>
                <a:gd name="connsiteY156" fmla="*/ 2136900 h 2301806"/>
                <a:gd name="connsiteX157" fmla="*/ 1380120 w 7487623"/>
                <a:gd name="connsiteY157" fmla="*/ 2132075 h 2301806"/>
                <a:gd name="connsiteX158" fmla="*/ 1383566 w 7487623"/>
                <a:gd name="connsiteY158" fmla="*/ 2148823 h 2301806"/>
                <a:gd name="connsiteX159" fmla="*/ 1373503 w 7487623"/>
                <a:gd name="connsiteY159" fmla="*/ 2132488 h 2301806"/>
                <a:gd name="connsiteX160" fmla="*/ 1370057 w 7487623"/>
                <a:gd name="connsiteY160" fmla="*/ 2153924 h 2301806"/>
                <a:gd name="connsiteX161" fmla="*/ 1425955 w 7487623"/>
                <a:gd name="connsiteY161" fmla="*/ 2157990 h 2301806"/>
                <a:gd name="connsiteX162" fmla="*/ 1438913 w 7487623"/>
                <a:gd name="connsiteY162" fmla="*/ 2108916 h 2301806"/>
                <a:gd name="connsiteX163" fmla="*/ 1429057 w 7487623"/>
                <a:gd name="connsiteY163" fmla="*/ 2106710 h 2301806"/>
                <a:gd name="connsiteX164" fmla="*/ 1441876 w 7487623"/>
                <a:gd name="connsiteY164" fmla="*/ 2097957 h 2301806"/>
                <a:gd name="connsiteX165" fmla="*/ 1437052 w 7487623"/>
                <a:gd name="connsiteY165" fmla="*/ 2158335 h 2301806"/>
                <a:gd name="connsiteX166" fmla="*/ 6720952 w 7487623"/>
                <a:gd name="connsiteY166" fmla="*/ 2297839 h 2301806"/>
                <a:gd name="connsiteX167" fmla="*/ 6740732 w 7487623"/>
                <a:gd name="connsiteY167" fmla="*/ 2298459 h 2301806"/>
                <a:gd name="connsiteX168" fmla="*/ 6738734 w 7487623"/>
                <a:gd name="connsiteY168" fmla="*/ 2262135 h 2301806"/>
                <a:gd name="connsiteX169" fmla="*/ 6749486 w 7487623"/>
                <a:gd name="connsiteY169" fmla="*/ 2250901 h 2301806"/>
                <a:gd name="connsiteX170" fmla="*/ 6722192 w 7487623"/>
                <a:gd name="connsiteY170" fmla="*/ 2251383 h 2301806"/>
                <a:gd name="connsiteX171" fmla="*/ 6717643 w 7487623"/>
                <a:gd name="connsiteY171" fmla="*/ 2263583 h 2301806"/>
                <a:gd name="connsiteX172" fmla="*/ 6717436 w 7487623"/>
                <a:gd name="connsiteY172" fmla="*/ 2249729 h 2301806"/>
                <a:gd name="connsiteX173" fmla="*/ 6707235 w 7487623"/>
                <a:gd name="connsiteY173" fmla="*/ 2249109 h 2301806"/>
                <a:gd name="connsiteX174" fmla="*/ 6720952 w 7487623"/>
                <a:gd name="connsiteY174" fmla="*/ 2297839 h 230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Lst>
              <a:rect l="l" t="t" r="r" b="b"/>
              <a:pathLst>
                <a:path w="7487623" h="2301806">
                  <a:moveTo>
                    <a:pt x="390776" y="37662"/>
                  </a:moveTo>
                  <a:cubicBezTo>
                    <a:pt x="386089" y="31183"/>
                    <a:pt x="388639" y="7680"/>
                    <a:pt x="400150" y="15744"/>
                  </a:cubicBezTo>
                  <a:cubicBezTo>
                    <a:pt x="407180" y="22223"/>
                    <a:pt x="402011" y="45657"/>
                    <a:pt x="390776" y="37662"/>
                  </a:cubicBezTo>
                  <a:close/>
                  <a:moveTo>
                    <a:pt x="366032" y="45864"/>
                  </a:moveTo>
                  <a:cubicBezTo>
                    <a:pt x="382367" y="45588"/>
                    <a:pt x="398702" y="46278"/>
                    <a:pt x="414900" y="48483"/>
                  </a:cubicBezTo>
                  <a:cubicBezTo>
                    <a:pt x="412694" y="31735"/>
                    <a:pt x="409248" y="14641"/>
                    <a:pt x="397324" y="1821"/>
                  </a:cubicBezTo>
                  <a:cubicBezTo>
                    <a:pt x="399254" y="1821"/>
                    <a:pt x="403045" y="1821"/>
                    <a:pt x="404974" y="1821"/>
                  </a:cubicBezTo>
                  <a:lnTo>
                    <a:pt x="407731" y="1752"/>
                  </a:lnTo>
                  <a:cubicBezTo>
                    <a:pt x="380024" y="-1211"/>
                    <a:pt x="352178" y="-1901"/>
                    <a:pt x="324333" y="-3348"/>
                  </a:cubicBezTo>
                  <a:cubicBezTo>
                    <a:pt x="324126" y="-729"/>
                    <a:pt x="323643" y="4371"/>
                    <a:pt x="323437" y="6922"/>
                  </a:cubicBezTo>
                  <a:cubicBezTo>
                    <a:pt x="319094" y="6232"/>
                    <a:pt x="310410" y="4854"/>
                    <a:pt x="306068" y="4165"/>
                  </a:cubicBezTo>
                  <a:cubicBezTo>
                    <a:pt x="308687" y="6508"/>
                    <a:pt x="314063" y="11333"/>
                    <a:pt x="316751" y="13676"/>
                  </a:cubicBezTo>
                  <a:cubicBezTo>
                    <a:pt x="312684" y="12987"/>
                    <a:pt x="304482" y="11471"/>
                    <a:pt x="300416" y="10782"/>
                  </a:cubicBezTo>
                  <a:cubicBezTo>
                    <a:pt x="298486" y="18708"/>
                    <a:pt x="296487" y="26634"/>
                    <a:pt x="294488" y="34492"/>
                  </a:cubicBezTo>
                  <a:cubicBezTo>
                    <a:pt x="271536" y="34629"/>
                    <a:pt x="248584" y="34561"/>
                    <a:pt x="225701" y="34285"/>
                  </a:cubicBezTo>
                  <a:cubicBezTo>
                    <a:pt x="224392" y="29805"/>
                    <a:pt x="221773" y="20982"/>
                    <a:pt x="220463" y="16502"/>
                  </a:cubicBezTo>
                  <a:cubicBezTo>
                    <a:pt x="217706" y="18432"/>
                    <a:pt x="212192" y="22223"/>
                    <a:pt x="209435" y="24153"/>
                  </a:cubicBezTo>
                  <a:cubicBezTo>
                    <a:pt x="208953" y="28288"/>
                    <a:pt x="208057" y="36490"/>
                    <a:pt x="207643" y="40557"/>
                  </a:cubicBezTo>
                  <a:cubicBezTo>
                    <a:pt x="237832" y="37180"/>
                    <a:pt x="268090" y="39799"/>
                    <a:pt x="298348" y="41729"/>
                  </a:cubicBezTo>
                  <a:cubicBezTo>
                    <a:pt x="303655" y="36146"/>
                    <a:pt x="309031" y="30563"/>
                    <a:pt x="314890" y="25393"/>
                  </a:cubicBezTo>
                  <a:lnTo>
                    <a:pt x="310203" y="44417"/>
                  </a:lnTo>
                  <a:cubicBezTo>
                    <a:pt x="319301" y="45519"/>
                    <a:pt x="325229" y="41935"/>
                    <a:pt x="328124" y="33596"/>
                  </a:cubicBezTo>
                  <a:cubicBezTo>
                    <a:pt x="333155" y="31045"/>
                    <a:pt x="343218" y="26014"/>
                    <a:pt x="348249" y="23464"/>
                  </a:cubicBezTo>
                  <a:cubicBezTo>
                    <a:pt x="343218" y="19466"/>
                    <a:pt x="333224" y="11402"/>
                    <a:pt x="328192" y="7335"/>
                  </a:cubicBezTo>
                  <a:cubicBezTo>
                    <a:pt x="343149" y="-1763"/>
                    <a:pt x="368789" y="5681"/>
                    <a:pt x="361138" y="27806"/>
                  </a:cubicBezTo>
                  <a:cubicBezTo>
                    <a:pt x="364102" y="27186"/>
                    <a:pt x="369961" y="26014"/>
                    <a:pt x="372856" y="25462"/>
                  </a:cubicBezTo>
                  <a:cubicBezTo>
                    <a:pt x="370581" y="32286"/>
                    <a:pt x="368307" y="39110"/>
                    <a:pt x="366032" y="45864"/>
                  </a:cubicBezTo>
                  <a:moveTo>
                    <a:pt x="7322250" y="455759"/>
                  </a:moveTo>
                  <a:cubicBezTo>
                    <a:pt x="7311222" y="435288"/>
                    <a:pt x="7344926" y="454242"/>
                    <a:pt x="7322250" y="455759"/>
                  </a:cubicBezTo>
                  <a:moveTo>
                    <a:pt x="7205767" y="454656"/>
                  </a:moveTo>
                  <a:cubicBezTo>
                    <a:pt x="7196256" y="448866"/>
                    <a:pt x="7205216" y="431704"/>
                    <a:pt x="7214865" y="440044"/>
                  </a:cubicBezTo>
                  <a:cubicBezTo>
                    <a:pt x="7224377" y="445903"/>
                    <a:pt x="7215278" y="463065"/>
                    <a:pt x="7205767" y="454656"/>
                  </a:cubicBezTo>
                  <a:moveTo>
                    <a:pt x="7109893" y="455621"/>
                  </a:moveTo>
                  <a:cubicBezTo>
                    <a:pt x="7113753" y="451899"/>
                    <a:pt x="7113753" y="451899"/>
                    <a:pt x="7109893" y="455621"/>
                  </a:cubicBezTo>
                  <a:moveTo>
                    <a:pt x="7295783" y="462238"/>
                  </a:moveTo>
                  <a:cubicBezTo>
                    <a:pt x="7288132" y="460170"/>
                    <a:pt x="7284892" y="443835"/>
                    <a:pt x="7295162" y="443697"/>
                  </a:cubicBezTo>
                  <a:cubicBezTo>
                    <a:pt x="7303571" y="445144"/>
                    <a:pt x="7306328" y="462789"/>
                    <a:pt x="7295783" y="462238"/>
                  </a:cubicBezTo>
                  <a:moveTo>
                    <a:pt x="7454861" y="469199"/>
                  </a:moveTo>
                  <a:lnTo>
                    <a:pt x="7453000" y="463892"/>
                  </a:lnTo>
                  <a:cubicBezTo>
                    <a:pt x="7455067" y="461618"/>
                    <a:pt x="7459203" y="457068"/>
                    <a:pt x="7461271" y="454725"/>
                  </a:cubicBezTo>
                  <a:cubicBezTo>
                    <a:pt x="7476572" y="454725"/>
                    <a:pt x="7465475" y="478435"/>
                    <a:pt x="7454861" y="469199"/>
                  </a:cubicBezTo>
                  <a:moveTo>
                    <a:pt x="7438388" y="490083"/>
                  </a:moveTo>
                  <a:cubicBezTo>
                    <a:pt x="7451070" y="477539"/>
                    <a:pt x="7464579" y="481950"/>
                    <a:pt x="7476090" y="492840"/>
                  </a:cubicBezTo>
                  <a:cubicBezTo>
                    <a:pt x="7476710" y="484500"/>
                    <a:pt x="7477330" y="476023"/>
                    <a:pt x="7478157" y="467545"/>
                  </a:cubicBezTo>
                  <a:lnTo>
                    <a:pt x="7481190" y="460997"/>
                  </a:lnTo>
                  <a:cubicBezTo>
                    <a:pt x="7481465" y="456310"/>
                    <a:pt x="7482017" y="451554"/>
                    <a:pt x="7482293" y="446730"/>
                  </a:cubicBezTo>
                  <a:cubicBezTo>
                    <a:pt x="7463132" y="439562"/>
                    <a:pt x="7442040" y="442250"/>
                    <a:pt x="7422122" y="439286"/>
                  </a:cubicBezTo>
                  <a:cubicBezTo>
                    <a:pt x="7420950" y="442387"/>
                    <a:pt x="7418675" y="448591"/>
                    <a:pt x="7417572" y="451692"/>
                  </a:cubicBezTo>
                  <a:cubicBezTo>
                    <a:pt x="7415367" y="448660"/>
                    <a:pt x="7410956" y="442525"/>
                    <a:pt x="7408750" y="439493"/>
                  </a:cubicBezTo>
                  <a:cubicBezTo>
                    <a:pt x="7390968" y="439424"/>
                    <a:pt x="7373185" y="438734"/>
                    <a:pt x="7355609" y="436942"/>
                  </a:cubicBezTo>
                  <a:cubicBezTo>
                    <a:pt x="7354644" y="440802"/>
                    <a:pt x="7352714" y="448384"/>
                    <a:pt x="7351681" y="452175"/>
                  </a:cubicBezTo>
                  <a:cubicBezTo>
                    <a:pt x="7351474" y="447901"/>
                    <a:pt x="7350923" y="439424"/>
                    <a:pt x="7350647" y="435150"/>
                  </a:cubicBezTo>
                  <a:cubicBezTo>
                    <a:pt x="7347821" y="436805"/>
                    <a:pt x="7342031" y="440044"/>
                    <a:pt x="7339136" y="441698"/>
                  </a:cubicBezTo>
                  <a:cubicBezTo>
                    <a:pt x="7331692" y="435840"/>
                    <a:pt x="7323215" y="432531"/>
                    <a:pt x="7313703" y="431635"/>
                  </a:cubicBezTo>
                  <a:cubicBezTo>
                    <a:pt x="7312738" y="434944"/>
                    <a:pt x="7310739" y="441423"/>
                    <a:pt x="7309705" y="444662"/>
                  </a:cubicBezTo>
                  <a:lnTo>
                    <a:pt x="7310532" y="432669"/>
                  </a:lnTo>
                  <a:cubicBezTo>
                    <a:pt x="7296472" y="431980"/>
                    <a:pt x="7282411" y="431153"/>
                    <a:pt x="7268558" y="429981"/>
                  </a:cubicBezTo>
                  <a:cubicBezTo>
                    <a:pt x="7291716" y="452864"/>
                    <a:pt x="7255875" y="450452"/>
                    <a:pt x="7253739" y="468510"/>
                  </a:cubicBezTo>
                  <a:cubicBezTo>
                    <a:pt x="7252291" y="468648"/>
                    <a:pt x="7249534" y="468855"/>
                    <a:pt x="7248156" y="468923"/>
                  </a:cubicBezTo>
                  <a:cubicBezTo>
                    <a:pt x="7254773" y="460101"/>
                    <a:pt x="7260493" y="450796"/>
                    <a:pt x="7265938" y="441147"/>
                  </a:cubicBezTo>
                  <a:cubicBezTo>
                    <a:pt x="7261321" y="441147"/>
                    <a:pt x="7252016" y="441216"/>
                    <a:pt x="7247328" y="441216"/>
                  </a:cubicBezTo>
                  <a:lnTo>
                    <a:pt x="7246984" y="437632"/>
                  </a:lnTo>
                  <a:cubicBezTo>
                    <a:pt x="7251327" y="438252"/>
                    <a:pt x="7259942" y="439493"/>
                    <a:pt x="7264284" y="440113"/>
                  </a:cubicBezTo>
                  <a:lnTo>
                    <a:pt x="7264904" y="429361"/>
                  </a:lnTo>
                  <a:cubicBezTo>
                    <a:pt x="7228030" y="429016"/>
                    <a:pt x="7191431" y="424536"/>
                    <a:pt x="7154625" y="424398"/>
                  </a:cubicBezTo>
                  <a:cubicBezTo>
                    <a:pt x="7154005" y="427500"/>
                    <a:pt x="7152833" y="433703"/>
                    <a:pt x="7152212" y="436805"/>
                  </a:cubicBezTo>
                  <a:lnTo>
                    <a:pt x="7151799" y="424674"/>
                  </a:lnTo>
                  <a:cubicBezTo>
                    <a:pt x="7146906" y="424950"/>
                    <a:pt x="7137187" y="425363"/>
                    <a:pt x="7132294" y="425639"/>
                  </a:cubicBezTo>
                  <a:lnTo>
                    <a:pt x="7132707" y="432462"/>
                  </a:lnTo>
                  <a:cubicBezTo>
                    <a:pt x="7127882" y="434048"/>
                    <a:pt x="7118233" y="437218"/>
                    <a:pt x="7113408" y="438734"/>
                  </a:cubicBezTo>
                  <a:cubicBezTo>
                    <a:pt x="7110651" y="439837"/>
                    <a:pt x="7105137" y="441974"/>
                    <a:pt x="7102380" y="443008"/>
                  </a:cubicBezTo>
                  <a:cubicBezTo>
                    <a:pt x="7100588" y="449142"/>
                    <a:pt x="7097073" y="461411"/>
                    <a:pt x="7095281" y="467614"/>
                  </a:cubicBezTo>
                  <a:cubicBezTo>
                    <a:pt x="7112305" y="467683"/>
                    <a:pt x="7129467" y="468441"/>
                    <a:pt x="7146630" y="468855"/>
                  </a:cubicBezTo>
                  <a:cubicBezTo>
                    <a:pt x="7148491" y="460859"/>
                    <a:pt x="7150559" y="452795"/>
                    <a:pt x="7152695" y="444662"/>
                  </a:cubicBezTo>
                  <a:cubicBezTo>
                    <a:pt x="7159243" y="448728"/>
                    <a:pt x="7165584" y="452864"/>
                    <a:pt x="7172270" y="456862"/>
                  </a:cubicBezTo>
                  <a:cubicBezTo>
                    <a:pt x="7172821" y="460790"/>
                    <a:pt x="7173855" y="468648"/>
                    <a:pt x="7174338" y="472576"/>
                  </a:cubicBezTo>
                  <a:cubicBezTo>
                    <a:pt x="7248707" y="475264"/>
                    <a:pt x="7323008" y="485465"/>
                    <a:pt x="7397584" y="482226"/>
                  </a:cubicBezTo>
                  <a:cubicBezTo>
                    <a:pt x="7410956" y="470991"/>
                    <a:pt x="7387453" y="456104"/>
                    <a:pt x="7378561" y="450934"/>
                  </a:cubicBezTo>
                  <a:cubicBezTo>
                    <a:pt x="7380905" y="460446"/>
                    <a:pt x="7384626" y="469337"/>
                    <a:pt x="7389727" y="477677"/>
                  </a:cubicBezTo>
                  <a:cubicBezTo>
                    <a:pt x="7381387" y="474989"/>
                    <a:pt x="7367809" y="480847"/>
                    <a:pt x="7363466" y="471680"/>
                  </a:cubicBezTo>
                  <a:cubicBezTo>
                    <a:pt x="7366431" y="470440"/>
                    <a:pt x="7372358" y="468027"/>
                    <a:pt x="7375322" y="466856"/>
                  </a:cubicBezTo>
                  <a:cubicBezTo>
                    <a:pt x="7374908" y="463134"/>
                    <a:pt x="7374081" y="455690"/>
                    <a:pt x="7373736" y="451968"/>
                  </a:cubicBezTo>
                  <a:lnTo>
                    <a:pt x="7364225" y="455208"/>
                  </a:lnTo>
                  <a:cubicBezTo>
                    <a:pt x="7363949" y="451279"/>
                    <a:pt x="7363398" y="443353"/>
                    <a:pt x="7363053" y="439355"/>
                  </a:cubicBezTo>
                  <a:cubicBezTo>
                    <a:pt x="7393725" y="446385"/>
                    <a:pt x="7417021" y="468441"/>
                    <a:pt x="7438388" y="490083"/>
                  </a:cubicBezTo>
                  <a:moveTo>
                    <a:pt x="3074" y="1224337"/>
                  </a:moveTo>
                  <a:cubicBezTo>
                    <a:pt x="14791" y="1237020"/>
                    <a:pt x="2937" y="1265899"/>
                    <a:pt x="24304" y="1268173"/>
                  </a:cubicBezTo>
                  <a:cubicBezTo>
                    <a:pt x="25753" y="1246324"/>
                    <a:pt x="27198" y="1224406"/>
                    <a:pt x="26094" y="1202419"/>
                  </a:cubicBezTo>
                  <a:cubicBezTo>
                    <a:pt x="18238" y="1203729"/>
                    <a:pt x="2522" y="1206279"/>
                    <a:pt x="-5331" y="1207589"/>
                  </a:cubicBezTo>
                  <a:cubicBezTo>
                    <a:pt x="1421" y="1214343"/>
                    <a:pt x="8381" y="1220753"/>
                    <a:pt x="15414" y="1227163"/>
                  </a:cubicBezTo>
                  <a:lnTo>
                    <a:pt x="3074" y="1224337"/>
                  </a:lnTo>
                  <a:moveTo>
                    <a:pt x="5513530" y="1431732"/>
                  </a:moveTo>
                  <a:cubicBezTo>
                    <a:pt x="5524144" y="1432352"/>
                    <a:pt x="5528073" y="1419945"/>
                    <a:pt x="5529727" y="1411468"/>
                  </a:cubicBezTo>
                  <a:cubicBezTo>
                    <a:pt x="5527177" y="1411054"/>
                    <a:pt x="5522008" y="1410296"/>
                    <a:pt x="5519388" y="1409951"/>
                  </a:cubicBezTo>
                  <a:cubicBezTo>
                    <a:pt x="5517941" y="1415396"/>
                    <a:pt x="5514977" y="1426287"/>
                    <a:pt x="5513530" y="1431732"/>
                  </a:cubicBezTo>
                  <a:moveTo>
                    <a:pt x="1292655" y="2075763"/>
                  </a:moveTo>
                  <a:cubicBezTo>
                    <a:pt x="1290173" y="2066389"/>
                    <a:pt x="1293826" y="2063081"/>
                    <a:pt x="1303683" y="2065838"/>
                  </a:cubicBezTo>
                  <a:cubicBezTo>
                    <a:pt x="1306164" y="2075281"/>
                    <a:pt x="1302511" y="2078589"/>
                    <a:pt x="1292655" y="2075763"/>
                  </a:cubicBezTo>
                  <a:moveTo>
                    <a:pt x="1430573" y="2081622"/>
                  </a:moveTo>
                  <a:cubicBezTo>
                    <a:pt x="1434226" y="2078176"/>
                    <a:pt x="1434226" y="2078176"/>
                    <a:pt x="1430573" y="2081622"/>
                  </a:cubicBezTo>
                  <a:moveTo>
                    <a:pt x="1405415" y="2085068"/>
                  </a:moveTo>
                  <a:cubicBezTo>
                    <a:pt x="1402934" y="2072593"/>
                    <a:pt x="1400660" y="2060049"/>
                    <a:pt x="1398523" y="2047504"/>
                  </a:cubicBezTo>
                  <a:cubicBezTo>
                    <a:pt x="1422371" y="2042817"/>
                    <a:pt x="1421406" y="2076935"/>
                    <a:pt x="1405415" y="2085068"/>
                  </a:cubicBezTo>
                  <a:moveTo>
                    <a:pt x="1437052" y="2158335"/>
                  </a:moveTo>
                  <a:cubicBezTo>
                    <a:pt x="1450699" y="2158748"/>
                    <a:pt x="1464346" y="2158335"/>
                    <a:pt x="1477924" y="2157232"/>
                  </a:cubicBezTo>
                  <a:cubicBezTo>
                    <a:pt x="1460348" y="2151236"/>
                    <a:pt x="1446219" y="2139174"/>
                    <a:pt x="1450974" y="2118772"/>
                  </a:cubicBezTo>
                  <a:cubicBezTo>
                    <a:pt x="1459866" y="2120633"/>
                    <a:pt x="1468757" y="2122425"/>
                    <a:pt x="1477510" y="2124906"/>
                  </a:cubicBezTo>
                  <a:cubicBezTo>
                    <a:pt x="1485299" y="2127181"/>
                    <a:pt x="1493156" y="2129524"/>
                    <a:pt x="1500945" y="2131937"/>
                  </a:cubicBezTo>
                  <a:cubicBezTo>
                    <a:pt x="1500600" y="2127457"/>
                    <a:pt x="1499911" y="2118428"/>
                    <a:pt x="1499566" y="2113947"/>
                  </a:cubicBezTo>
                  <a:lnTo>
                    <a:pt x="1511973" y="2116842"/>
                  </a:lnTo>
                  <a:cubicBezTo>
                    <a:pt x="1509560" y="2111949"/>
                    <a:pt x="1504667" y="2102161"/>
                    <a:pt x="1502186" y="2097199"/>
                  </a:cubicBezTo>
                  <a:cubicBezTo>
                    <a:pt x="1499291" y="2099956"/>
                    <a:pt x="1493363" y="2105470"/>
                    <a:pt x="1490399" y="2108227"/>
                  </a:cubicBezTo>
                  <a:cubicBezTo>
                    <a:pt x="1489848" y="2101679"/>
                    <a:pt x="1488676" y="2088583"/>
                    <a:pt x="1488125" y="2082035"/>
                  </a:cubicBezTo>
                  <a:cubicBezTo>
                    <a:pt x="1481163" y="2090031"/>
                    <a:pt x="1482404" y="2100645"/>
                    <a:pt x="1482060" y="2110364"/>
                  </a:cubicBezTo>
                  <a:cubicBezTo>
                    <a:pt x="1477097" y="2109261"/>
                    <a:pt x="1467241" y="2107055"/>
                    <a:pt x="1462347" y="2105883"/>
                  </a:cubicBezTo>
                  <a:cubicBezTo>
                    <a:pt x="1466069" y="2104436"/>
                    <a:pt x="1473582" y="2101403"/>
                    <a:pt x="1477373" y="2099887"/>
                  </a:cubicBezTo>
                  <a:cubicBezTo>
                    <a:pt x="1462898" y="2086653"/>
                    <a:pt x="1448769" y="2072248"/>
                    <a:pt x="1430090" y="2065011"/>
                  </a:cubicBezTo>
                  <a:cubicBezTo>
                    <a:pt x="1431676" y="2063495"/>
                    <a:pt x="1434777" y="2060393"/>
                    <a:pt x="1436294" y="2058877"/>
                  </a:cubicBezTo>
                  <a:cubicBezTo>
                    <a:pt x="1444151" y="2062943"/>
                    <a:pt x="1452353" y="2066389"/>
                    <a:pt x="1460762" y="2069284"/>
                  </a:cubicBezTo>
                  <a:cubicBezTo>
                    <a:pt x="1459728" y="2058532"/>
                    <a:pt x="1458625" y="2047711"/>
                    <a:pt x="1457522" y="2036890"/>
                  </a:cubicBezTo>
                  <a:cubicBezTo>
                    <a:pt x="1434639" y="2035373"/>
                    <a:pt x="1411756" y="2032892"/>
                    <a:pt x="1388805" y="2032754"/>
                  </a:cubicBezTo>
                  <a:lnTo>
                    <a:pt x="1387495" y="2044678"/>
                  </a:lnTo>
                  <a:cubicBezTo>
                    <a:pt x="1369712" y="2042748"/>
                    <a:pt x="1350000" y="2046746"/>
                    <a:pt x="1338490" y="2061427"/>
                  </a:cubicBezTo>
                  <a:cubicBezTo>
                    <a:pt x="1330977" y="2064046"/>
                    <a:pt x="1323464" y="2066458"/>
                    <a:pt x="1315951" y="2068940"/>
                  </a:cubicBezTo>
                  <a:cubicBezTo>
                    <a:pt x="1314780" y="2065425"/>
                    <a:pt x="1312367" y="2058463"/>
                    <a:pt x="1311195" y="2055017"/>
                  </a:cubicBezTo>
                  <a:lnTo>
                    <a:pt x="1309886" y="2051571"/>
                  </a:lnTo>
                  <a:cubicBezTo>
                    <a:pt x="1307060" y="2047022"/>
                    <a:pt x="1301339" y="2037924"/>
                    <a:pt x="1298513" y="2033375"/>
                  </a:cubicBezTo>
                  <a:cubicBezTo>
                    <a:pt x="1281903" y="2048814"/>
                    <a:pt x="1284315" y="2071490"/>
                    <a:pt x="1288450" y="2091409"/>
                  </a:cubicBezTo>
                  <a:cubicBezTo>
                    <a:pt x="1285969" y="2108089"/>
                    <a:pt x="1274459" y="2122356"/>
                    <a:pt x="1267911" y="2137864"/>
                  </a:cubicBezTo>
                  <a:lnTo>
                    <a:pt x="1271633" y="2149582"/>
                  </a:lnTo>
                  <a:cubicBezTo>
                    <a:pt x="1274045" y="2147445"/>
                    <a:pt x="1278801" y="2143034"/>
                    <a:pt x="1281213" y="2140897"/>
                  </a:cubicBezTo>
                  <a:cubicBezTo>
                    <a:pt x="1288726" y="2144137"/>
                    <a:pt x="1296239" y="2147307"/>
                    <a:pt x="1303820" y="2150478"/>
                  </a:cubicBezTo>
                  <a:cubicBezTo>
                    <a:pt x="1308714" y="2140966"/>
                    <a:pt x="1313470" y="2131454"/>
                    <a:pt x="1318157" y="2121805"/>
                  </a:cubicBezTo>
                  <a:cubicBezTo>
                    <a:pt x="1307060" y="2123873"/>
                    <a:pt x="1296308" y="2127181"/>
                    <a:pt x="1286038" y="2131730"/>
                  </a:cubicBezTo>
                  <a:cubicBezTo>
                    <a:pt x="1297617" y="2119117"/>
                    <a:pt x="1304303" y="2103333"/>
                    <a:pt x="1309955" y="2087342"/>
                  </a:cubicBezTo>
                  <a:cubicBezTo>
                    <a:pt x="1320362" y="2087618"/>
                    <a:pt x="1330770" y="2087963"/>
                    <a:pt x="1341316" y="2088239"/>
                  </a:cubicBezTo>
                  <a:cubicBezTo>
                    <a:pt x="1342418" y="2084448"/>
                    <a:pt x="1344693" y="2076935"/>
                    <a:pt x="1345864" y="2073144"/>
                  </a:cubicBezTo>
                  <a:cubicBezTo>
                    <a:pt x="1357995" y="2069698"/>
                    <a:pt x="1369506" y="2064597"/>
                    <a:pt x="1380947" y="2059359"/>
                  </a:cubicBezTo>
                  <a:cubicBezTo>
                    <a:pt x="1383773" y="2062392"/>
                    <a:pt x="1389425" y="2068526"/>
                    <a:pt x="1392251" y="2071559"/>
                  </a:cubicBezTo>
                  <a:cubicBezTo>
                    <a:pt x="1391768" y="2082587"/>
                    <a:pt x="1391630" y="2093615"/>
                    <a:pt x="1391493" y="2104574"/>
                  </a:cubicBezTo>
                  <a:cubicBezTo>
                    <a:pt x="1391699" y="2092719"/>
                    <a:pt x="1387219" y="2083552"/>
                    <a:pt x="1378190" y="2077211"/>
                  </a:cubicBezTo>
                  <a:cubicBezTo>
                    <a:pt x="1375295" y="2080657"/>
                    <a:pt x="1369506" y="2087480"/>
                    <a:pt x="1366611" y="2090927"/>
                  </a:cubicBezTo>
                  <a:cubicBezTo>
                    <a:pt x="1370195" y="2091547"/>
                    <a:pt x="1377294" y="2092719"/>
                    <a:pt x="1380809" y="2093270"/>
                  </a:cubicBezTo>
                  <a:cubicBezTo>
                    <a:pt x="1366749" y="2090720"/>
                    <a:pt x="1362200" y="2103402"/>
                    <a:pt x="1356203" y="2112776"/>
                  </a:cubicBezTo>
                  <a:cubicBezTo>
                    <a:pt x="1361028" y="2104298"/>
                    <a:pt x="1362682" y="2095200"/>
                    <a:pt x="1361304" y="2085482"/>
                  </a:cubicBezTo>
                  <a:cubicBezTo>
                    <a:pt x="1343245" y="2092856"/>
                    <a:pt x="1320431" y="2087618"/>
                    <a:pt x="1305682" y="2101955"/>
                  </a:cubicBezTo>
                  <a:cubicBezTo>
                    <a:pt x="1309817" y="2105332"/>
                    <a:pt x="1318088" y="2112155"/>
                    <a:pt x="1322223" y="2115533"/>
                  </a:cubicBezTo>
                  <a:cubicBezTo>
                    <a:pt x="1321879" y="2121185"/>
                    <a:pt x="1321534" y="2126837"/>
                    <a:pt x="1321190" y="2132419"/>
                  </a:cubicBezTo>
                  <a:cubicBezTo>
                    <a:pt x="1317605" y="2136762"/>
                    <a:pt x="1310368" y="2145515"/>
                    <a:pt x="1306784" y="2149926"/>
                  </a:cubicBezTo>
                  <a:cubicBezTo>
                    <a:pt x="1314228" y="2149719"/>
                    <a:pt x="1329185" y="2149306"/>
                    <a:pt x="1336629" y="2149168"/>
                  </a:cubicBezTo>
                  <a:cubicBezTo>
                    <a:pt x="1336353" y="2138278"/>
                    <a:pt x="1336077" y="2127457"/>
                    <a:pt x="1335802" y="2116567"/>
                  </a:cubicBezTo>
                  <a:cubicBezTo>
                    <a:pt x="1345313" y="2121943"/>
                    <a:pt x="1346485" y="2133246"/>
                    <a:pt x="1350069" y="2142482"/>
                  </a:cubicBezTo>
                  <a:cubicBezTo>
                    <a:pt x="1356134" y="2146756"/>
                    <a:pt x="1362269" y="2150960"/>
                    <a:pt x="1368403" y="2155096"/>
                  </a:cubicBezTo>
                  <a:cubicBezTo>
                    <a:pt x="1368954" y="2146135"/>
                    <a:pt x="1369506" y="2137175"/>
                    <a:pt x="1370057" y="2128146"/>
                  </a:cubicBezTo>
                  <a:cubicBezTo>
                    <a:pt x="1377777" y="2130214"/>
                    <a:pt x="1385634" y="2132143"/>
                    <a:pt x="1393491" y="2134005"/>
                  </a:cubicBezTo>
                  <a:cubicBezTo>
                    <a:pt x="1393078" y="2129800"/>
                    <a:pt x="1392320" y="2121323"/>
                    <a:pt x="1391975" y="2117118"/>
                  </a:cubicBezTo>
                  <a:cubicBezTo>
                    <a:pt x="1395628" y="2123597"/>
                    <a:pt x="1398936" y="2130283"/>
                    <a:pt x="1402245" y="2136900"/>
                  </a:cubicBezTo>
                  <a:cubicBezTo>
                    <a:pt x="1396731" y="2135659"/>
                    <a:pt x="1385634" y="2133246"/>
                    <a:pt x="1380120" y="2132075"/>
                  </a:cubicBezTo>
                  <a:lnTo>
                    <a:pt x="1383566" y="2148823"/>
                  </a:lnTo>
                  <a:cubicBezTo>
                    <a:pt x="1380258" y="2143378"/>
                    <a:pt x="1376881" y="2137933"/>
                    <a:pt x="1373503" y="2132488"/>
                  </a:cubicBezTo>
                  <a:lnTo>
                    <a:pt x="1370057" y="2153924"/>
                  </a:lnTo>
                  <a:cubicBezTo>
                    <a:pt x="1388667" y="2154889"/>
                    <a:pt x="1407345" y="2155991"/>
                    <a:pt x="1425955" y="2157990"/>
                  </a:cubicBezTo>
                  <a:cubicBezTo>
                    <a:pt x="1423611" y="2140070"/>
                    <a:pt x="1425197" y="2121943"/>
                    <a:pt x="1438913" y="2108916"/>
                  </a:cubicBezTo>
                  <a:lnTo>
                    <a:pt x="1429057" y="2106710"/>
                  </a:lnTo>
                  <a:cubicBezTo>
                    <a:pt x="1432227" y="2104505"/>
                    <a:pt x="1438637" y="2100094"/>
                    <a:pt x="1441876" y="2097957"/>
                  </a:cubicBezTo>
                  <a:cubicBezTo>
                    <a:pt x="1440980" y="2118152"/>
                    <a:pt x="1437396" y="2138071"/>
                    <a:pt x="1437052" y="2158335"/>
                  </a:cubicBezTo>
                  <a:moveTo>
                    <a:pt x="6720952" y="2297839"/>
                  </a:moveTo>
                  <a:cubicBezTo>
                    <a:pt x="6725845" y="2297976"/>
                    <a:pt x="6735770" y="2298321"/>
                    <a:pt x="6740732" y="2298459"/>
                  </a:cubicBezTo>
                  <a:cubicBezTo>
                    <a:pt x="6739699" y="2286397"/>
                    <a:pt x="6739285" y="2274266"/>
                    <a:pt x="6738734" y="2262135"/>
                  </a:cubicBezTo>
                  <a:cubicBezTo>
                    <a:pt x="6741422" y="2259309"/>
                    <a:pt x="6746798" y="2253727"/>
                    <a:pt x="6749486" y="2250901"/>
                  </a:cubicBezTo>
                  <a:cubicBezTo>
                    <a:pt x="6740319" y="2251176"/>
                    <a:pt x="6731221" y="2251314"/>
                    <a:pt x="6722192" y="2251383"/>
                  </a:cubicBezTo>
                  <a:cubicBezTo>
                    <a:pt x="6721089" y="2254485"/>
                    <a:pt x="6718815" y="2260550"/>
                    <a:pt x="6717643" y="2263583"/>
                  </a:cubicBezTo>
                  <a:cubicBezTo>
                    <a:pt x="6717643" y="2260137"/>
                    <a:pt x="6717505" y="2253175"/>
                    <a:pt x="6717436" y="2249729"/>
                  </a:cubicBezTo>
                  <a:lnTo>
                    <a:pt x="6707235" y="2249109"/>
                  </a:lnTo>
                  <a:cubicBezTo>
                    <a:pt x="6711509" y="2265444"/>
                    <a:pt x="6716127" y="2281641"/>
                    <a:pt x="6720952" y="2297839"/>
                  </a:cubicBezTo>
                </a:path>
              </a:pathLst>
            </a:custGeom>
            <a:grpFill/>
            <a:ln w="689" cap="flat">
              <a:noFill/>
              <a:prstDash val="solid"/>
              <a:miter/>
            </a:ln>
          </p:spPr>
          <p:txBody>
            <a:bodyPr rtlCol="0" anchor="ctr"/>
            <a:lstStyle/>
            <a:p>
              <a:endParaRPr lang="en-US" sz="2400" dirty="0"/>
            </a:p>
          </p:txBody>
        </p:sp>
        <p:sp>
          <p:nvSpPr>
            <p:cNvPr id="106" name="Graphic 8">
              <a:extLst>
                <a:ext uri="{FF2B5EF4-FFF2-40B4-BE49-F238E27FC236}">
                  <a16:creationId xmlns:a16="http://schemas.microsoft.com/office/drawing/2014/main" id="{9D253930-635C-4152-91EB-002330144C9C}"/>
                </a:ext>
              </a:extLst>
            </p:cNvPr>
            <p:cNvSpPr/>
            <p:nvPr/>
          </p:nvSpPr>
          <p:spPr>
            <a:xfrm flipV="1">
              <a:off x="4064197" y="1358021"/>
              <a:ext cx="4665163" cy="1950704"/>
            </a:xfrm>
            <a:custGeom>
              <a:avLst/>
              <a:gdLst>
                <a:gd name="connsiteX0" fmla="*/ 2660628 w 4665163"/>
                <a:gd name="connsiteY0" fmla="*/ 19467 h 1950704"/>
                <a:gd name="connsiteX1" fmla="*/ 2686681 w 4665163"/>
                <a:gd name="connsiteY1" fmla="*/ 26359 h 1950704"/>
                <a:gd name="connsiteX2" fmla="*/ 2660628 w 4665163"/>
                <a:gd name="connsiteY2" fmla="*/ 19467 h 1950704"/>
                <a:gd name="connsiteX3" fmla="*/ 2170574 w 4665163"/>
                <a:gd name="connsiteY3" fmla="*/ 34216 h 1950704"/>
                <a:gd name="connsiteX4" fmla="*/ 2201176 w 4665163"/>
                <a:gd name="connsiteY4" fmla="*/ 35112 h 1950704"/>
                <a:gd name="connsiteX5" fmla="*/ 2192147 w 4665163"/>
                <a:gd name="connsiteY5" fmla="*/ 7543 h 1950704"/>
                <a:gd name="connsiteX6" fmla="*/ 2161476 w 4665163"/>
                <a:gd name="connsiteY6" fmla="*/ -3623 h 1950704"/>
                <a:gd name="connsiteX7" fmla="*/ 2174640 w 4665163"/>
                <a:gd name="connsiteY7" fmla="*/ 23257 h 1950704"/>
                <a:gd name="connsiteX8" fmla="*/ 2170574 w 4665163"/>
                <a:gd name="connsiteY8" fmla="*/ 34216 h 1950704"/>
                <a:gd name="connsiteX9" fmla="*/ 2420494 w 4665163"/>
                <a:gd name="connsiteY9" fmla="*/ 50896 h 1950704"/>
                <a:gd name="connsiteX10" fmla="*/ 2446892 w 4665163"/>
                <a:gd name="connsiteY10" fmla="*/ 38145 h 1950704"/>
                <a:gd name="connsiteX11" fmla="*/ 2467501 w 4665163"/>
                <a:gd name="connsiteY11" fmla="*/ 34768 h 1950704"/>
                <a:gd name="connsiteX12" fmla="*/ 2468328 w 4665163"/>
                <a:gd name="connsiteY12" fmla="*/ 10506 h 1950704"/>
                <a:gd name="connsiteX13" fmla="*/ 2480735 w 4665163"/>
                <a:gd name="connsiteY13" fmla="*/ 6026 h 1950704"/>
                <a:gd name="connsiteX14" fmla="*/ 2448340 w 4665163"/>
                <a:gd name="connsiteY14" fmla="*/ 5475 h 1950704"/>
                <a:gd name="connsiteX15" fmla="*/ 2465365 w 4665163"/>
                <a:gd name="connsiteY15" fmla="*/ 23533 h 1950704"/>
                <a:gd name="connsiteX16" fmla="*/ 2434279 w 4665163"/>
                <a:gd name="connsiteY16" fmla="*/ 45727 h 1950704"/>
                <a:gd name="connsiteX17" fmla="*/ 2417737 w 4665163"/>
                <a:gd name="connsiteY17" fmla="*/ 31115 h 1950704"/>
                <a:gd name="connsiteX18" fmla="*/ 2420494 w 4665163"/>
                <a:gd name="connsiteY18" fmla="*/ 50896 h 1950704"/>
                <a:gd name="connsiteX19" fmla="*/ 4638696 w 4665163"/>
                <a:gd name="connsiteY19" fmla="*/ 388351 h 1950704"/>
                <a:gd name="connsiteX20" fmla="*/ 4638696 w 4665163"/>
                <a:gd name="connsiteY20" fmla="*/ 388351 h 1950704"/>
                <a:gd name="connsiteX21" fmla="*/ 4629253 w 4665163"/>
                <a:gd name="connsiteY21" fmla="*/ 437908 h 1950704"/>
                <a:gd name="connsiteX22" fmla="*/ 4646485 w 4665163"/>
                <a:gd name="connsiteY22" fmla="*/ 404273 h 1950704"/>
                <a:gd name="connsiteX23" fmla="*/ 4652274 w 4665163"/>
                <a:gd name="connsiteY23" fmla="*/ 374359 h 1950704"/>
                <a:gd name="connsiteX24" fmla="*/ 4634423 w 4665163"/>
                <a:gd name="connsiteY24" fmla="*/ 370293 h 1950704"/>
                <a:gd name="connsiteX25" fmla="*/ 4653859 w 4665163"/>
                <a:gd name="connsiteY25" fmla="*/ 365744 h 1950704"/>
                <a:gd name="connsiteX26" fmla="*/ 4657237 w 4665163"/>
                <a:gd name="connsiteY26" fmla="*/ 321081 h 1950704"/>
                <a:gd name="connsiteX27" fmla="*/ 4644210 w 4665163"/>
                <a:gd name="connsiteY27" fmla="*/ 329007 h 1950704"/>
                <a:gd name="connsiteX28" fmla="*/ 4650689 w 4665163"/>
                <a:gd name="connsiteY28" fmla="*/ 349202 h 1950704"/>
                <a:gd name="connsiteX29" fmla="*/ 4626634 w 4665163"/>
                <a:gd name="connsiteY29" fmla="*/ 332109 h 1950704"/>
                <a:gd name="connsiteX30" fmla="*/ 4633320 w 4665163"/>
                <a:gd name="connsiteY30" fmla="*/ 359954 h 1950704"/>
                <a:gd name="connsiteX31" fmla="*/ 4627323 w 4665163"/>
                <a:gd name="connsiteY31" fmla="*/ 367191 h 1950704"/>
                <a:gd name="connsiteX32" fmla="*/ 4619741 w 4665163"/>
                <a:gd name="connsiteY32" fmla="*/ 350994 h 1950704"/>
                <a:gd name="connsiteX33" fmla="*/ 4637317 w 4665163"/>
                <a:gd name="connsiteY33" fmla="*/ 311707 h 1950704"/>
                <a:gd name="connsiteX34" fmla="*/ 4610919 w 4665163"/>
                <a:gd name="connsiteY34" fmla="*/ 299301 h 1950704"/>
                <a:gd name="connsiteX35" fmla="*/ 4638282 w 4665163"/>
                <a:gd name="connsiteY35" fmla="*/ 287239 h 1950704"/>
                <a:gd name="connsiteX36" fmla="*/ 4656892 w 4665163"/>
                <a:gd name="connsiteY36" fmla="*/ 290202 h 1950704"/>
                <a:gd name="connsiteX37" fmla="*/ 4637180 w 4665163"/>
                <a:gd name="connsiteY37" fmla="*/ 276486 h 1950704"/>
                <a:gd name="connsiteX38" fmla="*/ 4642694 w 4665163"/>
                <a:gd name="connsiteY38" fmla="*/ 250846 h 1950704"/>
                <a:gd name="connsiteX39" fmla="*/ 4613401 w 4665163"/>
                <a:gd name="connsiteY39" fmla="*/ 286756 h 1950704"/>
                <a:gd name="connsiteX40" fmla="*/ 4626703 w 4665163"/>
                <a:gd name="connsiteY40" fmla="*/ 251398 h 1950704"/>
                <a:gd name="connsiteX41" fmla="*/ 4609955 w 4665163"/>
                <a:gd name="connsiteY41" fmla="*/ 250640 h 1950704"/>
                <a:gd name="connsiteX42" fmla="*/ 4609817 w 4665163"/>
                <a:gd name="connsiteY42" fmla="*/ 231341 h 1950704"/>
                <a:gd name="connsiteX43" fmla="*/ 4592516 w 4665163"/>
                <a:gd name="connsiteY43" fmla="*/ 250157 h 1950704"/>
                <a:gd name="connsiteX44" fmla="*/ 4608576 w 4665163"/>
                <a:gd name="connsiteY44" fmla="*/ 319633 h 1950704"/>
                <a:gd name="connsiteX45" fmla="*/ 4608024 w 4665163"/>
                <a:gd name="connsiteY45" fmla="*/ 366088 h 1950704"/>
                <a:gd name="connsiteX46" fmla="*/ 4629391 w 4665163"/>
                <a:gd name="connsiteY46" fmla="*/ 383664 h 1950704"/>
                <a:gd name="connsiteX47" fmla="*/ 4629253 w 4665163"/>
                <a:gd name="connsiteY47" fmla="*/ 437908 h 1950704"/>
                <a:gd name="connsiteX48" fmla="*/ 4522972 w 4665163"/>
                <a:gd name="connsiteY48" fmla="*/ 1693163 h 1950704"/>
                <a:gd name="connsiteX49" fmla="*/ 4553160 w 4665163"/>
                <a:gd name="connsiteY49" fmla="*/ 1702744 h 1950704"/>
                <a:gd name="connsiteX50" fmla="*/ 4571425 w 4665163"/>
                <a:gd name="connsiteY50" fmla="*/ 1709912 h 1950704"/>
                <a:gd name="connsiteX51" fmla="*/ 4571149 w 4665163"/>
                <a:gd name="connsiteY51" fmla="*/ 1689028 h 1950704"/>
                <a:gd name="connsiteX52" fmla="*/ 4552127 w 4665163"/>
                <a:gd name="connsiteY52" fmla="*/ 1689235 h 1950704"/>
                <a:gd name="connsiteX53" fmla="*/ 4559088 w 4665163"/>
                <a:gd name="connsiteY53" fmla="*/ 1684341 h 1950704"/>
                <a:gd name="connsiteX54" fmla="*/ 4553022 w 4665163"/>
                <a:gd name="connsiteY54" fmla="*/ 1666420 h 1950704"/>
                <a:gd name="connsiteX55" fmla="*/ 4565705 w 4665163"/>
                <a:gd name="connsiteY55" fmla="*/ 1661527 h 1950704"/>
                <a:gd name="connsiteX56" fmla="*/ 4575906 w 4665163"/>
                <a:gd name="connsiteY56" fmla="*/ 1645398 h 1950704"/>
                <a:gd name="connsiteX57" fmla="*/ 4577353 w 4665163"/>
                <a:gd name="connsiteY57" fmla="*/ 1614589 h 1950704"/>
                <a:gd name="connsiteX58" fmla="*/ 4541237 w 4665163"/>
                <a:gd name="connsiteY58" fmla="*/ 1621481 h 1950704"/>
                <a:gd name="connsiteX59" fmla="*/ 4541099 w 4665163"/>
                <a:gd name="connsiteY59" fmla="*/ 1627616 h 1950704"/>
                <a:gd name="connsiteX60" fmla="*/ 4540961 w 4665163"/>
                <a:gd name="connsiteY60" fmla="*/ 1642021 h 1950704"/>
                <a:gd name="connsiteX61" fmla="*/ 4524557 w 4665163"/>
                <a:gd name="connsiteY61" fmla="*/ 1662078 h 1950704"/>
                <a:gd name="connsiteX62" fmla="*/ 4529450 w 4665163"/>
                <a:gd name="connsiteY62" fmla="*/ 1681859 h 1950704"/>
                <a:gd name="connsiteX63" fmla="*/ 4545510 w 4665163"/>
                <a:gd name="connsiteY63" fmla="*/ 1683169 h 1950704"/>
                <a:gd name="connsiteX64" fmla="*/ 4522972 w 4665163"/>
                <a:gd name="connsiteY64" fmla="*/ 1693163 h 1950704"/>
                <a:gd name="connsiteX65" fmla="*/ 504941 w 4665163"/>
                <a:gd name="connsiteY65" fmla="*/ 1761261 h 1950704"/>
                <a:gd name="connsiteX66" fmla="*/ 505906 w 4665163"/>
                <a:gd name="connsiteY66" fmla="*/ 1734794 h 1950704"/>
                <a:gd name="connsiteX67" fmla="*/ 480473 w 4665163"/>
                <a:gd name="connsiteY67" fmla="*/ 1736034 h 1950704"/>
                <a:gd name="connsiteX68" fmla="*/ 495223 w 4665163"/>
                <a:gd name="connsiteY68" fmla="*/ 1750026 h 1950704"/>
                <a:gd name="connsiteX69" fmla="*/ 504941 w 4665163"/>
                <a:gd name="connsiteY69" fmla="*/ 1761261 h 1950704"/>
                <a:gd name="connsiteX70" fmla="*/ 250679 w 4665163"/>
                <a:gd name="connsiteY70" fmla="*/ 1767326 h 1950704"/>
                <a:gd name="connsiteX71" fmla="*/ 269012 w 4665163"/>
                <a:gd name="connsiteY71" fmla="*/ 1764914 h 1950704"/>
                <a:gd name="connsiteX72" fmla="*/ 265221 w 4665163"/>
                <a:gd name="connsiteY72" fmla="*/ 1748923 h 1950704"/>
                <a:gd name="connsiteX73" fmla="*/ 277559 w 4665163"/>
                <a:gd name="connsiteY73" fmla="*/ 1725627 h 1950704"/>
                <a:gd name="connsiteX74" fmla="*/ 252264 w 4665163"/>
                <a:gd name="connsiteY74" fmla="*/ 1719079 h 1950704"/>
                <a:gd name="connsiteX75" fmla="*/ 235997 w 4665163"/>
                <a:gd name="connsiteY75" fmla="*/ 1720320 h 1950704"/>
                <a:gd name="connsiteX76" fmla="*/ 226279 w 4665163"/>
                <a:gd name="connsiteY76" fmla="*/ 1739825 h 1950704"/>
                <a:gd name="connsiteX77" fmla="*/ 263016 w 4665163"/>
                <a:gd name="connsiteY77" fmla="*/ 1737413 h 1950704"/>
                <a:gd name="connsiteX78" fmla="*/ 250679 w 4665163"/>
                <a:gd name="connsiteY78" fmla="*/ 1767326 h 1950704"/>
                <a:gd name="connsiteX79" fmla="*/ 1147870 w 4665163"/>
                <a:gd name="connsiteY79" fmla="*/ 1824189 h 1950704"/>
                <a:gd name="connsiteX80" fmla="*/ 1161586 w 4665163"/>
                <a:gd name="connsiteY80" fmla="*/ 1824051 h 1950704"/>
                <a:gd name="connsiteX81" fmla="*/ 1179920 w 4665163"/>
                <a:gd name="connsiteY81" fmla="*/ 1823500 h 1950704"/>
                <a:gd name="connsiteX82" fmla="*/ 1160828 w 4665163"/>
                <a:gd name="connsiteY82" fmla="*/ 1798962 h 1950704"/>
                <a:gd name="connsiteX83" fmla="*/ 1162069 w 4665163"/>
                <a:gd name="connsiteY83" fmla="*/ 1789451 h 1950704"/>
                <a:gd name="connsiteX84" fmla="*/ 1162965 w 4665163"/>
                <a:gd name="connsiteY84" fmla="*/ 1781731 h 1950704"/>
                <a:gd name="connsiteX85" fmla="*/ 1148490 w 4665163"/>
                <a:gd name="connsiteY85" fmla="*/ 1795240 h 1950704"/>
                <a:gd name="connsiteX86" fmla="*/ 1130915 w 4665163"/>
                <a:gd name="connsiteY86" fmla="*/ 1776011 h 1950704"/>
                <a:gd name="connsiteX87" fmla="*/ 1124160 w 4665163"/>
                <a:gd name="connsiteY87" fmla="*/ 1791381 h 1950704"/>
                <a:gd name="connsiteX88" fmla="*/ 1109410 w 4665163"/>
                <a:gd name="connsiteY88" fmla="*/ 1803994 h 1950704"/>
                <a:gd name="connsiteX89" fmla="*/ 1134430 w 4665163"/>
                <a:gd name="connsiteY89" fmla="*/ 1795516 h 1950704"/>
                <a:gd name="connsiteX90" fmla="*/ 1135671 w 4665163"/>
                <a:gd name="connsiteY90" fmla="*/ 1818261 h 1950704"/>
                <a:gd name="connsiteX91" fmla="*/ 1151730 w 4665163"/>
                <a:gd name="connsiteY91" fmla="*/ 1793173 h 1950704"/>
                <a:gd name="connsiteX92" fmla="*/ 1147870 w 4665163"/>
                <a:gd name="connsiteY92" fmla="*/ 1824189 h 1950704"/>
                <a:gd name="connsiteX93" fmla="*/ 2916269 w 4665163"/>
                <a:gd name="connsiteY93" fmla="*/ 1919374 h 1950704"/>
                <a:gd name="connsiteX94" fmla="*/ 2931984 w 4665163"/>
                <a:gd name="connsiteY94" fmla="*/ 1907795 h 1950704"/>
                <a:gd name="connsiteX95" fmla="*/ 2916269 w 4665163"/>
                <a:gd name="connsiteY95" fmla="*/ 1919374 h 1950704"/>
                <a:gd name="connsiteX96" fmla="*/ 2997600 w 4665163"/>
                <a:gd name="connsiteY96" fmla="*/ 1926955 h 1950704"/>
                <a:gd name="connsiteX97" fmla="*/ 3008973 w 4665163"/>
                <a:gd name="connsiteY97" fmla="*/ 1914618 h 1950704"/>
                <a:gd name="connsiteX98" fmla="*/ 2997600 w 4665163"/>
                <a:gd name="connsiteY98" fmla="*/ 1926955 h 1950704"/>
                <a:gd name="connsiteX99" fmla="*/ 2956177 w 4665163"/>
                <a:gd name="connsiteY99" fmla="*/ 1936950 h 1950704"/>
                <a:gd name="connsiteX100" fmla="*/ 3017864 w 4665163"/>
                <a:gd name="connsiteY100" fmla="*/ 1940396 h 1950704"/>
                <a:gd name="connsiteX101" fmla="*/ 3024963 w 4665163"/>
                <a:gd name="connsiteY101" fmla="*/ 1918340 h 1950704"/>
                <a:gd name="connsiteX102" fmla="*/ 3025308 w 4665163"/>
                <a:gd name="connsiteY102" fmla="*/ 1937777 h 1950704"/>
                <a:gd name="connsiteX103" fmla="*/ 3074107 w 4665163"/>
                <a:gd name="connsiteY103" fmla="*/ 1933848 h 1950704"/>
                <a:gd name="connsiteX104" fmla="*/ 3101125 w 4665163"/>
                <a:gd name="connsiteY104" fmla="*/ 1945910 h 1950704"/>
                <a:gd name="connsiteX105" fmla="*/ 3111395 w 4665163"/>
                <a:gd name="connsiteY105" fmla="*/ 1914411 h 1950704"/>
                <a:gd name="connsiteX106" fmla="*/ 3079276 w 4665163"/>
                <a:gd name="connsiteY106" fmla="*/ 1896215 h 1950704"/>
                <a:gd name="connsiteX107" fmla="*/ 3048536 w 4665163"/>
                <a:gd name="connsiteY107" fmla="*/ 1895112 h 1950704"/>
                <a:gd name="connsiteX108" fmla="*/ 3046468 w 4665163"/>
                <a:gd name="connsiteY108" fmla="*/ 1912068 h 1950704"/>
                <a:gd name="connsiteX109" fmla="*/ 3065146 w 4665163"/>
                <a:gd name="connsiteY109" fmla="*/ 1896698 h 1950704"/>
                <a:gd name="connsiteX110" fmla="*/ 3069213 w 4665163"/>
                <a:gd name="connsiteY110" fmla="*/ 1926335 h 1950704"/>
                <a:gd name="connsiteX111" fmla="*/ 3065422 w 4665163"/>
                <a:gd name="connsiteY111" fmla="*/ 1907105 h 1950704"/>
                <a:gd name="connsiteX112" fmla="*/ 3051706 w 4665163"/>
                <a:gd name="connsiteY112" fmla="*/ 1925577 h 1950704"/>
                <a:gd name="connsiteX113" fmla="*/ 3023447 w 4665163"/>
                <a:gd name="connsiteY113" fmla="*/ 1904072 h 1950704"/>
                <a:gd name="connsiteX114" fmla="*/ 3029788 w 4665163"/>
                <a:gd name="connsiteY114" fmla="*/ 1893458 h 1950704"/>
                <a:gd name="connsiteX115" fmla="*/ 2882503 w 4665163"/>
                <a:gd name="connsiteY115" fmla="*/ 1888702 h 1950704"/>
                <a:gd name="connsiteX116" fmla="*/ 2884357 w 4665163"/>
                <a:gd name="connsiteY116" fmla="*/ 1908690 h 1950704"/>
                <a:gd name="connsiteX117" fmla="*/ 2857615 w 4665163"/>
                <a:gd name="connsiteY117" fmla="*/ 1921511 h 1950704"/>
                <a:gd name="connsiteX118" fmla="*/ 2936602 w 4665163"/>
                <a:gd name="connsiteY118" fmla="*/ 1935985 h 1950704"/>
                <a:gd name="connsiteX119" fmla="*/ 2945355 w 4665163"/>
                <a:gd name="connsiteY119" fmla="*/ 1907243 h 1950704"/>
                <a:gd name="connsiteX120" fmla="*/ 2975752 w 4665163"/>
                <a:gd name="connsiteY120" fmla="*/ 1923578 h 1950704"/>
                <a:gd name="connsiteX121" fmla="*/ 2968652 w 4665163"/>
                <a:gd name="connsiteY121" fmla="*/ 1933779 h 1950704"/>
                <a:gd name="connsiteX122" fmla="*/ 2954660 w 4665163"/>
                <a:gd name="connsiteY122" fmla="*/ 1927920 h 1950704"/>
                <a:gd name="connsiteX123" fmla="*/ 2956177 w 4665163"/>
                <a:gd name="connsiteY123" fmla="*/ 1936950 h 1950704"/>
                <a:gd name="connsiteX124" fmla="*/ 40251 w 4665163"/>
                <a:gd name="connsiteY124" fmla="*/ 1945359 h 1950704"/>
                <a:gd name="connsiteX125" fmla="*/ 58930 w 4665163"/>
                <a:gd name="connsiteY125" fmla="*/ 1947082 h 1950704"/>
                <a:gd name="connsiteX126" fmla="*/ 57552 w 4665163"/>
                <a:gd name="connsiteY126" fmla="*/ 1927300 h 1950704"/>
                <a:gd name="connsiteX127" fmla="*/ 20126 w 4665163"/>
                <a:gd name="connsiteY127" fmla="*/ 1913860 h 1950704"/>
                <a:gd name="connsiteX128" fmla="*/ -7927 w 4665163"/>
                <a:gd name="connsiteY128" fmla="*/ 1942119 h 1950704"/>
                <a:gd name="connsiteX129" fmla="*/ 34462 w 4665163"/>
                <a:gd name="connsiteY129" fmla="*/ 1944462 h 1950704"/>
                <a:gd name="connsiteX130" fmla="*/ 33773 w 4665163"/>
                <a:gd name="connsiteY130" fmla="*/ 1933641 h 1950704"/>
                <a:gd name="connsiteX131" fmla="*/ 41148 w 4665163"/>
                <a:gd name="connsiteY131" fmla="*/ 1933090 h 1950704"/>
                <a:gd name="connsiteX132" fmla="*/ 40251 w 4665163"/>
                <a:gd name="connsiteY132" fmla="*/ 1945359 h 195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4665163" h="1950704">
                  <a:moveTo>
                    <a:pt x="2660628" y="19467"/>
                  </a:moveTo>
                  <a:cubicBezTo>
                    <a:pt x="2661593" y="29047"/>
                    <a:pt x="2684752" y="42694"/>
                    <a:pt x="2686681" y="26359"/>
                  </a:cubicBezTo>
                  <a:cubicBezTo>
                    <a:pt x="2682959" y="16227"/>
                    <a:pt x="2668968" y="17123"/>
                    <a:pt x="2660628" y="19467"/>
                  </a:cubicBezTo>
                  <a:close/>
                  <a:moveTo>
                    <a:pt x="2170574" y="34216"/>
                  </a:moveTo>
                  <a:cubicBezTo>
                    <a:pt x="2180775" y="34216"/>
                    <a:pt x="2190907" y="34630"/>
                    <a:pt x="2201176" y="35112"/>
                  </a:cubicBezTo>
                  <a:cubicBezTo>
                    <a:pt x="2194353" y="27255"/>
                    <a:pt x="2174916" y="19742"/>
                    <a:pt x="2192147" y="7543"/>
                  </a:cubicBezTo>
                  <a:cubicBezTo>
                    <a:pt x="2179879" y="10644"/>
                    <a:pt x="2170781" y="2718"/>
                    <a:pt x="2161476" y="-3623"/>
                  </a:cubicBezTo>
                  <a:cubicBezTo>
                    <a:pt x="2164991" y="5682"/>
                    <a:pt x="2159891" y="22224"/>
                    <a:pt x="2174640" y="23257"/>
                  </a:cubicBezTo>
                  <a:cubicBezTo>
                    <a:pt x="2173676" y="25945"/>
                    <a:pt x="2171608" y="31459"/>
                    <a:pt x="2170574" y="34216"/>
                  </a:cubicBezTo>
                  <a:moveTo>
                    <a:pt x="2420494" y="50896"/>
                  </a:moveTo>
                  <a:cubicBezTo>
                    <a:pt x="2430627" y="49793"/>
                    <a:pt x="2439518" y="45313"/>
                    <a:pt x="2446892" y="38145"/>
                  </a:cubicBezTo>
                  <a:cubicBezTo>
                    <a:pt x="2452062" y="37318"/>
                    <a:pt x="2462332" y="35595"/>
                    <a:pt x="2467501" y="34768"/>
                  </a:cubicBezTo>
                  <a:cubicBezTo>
                    <a:pt x="2467295" y="26704"/>
                    <a:pt x="2467639" y="18639"/>
                    <a:pt x="2468328" y="10506"/>
                  </a:cubicBezTo>
                  <a:cubicBezTo>
                    <a:pt x="2471430" y="9403"/>
                    <a:pt x="2477633" y="7129"/>
                    <a:pt x="2480735" y="6026"/>
                  </a:cubicBezTo>
                  <a:cubicBezTo>
                    <a:pt x="2469845" y="5682"/>
                    <a:pt x="2459092" y="5475"/>
                    <a:pt x="2448340" y="5475"/>
                  </a:cubicBezTo>
                  <a:cubicBezTo>
                    <a:pt x="2453785" y="11678"/>
                    <a:pt x="2459506" y="17674"/>
                    <a:pt x="2465365" y="23533"/>
                  </a:cubicBezTo>
                  <a:cubicBezTo>
                    <a:pt x="2449236" y="15538"/>
                    <a:pt x="2433521" y="28909"/>
                    <a:pt x="2434279" y="45727"/>
                  </a:cubicBezTo>
                  <a:cubicBezTo>
                    <a:pt x="2426698" y="43246"/>
                    <a:pt x="2421942" y="37387"/>
                    <a:pt x="2417737" y="31115"/>
                  </a:cubicBezTo>
                  <a:cubicBezTo>
                    <a:pt x="2418427" y="36077"/>
                    <a:pt x="2419805" y="45934"/>
                    <a:pt x="2420494" y="50896"/>
                  </a:cubicBezTo>
                  <a:moveTo>
                    <a:pt x="4638696" y="388351"/>
                  </a:moveTo>
                  <a:cubicBezTo>
                    <a:pt x="4641453" y="383871"/>
                    <a:pt x="4641453" y="383871"/>
                    <a:pt x="4638696" y="388351"/>
                  </a:cubicBezTo>
                  <a:moveTo>
                    <a:pt x="4629253" y="437908"/>
                  </a:moveTo>
                  <a:cubicBezTo>
                    <a:pt x="4639523" y="429568"/>
                    <a:pt x="4641729" y="416059"/>
                    <a:pt x="4646485" y="404273"/>
                  </a:cubicBezTo>
                  <a:cubicBezTo>
                    <a:pt x="4648345" y="394347"/>
                    <a:pt x="4650275" y="384353"/>
                    <a:pt x="4652274" y="374359"/>
                  </a:cubicBezTo>
                  <a:cubicBezTo>
                    <a:pt x="4647794" y="373325"/>
                    <a:pt x="4638903" y="371327"/>
                    <a:pt x="4634423" y="370293"/>
                  </a:cubicBezTo>
                  <a:cubicBezTo>
                    <a:pt x="4639247" y="369190"/>
                    <a:pt x="4648966" y="366916"/>
                    <a:pt x="4653859" y="365744"/>
                  </a:cubicBezTo>
                  <a:cubicBezTo>
                    <a:pt x="4654480" y="350856"/>
                    <a:pt x="4655651" y="335968"/>
                    <a:pt x="4657237" y="321081"/>
                  </a:cubicBezTo>
                  <a:cubicBezTo>
                    <a:pt x="4653997" y="323080"/>
                    <a:pt x="4647449" y="327077"/>
                    <a:pt x="4644210" y="329007"/>
                  </a:cubicBezTo>
                  <a:cubicBezTo>
                    <a:pt x="4646277" y="335831"/>
                    <a:pt x="4648483" y="342516"/>
                    <a:pt x="4650689" y="349202"/>
                  </a:cubicBezTo>
                  <a:cubicBezTo>
                    <a:pt x="4642831" y="343274"/>
                    <a:pt x="4634974" y="337209"/>
                    <a:pt x="4626634" y="332109"/>
                  </a:cubicBezTo>
                  <a:cubicBezTo>
                    <a:pt x="4622636" y="343343"/>
                    <a:pt x="4624842" y="352579"/>
                    <a:pt x="4633320" y="359954"/>
                  </a:cubicBezTo>
                  <a:cubicBezTo>
                    <a:pt x="4631183" y="362436"/>
                    <a:pt x="4629184" y="364848"/>
                    <a:pt x="4627323" y="367191"/>
                  </a:cubicBezTo>
                  <a:cubicBezTo>
                    <a:pt x="4625463" y="363125"/>
                    <a:pt x="4621672" y="354992"/>
                    <a:pt x="4619741" y="350994"/>
                  </a:cubicBezTo>
                  <a:cubicBezTo>
                    <a:pt x="4622223" y="336451"/>
                    <a:pt x="4623808" y="320667"/>
                    <a:pt x="4637317" y="311707"/>
                  </a:cubicBezTo>
                  <a:cubicBezTo>
                    <a:pt x="4627392" y="309846"/>
                    <a:pt x="4618570" y="305711"/>
                    <a:pt x="4610919" y="299301"/>
                  </a:cubicBezTo>
                  <a:cubicBezTo>
                    <a:pt x="4620775" y="297646"/>
                    <a:pt x="4630218" y="293511"/>
                    <a:pt x="4638282" y="287239"/>
                  </a:cubicBezTo>
                  <a:cubicBezTo>
                    <a:pt x="4644417" y="288273"/>
                    <a:pt x="4650620" y="289237"/>
                    <a:pt x="4656892" y="290202"/>
                  </a:cubicBezTo>
                  <a:cubicBezTo>
                    <a:pt x="4656271" y="279381"/>
                    <a:pt x="4646347" y="276555"/>
                    <a:pt x="4637180" y="276486"/>
                  </a:cubicBezTo>
                  <a:cubicBezTo>
                    <a:pt x="4638558" y="270077"/>
                    <a:pt x="4641315" y="257256"/>
                    <a:pt x="4642694" y="250846"/>
                  </a:cubicBezTo>
                  <a:cubicBezTo>
                    <a:pt x="4633389" y="263253"/>
                    <a:pt x="4623532" y="275246"/>
                    <a:pt x="4613401" y="286756"/>
                  </a:cubicBezTo>
                  <a:cubicBezTo>
                    <a:pt x="4605267" y="271868"/>
                    <a:pt x="4615399" y="260289"/>
                    <a:pt x="4626703" y="251398"/>
                  </a:cubicBezTo>
                  <a:cubicBezTo>
                    <a:pt x="4622498" y="251191"/>
                    <a:pt x="4614159" y="250778"/>
                    <a:pt x="4609955" y="250640"/>
                  </a:cubicBezTo>
                  <a:cubicBezTo>
                    <a:pt x="4609955" y="245815"/>
                    <a:pt x="4609885" y="236165"/>
                    <a:pt x="4609817" y="231341"/>
                  </a:cubicBezTo>
                  <a:cubicBezTo>
                    <a:pt x="4603820" y="237544"/>
                    <a:pt x="4598099" y="243816"/>
                    <a:pt x="4592516" y="250157"/>
                  </a:cubicBezTo>
                  <a:cubicBezTo>
                    <a:pt x="4601201" y="272282"/>
                    <a:pt x="4610919" y="295372"/>
                    <a:pt x="4608576" y="319633"/>
                  </a:cubicBezTo>
                  <a:cubicBezTo>
                    <a:pt x="4608024" y="335141"/>
                    <a:pt x="4607887" y="350649"/>
                    <a:pt x="4608024" y="366088"/>
                  </a:cubicBezTo>
                  <a:cubicBezTo>
                    <a:pt x="4615193" y="371740"/>
                    <a:pt x="4622774" y="377185"/>
                    <a:pt x="4629391" y="383664"/>
                  </a:cubicBezTo>
                  <a:cubicBezTo>
                    <a:pt x="4639040" y="400275"/>
                    <a:pt x="4634215" y="420608"/>
                    <a:pt x="4629253" y="437908"/>
                  </a:cubicBezTo>
                  <a:moveTo>
                    <a:pt x="4522972" y="1693163"/>
                  </a:moveTo>
                  <a:cubicBezTo>
                    <a:pt x="4531725" y="1699711"/>
                    <a:pt x="4542270" y="1702675"/>
                    <a:pt x="4553160" y="1702744"/>
                  </a:cubicBezTo>
                  <a:cubicBezTo>
                    <a:pt x="4557778" y="1704536"/>
                    <a:pt x="4566877" y="1708120"/>
                    <a:pt x="4571425" y="1709912"/>
                  </a:cubicBezTo>
                  <a:cubicBezTo>
                    <a:pt x="4571357" y="1704743"/>
                    <a:pt x="4571219" y="1694266"/>
                    <a:pt x="4571149" y="1689028"/>
                  </a:cubicBezTo>
                  <a:cubicBezTo>
                    <a:pt x="4566394" y="1689097"/>
                    <a:pt x="4556883" y="1689166"/>
                    <a:pt x="4552127" y="1689235"/>
                  </a:cubicBezTo>
                  <a:lnTo>
                    <a:pt x="4559088" y="1684341"/>
                  </a:lnTo>
                  <a:cubicBezTo>
                    <a:pt x="4556883" y="1678413"/>
                    <a:pt x="4554815" y="1672486"/>
                    <a:pt x="4553022" y="1666420"/>
                  </a:cubicBezTo>
                  <a:cubicBezTo>
                    <a:pt x="4556193" y="1665249"/>
                    <a:pt x="4562534" y="1662768"/>
                    <a:pt x="4565705" y="1661527"/>
                  </a:cubicBezTo>
                  <a:cubicBezTo>
                    <a:pt x="4568255" y="1657529"/>
                    <a:pt x="4573355" y="1649465"/>
                    <a:pt x="4575906" y="1645398"/>
                  </a:cubicBezTo>
                  <a:cubicBezTo>
                    <a:pt x="4576112" y="1635129"/>
                    <a:pt x="4576663" y="1624859"/>
                    <a:pt x="4577353" y="1614589"/>
                  </a:cubicBezTo>
                  <a:cubicBezTo>
                    <a:pt x="4565154" y="1617001"/>
                    <a:pt x="4553229" y="1619138"/>
                    <a:pt x="4541237" y="1621481"/>
                  </a:cubicBezTo>
                  <a:lnTo>
                    <a:pt x="4541099" y="1627616"/>
                  </a:lnTo>
                  <a:cubicBezTo>
                    <a:pt x="4541099" y="1631200"/>
                    <a:pt x="4541030" y="1638437"/>
                    <a:pt x="4540961" y="1642021"/>
                  </a:cubicBezTo>
                  <a:cubicBezTo>
                    <a:pt x="4534757" y="1648224"/>
                    <a:pt x="4529313" y="1654910"/>
                    <a:pt x="4524557" y="1662078"/>
                  </a:cubicBezTo>
                  <a:cubicBezTo>
                    <a:pt x="4525797" y="1667041"/>
                    <a:pt x="4528210" y="1676897"/>
                    <a:pt x="4529450" y="1681859"/>
                  </a:cubicBezTo>
                  <a:cubicBezTo>
                    <a:pt x="4533448" y="1682204"/>
                    <a:pt x="4541512" y="1682824"/>
                    <a:pt x="4545510" y="1683169"/>
                  </a:cubicBezTo>
                  <a:cubicBezTo>
                    <a:pt x="4539858" y="1685650"/>
                    <a:pt x="4528623" y="1690682"/>
                    <a:pt x="4522972" y="1693163"/>
                  </a:cubicBezTo>
                  <a:moveTo>
                    <a:pt x="504941" y="1761261"/>
                  </a:moveTo>
                  <a:cubicBezTo>
                    <a:pt x="505217" y="1752438"/>
                    <a:pt x="505493" y="1743616"/>
                    <a:pt x="505906" y="1734794"/>
                  </a:cubicBezTo>
                  <a:cubicBezTo>
                    <a:pt x="497360" y="1735207"/>
                    <a:pt x="488882" y="1735621"/>
                    <a:pt x="480473" y="1736034"/>
                  </a:cubicBezTo>
                  <a:cubicBezTo>
                    <a:pt x="485436" y="1740652"/>
                    <a:pt x="490329" y="1745270"/>
                    <a:pt x="495223" y="1750026"/>
                  </a:cubicBezTo>
                  <a:cubicBezTo>
                    <a:pt x="497635" y="1752852"/>
                    <a:pt x="502529" y="1758435"/>
                    <a:pt x="504941" y="1761261"/>
                  </a:cubicBezTo>
                  <a:moveTo>
                    <a:pt x="250679" y="1767326"/>
                  </a:moveTo>
                  <a:cubicBezTo>
                    <a:pt x="255296" y="1766706"/>
                    <a:pt x="264395" y="1765534"/>
                    <a:pt x="269012" y="1764914"/>
                  </a:cubicBezTo>
                  <a:cubicBezTo>
                    <a:pt x="268047" y="1760916"/>
                    <a:pt x="266187" y="1752921"/>
                    <a:pt x="265221" y="1748923"/>
                  </a:cubicBezTo>
                  <a:cubicBezTo>
                    <a:pt x="268944" y="1740997"/>
                    <a:pt x="273010" y="1733208"/>
                    <a:pt x="277559" y="1725627"/>
                  </a:cubicBezTo>
                  <a:cubicBezTo>
                    <a:pt x="269495" y="1721353"/>
                    <a:pt x="261086" y="1719217"/>
                    <a:pt x="252264" y="1719079"/>
                  </a:cubicBezTo>
                  <a:cubicBezTo>
                    <a:pt x="248197" y="1719423"/>
                    <a:pt x="240064" y="1720044"/>
                    <a:pt x="235997" y="1720320"/>
                  </a:cubicBezTo>
                  <a:cubicBezTo>
                    <a:pt x="232758" y="1726867"/>
                    <a:pt x="229519" y="1733415"/>
                    <a:pt x="226279" y="1739825"/>
                  </a:cubicBezTo>
                  <a:cubicBezTo>
                    <a:pt x="238479" y="1738998"/>
                    <a:pt x="250747" y="1737826"/>
                    <a:pt x="263016" y="1737413"/>
                  </a:cubicBezTo>
                  <a:cubicBezTo>
                    <a:pt x="258950" y="1747476"/>
                    <a:pt x="254814" y="1757401"/>
                    <a:pt x="250679" y="1767326"/>
                  </a:cubicBezTo>
                  <a:moveTo>
                    <a:pt x="1147870" y="1824189"/>
                  </a:moveTo>
                  <a:cubicBezTo>
                    <a:pt x="1151316" y="1824120"/>
                    <a:pt x="1158140" y="1824051"/>
                    <a:pt x="1161586" y="1824051"/>
                  </a:cubicBezTo>
                  <a:cubicBezTo>
                    <a:pt x="1166204" y="1823913"/>
                    <a:pt x="1175371" y="1823638"/>
                    <a:pt x="1179920" y="1823500"/>
                  </a:cubicBezTo>
                  <a:cubicBezTo>
                    <a:pt x="1177783" y="1811989"/>
                    <a:pt x="1173648" y="1801444"/>
                    <a:pt x="1160828" y="1798962"/>
                  </a:cubicBezTo>
                  <a:cubicBezTo>
                    <a:pt x="1161173" y="1796619"/>
                    <a:pt x="1161724" y="1791863"/>
                    <a:pt x="1162069" y="1789451"/>
                  </a:cubicBezTo>
                  <a:lnTo>
                    <a:pt x="1162965" y="1781731"/>
                  </a:lnTo>
                  <a:cubicBezTo>
                    <a:pt x="1159312" y="1785109"/>
                    <a:pt x="1152144" y="1791863"/>
                    <a:pt x="1148490" y="1795240"/>
                  </a:cubicBezTo>
                  <a:cubicBezTo>
                    <a:pt x="1142632" y="1789037"/>
                    <a:pt x="1142425" y="1773116"/>
                    <a:pt x="1130915" y="1776011"/>
                  </a:cubicBezTo>
                  <a:cubicBezTo>
                    <a:pt x="1129192" y="1779870"/>
                    <a:pt x="1125883" y="1787590"/>
                    <a:pt x="1124160" y="1791381"/>
                  </a:cubicBezTo>
                  <a:cubicBezTo>
                    <a:pt x="1120507" y="1794551"/>
                    <a:pt x="1113132" y="1800892"/>
                    <a:pt x="1109410" y="1803994"/>
                  </a:cubicBezTo>
                  <a:cubicBezTo>
                    <a:pt x="1118853" y="1812747"/>
                    <a:pt x="1126297" y="1798825"/>
                    <a:pt x="1134430" y="1795516"/>
                  </a:cubicBezTo>
                  <a:cubicBezTo>
                    <a:pt x="1134706" y="1801168"/>
                    <a:pt x="1135326" y="1812541"/>
                    <a:pt x="1135671" y="1818261"/>
                  </a:cubicBezTo>
                  <a:cubicBezTo>
                    <a:pt x="1140909" y="1809922"/>
                    <a:pt x="1146285" y="1801513"/>
                    <a:pt x="1151730" y="1793173"/>
                  </a:cubicBezTo>
                  <a:cubicBezTo>
                    <a:pt x="1150765" y="1800892"/>
                    <a:pt x="1148835" y="1816400"/>
                    <a:pt x="1147870" y="1824189"/>
                  </a:cubicBezTo>
                  <a:moveTo>
                    <a:pt x="2916269" y="1919374"/>
                  </a:moveTo>
                  <a:cubicBezTo>
                    <a:pt x="2909721" y="1910483"/>
                    <a:pt x="2925092" y="1899799"/>
                    <a:pt x="2931984" y="1907795"/>
                  </a:cubicBezTo>
                  <a:cubicBezTo>
                    <a:pt x="2938601" y="1916892"/>
                    <a:pt x="2923093" y="1927369"/>
                    <a:pt x="2916269" y="1919374"/>
                  </a:cubicBezTo>
                  <a:moveTo>
                    <a:pt x="2997600" y="1926955"/>
                  </a:moveTo>
                  <a:cubicBezTo>
                    <a:pt x="2994154" y="1915790"/>
                    <a:pt x="2997945" y="1911654"/>
                    <a:pt x="3008973" y="1914618"/>
                  </a:cubicBezTo>
                  <a:cubicBezTo>
                    <a:pt x="3012488" y="1925991"/>
                    <a:pt x="3008628" y="1930057"/>
                    <a:pt x="2997600" y="1926955"/>
                  </a:cubicBezTo>
                  <a:moveTo>
                    <a:pt x="2956177" y="1936950"/>
                  </a:moveTo>
                  <a:cubicBezTo>
                    <a:pt x="2976716" y="1937363"/>
                    <a:pt x="2997256" y="1938948"/>
                    <a:pt x="3017864" y="1940396"/>
                  </a:cubicBezTo>
                  <a:cubicBezTo>
                    <a:pt x="3019794" y="1933021"/>
                    <a:pt x="3022138" y="1925508"/>
                    <a:pt x="3024963" y="1918340"/>
                  </a:cubicBezTo>
                  <a:cubicBezTo>
                    <a:pt x="3025033" y="1924819"/>
                    <a:pt x="3025170" y="1931367"/>
                    <a:pt x="3025308" y="1937777"/>
                  </a:cubicBezTo>
                  <a:cubicBezTo>
                    <a:pt x="3040954" y="1936743"/>
                    <a:pt x="3064802" y="1951975"/>
                    <a:pt x="3074107" y="1933848"/>
                  </a:cubicBezTo>
                  <a:cubicBezTo>
                    <a:pt x="3079758" y="1943704"/>
                    <a:pt x="3091062" y="1943980"/>
                    <a:pt x="3101125" y="1945910"/>
                  </a:cubicBezTo>
                  <a:cubicBezTo>
                    <a:pt x="3104227" y="1935364"/>
                    <a:pt x="3107673" y="1924819"/>
                    <a:pt x="3111395" y="1914411"/>
                  </a:cubicBezTo>
                  <a:cubicBezTo>
                    <a:pt x="3093957" y="1924268"/>
                    <a:pt x="3086996" y="1908139"/>
                    <a:pt x="3079276" y="1896215"/>
                  </a:cubicBezTo>
                  <a:cubicBezTo>
                    <a:pt x="3068937" y="1895870"/>
                    <a:pt x="3058668" y="1895526"/>
                    <a:pt x="3048536" y="1895112"/>
                  </a:cubicBezTo>
                  <a:lnTo>
                    <a:pt x="3046468" y="1912068"/>
                  </a:lnTo>
                  <a:cubicBezTo>
                    <a:pt x="3052671" y="1907036"/>
                    <a:pt x="3058943" y="1901936"/>
                    <a:pt x="3065146" y="1896698"/>
                  </a:cubicBezTo>
                  <a:cubicBezTo>
                    <a:pt x="3066801" y="1906554"/>
                    <a:pt x="3068179" y="1916410"/>
                    <a:pt x="3069213" y="1926335"/>
                  </a:cubicBezTo>
                  <a:lnTo>
                    <a:pt x="3065422" y="1907105"/>
                  </a:lnTo>
                  <a:cubicBezTo>
                    <a:pt x="3060666" y="1913240"/>
                    <a:pt x="3056117" y="1919443"/>
                    <a:pt x="3051706" y="1925577"/>
                  </a:cubicBezTo>
                  <a:cubicBezTo>
                    <a:pt x="3042609" y="1917926"/>
                    <a:pt x="3033234" y="1910689"/>
                    <a:pt x="3023447" y="1904072"/>
                  </a:cubicBezTo>
                  <a:cubicBezTo>
                    <a:pt x="3025033" y="1901384"/>
                    <a:pt x="3028203" y="1896077"/>
                    <a:pt x="3029788" y="1893458"/>
                  </a:cubicBezTo>
                  <a:cubicBezTo>
                    <a:pt x="2980645" y="1892080"/>
                    <a:pt x="2931640" y="1882913"/>
                    <a:pt x="2882503" y="1888702"/>
                  </a:cubicBezTo>
                  <a:cubicBezTo>
                    <a:pt x="2876293" y="1893734"/>
                    <a:pt x="2884219" y="1902349"/>
                    <a:pt x="2884357" y="1908690"/>
                  </a:cubicBezTo>
                  <a:cubicBezTo>
                    <a:pt x="2873191" y="1908484"/>
                    <a:pt x="2864231" y="1912757"/>
                    <a:pt x="2857615" y="1921511"/>
                  </a:cubicBezTo>
                  <a:cubicBezTo>
                    <a:pt x="2883255" y="1929988"/>
                    <a:pt x="2909997" y="1932469"/>
                    <a:pt x="2936602" y="1935985"/>
                  </a:cubicBezTo>
                  <a:cubicBezTo>
                    <a:pt x="2939841" y="1926542"/>
                    <a:pt x="2943012" y="1917030"/>
                    <a:pt x="2945355" y="1907243"/>
                  </a:cubicBezTo>
                  <a:cubicBezTo>
                    <a:pt x="2955143" y="1913309"/>
                    <a:pt x="2965206" y="1918754"/>
                    <a:pt x="2975752" y="1923578"/>
                  </a:cubicBezTo>
                  <a:cubicBezTo>
                    <a:pt x="2973959" y="1926128"/>
                    <a:pt x="2970444" y="1931229"/>
                    <a:pt x="2968652" y="1933779"/>
                  </a:cubicBezTo>
                  <a:cubicBezTo>
                    <a:pt x="2965137" y="1932263"/>
                    <a:pt x="2958176" y="1929368"/>
                    <a:pt x="2954660" y="1927920"/>
                  </a:cubicBezTo>
                  <a:cubicBezTo>
                    <a:pt x="2955005" y="1930126"/>
                    <a:pt x="2955763" y="1934675"/>
                    <a:pt x="2956177" y="1936950"/>
                  </a:cubicBezTo>
                  <a:moveTo>
                    <a:pt x="40251" y="1945359"/>
                  </a:moveTo>
                  <a:cubicBezTo>
                    <a:pt x="44939" y="1945841"/>
                    <a:pt x="54243" y="1946668"/>
                    <a:pt x="58930" y="1947082"/>
                  </a:cubicBezTo>
                  <a:cubicBezTo>
                    <a:pt x="58586" y="1942119"/>
                    <a:pt x="57896" y="1932263"/>
                    <a:pt x="57552" y="1927300"/>
                  </a:cubicBezTo>
                  <a:cubicBezTo>
                    <a:pt x="44318" y="1925094"/>
                    <a:pt x="31705" y="1920614"/>
                    <a:pt x="20126" y="1913860"/>
                  </a:cubicBezTo>
                  <a:cubicBezTo>
                    <a:pt x="11855" y="1924336"/>
                    <a:pt x="2688" y="1933986"/>
                    <a:pt x="-7927" y="1942119"/>
                  </a:cubicBezTo>
                  <a:cubicBezTo>
                    <a:pt x="6134" y="1943291"/>
                    <a:pt x="20263" y="1943911"/>
                    <a:pt x="34462" y="1944462"/>
                  </a:cubicBezTo>
                  <a:lnTo>
                    <a:pt x="33773" y="1933641"/>
                  </a:lnTo>
                  <a:lnTo>
                    <a:pt x="41148" y="1933090"/>
                  </a:lnTo>
                  <a:cubicBezTo>
                    <a:pt x="40941" y="1936122"/>
                    <a:pt x="40458" y="1942326"/>
                    <a:pt x="40251" y="1945359"/>
                  </a:cubicBezTo>
                </a:path>
              </a:pathLst>
            </a:custGeom>
            <a:grpFill/>
            <a:ln w="689" cap="flat">
              <a:noFill/>
              <a:prstDash val="solid"/>
              <a:miter/>
            </a:ln>
          </p:spPr>
          <p:txBody>
            <a:bodyPr rtlCol="0" anchor="ctr"/>
            <a:lstStyle/>
            <a:p>
              <a:endParaRPr lang="en-US" sz="2400" dirty="0"/>
            </a:p>
          </p:txBody>
        </p:sp>
        <p:sp>
          <p:nvSpPr>
            <p:cNvPr id="107" name="Graphic 8">
              <a:extLst>
                <a:ext uri="{FF2B5EF4-FFF2-40B4-BE49-F238E27FC236}">
                  <a16:creationId xmlns:a16="http://schemas.microsoft.com/office/drawing/2014/main" id="{646645DD-3F72-483F-9E33-ECE4E421CCB0}"/>
                </a:ext>
              </a:extLst>
            </p:cNvPr>
            <p:cNvSpPr/>
            <p:nvPr/>
          </p:nvSpPr>
          <p:spPr>
            <a:xfrm flipV="1">
              <a:off x="4597260" y="1354713"/>
              <a:ext cx="2667999" cy="187130"/>
            </a:xfrm>
            <a:custGeom>
              <a:avLst/>
              <a:gdLst>
                <a:gd name="connsiteX0" fmla="*/ -7341 w 2667999"/>
                <a:gd name="connsiteY0" fmla="*/ 8568 h 187130"/>
                <a:gd name="connsiteX1" fmla="*/ -449 w 2667999"/>
                <a:gd name="connsiteY1" fmla="*/ -5079 h 187130"/>
                <a:gd name="connsiteX2" fmla="*/ -6101 w 2667999"/>
                <a:gd name="connsiteY2" fmla="*/ -3493 h 187130"/>
                <a:gd name="connsiteX3" fmla="*/ -7341 w 2667999"/>
                <a:gd name="connsiteY3" fmla="*/ 8568 h 187130"/>
                <a:gd name="connsiteX4" fmla="*/ 2629026 w 2667999"/>
                <a:gd name="connsiteY4" fmla="*/ 153999 h 187130"/>
                <a:gd name="connsiteX5" fmla="*/ 2656664 w 2667999"/>
                <a:gd name="connsiteY5" fmla="*/ 182052 h 187130"/>
                <a:gd name="connsiteX6" fmla="*/ 2629922 w 2667999"/>
                <a:gd name="connsiteY6" fmla="*/ 137595 h 187130"/>
                <a:gd name="connsiteX7" fmla="*/ 2596424 w 2667999"/>
                <a:gd name="connsiteY7" fmla="*/ 141386 h 187130"/>
                <a:gd name="connsiteX8" fmla="*/ 2597458 w 2667999"/>
                <a:gd name="connsiteY8" fmla="*/ 152276 h 187130"/>
                <a:gd name="connsiteX9" fmla="*/ 2629026 w 2667999"/>
                <a:gd name="connsiteY9" fmla="*/ 153999 h 18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7999" h="187130">
                  <a:moveTo>
                    <a:pt x="-7341" y="8568"/>
                  </a:moveTo>
                  <a:cubicBezTo>
                    <a:pt x="-173" y="21251"/>
                    <a:pt x="7064" y="229"/>
                    <a:pt x="-449" y="-5079"/>
                  </a:cubicBezTo>
                  <a:lnTo>
                    <a:pt x="-6101" y="-3493"/>
                  </a:lnTo>
                  <a:cubicBezTo>
                    <a:pt x="-6445" y="-460"/>
                    <a:pt x="-6997" y="5536"/>
                    <a:pt x="-7341" y="8568"/>
                  </a:cubicBezTo>
                  <a:close/>
                  <a:moveTo>
                    <a:pt x="2629026" y="153999"/>
                  </a:moveTo>
                  <a:cubicBezTo>
                    <a:pt x="2638261" y="163235"/>
                    <a:pt x="2645912" y="174263"/>
                    <a:pt x="2656664" y="182052"/>
                  </a:cubicBezTo>
                  <a:cubicBezTo>
                    <a:pt x="2670036" y="159927"/>
                    <a:pt x="2646946" y="145866"/>
                    <a:pt x="2629922" y="137595"/>
                  </a:cubicBezTo>
                  <a:cubicBezTo>
                    <a:pt x="2618824" y="139250"/>
                    <a:pt x="2607452" y="140421"/>
                    <a:pt x="2596424" y="141386"/>
                  </a:cubicBezTo>
                  <a:lnTo>
                    <a:pt x="2597458" y="152276"/>
                  </a:lnTo>
                  <a:cubicBezTo>
                    <a:pt x="2607935" y="152276"/>
                    <a:pt x="2618480" y="152828"/>
                    <a:pt x="2629026" y="153999"/>
                  </a:cubicBezTo>
                </a:path>
              </a:pathLst>
            </a:custGeom>
            <a:grpFill/>
            <a:ln w="689" cap="flat">
              <a:noFill/>
              <a:prstDash val="solid"/>
              <a:miter/>
            </a:ln>
          </p:spPr>
          <p:txBody>
            <a:bodyPr rtlCol="0" anchor="ctr"/>
            <a:lstStyle/>
            <a:p>
              <a:endParaRPr lang="en-US" sz="2400" dirty="0"/>
            </a:p>
          </p:txBody>
        </p:sp>
        <p:sp>
          <p:nvSpPr>
            <p:cNvPr id="108" name="Graphic 8">
              <a:extLst>
                <a:ext uri="{FF2B5EF4-FFF2-40B4-BE49-F238E27FC236}">
                  <a16:creationId xmlns:a16="http://schemas.microsoft.com/office/drawing/2014/main" id="{F1CCEA0E-E0F3-4845-9304-1AAE6B1633F1}"/>
                </a:ext>
              </a:extLst>
            </p:cNvPr>
            <p:cNvSpPr/>
            <p:nvPr/>
          </p:nvSpPr>
          <p:spPr>
            <a:xfrm flipV="1">
              <a:off x="1924504" y="1360572"/>
              <a:ext cx="5373908" cy="2304795"/>
            </a:xfrm>
            <a:custGeom>
              <a:avLst/>
              <a:gdLst>
                <a:gd name="connsiteX0" fmla="*/ -4651 w 5373908"/>
                <a:gd name="connsiteY0" fmla="*/ 8345 h 2304795"/>
                <a:gd name="connsiteX1" fmla="*/ 14510 w 5373908"/>
                <a:gd name="connsiteY1" fmla="*/ 12067 h 2304795"/>
                <a:gd name="connsiteX2" fmla="*/ 12649 w 5373908"/>
                <a:gd name="connsiteY2" fmla="*/ -546 h 2304795"/>
                <a:gd name="connsiteX3" fmla="*/ -4651 w 5373908"/>
                <a:gd name="connsiteY3" fmla="*/ 8345 h 2304795"/>
                <a:gd name="connsiteX4" fmla="*/ 3622370 w 5373908"/>
                <a:gd name="connsiteY4" fmla="*/ 656513 h 2304795"/>
                <a:gd name="connsiteX5" fmla="*/ 3656832 w 5373908"/>
                <a:gd name="connsiteY5" fmla="*/ 636593 h 2304795"/>
                <a:gd name="connsiteX6" fmla="*/ 3624920 w 5373908"/>
                <a:gd name="connsiteY6" fmla="*/ 628943 h 2304795"/>
                <a:gd name="connsiteX7" fmla="*/ 3622370 w 5373908"/>
                <a:gd name="connsiteY7" fmla="*/ 656513 h 2304795"/>
                <a:gd name="connsiteX8" fmla="*/ 5357685 w 5373908"/>
                <a:gd name="connsiteY8" fmla="*/ 2297746 h 2304795"/>
                <a:gd name="connsiteX9" fmla="*/ 5365267 w 5373908"/>
                <a:gd name="connsiteY9" fmla="*/ 2301468 h 2304795"/>
                <a:gd name="connsiteX10" fmla="*/ 5358719 w 5373908"/>
                <a:gd name="connsiteY10" fmla="*/ 2273691 h 2304795"/>
                <a:gd name="connsiteX11" fmla="*/ 5357685 w 5373908"/>
                <a:gd name="connsiteY11" fmla="*/ 2297746 h 230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73908" h="2304795">
                  <a:moveTo>
                    <a:pt x="-4651" y="8345"/>
                  </a:moveTo>
                  <a:cubicBezTo>
                    <a:pt x="1001" y="14342"/>
                    <a:pt x="7411" y="15583"/>
                    <a:pt x="14510" y="12067"/>
                  </a:cubicBezTo>
                  <a:cubicBezTo>
                    <a:pt x="14028" y="8897"/>
                    <a:pt x="13132" y="2625"/>
                    <a:pt x="12649" y="-546"/>
                  </a:cubicBezTo>
                  <a:cubicBezTo>
                    <a:pt x="6653" y="-6956"/>
                    <a:pt x="-9958" y="-1580"/>
                    <a:pt x="-4651" y="8345"/>
                  </a:cubicBezTo>
                  <a:close/>
                  <a:moveTo>
                    <a:pt x="3622370" y="656513"/>
                  </a:moveTo>
                  <a:cubicBezTo>
                    <a:pt x="3633053" y="649413"/>
                    <a:pt x="3649319" y="647897"/>
                    <a:pt x="3656832" y="636593"/>
                  </a:cubicBezTo>
                  <a:cubicBezTo>
                    <a:pt x="3653248" y="622326"/>
                    <a:pt x="3634776" y="632044"/>
                    <a:pt x="3624920" y="628943"/>
                  </a:cubicBezTo>
                  <a:cubicBezTo>
                    <a:pt x="3624300" y="635835"/>
                    <a:pt x="3622990" y="649620"/>
                    <a:pt x="3622370" y="656513"/>
                  </a:cubicBezTo>
                  <a:moveTo>
                    <a:pt x="5357685" y="2297746"/>
                  </a:moveTo>
                  <a:cubicBezTo>
                    <a:pt x="5359546" y="2298711"/>
                    <a:pt x="5363406" y="2300503"/>
                    <a:pt x="5365267" y="2301468"/>
                  </a:cubicBezTo>
                  <a:cubicBezTo>
                    <a:pt x="5369402" y="2292852"/>
                    <a:pt x="5370780" y="2275690"/>
                    <a:pt x="5358719" y="2273691"/>
                  </a:cubicBezTo>
                  <a:cubicBezTo>
                    <a:pt x="5353067" y="2281273"/>
                    <a:pt x="5352723" y="2289268"/>
                    <a:pt x="5357685" y="2297746"/>
                  </a:cubicBezTo>
                </a:path>
              </a:pathLst>
            </a:custGeom>
            <a:grpFill/>
            <a:ln w="689" cap="flat">
              <a:noFill/>
              <a:prstDash val="solid"/>
              <a:miter/>
            </a:ln>
          </p:spPr>
          <p:txBody>
            <a:bodyPr rtlCol="0" anchor="ctr"/>
            <a:lstStyle/>
            <a:p>
              <a:endParaRPr lang="en-US" sz="2400" dirty="0"/>
            </a:p>
          </p:txBody>
        </p:sp>
        <p:sp>
          <p:nvSpPr>
            <p:cNvPr id="109" name="Graphic 8">
              <a:extLst>
                <a:ext uri="{FF2B5EF4-FFF2-40B4-BE49-F238E27FC236}">
                  <a16:creationId xmlns:a16="http://schemas.microsoft.com/office/drawing/2014/main" id="{49053D9B-E706-4BAE-8E8C-782035333043}"/>
                </a:ext>
              </a:extLst>
            </p:cNvPr>
            <p:cNvSpPr/>
            <p:nvPr/>
          </p:nvSpPr>
          <p:spPr>
            <a:xfrm flipV="1">
              <a:off x="1221314" y="1377142"/>
              <a:ext cx="3301249" cy="2377293"/>
            </a:xfrm>
            <a:custGeom>
              <a:avLst/>
              <a:gdLst>
                <a:gd name="connsiteX0" fmla="*/ -1546 w 3301249"/>
                <a:gd name="connsiteY0" fmla="*/ 6175 h 2377293"/>
                <a:gd name="connsiteX1" fmla="*/ -1546 w 3301249"/>
                <a:gd name="connsiteY1" fmla="*/ 6175 h 2377293"/>
                <a:gd name="connsiteX2" fmla="*/ 3278990 w 3301249"/>
                <a:gd name="connsiteY2" fmla="*/ 2360364 h 2377293"/>
                <a:gd name="connsiteX3" fmla="*/ 3297531 w 3301249"/>
                <a:gd name="connsiteY3" fmla="*/ 2372702 h 2377293"/>
                <a:gd name="connsiteX4" fmla="*/ 3278990 w 3301249"/>
                <a:gd name="connsiteY4" fmla="*/ 2360364 h 23772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01249" h="2377293">
                  <a:moveTo>
                    <a:pt x="-1546" y="6175"/>
                  </a:moveTo>
                  <a:cubicBezTo>
                    <a:pt x="21750" y="4520"/>
                    <a:pt x="-11609" y="-14158"/>
                    <a:pt x="-1546" y="6175"/>
                  </a:cubicBezTo>
                  <a:close/>
                  <a:moveTo>
                    <a:pt x="3278990" y="2360364"/>
                  </a:moveTo>
                  <a:cubicBezTo>
                    <a:pt x="3275544" y="2369324"/>
                    <a:pt x="3290225" y="2377320"/>
                    <a:pt x="3297531" y="2372702"/>
                  </a:cubicBezTo>
                  <a:cubicBezTo>
                    <a:pt x="3299667" y="2364155"/>
                    <a:pt x="3286020" y="2357125"/>
                    <a:pt x="3278990" y="2360364"/>
                  </a:cubicBezTo>
                </a:path>
              </a:pathLst>
            </a:custGeom>
            <a:grpFill/>
            <a:ln w="689" cap="flat">
              <a:noFill/>
              <a:prstDash val="solid"/>
              <a:miter/>
            </a:ln>
          </p:spPr>
          <p:txBody>
            <a:bodyPr rtlCol="0" anchor="ctr"/>
            <a:lstStyle/>
            <a:p>
              <a:endParaRPr lang="en-US" sz="2400" dirty="0"/>
            </a:p>
          </p:txBody>
        </p:sp>
        <p:sp>
          <p:nvSpPr>
            <p:cNvPr id="110" name="Graphic 8">
              <a:extLst>
                <a:ext uri="{FF2B5EF4-FFF2-40B4-BE49-F238E27FC236}">
                  <a16:creationId xmlns:a16="http://schemas.microsoft.com/office/drawing/2014/main" id="{160E8299-86DC-4F31-8AEF-FDEAC32F2BBE}"/>
                </a:ext>
              </a:extLst>
            </p:cNvPr>
            <p:cNvSpPr/>
            <p:nvPr/>
          </p:nvSpPr>
          <p:spPr>
            <a:xfrm flipV="1">
              <a:off x="471367" y="1379692"/>
              <a:ext cx="6676482" cy="1843308"/>
            </a:xfrm>
            <a:custGeom>
              <a:avLst/>
              <a:gdLst>
                <a:gd name="connsiteX0" fmla="*/ 6669018 w 6676482"/>
                <a:gd name="connsiteY0" fmla="*/ -1040 h 1843308"/>
                <a:gd name="connsiteX1" fmla="*/ 6669018 w 6676482"/>
                <a:gd name="connsiteY1" fmla="*/ -1040 h 1843308"/>
                <a:gd name="connsiteX2" fmla="*/ 1928314 w 6676482"/>
                <a:gd name="connsiteY2" fmla="*/ 331039 h 1843308"/>
                <a:gd name="connsiteX3" fmla="*/ 1943822 w 6676482"/>
                <a:gd name="connsiteY3" fmla="*/ 313050 h 1843308"/>
                <a:gd name="connsiteX4" fmla="*/ 1928314 w 6676482"/>
                <a:gd name="connsiteY4" fmla="*/ 331039 h 1843308"/>
                <a:gd name="connsiteX5" fmla="*/ -3091 w 6676482"/>
                <a:gd name="connsiteY5" fmla="*/ 523339 h 1843308"/>
                <a:gd name="connsiteX6" fmla="*/ 7592 w 6676482"/>
                <a:gd name="connsiteY6" fmla="*/ 511277 h 1843308"/>
                <a:gd name="connsiteX7" fmla="*/ -3091 w 6676482"/>
                <a:gd name="connsiteY7" fmla="*/ 523339 h 1843308"/>
                <a:gd name="connsiteX8" fmla="*/ 2300093 w 6676482"/>
                <a:gd name="connsiteY8" fmla="*/ 576687 h 1843308"/>
                <a:gd name="connsiteX9" fmla="*/ 2303746 w 6676482"/>
                <a:gd name="connsiteY9" fmla="*/ 554838 h 1843308"/>
                <a:gd name="connsiteX10" fmla="*/ 2300093 w 6676482"/>
                <a:gd name="connsiteY10" fmla="*/ 576687 h 1843308"/>
                <a:gd name="connsiteX11" fmla="*/ 366964 w 6676482"/>
                <a:gd name="connsiteY11" fmla="*/ 1614209 h 1843308"/>
                <a:gd name="connsiteX12" fmla="*/ 393155 w 6676482"/>
                <a:gd name="connsiteY12" fmla="*/ 1614209 h 1843308"/>
                <a:gd name="connsiteX13" fmla="*/ 378612 w 6676482"/>
                <a:gd name="connsiteY13" fmla="*/ 1583951 h 1843308"/>
                <a:gd name="connsiteX14" fmla="*/ 380197 w 6676482"/>
                <a:gd name="connsiteY14" fmla="*/ 1570787 h 1843308"/>
                <a:gd name="connsiteX15" fmla="*/ 358762 w 6676482"/>
                <a:gd name="connsiteY15" fmla="*/ 1577541 h 1843308"/>
                <a:gd name="connsiteX16" fmla="*/ 366964 w 6676482"/>
                <a:gd name="connsiteY16" fmla="*/ 1614209 h 1843308"/>
                <a:gd name="connsiteX17" fmla="*/ 4511677 w 6676482"/>
                <a:gd name="connsiteY17" fmla="*/ 1839110 h 1843308"/>
                <a:gd name="connsiteX18" fmla="*/ 4521947 w 6676482"/>
                <a:gd name="connsiteY18" fmla="*/ 1827806 h 1843308"/>
                <a:gd name="connsiteX19" fmla="*/ 4511677 w 6676482"/>
                <a:gd name="connsiteY19" fmla="*/ 1839110 h 184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676482" h="1843308">
                  <a:moveTo>
                    <a:pt x="6669018" y="-1040"/>
                  </a:moveTo>
                  <a:cubicBezTo>
                    <a:pt x="6672740" y="-4555"/>
                    <a:pt x="6672740" y="-4555"/>
                    <a:pt x="6669018" y="-1040"/>
                  </a:cubicBezTo>
                  <a:close/>
                  <a:moveTo>
                    <a:pt x="1928314" y="331039"/>
                  </a:moveTo>
                  <a:cubicBezTo>
                    <a:pt x="1937825" y="337036"/>
                    <a:pt x="1951127" y="321665"/>
                    <a:pt x="1943822" y="313050"/>
                  </a:cubicBezTo>
                  <a:cubicBezTo>
                    <a:pt x="1934310" y="306985"/>
                    <a:pt x="1922662" y="322699"/>
                    <a:pt x="1928314" y="331039"/>
                  </a:cubicBezTo>
                  <a:moveTo>
                    <a:pt x="-3091" y="523339"/>
                  </a:moveTo>
                  <a:cubicBezTo>
                    <a:pt x="8071" y="526647"/>
                    <a:pt x="11655" y="522581"/>
                    <a:pt x="7592" y="511277"/>
                  </a:cubicBezTo>
                  <a:cubicBezTo>
                    <a:pt x="-3506" y="508038"/>
                    <a:pt x="-7089" y="512104"/>
                    <a:pt x="-3091" y="523339"/>
                  </a:cubicBezTo>
                  <a:moveTo>
                    <a:pt x="2300093" y="576687"/>
                  </a:moveTo>
                  <a:cubicBezTo>
                    <a:pt x="2309949" y="577100"/>
                    <a:pt x="2309329" y="560007"/>
                    <a:pt x="2303746" y="554838"/>
                  </a:cubicBezTo>
                  <a:cubicBezTo>
                    <a:pt x="2294097" y="554631"/>
                    <a:pt x="2294510" y="571655"/>
                    <a:pt x="2300093" y="576687"/>
                  </a:cubicBezTo>
                  <a:moveTo>
                    <a:pt x="366964" y="1614209"/>
                  </a:moveTo>
                  <a:cubicBezTo>
                    <a:pt x="375304" y="1614209"/>
                    <a:pt x="387572" y="1624754"/>
                    <a:pt x="393155" y="1614209"/>
                  </a:cubicBezTo>
                  <a:cubicBezTo>
                    <a:pt x="389158" y="1603732"/>
                    <a:pt x="383851" y="1593807"/>
                    <a:pt x="378612" y="1583951"/>
                  </a:cubicBezTo>
                  <a:cubicBezTo>
                    <a:pt x="379026" y="1580643"/>
                    <a:pt x="379784" y="1574095"/>
                    <a:pt x="380197" y="1570787"/>
                  </a:cubicBezTo>
                  <a:cubicBezTo>
                    <a:pt x="373029" y="1573061"/>
                    <a:pt x="365861" y="1575335"/>
                    <a:pt x="358762" y="1577541"/>
                  </a:cubicBezTo>
                  <a:cubicBezTo>
                    <a:pt x="362277" y="1589534"/>
                    <a:pt x="364758" y="1601871"/>
                    <a:pt x="366964" y="1614209"/>
                  </a:cubicBezTo>
                  <a:moveTo>
                    <a:pt x="4511677" y="1839110"/>
                  </a:moveTo>
                  <a:cubicBezTo>
                    <a:pt x="4521189" y="1841109"/>
                    <a:pt x="4524635" y="1837387"/>
                    <a:pt x="4521947" y="1827806"/>
                  </a:cubicBezTo>
                  <a:cubicBezTo>
                    <a:pt x="4512298" y="1825808"/>
                    <a:pt x="4508851" y="1829599"/>
                    <a:pt x="4511677" y="1839110"/>
                  </a:cubicBezTo>
                </a:path>
              </a:pathLst>
            </a:custGeom>
            <a:grpFill/>
            <a:ln w="689" cap="flat">
              <a:noFill/>
              <a:prstDash val="solid"/>
              <a:miter/>
            </a:ln>
          </p:spPr>
          <p:txBody>
            <a:bodyPr rtlCol="0" anchor="ctr"/>
            <a:lstStyle/>
            <a:p>
              <a:endParaRPr lang="en-US" sz="2400" dirty="0"/>
            </a:p>
          </p:txBody>
        </p:sp>
        <p:sp>
          <p:nvSpPr>
            <p:cNvPr id="111" name="Graphic 8">
              <a:extLst>
                <a:ext uri="{FF2B5EF4-FFF2-40B4-BE49-F238E27FC236}">
                  <a16:creationId xmlns:a16="http://schemas.microsoft.com/office/drawing/2014/main" id="{24A6DB03-ABCA-47A4-B6B1-78F8BB77F704}"/>
                </a:ext>
              </a:extLst>
            </p:cNvPr>
            <p:cNvSpPr/>
            <p:nvPr/>
          </p:nvSpPr>
          <p:spPr>
            <a:xfrm flipV="1">
              <a:off x="426288" y="1374012"/>
              <a:ext cx="7678349" cy="2212755"/>
            </a:xfrm>
            <a:custGeom>
              <a:avLst/>
              <a:gdLst>
                <a:gd name="connsiteX0" fmla="*/ 1262482 w 7678349"/>
                <a:gd name="connsiteY0" fmla="*/ 22948 h 2212755"/>
                <a:gd name="connsiteX1" fmla="*/ 1273717 w 7678349"/>
                <a:gd name="connsiteY1" fmla="*/ 27979 h 2212755"/>
                <a:gd name="connsiteX2" fmla="*/ 1298737 w 7678349"/>
                <a:gd name="connsiteY2" fmla="*/ 27566 h 2212755"/>
                <a:gd name="connsiteX3" fmla="*/ 1301494 w 7678349"/>
                <a:gd name="connsiteY3" fmla="*/ -3381 h 2212755"/>
                <a:gd name="connsiteX4" fmla="*/ 1262482 w 7678349"/>
                <a:gd name="connsiteY4" fmla="*/ 22948 h 2212755"/>
                <a:gd name="connsiteX5" fmla="*/ 6191489 w 7678349"/>
                <a:gd name="connsiteY5" fmla="*/ 157006 h 2212755"/>
                <a:gd name="connsiteX6" fmla="*/ 6196521 w 7678349"/>
                <a:gd name="connsiteY6" fmla="*/ 157006 h 2212755"/>
                <a:gd name="connsiteX7" fmla="*/ 6195969 w 7678349"/>
                <a:gd name="connsiteY7" fmla="*/ 145634 h 2212755"/>
                <a:gd name="connsiteX8" fmla="*/ 6190869 w 7678349"/>
                <a:gd name="connsiteY8" fmla="*/ 145634 h 2212755"/>
                <a:gd name="connsiteX9" fmla="*/ 6191489 w 7678349"/>
                <a:gd name="connsiteY9" fmla="*/ 157006 h 2212755"/>
                <a:gd name="connsiteX10" fmla="*/ 5587709 w 7678349"/>
                <a:gd name="connsiteY10" fmla="*/ 291892 h 2212755"/>
                <a:gd name="connsiteX11" fmla="*/ 5604527 w 7678349"/>
                <a:gd name="connsiteY11" fmla="*/ 299749 h 2212755"/>
                <a:gd name="connsiteX12" fmla="*/ 5626445 w 7678349"/>
                <a:gd name="connsiteY12" fmla="*/ 283621 h 2212755"/>
                <a:gd name="connsiteX13" fmla="*/ 5614314 w 7678349"/>
                <a:gd name="connsiteY13" fmla="*/ 285757 h 2212755"/>
                <a:gd name="connsiteX14" fmla="*/ 5600116 w 7678349"/>
                <a:gd name="connsiteY14" fmla="*/ 258808 h 2212755"/>
                <a:gd name="connsiteX15" fmla="*/ 5587709 w 7678349"/>
                <a:gd name="connsiteY15" fmla="*/ 291892 h 2212755"/>
                <a:gd name="connsiteX16" fmla="*/ 6244699 w 7678349"/>
                <a:gd name="connsiteY16" fmla="*/ 334900 h 2212755"/>
                <a:gd name="connsiteX17" fmla="*/ 6257381 w 7678349"/>
                <a:gd name="connsiteY17" fmla="*/ 328973 h 2212755"/>
                <a:gd name="connsiteX18" fmla="*/ 6285089 w 7678349"/>
                <a:gd name="connsiteY18" fmla="*/ 340070 h 2212755"/>
                <a:gd name="connsiteX19" fmla="*/ 6275715 w 7678349"/>
                <a:gd name="connsiteY19" fmla="*/ 313947 h 2212755"/>
                <a:gd name="connsiteX20" fmla="*/ 6266348 w 7678349"/>
                <a:gd name="connsiteY20" fmla="*/ 322839 h 2212755"/>
                <a:gd name="connsiteX21" fmla="*/ 6266479 w 7678349"/>
                <a:gd name="connsiteY21" fmla="*/ 308709 h 2212755"/>
                <a:gd name="connsiteX22" fmla="*/ 6251454 w 7678349"/>
                <a:gd name="connsiteY22" fmla="*/ 323666 h 2212755"/>
                <a:gd name="connsiteX23" fmla="*/ 6271373 w 7678349"/>
                <a:gd name="connsiteY23" fmla="*/ 293201 h 2212755"/>
                <a:gd name="connsiteX24" fmla="*/ 6216923 w 7678349"/>
                <a:gd name="connsiteY24" fmla="*/ 290237 h 2212755"/>
                <a:gd name="connsiteX25" fmla="*/ 6216302 w 7678349"/>
                <a:gd name="connsiteY25" fmla="*/ 298302 h 2212755"/>
                <a:gd name="connsiteX26" fmla="*/ 6233051 w 7678349"/>
                <a:gd name="connsiteY26" fmla="*/ 302437 h 2212755"/>
                <a:gd name="connsiteX27" fmla="*/ 6244699 w 7678349"/>
                <a:gd name="connsiteY27" fmla="*/ 334900 h 2212755"/>
                <a:gd name="connsiteX28" fmla="*/ 7659377 w 7678349"/>
                <a:gd name="connsiteY28" fmla="*/ 802003 h 2212755"/>
                <a:gd name="connsiteX29" fmla="*/ 7664753 w 7678349"/>
                <a:gd name="connsiteY29" fmla="*/ 829021 h 2212755"/>
                <a:gd name="connsiteX30" fmla="*/ 7659377 w 7678349"/>
                <a:gd name="connsiteY30" fmla="*/ 802003 h 2212755"/>
                <a:gd name="connsiteX31" fmla="*/ 1995840 w 7678349"/>
                <a:gd name="connsiteY31" fmla="*/ 1926232 h 2212755"/>
                <a:gd name="connsiteX32" fmla="*/ 2007558 w 7678349"/>
                <a:gd name="connsiteY32" fmla="*/ 1930505 h 2212755"/>
                <a:gd name="connsiteX33" fmla="*/ 1997495 w 7678349"/>
                <a:gd name="connsiteY33" fmla="*/ 1912309 h 2212755"/>
                <a:gd name="connsiteX34" fmla="*/ 2007144 w 7678349"/>
                <a:gd name="connsiteY34" fmla="*/ 1917272 h 2212755"/>
                <a:gd name="connsiteX35" fmla="*/ 2009488 w 7678349"/>
                <a:gd name="connsiteY35" fmla="*/ 1929058 h 2212755"/>
                <a:gd name="connsiteX36" fmla="*/ 2019964 w 7678349"/>
                <a:gd name="connsiteY36" fmla="*/ 1909277 h 2212755"/>
                <a:gd name="connsiteX37" fmla="*/ 2005559 w 7678349"/>
                <a:gd name="connsiteY37" fmla="*/ 1902315 h 2212755"/>
                <a:gd name="connsiteX38" fmla="*/ 1989224 w 7678349"/>
                <a:gd name="connsiteY38" fmla="*/ 1915618 h 2212755"/>
                <a:gd name="connsiteX39" fmla="*/ 1995840 w 7678349"/>
                <a:gd name="connsiteY39" fmla="*/ 1926232 h 2212755"/>
                <a:gd name="connsiteX40" fmla="*/ 23495 w 7678349"/>
                <a:gd name="connsiteY40" fmla="*/ 1935193 h 2212755"/>
                <a:gd name="connsiteX41" fmla="*/ 32729 w 7678349"/>
                <a:gd name="connsiteY41" fmla="*/ 1918444 h 2212755"/>
                <a:gd name="connsiteX42" fmla="*/ 23495 w 7678349"/>
                <a:gd name="connsiteY42" fmla="*/ 1935193 h 2212755"/>
                <a:gd name="connsiteX43" fmla="*/ 22183 w 7678349"/>
                <a:gd name="connsiteY43" fmla="*/ 1962073 h 2212755"/>
                <a:gd name="connsiteX44" fmla="*/ 39003 w 7678349"/>
                <a:gd name="connsiteY44" fmla="*/ 1971516 h 2212755"/>
                <a:gd name="connsiteX45" fmla="*/ 43342 w 7678349"/>
                <a:gd name="connsiteY45" fmla="*/ 1928231 h 2212755"/>
                <a:gd name="connsiteX46" fmla="*/ 53544 w 7678349"/>
                <a:gd name="connsiteY46" fmla="*/ 1872609 h 2212755"/>
                <a:gd name="connsiteX47" fmla="*/ 51546 w 7678349"/>
                <a:gd name="connsiteY47" fmla="*/ 1833942 h 2212755"/>
                <a:gd name="connsiteX48" fmla="*/ 50235 w 7678349"/>
                <a:gd name="connsiteY48" fmla="*/ 1831806 h 2212755"/>
                <a:gd name="connsiteX49" fmla="*/ 60851 w 7678349"/>
                <a:gd name="connsiteY49" fmla="*/ 1831943 h 2212755"/>
                <a:gd name="connsiteX50" fmla="*/ 44099 w 7678349"/>
                <a:gd name="connsiteY50" fmla="*/ 1794379 h 2212755"/>
                <a:gd name="connsiteX51" fmla="*/ 22114 w 7678349"/>
                <a:gd name="connsiteY51" fmla="*/ 1803271 h 2212755"/>
                <a:gd name="connsiteX52" fmla="*/ 22528 w 7678349"/>
                <a:gd name="connsiteY52" fmla="*/ 1818296 h 2212755"/>
                <a:gd name="connsiteX53" fmla="*/ 27352 w 7678349"/>
                <a:gd name="connsiteY53" fmla="*/ 1883292 h 2212755"/>
                <a:gd name="connsiteX54" fmla="*/ 22528 w 7678349"/>
                <a:gd name="connsiteY54" fmla="*/ 1850484 h 2212755"/>
                <a:gd name="connsiteX55" fmla="*/ 36313 w 7678349"/>
                <a:gd name="connsiteY55" fmla="*/ 1797619 h 2212755"/>
                <a:gd name="connsiteX56" fmla="*/ 38520 w 7678349"/>
                <a:gd name="connsiteY56" fmla="*/ 1845935 h 2212755"/>
                <a:gd name="connsiteX57" fmla="*/ 37069 w 7678349"/>
                <a:gd name="connsiteY57" fmla="*/ 1897973 h 2212755"/>
                <a:gd name="connsiteX58" fmla="*/ 22665 w 7678349"/>
                <a:gd name="connsiteY58" fmla="*/ 1903418 h 2212755"/>
                <a:gd name="connsiteX59" fmla="*/ 9637 w 7678349"/>
                <a:gd name="connsiteY59" fmla="*/ 1923751 h 2212755"/>
                <a:gd name="connsiteX60" fmla="*/ -5247 w 7678349"/>
                <a:gd name="connsiteY60" fmla="*/ 1906795 h 2212755"/>
                <a:gd name="connsiteX61" fmla="*/ -4148 w 7678349"/>
                <a:gd name="connsiteY61" fmla="*/ 1927886 h 2212755"/>
                <a:gd name="connsiteX62" fmla="*/ -10 w 7678349"/>
                <a:gd name="connsiteY62" fmla="*/ 1934365 h 2212755"/>
                <a:gd name="connsiteX63" fmla="*/ 14532 w 7678349"/>
                <a:gd name="connsiteY63" fmla="*/ 1938570 h 2212755"/>
                <a:gd name="connsiteX64" fmla="*/ -355 w 7678349"/>
                <a:gd name="connsiteY64" fmla="*/ 1947047 h 2212755"/>
                <a:gd name="connsiteX65" fmla="*/ 35279 w 7678349"/>
                <a:gd name="connsiteY65" fmla="*/ 1942361 h 2212755"/>
                <a:gd name="connsiteX66" fmla="*/ 22183 w 7678349"/>
                <a:gd name="connsiteY66" fmla="*/ 1962073 h 2212755"/>
                <a:gd name="connsiteX67" fmla="*/ 3422580 w 7678349"/>
                <a:gd name="connsiteY67" fmla="*/ 2015903 h 2212755"/>
                <a:gd name="connsiteX68" fmla="*/ 3448427 w 7678349"/>
                <a:gd name="connsiteY68" fmla="*/ 2017557 h 2212755"/>
                <a:gd name="connsiteX69" fmla="*/ 3446497 w 7678349"/>
                <a:gd name="connsiteY69" fmla="*/ 1989091 h 2212755"/>
                <a:gd name="connsiteX70" fmla="*/ 3454354 w 7678349"/>
                <a:gd name="connsiteY70" fmla="*/ 1976271 h 2212755"/>
                <a:gd name="connsiteX71" fmla="*/ 3427198 w 7678349"/>
                <a:gd name="connsiteY71" fmla="*/ 1968690 h 2212755"/>
                <a:gd name="connsiteX72" fmla="*/ 3438571 w 7678349"/>
                <a:gd name="connsiteY72" fmla="*/ 1987575 h 2212755"/>
                <a:gd name="connsiteX73" fmla="*/ 3422580 w 7678349"/>
                <a:gd name="connsiteY73" fmla="*/ 2015903 h 2212755"/>
                <a:gd name="connsiteX74" fmla="*/ 3644724 w 7678349"/>
                <a:gd name="connsiteY74" fmla="*/ 2009838 h 2212755"/>
                <a:gd name="connsiteX75" fmla="*/ 3644724 w 7678349"/>
                <a:gd name="connsiteY75" fmla="*/ 2009838 h 2212755"/>
                <a:gd name="connsiteX76" fmla="*/ 3659957 w 7678349"/>
                <a:gd name="connsiteY76" fmla="*/ 2024105 h 2212755"/>
                <a:gd name="connsiteX77" fmla="*/ 3675602 w 7678349"/>
                <a:gd name="connsiteY77" fmla="*/ 2032169 h 2212755"/>
                <a:gd name="connsiteX78" fmla="*/ 3678084 w 7678349"/>
                <a:gd name="connsiteY78" fmla="*/ 2002876 h 2212755"/>
                <a:gd name="connsiteX79" fmla="*/ 3664161 w 7678349"/>
                <a:gd name="connsiteY79" fmla="*/ 2000740 h 2212755"/>
                <a:gd name="connsiteX80" fmla="*/ 3693109 w 7678349"/>
                <a:gd name="connsiteY80" fmla="*/ 1984611 h 2212755"/>
                <a:gd name="connsiteX81" fmla="*/ 3630112 w 7678349"/>
                <a:gd name="connsiteY81" fmla="*/ 1980131 h 2212755"/>
                <a:gd name="connsiteX82" fmla="*/ 3602680 w 7678349"/>
                <a:gd name="connsiteY82" fmla="*/ 1988816 h 2212755"/>
                <a:gd name="connsiteX83" fmla="*/ 3555122 w 7678349"/>
                <a:gd name="connsiteY83" fmla="*/ 1977994 h 2212755"/>
                <a:gd name="connsiteX84" fmla="*/ 3572215 w 7678349"/>
                <a:gd name="connsiteY84" fmla="*/ 1986334 h 2212755"/>
                <a:gd name="connsiteX85" fmla="*/ 3556432 w 7678349"/>
                <a:gd name="connsiteY85" fmla="*/ 2003083 h 2212755"/>
                <a:gd name="connsiteX86" fmla="*/ 3575731 w 7678349"/>
                <a:gd name="connsiteY86" fmla="*/ 2014869 h 2212755"/>
                <a:gd name="connsiteX87" fmla="*/ 3554916 w 7678349"/>
                <a:gd name="connsiteY87" fmla="*/ 2025139 h 2212755"/>
                <a:gd name="connsiteX88" fmla="*/ 3582278 w 7678349"/>
                <a:gd name="connsiteY88" fmla="*/ 2019281 h 2212755"/>
                <a:gd name="connsiteX89" fmla="*/ 3579246 w 7678349"/>
                <a:gd name="connsiteY89" fmla="*/ 1993089 h 2212755"/>
                <a:gd name="connsiteX90" fmla="*/ 3607160 w 7678349"/>
                <a:gd name="connsiteY90" fmla="*/ 1992331 h 2212755"/>
                <a:gd name="connsiteX91" fmla="*/ 3600612 w 7678349"/>
                <a:gd name="connsiteY91" fmla="*/ 2027069 h 2212755"/>
                <a:gd name="connsiteX92" fmla="*/ 3623702 w 7678349"/>
                <a:gd name="connsiteY92" fmla="*/ 2022589 h 2212755"/>
                <a:gd name="connsiteX93" fmla="*/ 3616672 w 7678349"/>
                <a:gd name="connsiteY93" fmla="*/ 2005427 h 2212755"/>
                <a:gd name="connsiteX94" fmla="*/ 3659957 w 7678349"/>
                <a:gd name="connsiteY94" fmla="*/ 2024105 h 2212755"/>
                <a:gd name="connsiteX95" fmla="*/ 4602708 w 7678349"/>
                <a:gd name="connsiteY95" fmla="*/ 2080555 h 2212755"/>
                <a:gd name="connsiteX96" fmla="*/ 4633931 w 7678349"/>
                <a:gd name="connsiteY96" fmla="*/ 2093443 h 2212755"/>
                <a:gd name="connsiteX97" fmla="*/ 4637584 w 7678349"/>
                <a:gd name="connsiteY97" fmla="*/ 2070147 h 2212755"/>
                <a:gd name="connsiteX98" fmla="*/ 4648267 w 7678349"/>
                <a:gd name="connsiteY98" fmla="*/ 2071250 h 2212755"/>
                <a:gd name="connsiteX99" fmla="*/ 4652540 w 7678349"/>
                <a:gd name="connsiteY99" fmla="*/ 2058568 h 2212755"/>
                <a:gd name="connsiteX100" fmla="*/ 4623316 w 7678349"/>
                <a:gd name="connsiteY100" fmla="*/ 2046437 h 2212755"/>
                <a:gd name="connsiteX101" fmla="*/ 4601543 w 7678349"/>
                <a:gd name="connsiteY101" fmla="*/ 2050641 h 2212755"/>
                <a:gd name="connsiteX102" fmla="*/ 4623592 w 7678349"/>
                <a:gd name="connsiteY102" fmla="*/ 2057534 h 2212755"/>
                <a:gd name="connsiteX103" fmla="*/ 4602708 w 7678349"/>
                <a:gd name="connsiteY103" fmla="*/ 2080555 h 2212755"/>
                <a:gd name="connsiteX104" fmla="*/ 4920243 w 7678349"/>
                <a:gd name="connsiteY104" fmla="*/ 2113431 h 2212755"/>
                <a:gd name="connsiteX105" fmla="*/ 4933753 w 7678349"/>
                <a:gd name="connsiteY105" fmla="*/ 2098613 h 2212755"/>
                <a:gd name="connsiteX106" fmla="*/ 4940645 w 7678349"/>
                <a:gd name="connsiteY106" fmla="*/ 2107504 h 2212755"/>
                <a:gd name="connsiteX107" fmla="*/ 4940990 w 7678349"/>
                <a:gd name="connsiteY107" fmla="*/ 2090824 h 2212755"/>
                <a:gd name="connsiteX108" fmla="*/ 4921484 w 7678349"/>
                <a:gd name="connsiteY108" fmla="*/ 2095029 h 2212755"/>
                <a:gd name="connsiteX109" fmla="*/ 4917418 w 7678349"/>
                <a:gd name="connsiteY109" fmla="*/ 2095856 h 2212755"/>
                <a:gd name="connsiteX110" fmla="*/ 4920243 w 7678349"/>
                <a:gd name="connsiteY110" fmla="*/ 2113431 h 2212755"/>
                <a:gd name="connsiteX111" fmla="*/ 6054880 w 7678349"/>
                <a:gd name="connsiteY111" fmla="*/ 2137624 h 2212755"/>
                <a:gd name="connsiteX112" fmla="*/ 6075834 w 7678349"/>
                <a:gd name="connsiteY112" fmla="*/ 2183252 h 2212755"/>
                <a:gd name="connsiteX113" fmla="*/ 6083622 w 7678349"/>
                <a:gd name="connsiteY113" fmla="*/ 2163746 h 2212755"/>
                <a:gd name="connsiteX114" fmla="*/ 6094995 w 7678349"/>
                <a:gd name="connsiteY114" fmla="*/ 2138107 h 2212755"/>
                <a:gd name="connsiteX115" fmla="*/ 6106436 w 7678349"/>
                <a:gd name="connsiteY115" fmla="*/ 2154373 h 2212755"/>
                <a:gd name="connsiteX116" fmla="*/ 6102714 w 7678349"/>
                <a:gd name="connsiteY116" fmla="*/ 2137210 h 2212755"/>
                <a:gd name="connsiteX117" fmla="*/ 6093823 w 7678349"/>
                <a:gd name="connsiteY117" fmla="*/ 2137142 h 2212755"/>
                <a:gd name="connsiteX118" fmla="*/ 6054880 w 7678349"/>
                <a:gd name="connsiteY118" fmla="*/ 2137624 h 2212755"/>
                <a:gd name="connsiteX119" fmla="*/ 6428796 w 7678349"/>
                <a:gd name="connsiteY119" fmla="*/ 2189249 h 2212755"/>
                <a:gd name="connsiteX120" fmla="*/ 6428796 w 7678349"/>
                <a:gd name="connsiteY120" fmla="*/ 2189249 h 2212755"/>
                <a:gd name="connsiteX121" fmla="*/ 6370073 w 7678349"/>
                <a:gd name="connsiteY121" fmla="*/ 2202069 h 2212755"/>
                <a:gd name="connsiteX122" fmla="*/ 6443202 w 7678349"/>
                <a:gd name="connsiteY122" fmla="*/ 2195728 h 2212755"/>
                <a:gd name="connsiteX123" fmla="*/ 6444374 w 7678349"/>
                <a:gd name="connsiteY123" fmla="*/ 2186354 h 2212755"/>
                <a:gd name="connsiteX124" fmla="*/ 6462501 w 7678349"/>
                <a:gd name="connsiteY124" fmla="*/ 2163264 h 2212755"/>
                <a:gd name="connsiteX125" fmla="*/ 6450163 w 7678349"/>
                <a:gd name="connsiteY125" fmla="*/ 2197519 h 2212755"/>
                <a:gd name="connsiteX126" fmla="*/ 6492276 w 7678349"/>
                <a:gd name="connsiteY126" fmla="*/ 2209375 h 2212755"/>
                <a:gd name="connsiteX127" fmla="*/ 6510404 w 7678349"/>
                <a:gd name="connsiteY127" fmla="*/ 2175946 h 2212755"/>
                <a:gd name="connsiteX128" fmla="*/ 6494275 w 7678349"/>
                <a:gd name="connsiteY128" fmla="*/ 2160369 h 2212755"/>
                <a:gd name="connsiteX129" fmla="*/ 6432657 w 7678349"/>
                <a:gd name="connsiteY129" fmla="*/ 2163126 h 2212755"/>
                <a:gd name="connsiteX130" fmla="*/ 6425488 w 7678349"/>
                <a:gd name="connsiteY130" fmla="*/ 2157612 h 2212755"/>
                <a:gd name="connsiteX131" fmla="*/ 6418940 w 7678349"/>
                <a:gd name="connsiteY131" fmla="*/ 2186285 h 2212755"/>
                <a:gd name="connsiteX132" fmla="*/ 6393576 w 7678349"/>
                <a:gd name="connsiteY132" fmla="*/ 2199105 h 2212755"/>
                <a:gd name="connsiteX133" fmla="*/ 6391922 w 7678349"/>
                <a:gd name="connsiteY133" fmla="*/ 2176842 h 2212755"/>
                <a:gd name="connsiteX134" fmla="*/ 6401916 w 7678349"/>
                <a:gd name="connsiteY134" fmla="*/ 2156372 h 2212755"/>
                <a:gd name="connsiteX135" fmla="*/ 6289362 w 7678349"/>
                <a:gd name="connsiteY135" fmla="*/ 2146929 h 2212755"/>
                <a:gd name="connsiteX136" fmla="*/ 6290809 w 7678349"/>
                <a:gd name="connsiteY136" fmla="*/ 2168089 h 2212755"/>
                <a:gd name="connsiteX137" fmla="*/ 6307765 w 7678349"/>
                <a:gd name="connsiteY137" fmla="*/ 2164712 h 2212755"/>
                <a:gd name="connsiteX138" fmla="*/ 6288397 w 7678349"/>
                <a:gd name="connsiteY138" fmla="*/ 2183183 h 2212755"/>
                <a:gd name="connsiteX139" fmla="*/ 6286329 w 7678349"/>
                <a:gd name="connsiteY139" fmla="*/ 2194280 h 2212755"/>
                <a:gd name="connsiteX140" fmla="*/ 6317001 w 7678349"/>
                <a:gd name="connsiteY140" fmla="*/ 2197588 h 2212755"/>
                <a:gd name="connsiteX141" fmla="*/ 6332371 w 7678349"/>
                <a:gd name="connsiteY141" fmla="*/ 2167951 h 2212755"/>
                <a:gd name="connsiteX142" fmla="*/ 6322101 w 7678349"/>
                <a:gd name="connsiteY142" fmla="*/ 2190972 h 2212755"/>
                <a:gd name="connsiteX143" fmla="*/ 6358907 w 7678349"/>
                <a:gd name="connsiteY143" fmla="*/ 2199450 h 2212755"/>
                <a:gd name="connsiteX144" fmla="*/ 6361044 w 7678349"/>
                <a:gd name="connsiteY144" fmla="*/ 2180978 h 2212755"/>
                <a:gd name="connsiteX145" fmla="*/ 6346846 w 7678349"/>
                <a:gd name="connsiteY145" fmla="*/ 2179599 h 2212755"/>
                <a:gd name="connsiteX146" fmla="*/ 6371796 w 7678349"/>
                <a:gd name="connsiteY146" fmla="*/ 2172707 h 2212755"/>
                <a:gd name="connsiteX147" fmla="*/ 6370073 w 7678349"/>
                <a:gd name="connsiteY147" fmla="*/ 2202069 h 221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7678349" h="2212755">
                  <a:moveTo>
                    <a:pt x="1262482" y="22948"/>
                  </a:moveTo>
                  <a:lnTo>
                    <a:pt x="1273717" y="27979"/>
                  </a:lnTo>
                  <a:cubicBezTo>
                    <a:pt x="1282057" y="27979"/>
                    <a:pt x="1290397" y="27841"/>
                    <a:pt x="1298737" y="27566"/>
                  </a:cubicBezTo>
                  <a:cubicBezTo>
                    <a:pt x="1299702" y="17227"/>
                    <a:pt x="1300598" y="6957"/>
                    <a:pt x="1301494" y="-3381"/>
                  </a:cubicBezTo>
                  <a:cubicBezTo>
                    <a:pt x="1287502" y="3856"/>
                    <a:pt x="1274889" y="13367"/>
                    <a:pt x="1262482" y="22948"/>
                  </a:cubicBezTo>
                  <a:close/>
                  <a:moveTo>
                    <a:pt x="6191489" y="157006"/>
                  </a:moveTo>
                  <a:lnTo>
                    <a:pt x="6196521" y="157006"/>
                  </a:lnTo>
                  <a:cubicBezTo>
                    <a:pt x="6196383" y="154111"/>
                    <a:pt x="6196107" y="148459"/>
                    <a:pt x="6195969" y="145634"/>
                  </a:cubicBezTo>
                  <a:lnTo>
                    <a:pt x="6190869" y="145634"/>
                  </a:lnTo>
                  <a:cubicBezTo>
                    <a:pt x="6191007" y="148459"/>
                    <a:pt x="6191283" y="154180"/>
                    <a:pt x="6191489" y="157006"/>
                  </a:cubicBezTo>
                  <a:moveTo>
                    <a:pt x="5587709" y="291892"/>
                  </a:moveTo>
                  <a:cubicBezTo>
                    <a:pt x="5591914" y="293890"/>
                    <a:pt x="5600323" y="297750"/>
                    <a:pt x="5604527" y="299749"/>
                  </a:cubicBezTo>
                  <a:cubicBezTo>
                    <a:pt x="5611902" y="294649"/>
                    <a:pt x="5619759" y="289893"/>
                    <a:pt x="5626445" y="283621"/>
                  </a:cubicBezTo>
                  <a:lnTo>
                    <a:pt x="5614314" y="285757"/>
                  </a:lnTo>
                  <a:cubicBezTo>
                    <a:pt x="5614659" y="273420"/>
                    <a:pt x="5609972" y="264460"/>
                    <a:pt x="5600116" y="258808"/>
                  </a:cubicBezTo>
                  <a:cubicBezTo>
                    <a:pt x="5599633" y="271834"/>
                    <a:pt x="5607215" y="290582"/>
                    <a:pt x="5587709" y="291892"/>
                  </a:cubicBezTo>
                  <a:moveTo>
                    <a:pt x="6244699" y="334900"/>
                  </a:moveTo>
                  <a:cubicBezTo>
                    <a:pt x="6247869" y="333453"/>
                    <a:pt x="6254211" y="330489"/>
                    <a:pt x="6257381" y="328973"/>
                  </a:cubicBezTo>
                  <a:cubicBezTo>
                    <a:pt x="6265170" y="336210"/>
                    <a:pt x="6273509" y="343034"/>
                    <a:pt x="6285089" y="340070"/>
                  </a:cubicBezTo>
                  <a:cubicBezTo>
                    <a:pt x="6281856" y="331385"/>
                    <a:pt x="6278747" y="322701"/>
                    <a:pt x="6275715" y="313947"/>
                  </a:cubicBezTo>
                  <a:cubicBezTo>
                    <a:pt x="6273371" y="316153"/>
                    <a:pt x="6268685" y="320633"/>
                    <a:pt x="6266348" y="322839"/>
                  </a:cubicBezTo>
                  <a:lnTo>
                    <a:pt x="6266479" y="308709"/>
                  </a:lnTo>
                  <a:cubicBezTo>
                    <a:pt x="6262757" y="312431"/>
                    <a:pt x="6255176" y="319944"/>
                    <a:pt x="6251454" y="323666"/>
                  </a:cubicBezTo>
                  <a:cubicBezTo>
                    <a:pt x="6248007" y="308020"/>
                    <a:pt x="6265307" y="304780"/>
                    <a:pt x="6271373" y="293201"/>
                  </a:cubicBezTo>
                  <a:cubicBezTo>
                    <a:pt x="6253245" y="291754"/>
                    <a:pt x="6235050" y="290995"/>
                    <a:pt x="6216923" y="290237"/>
                  </a:cubicBezTo>
                  <a:cubicBezTo>
                    <a:pt x="6216785" y="292236"/>
                    <a:pt x="6216440" y="296234"/>
                    <a:pt x="6216302" y="298302"/>
                  </a:cubicBezTo>
                  <a:cubicBezTo>
                    <a:pt x="6220506" y="299335"/>
                    <a:pt x="6228915" y="301403"/>
                    <a:pt x="6233051" y="302437"/>
                  </a:cubicBezTo>
                  <a:cubicBezTo>
                    <a:pt x="6237255" y="313189"/>
                    <a:pt x="6240839" y="324079"/>
                    <a:pt x="6244699" y="334900"/>
                  </a:cubicBezTo>
                  <a:moveTo>
                    <a:pt x="7659377" y="802003"/>
                  </a:moveTo>
                  <a:cubicBezTo>
                    <a:pt x="7656482" y="810480"/>
                    <a:pt x="7653656" y="825437"/>
                    <a:pt x="7664753" y="829021"/>
                  </a:cubicBezTo>
                  <a:cubicBezTo>
                    <a:pt x="7680468" y="827505"/>
                    <a:pt x="7671301" y="798488"/>
                    <a:pt x="7659377" y="802003"/>
                  </a:cubicBezTo>
                  <a:moveTo>
                    <a:pt x="1995840" y="1926232"/>
                  </a:moveTo>
                  <a:cubicBezTo>
                    <a:pt x="1998735" y="1927266"/>
                    <a:pt x="2004594" y="1929403"/>
                    <a:pt x="2007558" y="1930505"/>
                  </a:cubicBezTo>
                  <a:cubicBezTo>
                    <a:pt x="2005007" y="1925956"/>
                    <a:pt x="1999976" y="1916859"/>
                    <a:pt x="1997495" y="1912309"/>
                  </a:cubicBezTo>
                  <a:cubicBezTo>
                    <a:pt x="1999907" y="1913550"/>
                    <a:pt x="2004732" y="1916031"/>
                    <a:pt x="2007144" y="1917272"/>
                  </a:cubicBezTo>
                  <a:lnTo>
                    <a:pt x="2009488" y="1929058"/>
                  </a:lnTo>
                  <a:cubicBezTo>
                    <a:pt x="2019826" y="1927817"/>
                    <a:pt x="2018310" y="1917134"/>
                    <a:pt x="2019964" y="1909277"/>
                  </a:cubicBezTo>
                  <a:cubicBezTo>
                    <a:pt x="2016380" y="1907554"/>
                    <a:pt x="2009212" y="1904038"/>
                    <a:pt x="2005559" y="1902315"/>
                  </a:cubicBezTo>
                  <a:cubicBezTo>
                    <a:pt x="2001492" y="1905624"/>
                    <a:pt x="1993359" y="1912309"/>
                    <a:pt x="1989224" y="1915618"/>
                  </a:cubicBezTo>
                  <a:cubicBezTo>
                    <a:pt x="1990878" y="1918306"/>
                    <a:pt x="1994186" y="1923613"/>
                    <a:pt x="1995840" y="1926232"/>
                  </a:cubicBezTo>
                  <a:moveTo>
                    <a:pt x="23495" y="1935193"/>
                  </a:moveTo>
                  <a:cubicBezTo>
                    <a:pt x="19219" y="1929334"/>
                    <a:pt x="23632" y="1913688"/>
                    <a:pt x="32729" y="1918444"/>
                  </a:cubicBezTo>
                  <a:cubicBezTo>
                    <a:pt x="39622" y="1924233"/>
                    <a:pt x="32248" y="1940155"/>
                    <a:pt x="23495" y="1935193"/>
                  </a:cubicBezTo>
                  <a:moveTo>
                    <a:pt x="22183" y="1962073"/>
                  </a:moveTo>
                  <a:cubicBezTo>
                    <a:pt x="27767" y="1965175"/>
                    <a:pt x="33419" y="1968345"/>
                    <a:pt x="39003" y="1971516"/>
                  </a:cubicBezTo>
                  <a:cubicBezTo>
                    <a:pt x="49408" y="1958144"/>
                    <a:pt x="54438" y="1942981"/>
                    <a:pt x="43342" y="1928231"/>
                  </a:cubicBezTo>
                  <a:cubicBezTo>
                    <a:pt x="31006" y="1909483"/>
                    <a:pt x="47545" y="1890460"/>
                    <a:pt x="53544" y="1872609"/>
                  </a:cubicBezTo>
                  <a:cubicBezTo>
                    <a:pt x="52098" y="1859789"/>
                    <a:pt x="51616" y="1846900"/>
                    <a:pt x="51546" y="1833942"/>
                  </a:cubicBezTo>
                  <a:lnTo>
                    <a:pt x="50235" y="1831806"/>
                  </a:lnTo>
                  <a:cubicBezTo>
                    <a:pt x="52925" y="1831874"/>
                    <a:pt x="58231" y="1831943"/>
                    <a:pt x="60851" y="1831943"/>
                  </a:cubicBezTo>
                  <a:cubicBezTo>
                    <a:pt x="55200" y="1819468"/>
                    <a:pt x="49201" y="1807130"/>
                    <a:pt x="44099" y="1794379"/>
                  </a:cubicBezTo>
                  <a:cubicBezTo>
                    <a:pt x="36797" y="1797343"/>
                    <a:pt x="29491" y="1800376"/>
                    <a:pt x="22114" y="1803271"/>
                  </a:cubicBezTo>
                  <a:cubicBezTo>
                    <a:pt x="22253" y="1806993"/>
                    <a:pt x="22391" y="1814574"/>
                    <a:pt x="22528" y="1818296"/>
                  </a:cubicBezTo>
                  <a:cubicBezTo>
                    <a:pt x="12052" y="1838146"/>
                    <a:pt x="2061" y="1870679"/>
                    <a:pt x="27352" y="1883292"/>
                  </a:cubicBezTo>
                  <a:cubicBezTo>
                    <a:pt x="35209" y="1871368"/>
                    <a:pt x="38246" y="1857032"/>
                    <a:pt x="22528" y="1850484"/>
                  </a:cubicBezTo>
                  <a:cubicBezTo>
                    <a:pt x="52715" y="1844488"/>
                    <a:pt x="13430" y="1809681"/>
                    <a:pt x="36313" y="1797619"/>
                  </a:cubicBezTo>
                  <a:cubicBezTo>
                    <a:pt x="48859" y="1812162"/>
                    <a:pt x="37691" y="1829462"/>
                    <a:pt x="38520" y="1845935"/>
                  </a:cubicBezTo>
                  <a:cubicBezTo>
                    <a:pt x="37484" y="1863304"/>
                    <a:pt x="38588" y="1880673"/>
                    <a:pt x="37069" y="1897973"/>
                  </a:cubicBezTo>
                  <a:cubicBezTo>
                    <a:pt x="36655" y="1906382"/>
                    <a:pt x="27834" y="1904314"/>
                    <a:pt x="22665" y="1903418"/>
                  </a:cubicBezTo>
                  <a:cubicBezTo>
                    <a:pt x="19152" y="1910793"/>
                    <a:pt x="14674" y="1917410"/>
                    <a:pt x="9637" y="1923751"/>
                  </a:cubicBezTo>
                  <a:cubicBezTo>
                    <a:pt x="5916" y="1919478"/>
                    <a:pt x="-1526" y="1911000"/>
                    <a:pt x="-5247" y="1906795"/>
                  </a:cubicBezTo>
                  <a:lnTo>
                    <a:pt x="-4148" y="1927886"/>
                  </a:lnTo>
                  <a:cubicBezTo>
                    <a:pt x="-3109" y="1929472"/>
                    <a:pt x="-1044" y="1932711"/>
                    <a:pt x="-10" y="1934365"/>
                  </a:cubicBezTo>
                  <a:cubicBezTo>
                    <a:pt x="3573" y="1935399"/>
                    <a:pt x="10881" y="1937536"/>
                    <a:pt x="14532" y="1938570"/>
                  </a:cubicBezTo>
                  <a:cubicBezTo>
                    <a:pt x="10808" y="1940707"/>
                    <a:pt x="3369" y="1944911"/>
                    <a:pt x="-355" y="1947047"/>
                  </a:cubicBezTo>
                  <a:cubicBezTo>
                    <a:pt x="11707" y="1956697"/>
                    <a:pt x="23562" y="1946703"/>
                    <a:pt x="35279" y="1942361"/>
                  </a:cubicBezTo>
                  <a:cubicBezTo>
                    <a:pt x="31076" y="1949046"/>
                    <a:pt x="26663" y="1955594"/>
                    <a:pt x="22183" y="1962073"/>
                  </a:cubicBezTo>
                  <a:moveTo>
                    <a:pt x="3422580" y="2015903"/>
                  </a:moveTo>
                  <a:cubicBezTo>
                    <a:pt x="3429059" y="2016317"/>
                    <a:pt x="3441948" y="2017144"/>
                    <a:pt x="3448427" y="2017557"/>
                  </a:cubicBezTo>
                  <a:cubicBezTo>
                    <a:pt x="3450219" y="2007977"/>
                    <a:pt x="3452011" y="1997983"/>
                    <a:pt x="3446497" y="1989091"/>
                  </a:cubicBezTo>
                  <a:cubicBezTo>
                    <a:pt x="3448496" y="1985921"/>
                    <a:pt x="3452356" y="1979442"/>
                    <a:pt x="3454354" y="1976271"/>
                  </a:cubicBezTo>
                  <a:cubicBezTo>
                    <a:pt x="3445256" y="1973790"/>
                    <a:pt x="3436158" y="1971240"/>
                    <a:pt x="3427198" y="1968690"/>
                  </a:cubicBezTo>
                  <a:cubicBezTo>
                    <a:pt x="3430024" y="1973446"/>
                    <a:pt x="3435745" y="1982819"/>
                    <a:pt x="3438571" y="1987575"/>
                  </a:cubicBezTo>
                  <a:cubicBezTo>
                    <a:pt x="3433195" y="1997018"/>
                    <a:pt x="3427887" y="2006461"/>
                    <a:pt x="3422580" y="2015903"/>
                  </a:cubicBezTo>
                  <a:moveTo>
                    <a:pt x="3644724" y="2009838"/>
                  </a:moveTo>
                  <a:cubicBezTo>
                    <a:pt x="3634799" y="1988747"/>
                    <a:pt x="3667883" y="2010872"/>
                    <a:pt x="3644724" y="2009838"/>
                  </a:cubicBezTo>
                  <a:moveTo>
                    <a:pt x="3659957" y="2024105"/>
                  </a:moveTo>
                  <a:cubicBezTo>
                    <a:pt x="3665126" y="2026862"/>
                    <a:pt x="3670364" y="2029550"/>
                    <a:pt x="3675602" y="2032169"/>
                  </a:cubicBezTo>
                  <a:cubicBezTo>
                    <a:pt x="3674293" y="2022175"/>
                    <a:pt x="3675120" y="2012388"/>
                    <a:pt x="3678084" y="2002876"/>
                  </a:cubicBezTo>
                  <a:cubicBezTo>
                    <a:pt x="3674568" y="2002325"/>
                    <a:pt x="3667607" y="2001291"/>
                    <a:pt x="3664161" y="2000740"/>
                  </a:cubicBezTo>
                  <a:cubicBezTo>
                    <a:pt x="3674155" y="1996260"/>
                    <a:pt x="3685665" y="1993503"/>
                    <a:pt x="3693109" y="1984611"/>
                  </a:cubicBezTo>
                  <a:cubicBezTo>
                    <a:pt x="3672225" y="1981854"/>
                    <a:pt x="3648860" y="1992607"/>
                    <a:pt x="3630112" y="1980131"/>
                  </a:cubicBezTo>
                  <a:cubicBezTo>
                    <a:pt x="3628320" y="1994950"/>
                    <a:pt x="3611847" y="1986472"/>
                    <a:pt x="3602680" y="1988816"/>
                  </a:cubicBezTo>
                  <a:cubicBezTo>
                    <a:pt x="3585794" y="1990608"/>
                    <a:pt x="3570630" y="1983026"/>
                    <a:pt x="3555122" y="1977994"/>
                  </a:cubicBezTo>
                  <a:cubicBezTo>
                    <a:pt x="3559396" y="1980062"/>
                    <a:pt x="3567942" y="1984267"/>
                    <a:pt x="3572215" y="1986334"/>
                  </a:cubicBezTo>
                  <a:cubicBezTo>
                    <a:pt x="3572284" y="1997225"/>
                    <a:pt x="3566977" y="2002807"/>
                    <a:pt x="3556432" y="2003083"/>
                  </a:cubicBezTo>
                  <a:cubicBezTo>
                    <a:pt x="3562773" y="2007081"/>
                    <a:pt x="3569183" y="2011010"/>
                    <a:pt x="3575731" y="2014869"/>
                  </a:cubicBezTo>
                  <a:cubicBezTo>
                    <a:pt x="3568701" y="2018247"/>
                    <a:pt x="3561739" y="2021624"/>
                    <a:pt x="3554916" y="2025139"/>
                  </a:cubicBezTo>
                  <a:cubicBezTo>
                    <a:pt x="3564220" y="2024519"/>
                    <a:pt x="3573387" y="2022382"/>
                    <a:pt x="3582278" y="2019281"/>
                  </a:cubicBezTo>
                  <a:cubicBezTo>
                    <a:pt x="3581520" y="2012733"/>
                    <a:pt x="3580004" y="1999637"/>
                    <a:pt x="3579246" y="1993089"/>
                  </a:cubicBezTo>
                  <a:cubicBezTo>
                    <a:pt x="3586207" y="1992882"/>
                    <a:pt x="3600130" y="1992538"/>
                    <a:pt x="3607160" y="1992331"/>
                  </a:cubicBezTo>
                  <a:cubicBezTo>
                    <a:pt x="3608608" y="2004668"/>
                    <a:pt x="3606402" y="2016248"/>
                    <a:pt x="3600612" y="2027069"/>
                  </a:cubicBezTo>
                  <a:cubicBezTo>
                    <a:pt x="3606402" y="2025966"/>
                    <a:pt x="3617913" y="2023692"/>
                    <a:pt x="3623702" y="2022589"/>
                  </a:cubicBezTo>
                  <a:cubicBezTo>
                    <a:pt x="3613777" y="2018522"/>
                    <a:pt x="3611434" y="2012801"/>
                    <a:pt x="3616672" y="2005427"/>
                  </a:cubicBezTo>
                  <a:cubicBezTo>
                    <a:pt x="3632731" y="2006598"/>
                    <a:pt x="3645965" y="2017144"/>
                    <a:pt x="3659957" y="2024105"/>
                  </a:cubicBezTo>
                  <a:moveTo>
                    <a:pt x="4602708" y="2080555"/>
                  </a:moveTo>
                  <a:cubicBezTo>
                    <a:pt x="4611048" y="2088825"/>
                    <a:pt x="4621455" y="2093168"/>
                    <a:pt x="4633931" y="2093443"/>
                  </a:cubicBezTo>
                  <a:cubicBezTo>
                    <a:pt x="4635102" y="2085655"/>
                    <a:pt x="4636274" y="2077867"/>
                    <a:pt x="4637584" y="2070147"/>
                  </a:cubicBezTo>
                  <a:lnTo>
                    <a:pt x="4648267" y="2071250"/>
                  </a:lnTo>
                  <a:cubicBezTo>
                    <a:pt x="4649301" y="2068079"/>
                    <a:pt x="4651506" y="2061738"/>
                    <a:pt x="4652540" y="2058568"/>
                  </a:cubicBezTo>
                  <a:cubicBezTo>
                    <a:pt x="4640823" y="2059877"/>
                    <a:pt x="4631449" y="2053950"/>
                    <a:pt x="4623316" y="2046437"/>
                  </a:cubicBezTo>
                  <a:cubicBezTo>
                    <a:pt x="4617871" y="2047471"/>
                    <a:pt x="4606981" y="2049607"/>
                    <a:pt x="4601543" y="2050641"/>
                  </a:cubicBezTo>
                  <a:cubicBezTo>
                    <a:pt x="4608704" y="2053398"/>
                    <a:pt x="4616079" y="2055535"/>
                    <a:pt x="4623592" y="2057534"/>
                  </a:cubicBezTo>
                  <a:cubicBezTo>
                    <a:pt x="4617457" y="2066011"/>
                    <a:pt x="4610979" y="2074213"/>
                    <a:pt x="4602708" y="2080555"/>
                  </a:cubicBezTo>
                  <a:moveTo>
                    <a:pt x="4920243" y="2113431"/>
                  </a:moveTo>
                  <a:cubicBezTo>
                    <a:pt x="4924655" y="2108538"/>
                    <a:pt x="4929135" y="2103575"/>
                    <a:pt x="4933753" y="2098613"/>
                  </a:cubicBezTo>
                  <a:lnTo>
                    <a:pt x="4940645" y="2107504"/>
                  </a:lnTo>
                  <a:cubicBezTo>
                    <a:pt x="4940783" y="2103369"/>
                    <a:pt x="4940921" y="2094960"/>
                    <a:pt x="4940990" y="2090824"/>
                  </a:cubicBezTo>
                  <a:cubicBezTo>
                    <a:pt x="4934442" y="2092272"/>
                    <a:pt x="4927963" y="2093719"/>
                    <a:pt x="4921484" y="2095029"/>
                  </a:cubicBezTo>
                  <a:lnTo>
                    <a:pt x="4917418" y="2095856"/>
                  </a:lnTo>
                  <a:cubicBezTo>
                    <a:pt x="4918313" y="2101783"/>
                    <a:pt x="4919279" y="2107642"/>
                    <a:pt x="4920243" y="2113431"/>
                  </a:cubicBezTo>
                  <a:moveTo>
                    <a:pt x="6054880" y="2137624"/>
                  </a:moveTo>
                  <a:cubicBezTo>
                    <a:pt x="6066046" y="2150720"/>
                    <a:pt x="6072388" y="2166503"/>
                    <a:pt x="6075834" y="2183252"/>
                  </a:cubicBezTo>
                  <a:cubicBezTo>
                    <a:pt x="6077764" y="2178359"/>
                    <a:pt x="6081692" y="2168640"/>
                    <a:pt x="6083622" y="2163746"/>
                  </a:cubicBezTo>
                  <a:cubicBezTo>
                    <a:pt x="6087137" y="2155131"/>
                    <a:pt x="6091066" y="2146653"/>
                    <a:pt x="6094995" y="2138107"/>
                  </a:cubicBezTo>
                  <a:cubicBezTo>
                    <a:pt x="6097890" y="2142173"/>
                    <a:pt x="6103610" y="2150306"/>
                    <a:pt x="6106436" y="2154373"/>
                  </a:cubicBezTo>
                  <a:cubicBezTo>
                    <a:pt x="6105540" y="2150099"/>
                    <a:pt x="6103679" y="2141484"/>
                    <a:pt x="6102714" y="2137210"/>
                  </a:cubicBezTo>
                  <a:cubicBezTo>
                    <a:pt x="6100509" y="2137210"/>
                    <a:pt x="6096097" y="2137142"/>
                    <a:pt x="6093823" y="2137142"/>
                  </a:cubicBezTo>
                  <a:cubicBezTo>
                    <a:pt x="6080796" y="2137142"/>
                    <a:pt x="6067838" y="2137486"/>
                    <a:pt x="6054880" y="2137624"/>
                  </a:cubicBezTo>
                  <a:moveTo>
                    <a:pt x="6428796" y="2189249"/>
                  </a:moveTo>
                  <a:cubicBezTo>
                    <a:pt x="6420043" y="2167882"/>
                    <a:pt x="6452162" y="2189593"/>
                    <a:pt x="6428796" y="2189249"/>
                  </a:cubicBezTo>
                  <a:moveTo>
                    <a:pt x="6370073" y="2202069"/>
                  </a:moveTo>
                  <a:cubicBezTo>
                    <a:pt x="6394610" y="2203516"/>
                    <a:pt x="6419216" y="2201517"/>
                    <a:pt x="6443202" y="2195728"/>
                  </a:cubicBezTo>
                  <a:cubicBezTo>
                    <a:pt x="6443477" y="2193384"/>
                    <a:pt x="6444098" y="2188697"/>
                    <a:pt x="6444374" y="2186354"/>
                  </a:cubicBezTo>
                  <a:cubicBezTo>
                    <a:pt x="6461398" y="2190972"/>
                    <a:pt x="6461467" y="2176222"/>
                    <a:pt x="6462501" y="2163264"/>
                  </a:cubicBezTo>
                  <a:cubicBezTo>
                    <a:pt x="6484695" y="2176153"/>
                    <a:pt x="6465465" y="2191937"/>
                    <a:pt x="6450163" y="2197519"/>
                  </a:cubicBezTo>
                  <a:cubicBezTo>
                    <a:pt x="6461191" y="2207307"/>
                    <a:pt x="6478767" y="2204274"/>
                    <a:pt x="6492276" y="2209375"/>
                  </a:cubicBezTo>
                  <a:cubicBezTo>
                    <a:pt x="6495378" y="2196830"/>
                    <a:pt x="6500065" y="2184424"/>
                    <a:pt x="6510404" y="2175946"/>
                  </a:cubicBezTo>
                  <a:cubicBezTo>
                    <a:pt x="6504890" y="2170777"/>
                    <a:pt x="6499514" y="2165607"/>
                    <a:pt x="6494275" y="2160369"/>
                  </a:cubicBezTo>
                  <a:cubicBezTo>
                    <a:pt x="6473942" y="2161265"/>
                    <a:pt x="6450852" y="2151133"/>
                    <a:pt x="6432657" y="2163126"/>
                  </a:cubicBezTo>
                  <a:cubicBezTo>
                    <a:pt x="6430864" y="2161748"/>
                    <a:pt x="6427280" y="2158991"/>
                    <a:pt x="6425488" y="2157612"/>
                  </a:cubicBezTo>
                  <a:cubicBezTo>
                    <a:pt x="6423145" y="2167193"/>
                    <a:pt x="6420870" y="2176704"/>
                    <a:pt x="6418940" y="2186285"/>
                  </a:cubicBezTo>
                  <a:cubicBezTo>
                    <a:pt x="6410463" y="2190627"/>
                    <a:pt x="6401985" y="2194969"/>
                    <a:pt x="6393576" y="2199105"/>
                  </a:cubicBezTo>
                  <a:cubicBezTo>
                    <a:pt x="6393162" y="2193591"/>
                    <a:pt x="6392336" y="2182425"/>
                    <a:pt x="6391922" y="2176842"/>
                  </a:cubicBezTo>
                  <a:cubicBezTo>
                    <a:pt x="6396678" y="2172569"/>
                    <a:pt x="6415632" y="2161748"/>
                    <a:pt x="6401916" y="2156372"/>
                  </a:cubicBezTo>
                  <a:cubicBezTo>
                    <a:pt x="6364903" y="2149272"/>
                    <a:pt x="6326513" y="2153890"/>
                    <a:pt x="6289362" y="2146929"/>
                  </a:cubicBezTo>
                  <a:cubicBezTo>
                    <a:pt x="6289707" y="2152236"/>
                    <a:pt x="6290465" y="2162782"/>
                    <a:pt x="6290809" y="2168089"/>
                  </a:cubicBezTo>
                  <a:cubicBezTo>
                    <a:pt x="6295014" y="2167262"/>
                    <a:pt x="6303492" y="2165539"/>
                    <a:pt x="6307765" y="2164712"/>
                  </a:cubicBezTo>
                  <a:cubicBezTo>
                    <a:pt x="6307627" y="2179117"/>
                    <a:pt x="6285295" y="2168089"/>
                    <a:pt x="6288397" y="2183183"/>
                  </a:cubicBezTo>
                  <a:lnTo>
                    <a:pt x="6286329" y="2194280"/>
                  </a:lnTo>
                  <a:cubicBezTo>
                    <a:pt x="6293980" y="2195107"/>
                    <a:pt x="6309350" y="2196762"/>
                    <a:pt x="6317001" y="2197588"/>
                  </a:cubicBezTo>
                  <a:cubicBezTo>
                    <a:pt x="6320999" y="2188077"/>
                    <a:pt x="6315622" y="2163678"/>
                    <a:pt x="6332371" y="2167951"/>
                  </a:cubicBezTo>
                  <a:cubicBezTo>
                    <a:pt x="6329407" y="2175877"/>
                    <a:pt x="6325410" y="2183321"/>
                    <a:pt x="6322101" y="2190972"/>
                  </a:cubicBezTo>
                  <a:cubicBezTo>
                    <a:pt x="6332853" y="2198209"/>
                    <a:pt x="6345949" y="2200690"/>
                    <a:pt x="6358907" y="2199450"/>
                  </a:cubicBezTo>
                  <a:cubicBezTo>
                    <a:pt x="6359459" y="2194831"/>
                    <a:pt x="6360492" y="2185596"/>
                    <a:pt x="6361044" y="2180978"/>
                  </a:cubicBezTo>
                  <a:cubicBezTo>
                    <a:pt x="6357460" y="2180633"/>
                    <a:pt x="6350429" y="2179944"/>
                    <a:pt x="6346846" y="2179599"/>
                  </a:cubicBezTo>
                  <a:cubicBezTo>
                    <a:pt x="6354978" y="2176773"/>
                    <a:pt x="6363111" y="2174016"/>
                    <a:pt x="6371796" y="2172707"/>
                  </a:cubicBezTo>
                  <a:cubicBezTo>
                    <a:pt x="6379998" y="2182149"/>
                    <a:pt x="6373933" y="2192350"/>
                    <a:pt x="6370073" y="2202069"/>
                  </a:cubicBezTo>
                </a:path>
              </a:pathLst>
            </a:custGeom>
            <a:grpFill/>
            <a:ln w="689" cap="flat">
              <a:noFill/>
              <a:prstDash val="solid"/>
              <a:miter/>
            </a:ln>
          </p:spPr>
          <p:txBody>
            <a:bodyPr rtlCol="0" anchor="ctr"/>
            <a:lstStyle/>
            <a:p>
              <a:endParaRPr lang="en-US" sz="2400" dirty="0"/>
            </a:p>
          </p:txBody>
        </p:sp>
        <p:sp>
          <p:nvSpPr>
            <p:cNvPr id="112" name="Graphic 8">
              <a:extLst>
                <a:ext uri="{FF2B5EF4-FFF2-40B4-BE49-F238E27FC236}">
                  <a16:creationId xmlns:a16="http://schemas.microsoft.com/office/drawing/2014/main" id="{12B21E32-36A4-4133-916A-1994A664337B}"/>
                </a:ext>
              </a:extLst>
            </p:cNvPr>
            <p:cNvSpPr/>
            <p:nvPr/>
          </p:nvSpPr>
          <p:spPr>
            <a:xfrm flipV="1">
              <a:off x="7068493" y="1377142"/>
              <a:ext cx="1706839" cy="778681"/>
            </a:xfrm>
            <a:custGeom>
              <a:avLst/>
              <a:gdLst>
                <a:gd name="connsiteX0" fmla="*/ 1693411 w 1706839"/>
                <a:gd name="connsiteY0" fmla="*/ -1109 h 778681"/>
                <a:gd name="connsiteX1" fmla="*/ 1696995 w 1706839"/>
                <a:gd name="connsiteY1" fmla="*/ -4555 h 778681"/>
                <a:gd name="connsiteX2" fmla="*/ 1693411 w 1706839"/>
                <a:gd name="connsiteY2" fmla="*/ -1109 h 778681"/>
                <a:gd name="connsiteX3" fmla="*/ -8614 w 1706839"/>
                <a:gd name="connsiteY3" fmla="*/ 773121 h 778681"/>
                <a:gd name="connsiteX4" fmla="*/ 2759 w 1706839"/>
                <a:gd name="connsiteY4" fmla="*/ 760784 h 778681"/>
                <a:gd name="connsiteX5" fmla="*/ -8614 w 1706839"/>
                <a:gd name="connsiteY5" fmla="*/ 773121 h 77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06839" h="778681">
                  <a:moveTo>
                    <a:pt x="1693411" y="-1109"/>
                  </a:moveTo>
                  <a:cubicBezTo>
                    <a:pt x="1694307" y="-1936"/>
                    <a:pt x="1696100" y="-3659"/>
                    <a:pt x="1696995" y="-4555"/>
                  </a:cubicBezTo>
                  <a:cubicBezTo>
                    <a:pt x="1696100" y="-3659"/>
                    <a:pt x="1694307" y="-1936"/>
                    <a:pt x="1693411" y="-1109"/>
                  </a:cubicBezTo>
                  <a:close/>
                  <a:moveTo>
                    <a:pt x="-8614" y="773121"/>
                  </a:moveTo>
                  <a:cubicBezTo>
                    <a:pt x="2414" y="776223"/>
                    <a:pt x="6274" y="772156"/>
                    <a:pt x="2759" y="760784"/>
                  </a:cubicBezTo>
                  <a:cubicBezTo>
                    <a:pt x="-8269" y="757820"/>
                    <a:pt x="-12060" y="761955"/>
                    <a:pt x="-8614" y="773121"/>
                  </a:cubicBezTo>
                </a:path>
              </a:pathLst>
            </a:custGeom>
            <a:grpFill/>
            <a:ln w="689" cap="flat">
              <a:noFill/>
              <a:prstDash val="solid"/>
              <a:miter/>
            </a:ln>
          </p:spPr>
          <p:txBody>
            <a:bodyPr rtlCol="0" anchor="ctr"/>
            <a:lstStyle/>
            <a:p>
              <a:endParaRPr lang="en-US" sz="2400" dirty="0"/>
            </a:p>
          </p:txBody>
        </p:sp>
        <p:sp>
          <p:nvSpPr>
            <p:cNvPr id="113" name="Graphic 8">
              <a:extLst>
                <a:ext uri="{FF2B5EF4-FFF2-40B4-BE49-F238E27FC236}">
                  <a16:creationId xmlns:a16="http://schemas.microsoft.com/office/drawing/2014/main" id="{67DE58CF-8468-4E98-8E14-C340F6E21ED3}"/>
                </a:ext>
              </a:extLst>
            </p:cNvPr>
            <p:cNvSpPr/>
            <p:nvPr/>
          </p:nvSpPr>
          <p:spPr>
            <a:xfrm flipV="1">
              <a:off x="4601740" y="1387728"/>
              <a:ext cx="2636" cy="2688"/>
            </a:xfrm>
            <a:custGeom>
              <a:avLst/>
              <a:gdLst>
                <a:gd name="connsiteX0" fmla="*/ -5671 w 2636"/>
                <a:gd name="connsiteY0" fmla="*/ -2488 h 2688"/>
                <a:gd name="connsiteX1" fmla="*/ -5671 w 2636"/>
                <a:gd name="connsiteY1" fmla="*/ -2488 h 2688"/>
                <a:gd name="connsiteX2" fmla="*/ -5671 w 2636"/>
                <a:gd name="connsiteY2" fmla="*/ -2488 h 2688"/>
              </a:gdLst>
              <a:ahLst/>
              <a:cxnLst>
                <a:cxn ang="0">
                  <a:pos x="connsiteX0" y="connsiteY0"/>
                </a:cxn>
                <a:cxn ang="0">
                  <a:pos x="connsiteX1" y="connsiteY1"/>
                </a:cxn>
                <a:cxn ang="0">
                  <a:pos x="connsiteX2" y="connsiteY2"/>
                </a:cxn>
              </a:cxnLst>
              <a:rect l="l" t="t" r="r" b="b"/>
              <a:pathLst>
                <a:path w="2636" h="2688">
                  <a:moveTo>
                    <a:pt x="-5671" y="-2488"/>
                  </a:moveTo>
                  <a:cubicBezTo>
                    <a:pt x="-2156" y="-6072"/>
                    <a:pt x="-2156" y="-6072"/>
                    <a:pt x="-5671" y="-2488"/>
                  </a:cubicBezTo>
                  <a:lnTo>
                    <a:pt x="-5671" y="-2488"/>
                  </a:lnTo>
                </a:path>
              </a:pathLst>
            </a:custGeom>
            <a:grpFill/>
            <a:ln w="689" cap="flat">
              <a:noFill/>
              <a:prstDash val="solid"/>
              <a:miter/>
            </a:ln>
          </p:spPr>
          <p:txBody>
            <a:bodyPr rtlCol="0" anchor="ctr"/>
            <a:lstStyle/>
            <a:p>
              <a:endParaRPr lang="en-US" sz="2400" dirty="0"/>
            </a:p>
          </p:txBody>
        </p:sp>
        <p:sp>
          <p:nvSpPr>
            <p:cNvPr id="114" name="Graphic 8">
              <a:extLst>
                <a:ext uri="{FF2B5EF4-FFF2-40B4-BE49-F238E27FC236}">
                  <a16:creationId xmlns:a16="http://schemas.microsoft.com/office/drawing/2014/main" id="{659C4DFF-2EC0-40CD-8526-24B623B7AEEE}"/>
                </a:ext>
              </a:extLst>
            </p:cNvPr>
            <p:cNvSpPr/>
            <p:nvPr/>
          </p:nvSpPr>
          <p:spPr>
            <a:xfrm flipV="1">
              <a:off x="2099363" y="1388052"/>
              <a:ext cx="6108651" cy="2370682"/>
            </a:xfrm>
            <a:custGeom>
              <a:avLst/>
              <a:gdLst>
                <a:gd name="connsiteX0" fmla="*/ -3813 w 6108651"/>
                <a:gd name="connsiteY0" fmla="*/ 46604 h 2370682"/>
                <a:gd name="connsiteX1" fmla="*/ 26100 w 6108651"/>
                <a:gd name="connsiteY1" fmla="*/ 65145 h 2370682"/>
                <a:gd name="connsiteX2" fmla="*/ 26789 w 6108651"/>
                <a:gd name="connsiteY2" fmla="*/ 41021 h 2370682"/>
                <a:gd name="connsiteX3" fmla="*/ 7835 w 6108651"/>
                <a:gd name="connsiteY3" fmla="*/ 42124 h 2370682"/>
                <a:gd name="connsiteX4" fmla="*/ 27547 w 6108651"/>
                <a:gd name="connsiteY4" fmla="*/ 18069 h 2370682"/>
                <a:gd name="connsiteX5" fmla="*/ 25962 w 6108651"/>
                <a:gd name="connsiteY5" fmla="*/ -3229 h 2370682"/>
                <a:gd name="connsiteX6" fmla="*/ -6364 w 6108651"/>
                <a:gd name="connsiteY6" fmla="*/ 23928 h 2370682"/>
                <a:gd name="connsiteX7" fmla="*/ -5674 w 6108651"/>
                <a:gd name="connsiteY7" fmla="*/ 29786 h 2370682"/>
                <a:gd name="connsiteX8" fmla="*/ -3813 w 6108651"/>
                <a:gd name="connsiteY8" fmla="*/ 46604 h 2370682"/>
                <a:gd name="connsiteX9" fmla="*/ 6039498 w 6108651"/>
                <a:gd name="connsiteY9" fmla="*/ 583182 h 2370682"/>
                <a:gd name="connsiteX10" fmla="*/ 6039498 w 6108651"/>
                <a:gd name="connsiteY10" fmla="*/ 583182 h 2370682"/>
                <a:gd name="connsiteX11" fmla="*/ 5998419 w 6108651"/>
                <a:gd name="connsiteY11" fmla="*/ 559472 h 2370682"/>
                <a:gd name="connsiteX12" fmla="*/ 6004346 w 6108651"/>
                <a:gd name="connsiteY12" fmla="*/ 591729 h 2370682"/>
                <a:gd name="connsiteX13" fmla="*/ 5998419 w 6108651"/>
                <a:gd name="connsiteY13" fmla="*/ 559472 h 2370682"/>
                <a:gd name="connsiteX14" fmla="*/ 5972641 w 6108651"/>
                <a:gd name="connsiteY14" fmla="*/ 598277 h 2370682"/>
                <a:gd name="connsiteX15" fmla="*/ 6053559 w 6108651"/>
                <a:gd name="connsiteY15" fmla="*/ 604204 h 2370682"/>
                <a:gd name="connsiteX16" fmla="*/ 6054110 w 6108651"/>
                <a:gd name="connsiteY16" fmla="*/ 571534 h 2370682"/>
                <a:gd name="connsiteX17" fmla="*/ 6075200 w 6108651"/>
                <a:gd name="connsiteY17" fmla="*/ 583940 h 2370682"/>
                <a:gd name="connsiteX18" fmla="*/ 6071548 w 6108651"/>
                <a:gd name="connsiteY18" fmla="*/ 567536 h 2370682"/>
                <a:gd name="connsiteX19" fmla="*/ 6102288 w 6108651"/>
                <a:gd name="connsiteY19" fmla="*/ 564021 h 2370682"/>
                <a:gd name="connsiteX20" fmla="*/ 6042737 w 6108651"/>
                <a:gd name="connsiteY20" fmla="*/ 559472 h 2370682"/>
                <a:gd name="connsiteX21" fmla="*/ 5970573 w 6108651"/>
                <a:gd name="connsiteY21" fmla="*/ 553958 h 2370682"/>
                <a:gd name="connsiteX22" fmla="*/ 5969470 w 6108651"/>
                <a:gd name="connsiteY22" fmla="*/ 568226 h 2370682"/>
                <a:gd name="connsiteX23" fmla="*/ 5967471 w 6108651"/>
                <a:gd name="connsiteY23" fmla="*/ 588903 h 2370682"/>
                <a:gd name="connsiteX24" fmla="*/ 5972641 w 6108651"/>
                <a:gd name="connsiteY24" fmla="*/ 598277 h 2370682"/>
                <a:gd name="connsiteX25" fmla="*/ 6061071 w 6108651"/>
                <a:gd name="connsiteY25" fmla="*/ 603515 h 2370682"/>
                <a:gd name="connsiteX26" fmla="*/ 6080646 w 6108651"/>
                <a:gd name="connsiteY26" fmla="*/ 590764 h 2370682"/>
                <a:gd name="connsiteX27" fmla="*/ 6061071 w 6108651"/>
                <a:gd name="connsiteY27" fmla="*/ 603515 h 2370682"/>
                <a:gd name="connsiteX28" fmla="*/ 6011515 w 6108651"/>
                <a:gd name="connsiteY28" fmla="*/ 963508 h 2370682"/>
                <a:gd name="connsiteX29" fmla="*/ 6011515 w 6108651"/>
                <a:gd name="connsiteY29" fmla="*/ 963508 h 2370682"/>
                <a:gd name="connsiteX30" fmla="*/ 6044046 w 6108651"/>
                <a:gd name="connsiteY30" fmla="*/ 1030986 h 2370682"/>
                <a:gd name="connsiteX31" fmla="*/ 6047975 w 6108651"/>
                <a:gd name="connsiteY31" fmla="*/ 1032709 h 2370682"/>
                <a:gd name="connsiteX32" fmla="*/ 6053972 w 6108651"/>
                <a:gd name="connsiteY32" fmla="*/ 994800 h 2370682"/>
                <a:gd name="connsiteX33" fmla="*/ 6069067 w 6108651"/>
                <a:gd name="connsiteY33" fmla="*/ 968678 h 2370682"/>
                <a:gd name="connsiteX34" fmla="*/ 6064793 w 6108651"/>
                <a:gd name="connsiteY34" fmla="*/ 960062 h 2370682"/>
                <a:gd name="connsiteX35" fmla="*/ 6036947 w 6108651"/>
                <a:gd name="connsiteY35" fmla="*/ 975294 h 2370682"/>
                <a:gd name="connsiteX36" fmla="*/ 6059348 w 6108651"/>
                <a:gd name="connsiteY36" fmla="*/ 950413 h 2370682"/>
                <a:gd name="connsiteX37" fmla="*/ 6042944 w 6108651"/>
                <a:gd name="connsiteY37" fmla="*/ 930218 h 2370682"/>
                <a:gd name="connsiteX38" fmla="*/ 6036809 w 6108651"/>
                <a:gd name="connsiteY38" fmla="*/ 934904 h 2370682"/>
                <a:gd name="connsiteX39" fmla="*/ 6026747 w 6108651"/>
                <a:gd name="connsiteY39" fmla="*/ 963922 h 2370682"/>
                <a:gd name="connsiteX40" fmla="*/ 6024266 w 6108651"/>
                <a:gd name="connsiteY40" fmla="*/ 940350 h 2370682"/>
                <a:gd name="connsiteX41" fmla="*/ 5999797 w 6108651"/>
                <a:gd name="connsiteY41" fmla="*/ 950413 h 2370682"/>
                <a:gd name="connsiteX42" fmla="*/ 6002347 w 6108651"/>
                <a:gd name="connsiteY42" fmla="*/ 967023 h 2370682"/>
                <a:gd name="connsiteX43" fmla="*/ 6012893 w 6108651"/>
                <a:gd name="connsiteY43" fmla="*/ 989562 h 2370682"/>
                <a:gd name="connsiteX44" fmla="*/ 6018269 w 6108651"/>
                <a:gd name="connsiteY44" fmla="*/ 982876 h 2370682"/>
                <a:gd name="connsiteX45" fmla="*/ 6027574 w 6108651"/>
                <a:gd name="connsiteY45" fmla="*/ 971710 h 2370682"/>
                <a:gd name="connsiteX46" fmla="*/ 6030469 w 6108651"/>
                <a:gd name="connsiteY46" fmla="*/ 982049 h 2370682"/>
                <a:gd name="connsiteX47" fmla="*/ 6043771 w 6108651"/>
                <a:gd name="connsiteY47" fmla="*/ 1013134 h 2370682"/>
                <a:gd name="connsiteX48" fmla="*/ 6044046 w 6108651"/>
                <a:gd name="connsiteY48" fmla="*/ 1030986 h 2370682"/>
                <a:gd name="connsiteX49" fmla="*/ 3348887 w 6108651"/>
                <a:gd name="connsiteY49" fmla="*/ 2288171 h 2370682"/>
                <a:gd name="connsiteX50" fmla="*/ 3431665 w 6108651"/>
                <a:gd name="connsiteY50" fmla="*/ 2293891 h 2370682"/>
                <a:gd name="connsiteX51" fmla="*/ 3462475 w 6108651"/>
                <a:gd name="connsiteY51" fmla="*/ 2267769 h 2370682"/>
                <a:gd name="connsiteX52" fmla="*/ 3459649 w 6108651"/>
                <a:gd name="connsiteY52" fmla="*/ 2285620 h 2370682"/>
                <a:gd name="connsiteX53" fmla="*/ 3434009 w 6108651"/>
                <a:gd name="connsiteY53" fmla="*/ 2294029 h 2370682"/>
                <a:gd name="connsiteX54" fmla="*/ 3468609 w 6108651"/>
                <a:gd name="connsiteY54" fmla="*/ 2296648 h 2370682"/>
                <a:gd name="connsiteX55" fmla="*/ 3482601 w 6108651"/>
                <a:gd name="connsiteY55" fmla="*/ 2257017 h 2370682"/>
                <a:gd name="connsiteX56" fmla="*/ 3464749 w 6108651"/>
                <a:gd name="connsiteY56" fmla="*/ 2267355 h 2370682"/>
                <a:gd name="connsiteX57" fmla="*/ 3435594 w 6108651"/>
                <a:gd name="connsiteY57" fmla="*/ 2258878 h 2370682"/>
                <a:gd name="connsiteX58" fmla="*/ 3426427 w 6108651"/>
                <a:gd name="connsiteY58" fmla="*/ 2274110 h 2370682"/>
                <a:gd name="connsiteX59" fmla="*/ 3417467 w 6108651"/>
                <a:gd name="connsiteY59" fmla="*/ 2286654 h 2370682"/>
                <a:gd name="connsiteX60" fmla="*/ 3407197 w 6108651"/>
                <a:gd name="connsiteY60" fmla="*/ 2288102 h 2370682"/>
                <a:gd name="connsiteX61" fmla="*/ 3408438 w 6108651"/>
                <a:gd name="connsiteY61" fmla="*/ 2256396 h 2370682"/>
                <a:gd name="connsiteX62" fmla="*/ 3406026 w 6108651"/>
                <a:gd name="connsiteY62" fmla="*/ 2255156 h 2370682"/>
                <a:gd name="connsiteX63" fmla="*/ 3388381 w 6108651"/>
                <a:gd name="connsiteY63" fmla="*/ 2255569 h 2370682"/>
                <a:gd name="connsiteX64" fmla="*/ 3386244 w 6108651"/>
                <a:gd name="connsiteY64" fmla="*/ 2272938 h 2370682"/>
                <a:gd name="connsiteX65" fmla="*/ 3379627 w 6108651"/>
                <a:gd name="connsiteY65" fmla="*/ 2265081 h 2370682"/>
                <a:gd name="connsiteX66" fmla="*/ 3368048 w 6108651"/>
                <a:gd name="connsiteY66" fmla="*/ 2280244 h 2370682"/>
                <a:gd name="connsiteX67" fmla="*/ 3388932 w 6108651"/>
                <a:gd name="connsiteY67" fmla="*/ 2281140 h 2370682"/>
                <a:gd name="connsiteX68" fmla="*/ 3389208 w 6108651"/>
                <a:gd name="connsiteY68" fmla="*/ 2285414 h 2370682"/>
                <a:gd name="connsiteX69" fmla="*/ 3348887 w 6108651"/>
                <a:gd name="connsiteY69" fmla="*/ 2288171 h 2370682"/>
                <a:gd name="connsiteX70" fmla="*/ 4570369 w 6108651"/>
                <a:gd name="connsiteY70" fmla="*/ 2367365 h 2370682"/>
                <a:gd name="connsiteX71" fmla="*/ 4604625 w 6108651"/>
                <a:gd name="connsiteY71" fmla="*/ 2349238 h 2370682"/>
                <a:gd name="connsiteX72" fmla="*/ 4583948 w 6108651"/>
                <a:gd name="connsiteY72" fmla="*/ 2338692 h 2370682"/>
                <a:gd name="connsiteX73" fmla="*/ 4570369 w 6108651"/>
                <a:gd name="connsiteY73" fmla="*/ 2367365 h 237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6108651" h="2370682">
                  <a:moveTo>
                    <a:pt x="-3813" y="46604"/>
                  </a:moveTo>
                  <a:cubicBezTo>
                    <a:pt x="6112" y="52807"/>
                    <a:pt x="16106" y="59010"/>
                    <a:pt x="26100" y="65145"/>
                  </a:cubicBezTo>
                  <a:cubicBezTo>
                    <a:pt x="26238" y="59148"/>
                    <a:pt x="26582" y="47087"/>
                    <a:pt x="26789" y="41021"/>
                  </a:cubicBezTo>
                  <a:cubicBezTo>
                    <a:pt x="22033" y="41297"/>
                    <a:pt x="12591" y="41848"/>
                    <a:pt x="7835" y="42124"/>
                  </a:cubicBezTo>
                  <a:cubicBezTo>
                    <a:pt x="14383" y="34129"/>
                    <a:pt x="20999" y="26133"/>
                    <a:pt x="27547" y="18069"/>
                  </a:cubicBezTo>
                  <a:cubicBezTo>
                    <a:pt x="27134" y="12762"/>
                    <a:pt x="26376" y="2079"/>
                    <a:pt x="25962" y="-3229"/>
                  </a:cubicBezTo>
                  <a:cubicBezTo>
                    <a:pt x="15210" y="5870"/>
                    <a:pt x="4526" y="15036"/>
                    <a:pt x="-6364" y="23928"/>
                  </a:cubicBezTo>
                  <a:cubicBezTo>
                    <a:pt x="-6157" y="25375"/>
                    <a:pt x="-5881" y="28270"/>
                    <a:pt x="-5674" y="29786"/>
                  </a:cubicBezTo>
                  <a:cubicBezTo>
                    <a:pt x="-5192" y="33991"/>
                    <a:pt x="-4296" y="42400"/>
                    <a:pt x="-3813" y="46604"/>
                  </a:cubicBezTo>
                  <a:close/>
                  <a:moveTo>
                    <a:pt x="6039498" y="583182"/>
                  </a:moveTo>
                  <a:cubicBezTo>
                    <a:pt x="6042875" y="579460"/>
                    <a:pt x="6042875" y="579460"/>
                    <a:pt x="6039498" y="583182"/>
                  </a:cubicBezTo>
                  <a:moveTo>
                    <a:pt x="5998419" y="559472"/>
                  </a:moveTo>
                  <a:cubicBezTo>
                    <a:pt x="6008964" y="561747"/>
                    <a:pt x="6014823" y="586215"/>
                    <a:pt x="6004346" y="591729"/>
                  </a:cubicBezTo>
                  <a:cubicBezTo>
                    <a:pt x="5993663" y="586284"/>
                    <a:pt x="5993180" y="568915"/>
                    <a:pt x="5998419" y="559472"/>
                  </a:cubicBezTo>
                  <a:moveTo>
                    <a:pt x="5972641" y="598277"/>
                  </a:moveTo>
                  <a:cubicBezTo>
                    <a:pt x="5999315" y="603239"/>
                    <a:pt x="6026609" y="601172"/>
                    <a:pt x="6053559" y="604204"/>
                  </a:cubicBezTo>
                  <a:cubicBezTo>
                    <a:pt x="6053696" y="593314"/>
                    <a:pt x="6053903" y="582424"/>
                    <a:pt x="6054110" y="571534"/>
                  </a:cubicBezTo>
                  <a:cubicBezTo>
                    <a:pt x="6061002" y="575669"/>
                    <a:pt x="6068033" y="579805"/>
                    <a:pt x="6075200" y="583940"/>
                  </a:cubicBezTo>
                  <a:lnTo>
                    <a:pt x="6071548" y="567536"/>
                  </a:lnTo>
                  <a:cubicBezTo>
                    <a:pt x="6081748" y="566571"/>
                    <a:pt x="6091949" y="565538"/>
                    <a:pt x="6102288" y="564021"/>
                  </a:cubicBezTo>
                  <a:cubicBezTo>
                    <a:pt x="6084781" y="554647"/>
                    <a:pt x="6061967" y="560092"/>
                    <a:pt x="6042737" y="559472"/>
                  </a:cubicBezTo>
                  <a:cubicBezTo>
                    <a:pt x="6019716" y="550029"/>
                    <a:pt x="5994559" y="554027"/>
                    <a:pt x="5970573" y="553958"/>
                  </a:cubicBezTo>
                  <a:cubicBezTo>
                    <a:pt x="5970297" y="558783"/>
                    <a:pt x="5969746" y="563539"/>
                    <a:pt x="5969470" y="568226"/>
                  </a:cubicBezTo>
                  <a:cubicBezTo>
                    <a:pt x="5958718" y="581597"/>
                    <a:pt x="5999521" y="597794"/>
                    <a:pt x="5967471" y="588903"/>
                  </a:cubicBezTo>
                  <a:lnTo>
                    <a:pt x="5972641" y="598277"/>
                  </a:lnTo>
                  <a:moveTo>
                    <a:pt x="6061071" y="603515"/>
                  </a:moveTo>
                  <a:cubicBezTo>
                    <a:pt x="6069067" y="609029"/>
                    <a:pt x="6090778" y="602481"/>
                    <a:pt x="6080646" y="590764"/>
                  </a:cubicBezTo>
                  <a:cubicBezTo>
                    <a:pt x="6072030" y="580081"/>
                    <a:pt x="6055282" y="592487"/>
                    <a:pt x="6061071" y="603515"/>
                  </a:cubicBezTo>
                  <a:moveTo>
                    <a:pt x="6011515" y="963508"/>
                  </a:moveTo>
                  <a:cubicBezTo>
                    <a:pt x="6015374" y="959717"/>
                    <a:pt x="6015374" y="959717"/>
                    <a:pt x="6011515" y="963508"/>
                  </a:cubicBezTo>
                  <a:moveTo>
                    <a:pt x="6044046" y="1030986"/>
                  </a:moveTo>
                  <a:lnTo>
                    <a:pt x="6047975" y="1032709"/>
                  </a:lnTo>
                  <a:cubicBezTo>
                    <a:pt x="6050112" y="1020164"/>
                    <a:pt x="6052317" y="1007551"/>
                    <a:pt x="6053972" y="994800"/>
                  </a:cubicBezTo>
                  <a:cubicBezTo>
                    <a:pt x="6050043" y="982049"/>
                    <a:pt x="6060313" y="975363"/>
                    <a:pt x="6069067" y="968678"/>
                  </a:cubicBezTo>
                  <a:cubicBezTo>
                    <a:pt x="6068033" y="966541"/>
                    <a:pt x="6065896" y="962199"/>
                    <a:pt x="6064793" y="960062"/>
                  </a:cubicBezTo>
                  <a:cubicBezTo>
                    <a:pt x="6055419" y="965094"/>
                    <a:pt x="6047217" y="972882"/>
                    <a:pt x="6036947" y="975294"/>
                  </a:cubicBezTo>
                  <a:cubicBezTo>
                    <a:pt x="6033846" y="962199"/>
                    <a:pt x="6049423" y="954893"/>
                    <a:pt x="6059348" y="950413"/>
                  </a:cubicBezTo>
                  <a:cubicBezTo>
                    <a:pt x="6054110" y="943451"/>
                    <a:pt x="6048596" y="936765"/>
                    <a:pt x="6042944" y="930218"/>
                  </a:cubicBezTo>
                  <a:cubicBezTo>
                    <a:pt x="6041427" y="931389"/>
                    <a:pt x="6038326" y="933733"/>
                    <a:pt x="6036809" y="934904"/>
                  </a:cubicBezTo>
                  <a:cubicBezTo>
                    <a:pt x="6033294" y="944623"/>
                    <a:pt x="6030261" y="954341"/>
                    <a:pt x="6026747" y="963922"/>
                  </a:cubicBezTo>
                  <a:cubicBezTo>
                    <a:pt x="6026126" y="957994"/>
                    <a:pt x="6024885" y="946208"/>
                    <a:pt x="6024266" y="940350"/>
                  </a:cubicBezTo>
                  <a:cubicBezTo>
                    <a:pt x="6015995" y="943658"/>
                    <a:pt x="6007861" y="947035"/>
                    <a:pt x="5999797" y="950413"/>
                  </a:cubicBezTo>
                  <a:cubicBezTo>
                    <a:pt x="6000417" y="954548"/>
                    <a:pt x="6001658" y="962888"/>
                    <a:pt x="6002347" y="967023"/>
                  </a:cubicBezTo>
                  <a:cubicBezTo>
                    <a:pt x="6004967" y="972675"/>
                    <a:pt x="6010273" y="983910"/>
                    <a:pt x="6012893" y="989562"/>
                  </a:cubicBezTo>
                  <a:lnTo>
                    <a:pt x="6018269" y="982876"/>
                  </a:lnTo>
                  <a:cubicBezTo>
                    <a:pt x="6020612" y="980050"/>
                    <a:pt x="6025230" y="974467"/>
                    <a:pt x="6027574" y="971710"/>
                  </a:cubicBezTo>
                  <a:cubicBezTo>
                    <a:pt x="6028332" y="974261"/>
                    <a:pt x="6029780" y="979499"/>
                    <a:pt x="6030469" y="982049"/>
                  </a:cubicBezTo>
                  <a:cubicBezTo>
                    <a:pt x="6033777" y="992870"/>
                    <a:pt x="6038670" y="1003071"/>
                    <a:pt x="6043771" y="1013134"/>
                  </a:cubicBezTo>
                  <a:cubicBezTo>
                    <a:pt x="6043840" y="1017545"/>
                    <a:pt x="6043978" y="1026505"/>
                    <a:pt x="6044046" y="1030986"/>
                  </a:cubicBezTo>
                  <a:moveTo>
                    <a:pt x="3348887" y="2288171"/>
                  </a:moveTo>
                  <a:cubicBezTo>
                    <a:pt x="3376388" y="2290859"/>
                    <a:pt x="3404027" y="2292099"/>
                    <a:pt x="3431665" y="2293891"/>
                  </a:cubicBezTo>
                  <a:cubicBezTo>
                    <a:pt x="3435181" y="2278797"/>
                    <a:pt x="3446553" y="2268596"/>
                    <a:pt x="3462475" y="2267769"/>
                  </a:cubicBezTo>
                  <a:cubicBezTo>
                    <a:pt x="3461786" y="2272249"/>
                    <a:pt x="3460338" y="2281140"/>
                    <a:pt x="3459649" y="2285620"/>
                  </a:cubicBezTo>
                  <a:cubicBezTo>
                    <a:pt x="3448276" y="2282932"/>
                    <a:pt x="3439730" y="2285758"/>
                    <a:pt x="3434009" y="2294029"/>
                  </a:cubicBezTo>
                  <a:cubicBezTo>
                    <a:pt x="3445519" y="2294994"/>
                    <a:pt x="3457030" y="2295890"/>
                    <a:pt x="3468609" y="2296648"/>
                  </a:cubicBezTo>
                  <a:cubicBezTo>
                    <a:pt x="3466541" y="2282036"/>
                    <a:pt x="3472124" y="2267218"/>
                    <a:pt x="3482601" y="2257017"/>
                  </a:cubicBezTo>
                  <a:cubicBezTo>
                    <a:pt x="3474330" y="2241095"/>
                    <a:pt x="3465163" y="2256948"/>
                    <a:pt x="3464749" y="2267355"/>
                  </a:cubicBezTo>
                  <a:cubicBezTo>
                    <a:pt x="3454962" y="2264529"/>
                    <a:pt x="3445244" y="2261704"/>
                    <a:pt x="3435594" y="2258878"/>
                  </a:cubicBezTo>
                  <a:cubicBezTo>
                    <a:pt x="3433320" y="2262669"/>
                    <a:pt x="3428702" y="2270250"/>
                    <a:pt x="3426427" y="2274110"/>
                  </a:cubicBezTo>
                  <a:cubicBezTo>
                    <a:pt x="3424222" y="2277212"/>
                    <a:pt x="3419742" y="2283484"/>
                    <a:pt x="3417467" y="2286654"/>
                  </a:cubicBezTo>
                  <a:cubicBezTo>
                    <a:pt x="3414917" y="2286999"/>
                    <a:pt x="3409748" y="2287757"/>
                    <a:pt x="3407197" y="2288102"/>
                  </a:cubicBezTo>
                  <a:cubicBezTo>
                    <a:pt x="3407542" y="2277556"/>
                    <a:pt x="3407955" y="2267011"/>
                    <a:pt x="3408438" y="2256396"/>
                  </a:cubicBezTo>
                  <a:lnTo>
                    <a:pt x="3406026" y="2255156"/>
                  </a:lnTo>
                  <a:cubicBezTo>
                    <a:pt x="3401614" y="2255225"/>
                    <a:pt x="3392792" y="2255432"/>
                    <a:pt x="3388381" y="2255569"/>
                  </a:cubicBezTo>
                  <a:cubicBezTo>
                    <a:pt x="3387829" y="2259912"/>
                    <a:pt x="3386795" y="2268596"/>
                    <a:pt x="3386244" y="2272938"/>
                  </a:cubicBezTo>
                  <a:cubicBezTo>
                    <a:pt x="3384590" y="2270940"/>
                    <a:pt x="3381281" y="2267011"/>
                    <a:pt x="3379627" y="2265081"/>
                  </a:cubicBezTo>
                  <a:cubicBezTo>
                    <a:pt x="3376733" y="2268872"/>
                    <a:pt x="3370943" y="2276454"/>
                    <a:pt x="3368048" y="2280244"/>
                  </a:cubicBezTo>
                  <a:cubicBezTo>
                    <a:pt x="3373286" y="2280520"/>
                    <a:pt x="3383694" y="2280934"/>
                    <a:pt x="3388932" y="2281140"/>
                  </a:cubicBezTo>
                  <a:lnTo>
                    <a:pt x="3389208" y="2285414"/>
                  </a:lnTo>
                  <a:cubicBezTo>
                    <a:pt x="3375767" y="2286448"/>
                    <a:pt x="3362259" y="2287481"/>
                    <a:pt x="3348887" y="2288171"/>
                  </a:cubicBezTo>
                  <a:moveTo>
                    <a:pt x="4570369" y="2367365"/>
                  </a:moveTo>
                  <a:cubicBezTo>
                    <a:pt x="4584912" y="2368537"/>
                    <a:pt x="4594493" y="2357922"/>
                    <a:pt x="4604625" y="2349238"/>
                  </a:cubicBezTo>
                  <a:cubicBezTo>
                    <a:pt x="4599456" y="2346619"/>
                    <a:pt x="4589117" y="2341312"/>
                    <a:pt x="4583948" y="2338692"/>
                  </a:cubicBezTo>
                  <a:cubicBezTo>
                    <a:pt x="4579398" y="2348273"/>
                    <a:pt x="4574781" y="2357716"/>
                    <a:pt x="4570369" y="2367365"/>
                  </a:cubicBezTo>
                </a:path>
              </a:pathLst>
            </a:custGeom>
            <a:grpFill/>
            <a:ln w="689" cap="flat">
              <a:noFill/>
              <a:prstDash val="solid"/>
              <a:miter/>
            </a:ln>
          </p:spPr>
          <p:txBody>
            <a:bodyPr rtlCol="0" anchor="ctr"/>
            <a:lstStyle/>
            <a:p>
              <a:endParaRPr lang="en-US" sz="2400" dirty="0"/>
            </a:p>
          </p:txBody>
        </p:sp>
        <p:sp>
          <p:nvSpPr>
            <p:cNvPr id="115" name="Graphic 8">
              <a:extLst>
                <a:ext uri="{FF2B5EF4-FFF2-40B4-BE49-F238E27FC236}">
                  <a16:creationId xmlns:a16="http://schemas.microsoft.com/office/drawing/2014/main" id="{AE05FFA2-D46A-46E4-8055-4E32E9DFCF9A}"/>
                </a:ext>
              </a:extLst>
            </p:cNvPr>
            <p:cNvSpPr/>
            <p:nvPr/>
          </p:nvSpPr>
          <p:spPr>
            <a:xfrm flipV="1">
              <a:off x="1566909" y="1392484"/>
              <a:ext cx="7112136" cy="2370524"/>
            </a:xfrm>
            <a:custGeom>
              <a:avLst/>
              <a:gdLst>
                <a:gd name="connsiteX0" fmla="*/ 539983 w 7112136"/>
                <a:gd name="connsiteY0" fmla="*/ 76111 h 2370524"/>
                <a:gd name="connsiteX1" fmla="*/ 539983 w 7112136"/>
                <a:gd name="connsiteY1" fmla="*/ 76111 h 2370524"/>
                <a:gd name="connsiteX2" fmla="*/ 479054 w 7112136"/>
                <a:gd name="connsiteY2" fmla="*/ 116707 h 2370524"/>
                <a:gd name="connsiteX3" fmla="*/ 543016 w 7112136"/>
                <a:gd name="connsiteY3" fmla="*/ 117948 h 2370524"/>
                <a:gd name="connsiteX4" fmla="*/ 558593 w 7112136"/>
                <a:gd name="connsiteY4" fmla="*/ 69425 h 2370524"/>
                <a:gd name="connsiteX5" fmla="*/ 528679 w 7112136"/>
                <a:gd name="connsiteY5" fmla="*/ 50884 h 2370524"/>
                <a:gd name="connsiteX6" fmla="*/ 536123 w 7112136"/>
                <a:gd name="connsiteY6" fmla="*/ 103956 h 2370524"/>
                <a:gd name="connsiteX7" fmla="*/ 529644 w 7112136"/>
                <a:gd name="connsiteY7" fmla="*/ 104577 h 2370524"/>
                <a:gd name="connsiteX8" fmla="*/ 523303 w 7112136"/>
                <a:gd name="connsiteY8" fmla="*/ 74043 h 2370524"/>
                <a:gd name="connsiteX9" fmla="*/ 514895 w 7112136"/>
                <a:gd name="connsiteY9" fmla="*/ 71769 h 2370524"/>
                <a:gd name="connsiteX10" fmla="*/ 527783 w 7112136"/>
                <a:gd name="connsiteY10" fmla="*/ 45853 h 2370524"/>
                <a:gd name="connsiteX11" fmla="*/ 515722 w 7112136"/>
                <a:gd name="connsiteY11" fmla="*/ 49299 h 2370524"/>
                <a:gd name="connsiteX12" fmla="*/ 526819 w 7112136"/>
                <a:gd name="connsiteY12" fmla="*/ 34067 h 2370524"/>
                <a:gd name="connsiteX13" fmla="*/ 526129 w 7112136"/>
                <a:gd name="connsiteY13" fmla="*/ 28208 h 2370524"/>
                <a:gd name="connsiteX14" fmla="*/ 524889 w 7112136"/>
                <a:gd name="connsiteY14" fmla="*/ 17801 h 2370524"/>
                <a:gd name="connsiteX15" fmla="*/ 533573 w 7112136"/>
                <a:gd name="connsiteY15" fmla="*/ 2568 h 2370524"/>
                <a:gd name="connsiteX16" fmla="*/ 498697 w 7112136"/>
                <a:gd name="connsiteY16" fmla="*/ 15526 h 2370524"/>
                <a:gd name="connsiteX17" fmla="*/ 509450 w 7112136"/>
                <a:gd name="connsiteY17" fmla="*/ -3084 h 2370524"/>
                <a:gd name="connsiteX18" fmla="*/ 480777 w 7112136"/>
                <a:gd name="connsiteY18" fmla="*/ -3221 h 2370524"/>
                <a:gd name="connsiteX19" fmla="*/ 492701 w 7112136"/>
                <a:gd name="connsiteY19" fmla="*/ 52745 h 2370524"/>
                <a:gd name="connsiteX20" fmla="*/ 492012 w 7112136"/>
                <a:gd name="connsiteY20" fmla="*/ 99890 h 2370524"/>
                <a:gd name="connsiteX21" fmla="*/ 509381 w 7112136"/>
                <a:gd name="connsiteY21" fmla="*/ 97546 h 2370524"/>
                <a:gd name="connsiteX22" fmla="*/ 509381 w 7112136"/>
                <a:gd name="connsiteY22" fmla="*/ 104921 h 2370524"/>
                <a:gd name="connsiteX23" fmla="*/ 479054 w 7112136"/>
                <a:gd name="connsiteY23" fmla="*/ 116707 h 2370524"/>
                <a:gd name="connsiteX24" fmla="*/ 37454 w 7112136"/>
                <a:gd name="connsiteY24" fmla="*/ 181566 h 2370524"/>
                <a:gd name="connsiteX25" fmla="*/ 46483 w 7112136"/>
                <a:gd name="connsiteY25" fmla="*/ 172536 h 2370524"/>
                <a:gd name="connsiteX26" fmla="*/ 37454 w 7112136"/>
                <a:gd name="connsiteY26" fmla="*/ 181566 h 2370524"/>
                <a:gd name="connsiteX27" fmla="*/ -6176 w 7112136"/>
                <a:gd name="connsiteY27" fmla="*/ 189905 h 2370524"/>
                <a:gd name="connsiteX28" fmla="*/ 51583 w 7112136"/>
                <a:gd name="connsiteY28" fmla="*/ 200106 h 2370524"/>
                <a:gd name="connsiteX29" fmla="*/ 74053 w 7112136"/>
                <a:gd name="connsiteY29" fmla="*/ 153996 h 2370524"/>
                <a:gd name="connsiteX30" fmla="*/ 52962 w 7112136"/>
                <a:gd name="connsiteY30" fmla="*/ 150136 h 2370524"/>
                <a:gd name="connsiteX31" fmla="*/ 53996 w 7112136"/>
                <a:gd name="connsiteY31" fmla="*/ 162473 h 2370524"/>
                <a:gd name="connsiteX32" fmla="*/ 45862 w 7112136"/>
                <a:gd name="connsiteY32" fmla="*/ 150756 h 2370524"/>
                <a:gd name="connsiteX33" fmla="*/ 4783 w 7112136"/>
                <a:gd name="connsiteY33" fmla="*/ 149447 h 2370524"/>
                <a:gd name="connsiteX34" fmla="*/ -6176 w 7112136"/>
                <a:gd name="connsiteY34" fmla="*/ 189905 h 2370524"/>
                <a:gd name="connsiteX35" fmla="*/ 358780 w 7112136"/>
                <a:gd name="connsiteY35" fmla="*/ 186321 h 2370524"/>
                <a:gd name="connsiteX36" fmla="*/ 358780 w 7112136"/>
                <a:gd name="connsiteY36" fmla="*/ 186321 h 2370524"/>
                <a:gd name="connsiteX37" fmla="*/ 356023 w 7112136"/>
                <a:gd name="connsiteY37" fmla="*/ 214718 h 2370524"/>
                <a:gd name="connsiteX38" fmla="*/ 468784 w 7112136"/>
                <a:gd name="connsiteY38" fmla="*/ 226022 h 2370524"/>
                <a:gd name="connsiteX39" fmla="*/ 471058 w 7112136"/>
                <a:gd name="connsiteY39" fmla="*/ 195350 h 2370524"/>
                <a:gd name="connsiteX40" fmla="*/ 505865 w 7112136"/>
                <a:gd name="connsiteY40" fmla="*/ 225057 h 2370524"/>
                <a:gd name="connsiteX41" fmla="*/ 483534 w 7112136"/>
                <a:gd name="connsiteY41" fmla="*/ 208791 h 2370524"/>
                <a:gd name="connsiteX42" fmla="*/ 508140 w 7112136"/>
                <a:gd name="connsiteY42" fmla="*/ 200451 h 2370524"/>
                <a:gd name="connsiteX43" fmla="*/ 513654 w 7112136"/>
                <a:gd name="connsiteY43" fmla="*/ 180187 h 2370524"/>
                <a:gd name="connsiteX44" fmla="*/ 473540 w 7112136"/>
                <a:gd name="connsiteY44" fmla="*/ 184667 h 2370524"/>
                <a:gd name="connsiteX45" fmla="*/ 460582 w 7112136"/>
                <a:gd name="connsiteY45" fmla="*/ 179360 h 2370524"/>
                <a:gd name="connsiteX46" fmla="*/ 451829 w 7112136"/>
                <a:gd name="connsiteY46" fmla="*/ 187355 h 2370524"/>
                <a:gd name="connsiteX47" fmla="*/ 447486 w 7112136"/>
                <a:gd name="connsiteY47" fmla="*/ 174259 h 2370524"/>
                <a:gd name="connsiteX48" fmla="*/ 316185 w 7112136"/>
                <a:gd name="connsiteY48" fmla="*/ 169021 h 2370524"/>
                <a:gd name="connsiteX49" fmla="*/ 314875 w 7112136"/>
                <a:gd name="connsiteY49" fmla="*/ 189147 h 2370524"/>
                <a:gd name="connsiteX50" fmla="*/ 314600 w 7112136"/>
                <a:gd name="connsiteY50" fmla="*/ 168332 h 2370524"/>
                <a:gd name="connsiteX51" fmla="*/ 253463 w 7112136"/>
                <a:gd name="connsiteY51" fmla="*/ 164541 h 2370524"/>
                <a:gd name="connsiteX52" fmla="*/ 248363 w 7112136"/>
                <a:gd name="connsiteY52" fmla="*/ 174742 h 2370524"/>
                <a:gd name="connsiteX53" fmla="*/ 246916 w 7112136"/>
                <a:gd name="connsiteY53" fmla="*/ 177775 h 2370524"/>
                <a:gd name="connsiteX54" fmla="*/ 243952 w 7112136"/>
                <a:gd name="connsiteY54" fmla="*/ 176948 h 2370524"/>
                <a:gd name="connsiteX55" fmla="*/ 244572 w 7112136"/>
                <a:gd name="connsiteY55" fmla="*/ 173639 h 2370524"/>
                <a:gd name="connsiteX56" fmla="*/ 246295 w 7112136"/>
                <a:gd name="connsiteY56" fmla="*/ 163576 h 2370524"/>
                <a:gd name="connsiteX57" fmla="*/ 213625 w 7112136"/>
                <a:gd name="connsiteY57" fmla="*/ 163231 h 2370524"/>
                <a:gd name="connsiteX58" fmla="*/ 211419 w 7112136"/>
                <a:gd name="connsiteY58" fmla="*/ 183082 h 2370524"/>
                <a:gd name="connsiteX59" fmla="*/ 210799 w 7112136"/>
                <a:gd name="connsiteY59" fmla="*/ 161164 h 2370524"/>
                <a:gd name="connsiteX60" fmla="*/ 193568 w 7112136"/>
                <a:gd name="connsiteY60" fmla="*/ 160750 h 2370524"/>
                <a:gd name="connsiteX61" fmla="*/ 202321 w 7112136"/>
                <a:gd name="connsiteY61" fmla="*/ 196246 h 2370524"/>
                <a:gd name="connsiteX62" fmla="*/ 187227 w 7112136"/>
                <a:gd name="connsiteY62" fmla="*/ 184047 h 2370524"/>
                <a:gd name="connsiteX63" fmla="*/ 166825 w 7112136"/>
                <a:gd name="connsiteY63" fmla="*/ 181772 h 2370524"/>
                <a:gd name="connsiteX64" fmla="*/ 168824 w 7112136"/>
                <a:gd name="connsiteY64" fmla="*/ 201485 h 2370524"/>
                <a:gd name="connsiteX65" fmla="*/ 177853 w 7112136"/>
                <a:gd name="connsiteY65" fmla="*/ 187355 h 2370524"/>
                <a:gd name="connsiteX66" fmla="*/ 186607 w 7112136"/>
                <a:gd name="connsiteY66" fmla="*/ 208584 h 2370524"/>
                <a:gd name="connsiteX67" fmla="*/ 215831 w 7112136"/>
                <a:gd name="connsiteY67" fmla="*/ 201002 h 2370524"/>
                <a:gd name="connsiteX68" fmla="*/ 209558 w 7112136"/>
                <a:gd name="connsiteY68" fmla="*/ 209894 h 2370524"/>
                <a:gd name="connsiteX69" fmla="*/ 257047 w 7112136"/>
                <a:gd name="connsiteY69" fmla="*/ 206792 h 2370524"/>
                <a:gd name="connsiteX70" fmla="*/ 345822 w 7112136"/>
                <a:gd name="connsiteY70" fmla="*/ 216993 h 2370524"/>
                <a:gd name="connsiteX71" fmla="*/ 339895 w 7112136"/>
                <a:gd name="connsiteY71" fmla="*/ 203139 h 2370524"/>
                <a:gd name="connsiteX72" fmla="*/ 356023 w 7112136"/>
                <a:gd name="connsiteY72" fmla="*/ 214718 h 2370524"/>
                <a:gd name="connsiteX73" fmla="*/ 516273 w 7112136"/>
                <a:gd name="connsiteY73" fmla="*/ 224506 h 2370524"/>
                <a:gd name="connsiteX74" fmla="*/ 588575 w 7112136"/>
                <a:gd name="connsiteY74" fmla="*/ 228503 h 2370524"/>
                <a:gd name="connsiteX75" fmla="*/ 582372 w 7112136"/>
                <a:gd name="connsiteY75" fmla="*/ 224023 h 2370524"/>
                <a:gd name="connsiteX76" fmla="*/ 564451 w 7112136"/>
                <a:gd name="connsiteY76" fmla="*/ 210514 h 2370524"/>
                <a:gd name="connsiteX77" fmla="*/ 561350 w 7112136"/>
                <a:gd name="connsiteY77" fmla="*/ 183702 h 2370524"/>
                <a:gd name="connsiteX78" fmla="*/ 515170 w 7112136"/>
                <a:gd name="connsiteY78" fmla="*/ 180601 h 2370524"/>
                <a:gd name="connsiteX79" fmla="*/ 512896 w 7112136"/>
                <a:gd name="connsiteY79" fmla="*/ 208170 h 2370524"/>
                <a:gd name="connsiteX80" fmla="*/ 524337 w 7112136"/>
                <a:gd name="connsiteY80" fmla="*/ 207619 h 2370524"/>
                <a:gd name="connsiteX81" fmla="*/ 516273 w 7112136"/>
                <a:gd name="connsiteY81" fmla="*/ 224506 h 2370524"/>
                <a:gd name="connsiteX82" fmla="*/ 6606591 w 7112136"/>
                <a:gd name="connsiteY82" fmla="*/ 960896 h 2370524"/>
                <a:gd name="connsiteX83" fmla="*/ 6602041 w 7112136"/>
                <a:gd name="connsiteY83" fmla="*/ 942287 h 2370524"/>
                <a:gd name="connsiteX84" fmla="*/ 6606591 w 7112136"/>
                <a:gd name="connsiteY84" fmla="*/ 960896 h 2370524"/>
                <a:gd name="connsiteX85" fmla="*/ 6577505 w 7112136"/>
                <a:gd name="connsiteY85" fmla="*/ 1064904 h 2370524"/>
                <a:gd name="connsiteX86" fmla="*/ 6598871 w 7112136"/>
                <a:gd name="connsiteY86" fmla="*/ 1033612 h 2370524"/>
                <a:gd name="connsiteX87" fmla="*/ 6577505 w 7112136"/>
                <a:gd name="connsiteY87" fmla="*/ 1064904 h 2370524"/>
                <a:gd name="connsiteX88" fmla="*/ 6584948 w 7112136"/>
                <a:gd name="connsiteY88" fmla="*/ 1089854 h 2370524"/>
                <a:gd name="connsiteX89" fmla="*/ 6600250 w 7112136"/>
                <a:gd name="connsiteY89" fmla="*/ 1062422 h 2370524"/>
                <a:gd name="connsiteX90" fmla="*/ 6610588 w 7112136"/>
                <a:gd name="connsiteY90" fmla="*/ 1088338 h 2370524"/>
                <a:gd name="connsiteX91" fmla="*/ 6639813 w 7112136"/>
                <a:gd name="connsiteY91" fmla="*/ 892454 h 2370524"/>
                <a:gd name="connsiteX92" fmla="*/ 6617481 w 7112136"/>
                <a:gd name="connsiteY92" fmla="*/ 892316 h 2370524"/>
                <a:gd name="connsiteX93" fmla="*/ 6597079 w 7112136"/>
                <a:gd name="connsiteY93" fmla="*/ 902241 h 2370524"/>
                <a:gd name="connsiteX94" fmla="*/ 6551313 w 7112136"/>
                <a:gd name="connsiteY94" fmla="*/ 894453 h 2370524"/>
                <a:gd name="connsiteX95" fmla="*/ 6552347 w 7112136"/>
                <a:gd name="connsiteY95" fmla="*/ 899967 h 2370524"/>
                <a:gd name="connsiteX96" fmla="*/ 6548625 w 7112136"/>
                <a:gd name="connsiteY96" fmla="*/ 935118 h 2370524"/>
                <a:gd name="connsiteX97" fmla="*/ 6564547 w 7112136"/>
                <a:gd name="connsiteY97" fmla="*/ 942769 h 2370524"/>
                <a:gd name="connsiteX98" fmla="*/ 6569302 w 7112136"/>
                <a:gd name="connsiteY98" fmla="*/ 939185 h 2370524"/>
                <a:gd name="connsiteX99" fmla="*/ 6575437 w 7112136"/>
                <a:gd name="connsiteY99" fmla="*/ 934498 h 2370524"/>
                <a:gd name="connsiteX100" fmla="*/ 6591841 w 7112136"/>
                <a:gd name="connsiteY100" fmla="*/ 954693 h 2370524"/>
                <a:gd name="connsiteX101" fmla="*/ 6597286 w 7112136"/>
                <a:gd name="connsiteY101" fmla="*/ 964342 h 2370524"/>
                <a:gd name="connsiteX102" fmla="*/ 6601560 w 7112136"/>
                <a:gd name="connsiteY102" fmla="*/ 972958 h 2370524"/>
                <a:gd name="connsiteX103" fmla="*/ 6586465 w 7112136"/>
                <a:gd name="connsiteY103" fmla="*/ 999081 h 2370524"/>
                <a:gd name="connsiteX104" fmla="*/ 6580468 w 7112136"/>
                <a:gd name="connsiteY104" fmla="*/ 1036989 h 2370524"/>
                <a:gd name="connsiteX105" fmla="*/ 6576539 w 7112136"/>
                <a:gd name="connsiteY105" fmla="*/ 1035266 h 2370524"/>
                <a:gd name="connsiteX106" fmla="*/ 6565167 w 7112136"/>
                <a:gd name="connsiteY106" fmla="*/ 1030786 h 2370524"/>
                <a:gd name="connsiteX107" fmla="*/ 6566615 w 7112136"/>
                <a:gd name="connsiteY107" fmla="*/ 1042710 h 2370524"/>
                <a:gd name="connsiteX108" fmla="*/ 6574541 w 7112136"/>
                <a:gd name="connsiteY108" fmla="*/ 1079309 h 2370524"/>
                <a:gd name="connsiteX109" fmla="*/ 6585224 w 7112136"/>
                <a:gd name="connsiteY109" fmla="*/ 1073312 h 2370524"/>
                <a:gd name="connsiteX110" fmla="*/ 6584948 w 7112136"/>
                <a:gd name="connsiteY110" fmla="*/ 1089854 h 2370524"/>
                <a:gd name="connsiteX111" fmla="*/ 7068937 w 7112136"/>
                <a:gd name="connsiteY111" fmla="*/ 1548547 h 2370524"/>
                <a:gd name="connsiteX112" fmla="*/ 7068110 w 7112136"/>
                <a:gd name="connsiteY112" fmla="*/ 1537726 h 2370524"/>
                <a:gd name="connsiteX113" fmla="*/ 7073417 w 7112136"/>
                <a:gd name="connsiteY113" fmla="*/ 1538002 h 2370524"/>
                <a:gd name="connsiteX114" fmla="*/ 7074313 w 7112136"/>
                <a:gd name="connsiteY114" fmla="*/ 1548823 h 2370524"/>
                <a:gd name="connsiteX115" fmla="*/ 7068937 w 7112136"/>
                <a:gd name="connsiteY115" fmla="*/ 1548547 h 2370524"/>
                <a:gd name="connsiteX116" fmla="*/ 7067214 w 7112136"/>
                <a:gd name="connsiteY116" fmla="*/ 1634772 h 2370524"/>
                <a:gd name="connsiteX117" fmla="*/ 7067214 w 7112136"/>
                <a:gd name="connsiteY117" fmla="*/ 1634772 h 2370524"/>
                <a:gd name="connsiteX118" fmla="*/ 7069213 w 7112136"/>
                <a:gd name="connsiteY118" fmla="*/ 1697356 h 2370524"/>
                <a:gd name="connsiteX119" fmla="*/ 7069213 w 7112136"/>
                <a:gd name="connsiteY119" fmla="*/ 1697356 h 2370524"/>
                <a:gd name="connsiteX120" fmla="*/ 7068524 w 7112136"/>
                <a:gd name="connsiteY120" fmla="*/ 1793437 h 2370524"/>
                <a:gd name="connsiteX121" fmla="*/ 7068524 w 7112136"/>
                <a:gd name="connsiteY121" fmla="*/ 1793437 h 2370524"/>
                <a:gd name="connsiteX122" fmla="*/ 7047294 w 7112136"/>
                <a:gd name="connsiteY122" fmla="*/ 1867531 h 2370524"/>
                <a:gd name="connsiteX123" fmla="*/ 7076725 w 7112136"/>
                <a:gd name="connsiteY123" fmla="*/ 1834654 h 2370524"/>
                <a:gd name="connsiteX124" fmla="*/ 7084101 w 7112136"/>
                <a:gd name="connsiteY124" fmla="*/ 1827624 h 2370524"/>
                <a:gd name="connsiteX125" fmla="*/ 7095680 w 7112136"/>
                <a:gd name="connsiteY125" fmla="*/ 1766005 h 2370524"/>
                <a:gd name="connsiteX126" fmla="*/ 7081826 w 7112136"/>
                <a:gd name="connsiteY126" fmla="*/ 1772346 h 2370524"/>
                <a:gd name="connsiteX127" fmla="*/ 7085617 w 7112136"/>
                <a:gd name="connsiteY127" fmla="*/ 1758492 h 2370524"/>
                <a:gd name="connsiteX128" fmla="*/ 7068868 w 7112136"/>
                <a:gd name="connsiteY128" fmla="*/ 1733955 h 2370524"/>
                <a:gd name="connsiteX129" fmla="*/ 7090717 w 7112136"/>
                <a:gd name="connsiteY129" fmla="*/ 1754563 h 2370524"/>
                <a:gd name="connsiteX130" fmla="*/ 7099471 w 7112136"/>
                <a:gd name="connsiteY130" fmla="*/ 1644697 h 2370524"/>
                <a:gd name="connsiteX131" fmla="*/ 7078380 w 7112136"/>
                <a:gd name="connsiteY131" fmla="*/ 1647179 h 2370524"/>
                <a:gd name="connsiteX132" fmla="*/ 7105812 w 7112136"/>
                <a:gd name="connsiteY132" fmla="*/ 1615336 h 2370524"/>
                <a:gd name="connsiteX133" fmla="*/ 7073349 w 7112136"/>
                <a:gd name="connsiteY133" fmla="*/ 1577427 h 2370524"/>
                <a:gd name="connsiteX134" fmla="*/ 7097679 w 7112136"/>
                <a:gd name="connsiteY134" fmla="*/ 1580046 h 2370524"/>
                <a:gd name="connsiteX135" fmla="*/ 7098368 w 7112136"/>
                <a:gd name="connsiteY135" fmla="*/ 1557094 h 2370524"/>
                <a:gd name="connsiteX136" fmla="*/ 7080103 w 7112136"/>
                <a:gd name="connsiteY136" fmla="*/ 1559369 h 2370524"/>
                <a:gd name="connsiteX137" fmla="*/ 7084101 w 7112136"/>
                <a:gd name="connsiteY137" fmla="*/ 1545515 h 2370524"/>
                <a:gd name="connsiteX138" fmla="*/ 7099609 w 7112136"/>
                <a:gd name="connsiteY138" fmla="*/ 1539105 h 2370524"/>
                <a:gd name="connsiteX139" fmla="*/ 7079689 w 7112136"/>
                <a:gd name="connsiteY139" fmla="*/ 1523459 h 2370524"/>
                <a:gd name="connsiteX140" fmla="*/ 7083894 w 7112136"/>
                <a:gd name="connsiteY140" fmla="*/ 1505263 h 2370524"/>
                <a:gd name="connsiteX141" fmla="*/ 7059012 w 7112136"/>
                <a:gd name="connsiteY141" fmla="*/ 1493063 h 2370524"/>
                <a:gd name="connsiteX142" fmla="*/ 7076863 w 7112136"/>
                <a:gd name="connsiteY142" fmla="*/ 1535107 h 2370524"/>
                <a:gd name="connsiteX143" fmla="*/ 7059908 w 7112136"/>
                <a:gd name="connsiteY143" fmla="*/ 1514843 h 2370524"/>
                <a:gd name="connsiteX144" fmla="*/ 7042401 w 7112136"/>
                <a:gd name="connsiteY144" fmla="*/ 1834102 h 2370524"/>
                <a:gd name="connsiteX145" fmla="*/ 7047294 w 7112136"/>
                <a:gd name="connsiteY145" fmla="*/ 1867531 h 2370524"/>
                <a:gd name="connsiteX146" fmla="*/ 1237294 w 7112136"/>
                <a:gd name="connsiteY146" fmla="*/ 2117245 h 2370524"/>
                <a:gd name="connsiteX147" fmla="*/ 1237294 w 7112136"/>
                <a:gd name="connsiteY147" fmla="*/ 2117245 h 2370524"/>
                <a:gd name="connsiteX148" fmla="*/ 1195387 w 7112136"/>
                <a:gd name="connsiteY148" fmla="*/ 2120553 h 2370524"/>
                <a:gd name="connsiteX149" fmla="*/ 1301049 w 7112136"/>
                <a:gd name="connsiteY149" fmla="*/ 2130409 h 2370524"/>
                <a:gd name="connsiteX150" fmla="*/ 1282784 w 7112136"/>
                <a:gd name="connsiteY150" fmla="*/ 2092776 h 2370524"/>
                <a:gd name="connsiteX151" fmla="*/ 1262175 w 7112136"/>
                <a:gd name="connsiteY151" fmla="*/ 2119795 h 2370524"/>
                <a:gd name="connsiteX152" fmla="*/ 1258453 w 7112136"/>
                <a:gd name="connsiteY152" fmla="*/ 2116831 h 2370524"/>
                <a:gd name="connsiteX153" fmla="*/ 1242876 w 7112136"/>
                <a:gd name="connsiteY153" fmla="*/ 2103735 h 2370524"/>
                <a:gd name="connsiteX154" fmla="*/ 1247563 w 7112136"/>
                <a:gd name="connsiteY154" fmla="*/ 2080025 h 2370524"/>
                <a:gd name="connsiteX155" fmla="*/ 1227231 w 7112136"/>
                <a:gd name="connsiteY155" fmla="*/ 2078854 h 2370524"/>
                <a:gd name="connsiteX156" fmla="*/ 1224749 w 7112136"/>
                <a:gd name="connsiteY156" fmla="*/ 2100220 h 2370524"/>
                <a:gd name="connsiteX157" fmla="*/ 1217512 w 7112136"/>
                <a:gd name="connsiteY157" fmla="*/ 2076372 h 2370524"/>
                <a:gd name="connsiteX158" fmla="*/ 1209310 w 7112136"/>
                <a:gd name="connsiteY158" fmla="*/ 2083265 h 2370524"/>
                <a:gd name="connsiteX159" fmla="*/ 1201591 w 7112136"/>
                <a:gd name="connsiteY159" fmla="*/ 2090157 h 2370524"/>
                <a:gd name="connsiteX160" fmla="*/ 1195387 w 7112136"/>
                <a:gd name="connsiteY160" fmla="*/ 2120553 h 2370524"/>
                <a:gd name="connsiteX161" fmla="*/ 1731621 w 7112136"/>
                <a:gd name="connsiteY161" fmla="*/ 2139025 h 2370524"/>
                <a:gd name="connsiteX162" fmla="*/ 1760707 w 7112136"/>
                <a:gd name="connsiteY162" fmla="*/ 2161563 h 2370524"/>
                <a:gd name="connsiteX163" fmla="*/ 1766290 w 7112136"/>
                <a:gd name="connsiteY163" fmla="*/ 2110146 h 2370524"/>
                <a:gd name="connsiteX164" fmla="*/ 1704672 w 7112136"/>
                <a:gd name="connsiteY164" fmla="*/ 2114212 h 2370524"/>
                <a:gd name="connsiteX165" fmla="*/ 1740788 w 7112136"/>
                <a:gd name="connsiteY165" fmla="*/ 2124964 h 2370524"/>
                <a:gd name="connsiteX166" fmla="*/ 1710875 w 7112136"/>
                <a:gd name="connsiteY166" fmla="*/ 2127308 h 2370524"/>
                <a:gd name="connsiteX167" fmla="*/ 1719904 w 7112136"/>
                <a:gd name="connsiteY167" fmla="*/ 2155360 h 2370524"/>
                <a:gd name="connsiteX168" fmla="*/ 1719697 w 7112136"/>
                <a:gd name="connsiteY168" fmla="*/ 2140955 h 2370524"/>
                <a:gd name="connsiteX169" fmla="*/ 1733482 w 7112136"/>
                <a:gd name="connsiteY169" fmla="*/ 2162942 h 2370524"/>
                <a:gd name="connsiteX170" fmla="*/ 1731621 w 7112136"/>
                <a:gd name="connsiteY170" fmla="*/ 2139025 h 2370524"/>
                <a:gd name="connsiteX171" fmla="*/ 7047984 w 7112136"/>
                <a:gd name="connsiteY171" fmla="*/ 2335391 h 2370524"/>
                <a:gd name="connsiteX172" fmla="*/ 7061079 w 7112136"/>
                <a:gd name="connsiteY172" fmla="*/ 2316368 h 2370524"/>
                <a:gd name="connsiteX173" fmla="*/ 7066869 w 7112136"/>
                <a:gd name="connsiteY173" fmla="*/ 2228627 h 2370524"/>
                <a:gd name="connsiteX174" fmla="*/ 7054946 w 7112136"/>
                <a:gd name="connsiteY174" fmla="*/ 2235244 h 2370524"/>
                <a:gd name="connsiteX175" fmla="*/ 7025583 w 7112136"/>
                <a:gd name="connsiteY175" fmla="*/ 2210362 h 2370524"/>
                <a:gd name="connsiteX176" fmla="*/ 7070729 w 7112136"/>
                <a:gd name="connsiteY176" fmla="*/ 2226077 h 2370524"/>
                <a:gd name="connsiteX177" fmla="*/ 7048191 w 7112136"/>
                <a:gd name="connsiteY177" fmla="*/ 2203538 h 2370524"/>
                <a:gd name="connsiteX178" fmla="*/ 7044124 w 7112136"/>
                <a:gd name="connsiteY178" fmla="*/ 2183206 h 2370524"/>
                <a:gd name="connsiteX179" fmla="*/ 7067559 w 7112136"/>
                <a:gd name="connsiteY179" fmla="*/ 2192097 h 2370524"/>
                <a:gd name="connsiteX180" fmla="*/ 7068248 w 7112136"/>
                <a:gd name="connsiteY180" fmla="*/ 2168180 h 2370524"/>
                <a:gd name="connsiteX181" fmla="*/ 7041229 w 7112136"/>
                <a:gd name="connsiteY181" fmla="*/ 2169834 h 2370524"/>
                <a:gd name="connsiteX182" fmla="*/ 7026135 w 7112136"/>
                <a:gd name="connsiteY182" fmla="*/ 2191614 h 2370524"/>
                <a:gd name="connsiteX183" fmla="*/ 7019173 w 7112136"/>
                <a:gd name="connsiteY183" fmla="*/ 2177967 h 2370524"/>
                <a:gd name="connsiteX184" fmla="*/ 7022826 w 7112136"/>
                <a:gd name="connsiteY184" fmla="*/ 2255025 h 2370524"/>
                <a:gd name="connsiteX185" fmla="*/ 7011316 w 7112136"/>
                <a:gd name="connsiteY185" fmla="*/ 2253302 h 2370524"/>
                <a:gd name="connsiteX186" fmla="*/ 7020896 w 7112136"/>
                <a:gd name="connsiteY186" fmla="*/ 2283146 h 2370524"/>
                <a:gd name="connsiteX187" fmla="*/ 7010696 w 7112136"/>
                <a:gd name="connsiteY187" fmla="*/ 2319401 h 2370524"/>
                <a:gd name="connsiteX188" fmla="*/ 7026962 w 7112136"/>
                <a:gd name="connsiteY188" fmla="*/ 2310303 h 2370524"/>
                <a:gd name="connsiteX189" fmla="*/ 7033648 w 7112136"/>
                <a:gd name="connsiteY189" fmla="*/ 2234554 h 2370524"/>
                <a:gd name="connsiteX190" fmla="*/ 7052464 w 7112136"/>
                <a:gd name="connsiteY190" fmla="*/ 2264054 h 2370524"/>
                <a:gd name="connsiteX191" fmla="*/ 7035233 w 7112136"/>
                <a:gd name="connsiteY191" fmla="*/ 2314162 h 2370524"/>
                <a:gd name="connsiteX192" fmla="*/ 7051568 w 7112136"/>
                <a:gd name="connsiteY192" fmla="*/ 2322502 h 2370524"/>
                <a:gd name="connsiteX193" fmla="*/ 7047984 w 7112136"/>
                <a:gd name="connsiteY193" fmla="*/ 2335391 h 2370524"/>
                <a:gd name="connsiteX194" fmla="*/ 4768509 w 7112136"/>
                <a:gd name="connsiteY194" fmla="*/ 2349659 h 2370524"/>
                <a:gd name="connsiteX195" fmla="*/ 4777125 w 7112136"/>
                <a:gd name="connsiteY195" fmla="*/ 2347728 h 2370524"/>
                <a:gd name="connsiteX196" fmla="*/ 4781122 w 7112136"/>
                <a:gd name="connsiteY196" fmla="*/ 2325604 h 2370524"/>
                <a:gd name="connsiteX197" fmla="*/ 4798422 w 7112136"/>
                <a:gd name="connsiteY197" fmla="*/ 2350899 h 2370524"/>
                <a:gd name="connsiteX198" fmla="*/ 4808623 w 7112136"/>
                <a:gd name="connsiteY198" fmla="*/ 2334495 h 2370524"/>
                <a:gd name="connsiteX199" fmla="*/ 4809588 w 7112136"/>
                <a:gd name="connsiteY199" fmla="*/ 2320848 h 2370524"/>
                <a:gd name="connsiteX200" fmla="*/ 4826268 w 7112136"/>
                <a:gd name="connsiteY200" fmla="*/ 2304444 h 2370524"/>
                <a:gd name="connsiteX201" fmla="*/ 4799043 w 7112136"/>
                <a:gd name="connsiteY201" fmla="*/ 2302307 h 2370524"/>
                <a:gd name="connsiteX202" fmla="*/ 4780640 w 7112136"/>
                <a:gd name="connsiteY202" fmla="*/ 2304168 h 2370524"/>
                <a:gd name="connsiteX203" fmla="*/ 4767544 w 7112136"/>
                <a:gd name="connsiteY203" fmla="*/ 2318780 h 2370524"/>
                <a:gd name="connsiteX204" fmla="*/ 4768509 w 7112136"/>
                <a:gd name="connsiteY204" fmla="*/ 2349659 h 2370524"/>
                <a:gd name="connsiteX205" fmla="*/ 2001185 w 7112136"/>
                <a:gd name="connsiteY205" fmla="*/ 2285352 h 2370524"/>
                <a:gd name="connsiteX206" fmla="*/ 2010008 w 7112136"/>
                <a:gd name="connsiteY206" fmla="*/ 2274737 h 2370524"/>
                <a:gd name="connsiteX207" fmla="*/ 2001185 w 7112136"/>
                <a:gd name="connsiteY207" fmla="*/ 2285352 h 2370524"/>
                <a:gd name="connsiteX208" fmla="*/ 1945080 w 7112136"/>
                <a:gd name="connsiteY208" fmla="*/ 2283629 h 2370524"/>
                <a:gd name="connsiteX209" fmla="*/ 1945080 w 7112136"/>
                <a:gd name="connsiteY209" fmla="*/ 2283629 h 2370524"/>
                <a:gd name="connsiteX210" fmla="*/ 1919923 w 7112136"/>
                <a:gd name="connsiteY210" fmla="*/ 2289832 h 2370524"/>
                <a:gd name="connsiteX211" fmla="*/ 1919923 w 7112136"/>
                <a:gd name="connsiteY211" fmla="*/ 2289832 h 2370524"/>
                <a:gd name="connsiteX212" fmla="*/ 1815778 w 7112136"/>
                <a:gd name="connsiteY212" fmla="*/ 2318367 h 2370524"/>
                <a:gd name="connsiteX213" fmla="*/ 1814399 w 7112136"/>
                <a:gd name="connsiteY213" fmla="*/ 2303961 h 2370524"/>
                <a:gd name="connsiteX214" fmla="*/ 1815778 w 7112136"/>
                <a:gd name="connsiteY214" fmla="*/ 2318367 h 2370524"/>
                <a:gd name="connsiteX215" fmla="*/ 1952731 w 7112136"/>
                <a:gd name="connsiteY215" fmla="*/ 2333323 h 2370524"/>
                <a:gd name="connsiteX216" fmla="*/ 1964104 w 7112136"/>
                <a:gd name="connsiteY216" fmla="*/ 2321606 h 2370524"/>
                <a:gd name="connsiteX217" fmla="*/ 1952731 w 7112136"/>
                <a:gd name="connsiteY217" fmla="*/ 2333323 h 2370524"/>
                <a:gd name="connsiteX218" fmla="*/ 2001599 w 7112136"/>
                <a:gd name="connsiteY218" fmla="*/ 2328706 h 2370524"/>
                <a:gd name="connsiteX219" fmla="*/ 2001943 w 7112136"/>
                <a:gd name="connsiteY219" fmla="*/ 2322364 h 2370524"/>
                <a:gd name="connsiteX220" fmla="*/ 2010352 w 7112136"/>
                <a:gd name="connsiteY220" fmla="*/ 2324570 h 2370524"/>
                <a:gd name="connsiteX221" fmla="*/ 2018830 w 7112136"/>
                <a:gd name="connsiteY221" fmla="*/ 2305616 h 2370524"/>
                <a:gd name="connsiteX222" fmla="*/ 2027445 w 7112136"/>
                <a:gd name="connsiteY222" fmla="*/ 2339251 h 2370524"/>
                <a:gd name="connsiteX223" fmla="*/ 2001599 w 7112136"/>
                <a:gd name="connsiteY223" fmla="*/ 2328706 h 2370524"/>
                <a:gd name="connsiteX224" fmla="*/ 1835835 w 7112136"/>
                <a:gd name="connsiteY224" fmla="*/ 2345109 h 2370524"/>
                <a:gd name="connsiteX225" fmla="*/ 1835835 w 7112136"/>
                <a:gd name="connsiteY225" fmla="*/ 2345109 h 2370524"/>
                <a:gd name="connsiteX226" fmla="*/ 1918820 w 7112136"/>
                <a:gd name="connsiteY226" fmla="*/ 2351037 h 2370524"/>
                <a:gd name="connsiteX227" fmla="*/ 1918820 w 7112136"/>
                <a:gd name="connsiteY227" fmla="*/ 2351037 h 2370524"/>
                <a:gd name="connsiteX228" fmla="*/ 1994017 w 7112136"/>
                <a:gd name="connsiteY228" fmla="*/ 2355724 h 2370524"/>
                <a:gd name="connsiteX229" fmla="*/ 2034131 w 7112136"/>
                <a:gd name="connsiteY229" fmla="*/ 2367303 h 2370524"/>
                <a:gd name="connsiteX230" fmla="*/ 2037646 w 7112136"/>
                <a:gd name="connsiteY230" fmla="*/ 2319332 h 2370524"/>
                <a:gd name="connsiteX231" fmla="*/ 2026412 w 7112136"/>
                <a:gd name="connsiteY231" fmla="*/ 2244342 h 2370524"/>
                <a:gd name="connsiteX232" fmla="*/ 1970583 w 7112136"/>
                <a:gd name="connsiteY232" fmla="*/ 2245513 h 2370524"/>
                <a:gd name="connsiteX233" fmla="*/ 1979818 w 7112136"/>
                <a:gd name="connsiteY233" fmla="*/ 2278873 h 2370524"/>
                <a:gd name="connsiteX234" fmla="*/ 1987883 w 7112136"/>
                <a:gd name="connsiteY234" fmla="*/ 2264261 h 2370524"/>
                <a:gd name="connsiteX235" fmla="*/ 1989881 w 7112136"/>
                <a:gd name="connsiteY235" fmla="*/ 2279217 h 2370524"/>
                <a:gd name="connsiteX236" fmla="*/ 1968653 w 7112136"/>
                <a:gd name="connsiteY236" fmla="*/ 2298585 h 2370524"/>
                <a:gd name="connsiteX237" fmla="*/ 1968239 w 7112136"/>
                <a:gd name="connsiteY237" fmla="*/ 2241585 h 2370524"/>
                <a:gd name="connsiteX238" fmla="*/ 1932674 w 7112136"/>
                <a:gd name="connsiteY238" fmla="*/ 2238552 h 2370524"/>
                <a:gd name="connsiteX239" fmla="*/ 1931778 w 7112136"/>
                <a:gd name="connsiteY239" fmla="*/ 2254198 h 2370524"/>
                <a:gd name="connsiteX240" fmla="*/ 1952042 w 7112136"/>
                <a:gd name="connsiteY240" fmla="*/ 2260263 h 2370524"/>
                <a:gd name="connsiteX241" fmla="*/ 1935845 w 7112136"/>
                <a:gd name="connsiteY241" fmla="*/ 2258954 h 2370524"/>
                <a:gd name="connsiteX242" fmla="*/ 1935224 w 7112136"/>
                <a:gd name="connsiteY242" fmla="*/ 2278046 h 2370524"/>
                <a:gd name="connsiteX243" fmla="*/ 1929917 w 7112136"/>
                <a:gd name="connsiteY243" fmla="*/ 2238207 h 2370524"/>
                <a:gd name="connsiteX244" fmla="*/ 1835697 w 7112136"/>
                <a:gd name="connsiteY244" fmla="*/ 2237518 h 2370524"/>
                <a:gd name="connsiteX245" fmla="*/ 1841487 w 7112136"/>
                <a:gd name="connsiteY245" fmla="*/ 2261917 h 2370524"/>
                <a:gd name="connsiteX246" fmla="*/ 1823567 w 7112136"/>
                <a:gd name="connsiteY246" fmla="*/ 2274393 h 2370524"/>
                <a:gd name="connsiteX247" fmla="*/ 1817156 w 7112136"/>
                <a:gd name="connsiteY247" fmla="*/ 2273359 h 2370524"/>
                <a:gd name="connsiteX248" fmla="*/ 1809782 w 7112136"/>
                <a:gd name="connsiteY248" fmla="*/ 2298172 h 2370524"/>
                <a:gd name="connsiteX249" fmla="*/ 1812745 w 7112136"/>
                <a:gd name="connsiteY249" fmla="*/ 2248339 h 2370524"/>
                <a:gd name="connsiteX250" fmla="*/ 1834594 w 7112136"/>
                <a:gd name="connsiteY250" fmla="*/ 2257920 h 2370524"/>
                <a:gd name="connsiteX251" fmla="*/ 1803440 w 7112136"/>
                <a:gd name="connsiteY251" fmla="*/ 2230074 h 2370524"/>
                <a:gd name="connsiteX252" fmla="*/ 1804612 w 7112136"/>
                <a:gd name="connsiteY252" fmla="*/ 2241998 h 2370524"/>
                <a:gd name="connsiteX253" fmla="*/ 1797444 w 7112136"/>
                <a:gd name="connsiteY253" fmla="*/ 2231522 h 2370524"/>
                <a:gd name="connsiteX254" fmla="*/ 1723212 w 7112136"/>
                <a:gd name="connsiteY254" fmla="*/ 2226353 h 2370524"/>
                <a:gd name="connsiteX255" fmla="*/ 1759398 w 7112136"/>
                <a:gd name="connsiteY255" fmla="*/ 2244273 h 2370524"/>
                <a:gd name="connsiteX256" fmla="*/ 1735205 w 7112136"/>
                <a:gd name="connsiteY256" fmla="*/ 2272532 h 2370524"/>
                <a:gd name="connsiteX257" fmla="*/ 1746371 w 7112136"/>
                <a:gd name="connsiteY257" fmla="*/ 2281905 h 2370524"/>
                <a:gd name="connsiteX258" fmla="*/ 1729691 w 7112136"/>
                <a:gd name="connsiteY258" fmla="*/ 2281768 h 2370524"/>
                <a:gd name="connsiteX259" fmla="*/ 1735963 w 7112136"/>
                <a:gd name="connsiteY259" fmla="*/ 2295622 h 2370524"/>
                <a:gd name="connsiteX260" fmla="*/ 1749886 w 7112136"/>
                <a:gd name="connsiteY260" fmla="*/ 2296724 h 2370524"/>
                <a:gd name="connsiteX261" fmla="*/ 1774630 w 7112136"/>
                <a:gd name="connsiteY261" fmla="*/ 2292520 h 2370524"/>
                <a:gd name="connsiteX262" fmla="*/ 1776629 w 7112136"/>
                <a:gd name="connsiteY262" fmla="*/ 2320228 h 2370524"/>
                <a:gd name="connsiteX263" fmla="*/ 1780764 w 7112136"/>
                <a:gd name="connsiteY263" fmla="*/ 2318367 h 2370524"/>
                <a:gd name="connsiteX264" fmla="*/ 1792550 w 7112136"/>
                <a:gd name="connsiteY264" fmla="*/ 2313060 h 2370524"/>
                <a:gd name="connsiteX265" fmla="*/ 1793929 w 7112136"/>
                <a:gd name="connsiteY265" fmla="*/ 2353036 h 2370524"/>
                <a:gd name="connsiteX266" fmla="*/ 1849620 w 7112136"/>
                <a:gd name="connsiteY266" fmla="*/ 2356620 h 2370524"/>
                <a:gd name="connsiteX267" fmla="*/ 1852377 w 7112136"/>
                <a:gd name="connsiteY267" fmla="*/ 2338148 h 2370524"/>
                <a:gd name="connsiteX268" fmla="*/ 1853893 w 7112136"/>
                <a:gd name="connsiteY268" fmla="*/ 2356896 h 2370524"/>
                <a:gd name="connsiteX269" fmla="*/ 1932950 w 7112136"/>
                <a:gd name="connsiteY269" fmla="*/ 2361858 h 2370524"/>
                <a:gd name="connsiteX270" fmla="*/ 1934535 w 7112136"/>
                <a:gd name="connsiteY270" fmla="*/ 2332634 h 2370524"/>
                <a:gd name="connsiteX271" fmla="*/ 1938050 w 7112136"/>
                <a:gd name="connsiteY271" fmla="*/ 2361996 h 2370524"/>
                <a:gd name="connsiteX272" fmla="*/ 1982093 w 7112136"/>
                <a:gd name="connsiteY272" fmla="*/ 2364960 h 2370524"/>
                <a:gd name="connsiteX273" fmla="*/ 1994017 w 7112136"/>
                <a:gd name="connsiteY273" fmla="*/ 2355724 h 2370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Lst>
              <a:rect l="l" t="t" r="r" b="b"/>
              <a:pathLst>
                <a:path w="7112136" h="2370524">
                  <a:moveTo>
                    <a:pt x="539983" y="76111"/>
                  </a:moveTo>
                  <a:cubicBezTo>
                    <a:pt x="543774" y="72527"/>
                    <a:pt x="543774" y="72527"/>
                    <a:pt x="539983" y="76111"/>
                  </a:cubicBezTo>
                  <a:close/>
                  <a:moveTo>
                    <a:pt x="479054" y="116707"/>
                  </a:moveTo>
                  <a:cubicBezTo>
                    <a:pt x="500076" y="121877"/>
                    <a:pt x="521787" y="122842"/>
                    <a:pt x="543016" y="117948"/>
                  </a:cubicBezTo>
                  <a:cubicBezTo>
                    <a:pt x="551287" y="102991"/>
                    <a:pt x="558868" y="87001"/>
                    <a:pt x="558593" y="69425"/>
                  </a:cubicBezTo>
                  <a:cubicBezTo>
                    <a:pt x="548599" y="63291"/>
                    <a:pt x="538605" y="57088"/>
                    <a:pt x="528679" y="50884"/>
                  </a:cubicBezTo>
                  <a:cubicBezTo>
                    <a:pt x="529644" y="68805"/>
                    <a:pt x="532815" y="86450"/>
                    <a:pt x="536123" y="103956"/>
                  </a:cubicBezTo>
                  <a:cubicBezTo>
                    <a:pt x="534538" y="104163"/>
                    <a:pt x="531299" y="104439"/>
                    <a:pt x="529644" y="104577"/>
                  </a:cubicBezTo>
                  <a:cubicBezTo>
                    <a:pt x="527508" y="94445"/>
                    <a:pt x="525371" y="84313"/>
                    <a:pt x="523303" y="74043"/>
                  </a:cubicBezTo>
                  <a:cubicBezTo>
                    <a:pt x="521236" y="73492"/>
                    <a:pt x="517031" y="72320"/>
                    <a:pt x="514895" y="71769"/>
                  </a:cubicBezTo>
                  <a:cubicBezTo>
                    <a:pt x="518134" y="65290"/>
                    <a:pt x="524544" y="52332"/>
                    <a:pt x="527783" y="45853"/>
                  </a:cubicBezTo>
                  <a:cubicBezTo>
                    <a:pt x="524751" y="46749"/>
                    <a:pt x="518754" y="48472"/>
                    <a:pt x="515722" y="49299"/>
                  </a:cubicBezTo>
                  <a:cubicBezTo>
                    <a:pt x="518479" y="45508"/>
                    <a:pt x="524062" y="37858"/>
                    <a:pt x="526819" y="34067"/>
                  </a:cubicBezTo>
                  <a:cubicBezTo>
                    <a:pt x="526612" y="32551"/>
                    <a:pt x="526336" y="29656"/>
                    <a:pt x="526129" y="28208"/>
                  </a:cubicBezTo>
                  <a:lnTo>
                    <a:pt x="524889" y="17801"/>
                  </a:lnTo>
                  <a:cubicBezTo>
                    <a:pt x="527025" y="14010"/>
                    <a:pt x="531367" y="6359"/>
                    <a:pt x="533573" y="2568"/>
                  </a:cubicBezTo>
                  <a:cubicBezTo>
                    <a:pt x="518203" y="-8942"/>
                    <a:pt x="507244" y="3464"/>
                    <a:pt x="498697" y="15526"/>
                  </a:cubicBezTo>
                  <a:cubicBezTo>
                    <a:pt x="502281" y="9392"/>
                    <a:pt x="505865" y="3189"/>
                    <a:pt x="509450" y="-3084"/>
                  </a:cubicBezTo>
                  <a:cubicBezTo>
                    <a:pt x="502281" y="-3084"/>
                    <a:pt x="487945" y="-3221"/>
                    <a:pt x="480777" y="-3221"/>
                  </a:cubicBezTo>
                  <a:cubicBezTo>
                    <a:pt x="478502" y="16560"/>
                    <a:pt x="484430" y="35170"/>
                    <a:pt x="492701" y="52745"/>
                  </a:cubicBezTo>
                  <a:cubicBezTo>
                    <a:pt x="492080" y="68529"/>
                    <a:pt x="486015" y="84382"/>
                    <a:pt x="492012" y="99890"/>
                  </a:cubicBezTo>
                  <a:cubicBezTo>
                    <a:pt x="496354" y="99338"/>
                    <a:pt x="505038" y="98167"/>
                    <a:pt x="509381" y="97546"/>
                  </a:cubicBezTo>
                  <a:cubicBezTo>
                    <a:pt x="509381" y="99407"/>
                    <a:pt x="509381" y="103060"/>
                    <a:pt x="509381" y="104921"/>
                  </a:cubicBezTo>
                  <a:cubicBezTo>
                    <a:pt x="497043" y="101131"/>
                    <a:pt x="479398" y="95479"/>
                    <a:pt x="479054" y="116707"/>
                  </a:cubicBezTo>
                  <a:moveTo>
                    <a:pt x="37454" y="181566"/>
                  </a:moveTo>
                  <a:cubicBezTo>
                    <a:pt x="33870" y="171571"/>
                    <a:pt x="36902" y="168539"/>
                    <a:pt x="46483" y="172536"/>
                  </a:cubicBezTo>
                  <a:cubicBezTo>
                    <a:pt x="50067" y="182668"/>
                    <a:pt x="47034" y="185701"/>
                    <a:pt x="37454" y="181566"/>
                  </a:cubicBezTo>
                  <a:moveTo>
                    <a:pt x="-6176" y="189905"/>
                  </a:moveTo>
                  <a:cubicBezTo>
                    <a:pt x="10228" y="201760"/>
                    <a:pt x="32560" y="197005"/>
                    <a:pt x="51583" y="200106"/>
                  </a:cubicBezTo>
                  <a:cubicBezTo>
                    <a:pt x="55719" y="183013"/>
                    <a:pt x="78464" y="172261"/>
                    <a:pt x="74053" y="153996"/>
                  </a:cubicBezTo>
                  <a:cubicBezTo>
                    <a:pt x="68814" y="153031"/>
                    <a:pt x="58269" y="151101"/>
                    <a:pt x="52962" y="150136"/>
                  </a:cubicBezTo>
                  <a:lnTo>
                    <a:pt x="53996" y="162473"/>
                  </a:lnTo>
                  <a:cubicBezTo>
                    <a:pt x="51928" y="159510"/>
                    <a:pt x="47930" y="153651"/>
                    <a:pt x="45862" y="150756"/>
                  </a:cubicBezTo>
                  <a:cubicBezTo>
                    <a:pt x="32147" y="150480"/>
                    <a:pt x="18430" y="149929"/>
                    <a:pt x="4783" y="149447"/>
                  </a:cubicBezTo>
                  <a:cubicBezTo>
                    <a:pt x="2785" y="163438"/>
                    <a:pt x="-7692" y="175362"/>
                    <a:pt x="-6176" y="189905"/>
                  </a:cubicBezTo>
                  <a:moveTo>
                    <a:pt x="358780" y="186321"/>
                  </a:moveTo>
                  <a:cubicBezTo>
                    <a:pt x="363260" y="182462"/>
                    <a:pt x="363260" y="182462"/>
                    <a:pt x="358780" y="186321"/>
                  </a:cubicBezTo>
                  <a:moveTo>
                    <a:pt x="356023" y="214718"/>
                  </a:moveTo>
                  <a:cubicBezTo>
                    <a:pt x="393105" y="222162"/>
                    <a:pt x="431013" y="223679"/>
                    <a:pt x="468784" y="226022"/>
                  </a:cubicBezTo>
                  <a:cubicBezTo>
                    <a:pt x="467888" y="215614"/>
                    <a:pt x="468646" y="205413"/>
                    <a:pt x="471058" y="195350"/>
                  </a:cubicBezTo>
                  <a:cubicBezTo>
                    <a:pt x="483465" y="205000"/>
                    <a:pt x="484981" y="238635"/>
                    <a:pt x="505865" y="225057"/>
                  </a:cubicBezTo>
                  <a:cubicBezTo>
                    <a:pt x="501179" y="217062"/>
                    <a:pt x="493735" y="211617"/>
                    <a:pt x="483534" y="208791"/>
                  </a:cubicBezTo>
                  <a:cubicBezTo>
                    <a:pt x="490840" y="203208"/>
                    <a:pt x="499042" y="200382"/>
                    <a:pt x="508140" y="200451"/>
                  </a:cubicBezTo>
                  <a:cubicBezTo>
                    <a:pt x="509518" y="195350"/>
                    <a:pt x="512275" y="185219"/>
                    <a:pt x="513654" y="180187"/>
                  </a:cubicBezTo>
                  <a:cubicBezTo>
                    <a:pt x="500420" y="183151"/>
                    <a:pt x="487049" y="185012"/>
                    <a:pt x="473540" y="184667"/>
                  </a:cubicBezTo>
                  <a:cubicBezTo>
                    <a:pt x="470300" y="183358"/>
                    <a:pt x="463821" y="180669"/>
                    <a:pt x="460582" y="179360"/>
                  </a:cubicBezTo>
                  <a:cubicBezTo>
                    <a:pt x="458445" y="181359"/>
                    <a:pt x="454034" y="185356"/>
                    <a:pt x="451829" y="187355"/>
                  </a:cubicBezTo>
                  <a:cubicBezTo>
                    <a:pt x="450726" y="184116"/>
                    <a:pt x="448589" y="177499"/>
                    <a:pt x="447486" y="174259"/>
                  </a:cubicBezTo>
                  <a:cubicBezTo>
                    <a:pt x="403581" y="176741"/>
                    <a:pt x="359952" y="169642"/>
                    <a:pt x="316185" y="169021"/>
                  </a:cubicBezTo>
                  <a:cubicBezTo>
                    <a:pt x="315771" y="175776"/>
                    <a:pt x="315289" y="182462"/>
                    <a:pt x="314875" y="189147"/>
                  </a:cubicBezTo>
                  <a:cubicBezTo>
                    <a:pt x="314806" y="183909"/>
                    <a:pt x="314669" y="173501"/>
                    <a:pt x="314600" y="168332"/>
                  </a:cubicBezTo>
                  <a:cubicBezTo>
                    <a:pt x="294198" y="167229"/>
                    <a:pt x="273865" y="164886"/>
                    <a:pt x="253463" y="164541"/>
                  </a:cubicBezTo>
                  <a:lnTo>
                    <a:pt x="248363" y="174742"/>
                  </a:lnTo>
                  <a:lnTo>
                    <a:pt x="246916" y="177775"/>
                  </a:lnTo>
                  <a:lnTo>
                    <a:pt x="243952" y="176948"/>
                  </a:lnTo>
                  <a:lnTo>
                    <a:pt x="244572" y="173639"/>
                  </a:lnTo>
                  <a:lnTo>
                    <a:pt x="246295" y="163576"/>
                  </a:lnTo>
                  <a:cubicBezTo>
                    <a:pt x="235336" y="163852"/>
                    <a:pt x="224446" y="163714"/>
                    <a:pt x="213625" y="163231"/>
                  </a:cubicBezTo>
                  <a:cubicBezTo>
                    <a:pt x="213074" y="168194"/>
                    <a:pt x="211971" y="178119"/>
                    <a:pt x="211419" y="183082"/>
                  </a:cubicBezTo>
                  <a:cubicBezTo>
                    <a:pt x="211075" y="175776"/>
                    <a:pt x="210868" y="168470"/>
                    <a:pt x="210799" y="161164"/>
                  </a:cubicBezTo>
                  <a:cubicBezTo>
                    <a:pt x="206457" y="161026"/>
                    <a:pt x="197841" y="160888"/>
                    <a:pt x="193568" y="160750"/>
                  </a:cubicBezTo>
                  <a:cubicBezTo>
                    <a:pt x="196463" y="172605"/>
                    <a:pt x="199427" y="184460"/>
                    <a:pt x="202321" y="196246"/>
                  </a:cubicBezTo>
                  <a:cubicBezTo>
                    <a:pt x="197290" y="192249"/>
                    <a:pt x="192258" y="188182"/>
                    <a:pt x="187227" y="184047"/>
                  </a:cubicBezTo>
                  <a:cubicBezTo>
                    <a:pt x="182126" y="183495"/>
                    <a:pt x="171926" y="182393"/>
                    <a:pt x="166825" y="181772"/>
                  </a:cubicBezTo>
                  <a:cubicBezTo>
                    <a:pt x="167308" y="186735"/>
                    <a:pt x="168341" y="196522"/>
                    <a:pt x="168824" y="201485"/>
                  </a:cubicBezTo>
                  <a:cubicBezTo>
                    <a:pt x="171098" y="197970"/>
                    <a:pt x="175579" y="190870"/>
                    <a:pt x="177853" y="187355"/>
                  </a:cubicBezTo>
                  <a:cubicBezTo>
                    <a:pt x="180748" y="194454"/>
                    <a:pt x="183712" y="201554"/>
                    <a:pt x="186607" y="208584"/>
                  </a:cubicBezTo>
                  <a:cubicBezTo>
                    <a:pt x="196325" y="206103"/>
                    <a:pt x="206112" y="203552"/>
                    <a:pt x="215831" y="201002"/>
                  </a:cubicBezTo>
                  <a:cubicBezTo>
                    <a:pt x="214314" y="203208"/>
                    <a:pt x="211144" y="207688"/>
                    <a:pt x="209558" y="209894"/>
                  </a:cubicBezTo>
                  <a:cubicBezTo>
                    <a:pt x="225066" y="209342"/>
                    <a:pt x="243125" y="216510"/>
                    <a:pt x="257047" y="206792"/>
                  </a:cubicBezTo>
                  <a:cubicBezTo>
                    <a:pt x="283928" y="220784"/>
                    <a:pt x="316529" y="213546"/>
                    <a:pt x="345822" y="216993"/>
                  </a:cubicBezTo>
                  <a:cubicBezTo>
                    <a:pt x="344375" y="213546"/>
                    <a:pt x="341411" y="206585"/>
                    <a:pt x="339895" y="203139"/>
                  </a:cubicBezTo>
                  <a:cubicBezTo>
                    <a:pt x="350234" y="194799"/>
                    <a:pt x="355679" y="205069"/>
                    <a:pt x="356023" y="214718"/>
                  </a:cubicBezTo>
                  <a:moveTo>
                    <a:pt x="516273" y="224506"/>
                  </a:moveTo>
                  <a:cubicBezTo>
                    <a:pt x="536675" y="237394"/>
                    <a:pt x="565072" y="225539"/>
                    <a:pt x="588575" y="228503"/>
                  </a:cubicBezTo>
                  <a:lnTo>
                    <a:pt x="582372" y="224023"/>
                  </a:lnTo>
                  <a:cubicBezTo>
                    <a:pt x="576237" y="219750"/>
                    <a:pt x="570172" y="215270"/>
                    <a:pt x="564451" y="210514"/>
                  </a:cubicBezTo>
                  <a:cubicBezTo>
                    <a:pt x="560454" y="202381"/>
                    <a:pt x="559420" y="193421"/>
                    <a:pt x="561350" y="183702"/>
                  </a:cubicBezTo>
                  <a:cubicBezTo>
                    <a:pt x="545911" y="183220"/>
                    <a:pt x="530540" y="181979"/>
                    <a:pt x="515170" y="180601"/>
                  </a:cubicBezTo>
                  <a:cubicBezTo>
                    <a:pt x="514619" y="187493"/>
                    <a:pt x="513447" y="201278"/>
                    <a:pt x="512896" y="208170"/>
                  </a:cubicBezTo>
                  <a:lnTo>
                    <a:pt x="524337" y="207619"/>
                  </a:lnTo>
                  <a:cubicBezTo>
                    <a:pt x="521580" y="213271"/>
                    <a:pt x="518892" y="218854"/>
                    <a:pt x="516273" y="224506"/>
                  </a:cubicBezTo>
                  <a:moveTo>
                    <a:pt x="6606591" y="960896"/>
                  </a:moveTo>
                  <a:cubicBezTo>
                    <a:pt x="6598527" y="960276"/>
                    <a:pt x="6590738" y="943045"/>
                    <a:pt x="6602041" y="942287"/>
                  </a:cubicBezTo>
                  <a:cubicBezTo>
                    <a:pt x="6608797" y="943803"/>
                    <a:pt x="6617205" y="959794"/>
                    <a:pt x="6606591" y="960896"/>
                  </a:cubicBezTo>
                  <a:moveTo>
                    <a:pt x="6577505" y="1064904"/>
                  </a:moveTo>
                  <a:cubicBezTo>
                    <a:pt x="6582329" y="1053117"/>
                    <a:pt x="6588532" y="1041745"/>
                    <a:pt x="6598871" y="1033612"/>
                  </a:cubicBezTo>
                  <a:cubicBezTo>
                    <a:pt x="6597769" y="1047741"/>
                    <a:pt x="6593081" y="1062215"/>
                    <a:pt x="6577505" y="1064904"/>
                  </a:cubicBezTo>
                  <a:moveTo>
                    <a:pt x="6584948" y="1089854"/>
                  </a:moveTo>
                  <a:cubicBezTo>
                    <a:pt x="6589980" y="1080687"/>
                    <a:pt x="6595012" y="1071658"/>
                    <a:pt x="6600250" y="1062422"/>
                  </a:cubicBezTo>
                  <a:cubicBezTo>
                    <a:pt x="6603627" y="1071107"/>
                    <a:pt x="6607280" y="1079653"/>
                    <a:pt x="6610588" y="1088338"/>
                  </a:cubicBezTo>
                  <a:cubicBezTo>
                    <a:pt x="6618377" y="1022791"/>
                    <a:pt x="6630508" y="957795"/>
                    <a:pt x="6639813" y="892454"/>
                  </a:cubicBezTo>
                  <a:cubicBezTo>
                    <a:pt x="6634229" y="892385"/>
                    <a:pt x="6623063" y="892316"/>
                    <a:pt x="6617481" y="892316"/>
                  </a:cubicBezTo>
                  <a:cubicBezTo>
                    <a:pt x="6610450" y="895487"/>
                    <a:pt x="6603696" y="898933"/>
                    <a:pt x="6597079" y="902241"/>
                  </a:cubicBezTo>
                  <a:cubicBezTo>
                    <a:pt x="6584604" y="889628"/>
                    <a:pt x="6567166" y="891420"/>
                    <a:pt x="6551313" y="894453"/>
                  </a:cubicBezTo>
                  <a:lnTo>
                    <a:pt x="6552347" y="899967"/>
                  </a:lnTo>
                  <a:cubicBezTo>
                    <a:pt x="6551796" y="911822"/>
                    <a:pt x="6550003" y="923470"/>
                    <a:pt x="6548625" y="935118"/>
                  </a:cubicBezTo>
                  <a:cubicBezTo>
                    <a:pt x="6552623" y="937048"/>
                    <a:pt x="6560549" y="940908"/>
                    <a:pt x="6564547" y="942769"/>
                  </a:cubicBezTo>
                  <a:lnTo>
                    <a:pt x="6569302" y="939185"/>
                  </a:lnTo>
                  <a:cubicBezTo>
                    <a:pt x="6570819" y="938013"/>
                    <a:pt x="6573920" y="935670"/>
                    <a:pt x="6575437" y="934498"/>
                  </a:cubicBezTo>
                  <a:cubicBezTo>
                    <a:pt x="6581089" y="941046"/>
                    <a:pt x="6586603" y="947732"/>
                    <a:pt x="6591841" y="954693"/>
                  </a:cubicBezTo>
                  <a:cubicBezTo>
                    <a:pt x="6593219" y="957105"/>
                    <a:pt x="6595908" y="961930"/>
                    <a:pt x="6597286" y="964342"/>
                  </a:cubicBezTo>
                  <a:cubicBezTo>
                    <a:pt x="6598389" y="966479"/>
                    <a:pt x="6600526" y="970821"/>
                    <a:pt x="6601560" y="972958"/>
                  </a:cubicBezTo>
                  <a:cubicBezTo>
                    <a:pt x="6592806" y="979644"/>
                    <a:pt x="6582536" y="986329"/>
                    <a:pt x="6586465" y="999081"/>
                  </a:cubicBezTo>
                  <a:cubicBezTo>
                    <a:pt x="6584810" y="1011832"/>
                    <a:pt x="6582605" y="1024445"/>
                    <a:pt x="6580468" y="1036989"/>
                  </a:cubicBezTo>
                  <a:lnTo>
                    <a:pt x="6576539" y="1035266"/>
                  </a:lnTo>
                  <a:lnTo>
                    <a:pt x="6565167" y="1030786"/>
                  </a:lnTo>
                  <a:lnTo>
                    <a:pt x="6566615" y="1042710"/>
                  </a:lnTo>
                  <a:cubicBezTo>
                    <a:pt x="6568200" y="1055185"/>
                    <a:pt x="6570819" y="1067385"/>
                    <a:pt x="6574541" y="1079309"/>
                  </a:cubicBezTo>
                  <a:lnTo>
                    <a:pt x="6585224" y="1073312"/>
                  </a:lnTo>
                  <a:lnTo>
                    <a:pt x="6584948" y="1089854"/>
                  </a:lnTo>
                  <a:moveTo>
                    <a:pt x="7068937" y="1548547"/>
                  </a:moveTo>
                  <a:cubicBezTo>
                    <a:pt x="7068730" y="1545790"/>
                    <a:pt x="7068317" y="1540414"/>
                    <a:pt x="7068110" y="1537726"/>
                  </a:cubicBezTo>
                  <a:lnTo>
                    <a:pt x="7073417" y="1538002"/>
                  </a:lnTo>
                  <a:cubicBezTo>
                    <a:pt x="7073624" y="1540690"/>
                    <a:pt x="7074106" y="1546135"/>
                    <a:pt x="7074313" y="1548823"/>
                  </a:cubicBezTo>
                  <a:lnTo>
                    <a:pt x="7068937" y="1548547"/>
                  </a:lnTo>
                  <a:moveTo>
                    <a:pt x="7067214" y="1634772"/>
                  </a:moveTo>
                  <a:cubicBezTo>
                    <a:pt x="7056255" y="1614302"/>
                    <a:pt x="7089890" y="1633325"/>
                    <a:pt x="7067214" y="1634772"/>
                  </a:cubicBezTo>
                  <a:moveTo>
                    <a:pt x="7069213" y="1697356"/>
                  </a:moveTo>
                  <a:cubicBezTo>
                    <a:pt x="7071349" y="1674611"/>
                    <a:pt x="7089408" y="1708935"/>
                    <a:pt x="7069213" y="1697356"/>
                  </a:cubicBezTo>
                  <a:moveTo>
                    <a:pt x="7068524" y="1793437"/>
                  </a:moveTo>
                  <a:cubicBezTo>
                    <a:pt x="7072177" y="1789853"/>
                    <a:pt x="7072177" y="1789853"/>
                    <a:pt x="7068524" y="1793437"/>
                  </a:cubicBezTo>
                  <a:moveTo>
                    <a:pt x="7047294" y="1867531"/>
                  </a:moveTo>
                  <a:cubicBezTo>
                    <a:pt x="7066593" y="1868427"/>
                    <a:pt x="7069006" y="1847543"/>
                    <a:pt x="7076725" y="1834654"/>
                  </a:cubicBezTo>
                  <a:cubicBezTo>
                    <a:pt x="7078518" y="1832931"/>
                    <a:pt x="7082239" y="1829347"/>
                    <a:pt x="7084101" y="1827624"/>
                  </a:cubicBezTo>
                  <a:cubicBezTo>
                    <a:pt x="7100849" y="1812873"/>
                    <a:pt x="7091614" y="1785993"/>
                    <a:pt x="7095680" y="1766005"/>
                  </a:cubicBezTo>
                  <a:cubicBezTo>
                    <a:pt x="7092233" y="1767590"/>
                    <a:pt x="7085341" y="1770761"/>
                    <a:pt x="7081826" y="1772346"/>
                  </a:cubicBezTo>
                  <a:cubicBezTo>
                    <a:pt x="7082791" y="1768900"/>
                    <a:pt x="7084652" y="1761938"/>
                    <a:pt x="7085617" y="1758492"/>
                  </a:cubicBezTo>
                  <a:cubicBezTo>
                    <a:pt x="7072177" y="1758768"/>
                    <a:pt x="7073555" y="1742570"/>
                    <a:pt x="7068868" y="1733955"/>
                  </a:cubicBezTo>
                  <a:cubicBezTo>
                    <a:pt x="7076174" y="1740778"/>
                    <a:pt x="7083135" y="1747878"/>
                    <a:pt x="7090717" y="1754563"/>
                  </a:cubicBezTo>
                  <a:cubicBezTo>
                    <a:pt x="7104847" y="1720583"/>
                    <a:pt x="7099195" y="1681159"/>
                    <a:pt x="7099471" y="1644697"/>
                  </a:cubicBezTo>
                  <a:cubicBezTo>
                    <a:pt x="7094163" y="1645318"/>
                    <a:pt x="7083687" y="1646558"/>
                    <a:pt x="7078380" y="1647179"/>
                  </a:cubicBezTo>
                  <a:cubicBezTo>
                    <a:pt x="7084238" y="1634014"/>
                    <a:pt x="7103813" y="1629947"/>
                    <a:pt x="7105812" y="1615336"/>
                  </a:cubicBezTo>
                  <a:cubicBezTo>
                    <a:pt x="7093337" y="1604170"/>
                    <a:pt x="7082722" y="1591212"/>
                    <a:pt x="7073349" y="1577427"/>
                  </a:cubicBezTo>
                  <a:cubicBezTo>
                    <a:pt x="7079482" y="1578116"/>
                    <a:pt x="7091614" y="1579357"/>
                    <a:pt x="7097679" y="1580046"/>
                  </a:cubicBezTo>
                  <a:cubicBezTo>
                    <a:pt x="7097817" y="1572395"/>
                    <a:pt x="7098023" y="1564745"/>
                    <a:pt x="7098368" y="1557094"/>
                  </a:cubicBezTo>
                  <a:cubicBezTo>
                    <a:pt x="7093819" y="1557646"/>
                    <a:pt x="7084721" y="1558817"/>
                    <a:pt x="7080103" y="1559369"/>
                  </a:cubicBezTo>
                  <a:lnTo>
                    <a:pt x="7084101" y="1545515"/>
                  </a:lnTo>
                  <a:cubicBezTo>
                    <a:pt x="7087960" y="1543930"/>
                    <a:pt x="7095749" y="1540690"/>
                    <a:pt x="7099609" y="1539105"/>
                  </a:cubicBezTo>
                  <a:cubicBezTo>
                    <a:pt x="7097954" y="1526147"/>
                    <a:pt x="7091269" y="1520978"/>
                    <a:pt x="7079689" y="1523459"/>
                  </a:cubicBezTo>
                  <a:cubicBezTo>
                    <a:pt x="7080723" y="1518910"/>
                    <a:pt x="7082860" y="1509812"/>
                    <a:pt x="7083894" y="1505263"/>
                  </a:cubicBezTo>
                  <a:cubicBezTo>
                    <a:pt x="7076657" y="1498922"/>
                    <a:pt x="7068937" y="1493132"/>
                    <a:pt x="7059012" y="1493063"/>
                  </a:cubicBezTo>
                  <a:cubicBezTo>
                    <a:pt x="7065767" y="1506710"/>
                    <a:pt x="7075140" y="1519461"/>
                    <a:pt x="7076863" y="1535107"/>
                  </a:cubicBezTo>
                  <a:cubicBezTo>
                    <a:pt x="7072659" y="1530007"/>
                    <a:pt x="7064181" y="1519875"/>
                    <a:pt x="7059908" y="1514843"/>
                  </a:cubicBezTo>
                  <a:cubicBezTo>
                    <a:pt x="7057151" y="1621194"/>
                    <a:pt x="7044400" y="1727820"/>
                    <a:pt x="7042401" y="1834102"/>
                  </a:cubicBezTo>
                  <a:cubicBezTo>
                    <a:pt x="7045434" y="1844992"/>
                    <a:pt x="7048811" y="1856089"/>
                    <a:pt x="7047294" y="1867531"/>
                  </a:cubicBezTo>
                  <a:moveTo>
                    <a:pt x="1237294" y="2117245"/>
                  </a:moveTo>
                  <a:cubicBezTo>
                    <a:pt x="1240946" y="2113867"/>
                    <a:pt x="1240946" y="2113867"/>
                    <a:pt x="1237294" y="2117245"/>
                  </a:cubicBezTo>
                  <a:moveTo>
                    <a:pt x="1195387" y="2120553"/>
                  </a:moveTo>
                  <a:cubicBezTo>
                    <a:pt x="1229574" y="2130754"/>
                    <a:pt x="1265828" y="2128824"/>
                    <a:pt x="1301049" y="2130409"/>
                  </a:cubicBezTo>
                  <a:cubicBezTo>
                    <a:pt x="1294156" y="2118278"/>
                    <a:pt x="1288918" y="2105321"/>
                    <a:pt x="1282784" y="2092776"/>
                  </a:cubicBezTo>
                  <a:cubicBezTo>
                    <a:pt x="1275891" y="2101806"/>
                    <a:pt x="1269206" y="2110904"/>
                    <a:pt x="1262175" y="2119795"/>
                  </a:cubicBezTo>
                  <a:cubicBezTo>
                    <a:pt x="1261279" y="2119037"/>
                    <a:pt x="1259418" y="2117589"/>
                    <a:pt x="1258453" y="2116831"/>
                  </a:cubicBezTo>
                  <a:cubicBezTo>
                    <a:pt x="1254594" y="2113592"/>
                    <a:pt x="1246736" y="2107044"/>
                    <a:pt x="1242876" y="2103735"/>
                  </a:cubicBezTo>
                  <a:cubicBezTo>
                    <a:pt x="1244462" y="2095878"/>
                    <a:pt x="1245978" y="2087952"/>
                    <a:pt x="1247563" y="2080025"/>
                  </a:cubicBezTo>
                  <a:cubicBezTo>
                    <a:pt x="1242463" y="2079750"/>
                    <a:pt x="1232331" y="2079129"/>
                    <a:pt x="1227231" y="2078854"/>
                  </a:cubicBezTo>
                  <a:cubicBezTo>
                    <a:pt x="1226610" y="2084230"/>
                    <a:pt x="1225370" y="2094913"/>
                    <a:pt x="1224749" y="2100220"/>
                  </a:cubicBezTo>
                  <a:cubicBezTo>
                    <a:pt x="1220200" y="2092983"/>
                    <a:pt x="1217788" y="2085057"/>
                    <a:pt x="1217512" y="2076372"/>
                  </a:cubicBezTo>
                  <a:cubicBezTo>
                    <a:pt x="1215444" y="2078096"/>
                    <a:pt x="1211378" y="2081542"/>
                    <a:pt x="1209310" y="2083265"/>
                  </a:cubicBezTo>
                  <a:cubicBezTo>
                    <a:pt x="1207380" y="2084988"/>
                    <a:pt x="1203521" y="2088434"/>
                    <a:pt x="1201591" y="2090157"/>
                  </a:cubicBezTo>
                  <a:cubicBezTo>
                    <a:pt x="1199247" y="2100220"/>
                    <a:pt x="1197179" y="2110421"/>
                    <a:pt x="1195387" y="2120553"/>
                  </a:cubicBezTo>
                  <a:moveTo>
                    <a:pt x="1731621" y="2139025"/>
                  </a:moveTo>
                  <a:cubicBezTo>
                    <a:pt x="1737617" y="2150604"/>
                    <a:pt x="1745750" y="2162597"/>
                    <a:pt x="1760707" y="2161563"/>
                  </a:cubicBezTo>
                  <a:cubicBezTo>
                    <a:pt x="1762361" y="2144401"/>
                    <a:pt x="1764774" y="2127308"/>
                    <a:pt x="1766290" y="2110146"/>
                  </a:cubicBezTo>
                  <a:cubicBezTo>
                    <a:pt x="1745957" y="2114763"/>
                    <a:pt x="1723626" y="2104563"/>
                    <a:pt x="1704672" y="2114212"/>
                  </a:cubicBezTo>
                  <a:cubicBezTo>
                    <a:pt x="1710323" y="2126549"/>
                    <a:pt x="1729484" y="2122897"/>
                    <a:pt x="1740788" y="2124964"/>
                  </a:cubicBezTo>
                  <a:cubicBezTo>
                    <a:pt x="1731345" y="2129237"/>
                    <a:pt x="1720800" y="2126756"/>
                    <a:pt x="1710875" y="2127308"/>
                  </a:cubicBezTo>
                  <a:cubicBezTo>
                    <a:pt x="1700674" y="2131581"/>
                    <a:pt x="1699778" y="2169214"/>
                    <a:pt x="1719904" y="2155360"/>
                  </a:cubicBezTo>
                  <a:cubicBezTo>
                    <a:pt x="1719835" y="2151776"/>
                    <a:pt x="1719766" y="2144608"/>
                    <a:pt x="1719697" y="2140955"/>
                  </a:cubicBezTo>
                  <a:cubicBezTo>
                    <a:pt x="1723143" y="2146469"/>
                    <a:pt x="1730036" y="2157428"/>
                    <a:pt x="1733482" y="2162942"/>
                  </a:cubicBezTo>
                  <a:cubicBezTo>
                    <a:pt x="1732999" y="2156945"/>
                    <a:pt x="1732034" y="2145021"/>
                    <a:pt x="1731621" y="2139025"/>
                  </a:cubicBezTo>
                  <a:moveTo>
                    <a:pt x="7047984" y="2335391"/>
                  </a:moveTo>
                  <a:cubicBezTo>
                    <a:pt x="7053567" y="2330222"/>
                    <a:pt x="7060253" y="2324708"/>
                    <a:pt x="7061079" y="2316368"/>
                  </a:cubicBezTo>
                  <a:cubicBezTo>
                    <a:pt x="7064526" y="2287282"/>
                    <a:pt x="7064526" y="2257851"/>
                    <a:pt x="7066869" y="2228627"/>
                  </a:cubicBezTo>
                  <a:cubicBezTo>
                    <a:pt x="7063906" y="2230281"/>
                    <a:pt x="7057909" y="2233590"/>
                    <a:pt x="7054946" y="2235244"/>
                  </a:cubicBezTo>
                  <a:cubicBezTo>
                    <a:pt x="7045641" y="2225870"/>
                    <a:pt x="7027651" y="2226077"/>
                    <a:pt x="7025583" y="2210362"/>
                  </a:cubicBezTo>
                  <a:cubicBezTo>
                    <a:pt x="7040127" y="2216703"/>
                    <a:pt x="7055084" y="2222424"/>
                    <a:pt x="7070729" y="2226077"/>
                  </a:cubicBezTo>
                  <a:cubicBezTo>
                    <a:pt x="7066318" y="2215600"/>
                    <a:pt x="7058598" y="2207743"/>
                    <a:pt x="7048191" y="2203538"/>
                  </a:cubicBezTo>
                  <a:cubicBezTo>
                    <a:pt x="7034888" y="2200299"/>
                    <a:pt x="7036336" y="2192372"/>
                    <a:pt x="7044124" y="2183206"/>
                  </a:cubicBezTo>
                  <a:cubicBezTo>
                    <a:pt x="7051844" y="2186169"/>
                    <a:pt x="7059701" y="2189133"/>
                    <a:pt x="7067559" y="2192097"/>
                  </a:cubicBezTo>
                  <a:cubicBezTo>
                    <a:pt x="7067765" y="2186100"/>
                    <a:pt x="7068110" y="2174176"/>
                    <a:pt x="7068248" y="2168180"/>
                  </a:cubicBezTo>
                  <a:cubicBezTo>
                    <a:pt x="7059150" y="2168800"/>
                    <a:pt x="7050121" y="2169352"/>
                    <a:pt x="7041229" y="2169834"/>
                  </a:cubicBezTo>
                  <a:cubicBezTo>
                    <a:pt x="7036129" y="2177140"/>
                    <a:pt x="7031097" y="2184446"/>
                    <a:pt x="7026135" y="2191614"/>
                  </a:cubicBezTo>
                  <a:cubicBezTo>
                    <a:pt x="7024412" y="2188168"/>
                    <a:pt x="7020896" y="2181345"/>
                    <a:pt x="7019173" y="2177967"/>
                  </a:cubicBezTo>
                  <a:cubicBezTo>
                    <a:pt x="7021448" y="2203607"/>
                    <a:pt x="7021517" y="2229316"/>
                    <a:pt x="7022826" y="2255025"/>
                  </a:cubicBezTo>
                  <a:lnTo>
                    <a:pt x="7011316" y="2253302"/>
                  </a:lnTo>
                  <a:cubicBezTo>
                    <a:pt x="7012488" y="2263778"/>
                    <a:pt x="7019311" y="2272877"/>
                    <a:pt x="7020896" y="2283146"/>
                  </a:cubicBezTo>
                  <a:cubicBezTo>
                    <a:pt x="7014349" y="2294174"/>
                    <a:pt x="7012281" y="2306925"/>
                    <a:pt x="7010696" y="2319401"/>
                  </a:cubicBezTo>
                  <a:lnTo>
                    <a:pt x="7026962" y="2310303"/>
                  </a:lnTo>
                  <a:cubicBezTo>
                    <a:pt x="7031305" y="2285352"/>
                    <a:pt x="7034199" y="2259988"/>
                    <a:pt x="7033648" y="2234554"/>
                  </a:cubicBezTo>
                  <a:cubicBezTo>
                    <a:pt x="7039437" y="2244686"/>
                    <a:pt x="7045847" y="2254405"/>
                    <a:pt x="7052464" y="2264054"/>
                  </a:cubicBezTo>
                  <a:cubicBezTo>
                    <a:pt x="7030891" y="2268603"/>
                    <a:pt x="7035853" y="2297483"/>
                    <a:pt x="7035233" y="2314162"/>
                  </a:cubicBezTo>
                  <a:cubicBezTo>
                    <a:pt x="7039300" y="2316230"/>
                    <a:pt x="7047432" y="2320435"/>
                    <a:pt x="7051568" y="2322502"/>
                  </a:cubicBezTo>
                  <a:cubicBezTo>
                    <a:pt x="7050672" y="2325742"/>
                    <a:pt x="7048880" y="2332152"/>
                    <a:pt x="7047984" y="2335391"/>
                  </a:cubicBezTo>
                  <a:moveTo>
                    <a:pt x="4768509" y="2349659"/>
                  </a:moveTo>
                  <a:lnTo>
                    <a:pt x="4777125" y="2347728"/>
                  </a:lnTo>
                  <a:cubicBezTo>
                    <a:pt x="4778159" y="2342215"/>
                    <a:pt x="4780157" y="2331118"/>
                    <a:pt x="4781122" y="2325604"/>
                  </a:cubicBezTo>
                  <a:cubicBezTo>
                    <a:pt x="4786774" y="2334082"/>
                    <a:pt x="4792495" y="2342559"/>
                    <a:pt x="4798422" y="2350899"/>
                  </a:cubicBezTo>
                  <a:cubicBezTo>
                    <a:pt x="4801868" y="2345523"/>
                    <a:pt x="4805246" y="2340078"/>
                    <a:pt x="4808623" y="2334495"/>
                  </a:cubicBezTo>
                  <a:cubicBezTo>
                    <a:pt x="4808899" y="2331118"/>
                    <a:pt x="4809319" y="2324294"/>
                    <a:pt x="4809588" y="2320848"/>
                  </a:cubicBezTo>
                  <a:cubicBezTo>
                    <a:pt x="4817859" y="2317953"/>
                    <a:pt x="4829369" y="2316988"/>
                    <a:pt x="4826268" y="2304444"/>
                  </a:cubicBezTo>
                  <a:cubicBezTo>
                    <a:pt x="4817170" y="2302927"/>
                    <a:pt x="4808072" y="2302238"/>
                    <a:pt x="4799043" y="2302307"/>
                  </a:cubicBezTo>
                  <a:cubicBezTo>
                    <a:pt x="4794425" y="2302790"/>
                    <a:pt x="4785258" y="2303686"/>
                    <a:pt x="4780640" y="2304168"/>
                  </a:cubicBezTo>
                  <a:cubicBezTo>
                    <a:pt x="4777400" y="2307821"/>
                    <a:pt x="4770852" y="2315127"/>
                    <a:pt x="4767544" y="2318780"/>
                  </a:cubicBezTo>
                  <a:cubicBezTo>
                    <a:pt x="4767751" y="2329119"/>
                    <a:pt x="4768027" y="2339389"/>
                    <a:pt x="4768509" y="2349659"/>
                  </a:cubicBezTo>
                  <a:moveTo>
                    <a:pt x="2001185" y="2285352"/>
                  </a:moveTo>
                  <a:cubicBezTo>
                    <a:pt x="1997670" y="2275358"/>
                    <a:pt x="2000565" y="2271843"/>
                    <a:pt x="2010008" y="2274737"/>
                  </a:cubicBezTo>
                  <a:cubicBezTo>
                    <a:pt x="2013385" y="2284800"/>
                    <a:pt x="2010490" y="2288316"/>
                    <a:pt x="2001185" y="2285352"/>
                  </a:cubicBezTo>
                  <a:moveTo>
                    <a:pt x="1945080" y="2283629"/>
                  </a:moveTo>
                  <a:cubicBezTo>
                    <a:pt x="1935500" y="2262607"/>
                    <a:pt x="1968032" y="2283284"/>
                    <a:pt x="1945080" y="2283629"/>
                  </a:cubicBezTo>
                  <a:moveTo>
                    <a:pt x="1919923" y="2289832"/>
                  </a:moveTo>
                  <a:cubicBezTo>
                    <a:pt x="1923231" y="2286041"/>
                    <a:pt x="1923231" y="2286041"/>
                    <a:pt x="1919923" y="2289832"/>
                  </a:cubicBezTo>
                  <a:moveTo>
                    <a:pt x="1815778" y="2318367"/>
                  </a:moveTo>
                  <a:cubicBezTo>
                    <a:pt x="1806473" y="2313542"/>
                    <a:pt x="1805991" y="2308717"/>
                    <a:pt x="1814399" y="2303961"/>
                  </a:cubicBezTo>
                  <a:cubicBezTo>
                    <a:pt x="1823704" y="2308855"/>
                    <a:pt x="1824187" y="2313611"/>
                    <a:pt x="1815778" y="2318367"/>
                  </a:cubicBezTo>
                  <a:moveTo>
                    <a:pt x="1952731" y="2333323"/>
                  </a:moveTo>
                  <a:cubicBezTo>
                    <a:pt x="1949009" y="2322158"/>
                    <a:pt x="1952800" y="2318298"/>
                    <a:pt x="1964104" y="2321606"/>
                  </a:cubicBezTo>
                  <a:cubicBezTo>
                    <a:pt x="1967757" y="2332841"/>
                    <a:pt x="1963966" y="2336701"/>
                    <a:pt x="1952731" y="2333323"/>
                  </a:cubicBezTo>
                  <a:moveTo>
                    <a:pt x="2001599" y="2328706"/>
                  </a:moveTo>
                  <a:cubicBezTo>
                    <a:pt x="2001668" y="2327120"/>
                    <a:pt x="2001874" y="2323950"/>
                    <a:pt x="2001943" y="2322364"/>
                  </a:cubicBezTo>
                  <a:lnTo>
                    <a:pt x="2010352" y="2324570"/>
                  </a:lnTo>
                  <a:cubicBezTo>
                    <a:pt x="2010697" y="2317057"/>
                    <a:pt x="2013523" y="2310785"/>
                    <a:pt x="2018830" y="2305616"/>
                  </a:cubicBezTo>
                  <a:cubicBezTo>
                    <a:pt x="2021793" y="2316781"/>
                    <a:pt x="2024413" y="2328085"/>
                    <a:pt x="2027445" y="2339251"/>
                  </a:cubicBezTo>
                  <a:cubicBezTo>
                    <a:pt x="2020139" y="2332496"/>
                    <a:pt x="2011799" y="2327878"/>
                    <a:pt x="2001599" y="2328706"/>
                  </a:cubicBezTo>
                  <a:moveTo>
                    <a:pt x="1835835" y="2345109"/>
                  </a:moveTo>
                  <a:cubicBezTo>
                    <a:pt x="1839557" y="2341594"/>
                    <a:pt x="1839557" y="2341594"/>
                    <a:pt x="1835835" y="2345109"/>
                  </a:cubicBezTo>
                  <a:moveTo>
                    <a:pt x="1918820" y="2351037"/>
                  </a:moveTo>
                  <a:cubicBezTo>
                    <a:pt x="1907930" y="2330635"/>
                    <a:pt x="1941634" y="2349659"/>
                    <a:pt x="1918820" y="2351037"/>
                  </a:cubicBezTo>
                  <a:moveTo>
                    <a:pt x="1994017" y="2355724"/>
                  </a:moveTo>
                  <a:cubicBezTo>
                    <a:pt x="1999807" y="2371645"/>
                    <a:pt x="2021104" y="2363030"/>
                    <a:pt x="2034131" y="2367303"/>
                  </a:cubicBezTo>
                  <a:cubicBezTo>
                    <a:pt x="2025378" y="2351244"/>
                    <a:pt x="2044125" y="2335736"/>
                    <a:pt x="2037646" y="2319332"/>
                  </a:cubicBezTo>
                  <a:cubicBezTo>
                    <a:pt x="2030616" y="2294864"/>
                    <a:pt x="2022896" y="2270188"/>
                    <a:pt x="2026412" y="2244342"/>
                  </a:cubicBezTo>
                  <a:cubicBezTo>
                    <a:pt x="2007733" y="2243170"/>
                    <a:pt x="1989054" y="2243170"/>
                    <a:pt x="1970583" y="2245513"/>
                  </a:cubicBezTo>
                  <a:cubicBezTo>
                    <a:pt x="1968170" y="2259505"/>
                    <a:pt x="1971203" y="2270671"/>
                    <a:pt x="1979818" y="2278873"/>
                  </a:cubicBezTo>
                  <a:cubicBezTo>
                    <a:pt x="1981817" y="2275220"/>
                    <a:pt x="1985884" y="2267914"/>
                    <a:pt x="1987883" y="2264261"/>
                  </a:cubicBezTo>
                  <a:cubicBezTo>
                    <a:pt x="1988365" y="2267983"/>
                    <a:pt x="1989399" y="2275496"/>
                    <a:pt x="1989881" y="2279217"/>
                  </a:cubicBezTo>
                  <a:cubicBezTo>
                    <a:pt x="1976097" y="2278528"/>
                    <a:pt x="1967205" y="2283629"/>
                    <a:pt x="1968653" y="2298585"/>
                  </a:cubicBezTo>
                  <a:cubicBezTo>
                    <a:pt x="1969480" y="2279631"/>
                    <a:pt x="1968859" y="2260608"/>
                    <a:pt x="1968239" y="2241585"/>
                  </a:cubicBezTo>
                  <a:cubicBezTo>
                    <a:pt x="1956384" y="2240620"/>
                    <a:pt x="1944529" y="2239586"/>
                    <a:pt x="1932674" y="2238552"/>
                  </a:cubicBezTo>
                  <a:lnTo>
                    <a:pt x="1931778" y="2254198"/>
                  </a:lnTo>
                  <a:cubicBezTo>
                    <a:pt x="1938533" y="2256128"/>
                    <a:pt x="1945287" y="2258195"/>
                    <a:pt x="1952042" y="2260263"/>
                  </a:cubicBezTo>
                  <a:cubicBezTo>
                    <a:pt x="1947975" y="2259919"/>
                    <a:pt x="1939911" y="2259298"/>
                    <a:pt x="1935845" y="2258954"/>
                  </a:cubicBezTo>
                  <a:cubicBezTo>
                    <a:pt x="1935707" y="2263709"/>
                    <a:pt x="1935362" y="2273290"/>
                    <a:pt x="1935224" y="2278046"/>
                  </a:cubicBezTo>
                  <a:cubicBezTo>
                    <a:pt x="1926471" y="2266535"/>
                    <a:pt x="1930606" y="2251510"/>
                    <a:pt x="1929917" y="2238207"/>
                  </a:cubicBezTo>
                  <a:cubicBezTo>
                    <a:pt x="1898487" y="2239655"/>
                    <a:pt x="1866644" y="2229523"/>
                    <a:pt x="1835697" y="2237518"/>
                  </a:cubicBezTo>
                  <a:cubicBezTo>
                    <a:pt x="1837144" y="2243652"/>
                    <a:pt x="1840039" y="2255783"/>
                    <a:pt x="1841487" y="2261917"/>
                  </a:cubicBezTo>
                  <a:cubicBezTo>
                    <a:pt x="1829976" y="2257093"/>
                    <a:pt x="1823980" y="2261228"/>
                    <a:pt x="1823567" y="2274393"/>
                  </a:cubicBezTo>
                  <a:lnTo>
                    <a:pt x="1817156" y="2273359"/>
                  </a:lnTo>
                  <a:cubicBezTo>
                    <a:pt x="1814675" y="2281699"/>
                    <a:pt x="1812194" y="2289970"/>
                    <a:pt x="1809782" y="2298172"/>
                  </a:cubicBezTo>
                  <a:cubicBezTo>
                    <a:pt x="1808265" y="2281492"/>
                    <a:pt x="1807920" y="2264606"/>
                    <a:pt x="1812745" y="2248339"/>
                  </a:cubicBezTo>
                  <a:cubicBezTo>
                    <a:pt x="1818190" y="2250752"/>
                    <a:pt x="1829149" y="2255507"/>
                    <a:pt x="1834594" y="2257920"/>
                  </a:cubicBezTo>
                  <a:cubicBezTo>
                    <a:pt x="1840177" y="2232624"/>
                    <a:pt x="1821567" y="2230970"/>
                    <a:pt x="1803440" y="2230074"/>
                  </a:cubicBezTo>
                  <a:cubicBezTo>
                    <a:pt x="1803716" y="2233038"/>
                    <a:pt x="1804336" y="2239035"/>
                    <a:pt x="1804612" y="2241998"/>
                  </a:cubicBezTo>
                  <a:cubicBezTo>
                    <a:pt x="1802820" y="2239379"/>
                    <a:pt x="1799236" y="2234141"/>
                    <a:pt x="1797444" y="2231522"/>
                  </a:cubicBezTo>
                  <a:cubicBezTo>
                    <a:pt x="1772976" y="2227248"/>
                    <a:pt x="1747956" y="2227524"/>
                    <a:pt x="1723212" y="2226353"/>
                  </a:cubicBezTo>
                  <a:cubicBezTo>
                    <a:pt x="1730518" y="2240482"/>
                    <a:pt x="1744923" y="2243859"/>
                    <a:pt x="1759398" y="2244273"/>
                  </a:cubicBezTo>
                  <a:cubicBezTo>
                    <a:pt x="1751264" y="2253715"/>
                    <a:pt x="1743269" y="2263158"/>
                    <a:pt x="1735205" y="2272532"/>
                  </a:cubicBezTo>
                  <a:cubicBezTo>
                    <a:pt x="1737962" y="2274875"/>
                    <a:pt x="1743545" y="2279562"/>
                    <a:pt x="1746371" y="2281905"/>
                  </a:cubicBezTo>
                  <a:cubicBezTo>
                    <a:pt x="1742166" y="2281905"/>
                    <a:pt x="1733896" y="2281837"/>
                    <a:pt x="1729691" y="2281768"/>
                  </a:cubicBezTo>
                  <a:lnTo>
                    <a:pt x="1735963" y="2295622"/>
                  </a:lnTo>
                  <a:cubicBezTo>
                    <a:pt x="1740581" y="2296173"/>
                    <a:pt x="1745199" y="2296518"/>
                    <a:pt x="1749886" y="2296724"/>
                  </a:cubicBezTo>
                  <a:cubicBezTo>
                    <a:pt x="1758157" y="2295622"/>
                    <a:pt x="1766428" y="2294243"/>
                    <a:pt x="1774630" y="2292520"/>
                  </a:cubicBezTo>
                  <a:cubicBezTo>
                    <a:pt x="1775388" y="2301756"/>
                    <a:pt x="1776009" y="2310992"/>
                    <a:pt x="1776629" y="2320228"/>
                  </a:cubicBezTo>
                  <a:cubicBezTo>
                    <a:pt x="1777663" y="2319814"/>
                    <a:pt x="1779730" y="2318849"/>
                    <a:pt x="1780764" y="2318367"/>
                  </a:cubicBezTo>
                  <a:lnTo>
                    <a:pt x="1792550" y="2313060"/>
                  </a:lnTo>
                  <a:cubicBezTo>
                    <a:pt x="1796617" y="2326638"/>
                    <a:pt x="1810608" y="2342284"/>
                    <a:pt x="1793929" y="2353036"/>
                  </a:cubicBezTo>
                  <a:cubicBezTo>
                    <a:pt x="1812470" y="2354208"/>
                    <a:pt x="1831010" y="2355517"/>
                    <a:pt x="1849620" y="2356620"/>
                  </a:cubicBezTo>
                  <a:cubicBezTo>
                    <a:pt x="1850309" y="2352002"/>
                    <a:pt x="1851688" y="2342766"/>
                    <a:pt x="1852377" y="2338148"/>
                  </a:cubicBezTo>
                  <a:cubicBezTo>
                    <a:pt x="1852721" y="2342835"/>
                    <a:pt x="1853480" y="2352209"/>
                    <a:pt x="1853893" y="2356896"/>
                  </a:cubicBezTo>
                  <a:cubicBezTo>
                    <a:pt x="1880222" y="2358067"/>
                    <a:pt x="1906621" y="2359859"/>
                    <a:pt x="1932950" y="2361858"/>
                  </a:cubicBezTo>
                  <a:cubicBezTo>
                    <a:pt x="1933432" y="2352140"/>
                    <a:pt x="1933984" y="2342353"/>
                    <a:pt x="1934535" y="2332634"/>
                  </a:cubicBezTo>
                  <a:cubicBezTo>
                    <a:pt x="1954385" y="2334013"/>
                    <a:pt x="1949147" y="2352140"/>
                    <a:pt x="1938050" y="2361996"/>
                  </a:cubicBezTo>
                  <a:cubicBezTo>
                    <a:pt x="1952662" y="2363099"/>
                    <a:pt x="1967343" y="2363995"/>
                    <a:pt x="1982093" y="2364960"/>
                  </a:cubicBezTo>
                  <a:cubicBezTo>
                    <a:pt x="1986022" y="2361927"/>
                    <a:pt x="1990019" y="2358825"/>
                    <a:pt x="1994017" y="2355724"/>
                  </a:cubicBezTo>
                </a:path>
              </a:pathLst>
            </a:custGeom>
            <a:grpFill/>
            <a:ln w="689" cap="flat">
              <a:noFill/>
              <a:prstDash val="solid"/>
              <a:miter/>
            </a:ln>
          </p:spPr>
          <p:txBody>
            <a:bodyPr rtlCol="0" anchor="ctr"/>
            <a:lstStyle/>
            <a:p>
              <a:endParaRPr lang="en-US" sz="2400" dirty="0"/>
            </a:p>
          </p:txBody>
        </p:sp>
        <p:sp>
          <p:nvSpPr>
            <p:cNvPr id="116" name="Graphic 8">
              <a:extLst>
                <a:ext uri="{FF2B5EF4-FFF2-40B4-BE49-F238E27FC236}">
                  <a16:creationId xmlns:a16="http://schemas.microsoft.com/office/drawing/2014/main" id="{F4BF5CCB-801F-449A-8BB2-AD685A2CD361}"/>
                </a:ext>
              </a:extLst>
            </p:cNvPr>
            <p:cNvSpPr/>
            <p:nvPr/>
          </p:nvSpPr>
          <p:spPr>
            <a:xfrm flipV="1">
              <a:off x="3141125" y="1386143"/>
              <a:ext cx="4078648" cy="2034999"/>
            </a:xfrm>
            <a:custGeom>
              <a:avLst/>
              <a:gdLst>
                <a:gd name="connsiteX0" fmla="*/ 4046680 w 4078648"/>
                <a:gd name="connsiteY0" fmla="*/ 25716 h 2034999"/>
                <a:gd name="connsiteX1" fmla="*/ 4058949 w 4078648"/>
                <a:gd name="connsiteY1" fmla="*/ 32471 h 2034999"/>
                <a:gd name="connsiteX2" fmla="*/ 4069494 w 4078648"/>
                <a:gd name="connsiteY2" fmla="*/ 32540 h 2034999"/>
                <a:gd name="connsiteX3" fmla="*/ 4072251 w 4078648"/>
                <a:gd name="connsiteY3" fmla="*/ 22339 h 2034999"/>
                <a:gd name="connsiteX4" fmla="*/ 4059638 w 4078648"/>
                <a:gd name="connsiteY4" fmla="*/ 26268 h 2034999"/>
                <a:gd name="connsiteX5" fmla="*/ 4058880 w 4078648"/>
                <a:gd name="connsiteY5" fmla="*/ 14413 h 2034999"/>
                <a:gd name="connsiteX6" fmla="*/ 4057708 w 4078648"/>
                <a:gd name="connsiteY6" fmla="*/ -3508 h 2034999"/>
                <a:gd name="connsiteX7" fmla="*/ 4046680 w 4078648"/>
                <a:gd name="connsiteY7" fmla="*/ 25716 h 2034999"/>
                <a:gd name="connsiteX8" fmla="*/ 3707089 w 4078648"/>
                <a:gd name="connsiteY8" fmla="*/ 185001 h 2034999"/>
                <a:gd name="connsiteX9" fmla="*/ 3781734 w 4078648"/>
                <a:gd name="connsiteY9" fmla="*/ 191067 h 2034999"/>
                <a:gd name="connsiteX10" fmla="*/ 3766502 w 4078648"/>
                <a:gd name="connsiteY10" fmla="*/ 161636 h 2034999"/>
                <a:gd name="connsiteX11" fmla="*/ 3746858 w 4078648"/>
                <a:gd name="connsiteY11" fmla="*/ 159430 h 2034999"/>
                <a:gd name="connsiteX12" fmla="*/ 3760437 w 4078648"/>
                <a:gd name="connsiteY12" fmla="*/ 146266 h 2034999"/>
                <a:gd name="connsiteX13" fmla="*/ 3724320 w 4078648"/>
                <a:gd name="connsiteY13" fmla="*/ 137926 h 2034999"/>
                <a:gd name="connsiteX14" fmla="*/ 3705442 w 4078648"/>
                <a:gd name="connsiteY14" fmla="*/ 163704 h 2034999"/>
                <a:gd name="connsiteX15" fmla="*/ 3707089 w 4078648"/>
                <a:gd name="connsiteY15" fmla="*/ 185001 h 2034999"/>
                <a:gd name="connsiteX16" fmla="*/ 2378015 w 4078648"/>
                <a:gd name="connsiteY16" fmla="*/ 1044629 h 2034999"/>
                <a:gd name="connsiteX17" fmla="*/ 2378015 w 4078648"/>
                <a:gd name="connsiteY17" fmla="*/ 1044629 h 2034999"/>
                <a:gd name="connsiteX18" fmla="*/ 1785264 w 4078648"/>
                <a:gd name="connsiteY18" fmla="*/ 1279455 h 2034999"/>
                <a:gd name="connsiteX19" fmla="*/ 1785264 w 4078648"/>
                <a:gd name="connsiteY19" fmla="*/ 1279455 h 2034999"/>
                <a:gd name="connsiteX20" fmla="*/ 2378291 w 4078648"/>
                <a:gd name="connsiteY20" fmla="*/ 1376226 h 2034999"/>
                <a:gd name="connsiteX21" fmla="*/ 2378291 w 4078648"/>
                <a:gd name="connsiteY21" fmla="*/ 1376226 h 2034999"/>
                <a:gd name="connsiteX22" fmla="*/ 3975067 w 4078648"/>
                <a:gd name="connsiteY22" fmla="*/ 1514006 h 2034999"/>
                <a:gd name="connsiteX23" fmla="*/ 3986854 w 4078648"/>
                <a:gd name="connsiteY23" fmla="*/ 1542265 h 2034999"/>
                <a:gd name="connsiteX24" fmla="*/ 3995470 w 4078648"/>
                <a:gd name="connsiteY24" fmla="*/ 1472582 h 2034999"/>
                <a:gd name="connsiteX25" fmla="*/ 3975067 w 4078648"/>
                <a:gd name="connsiteY25" fmla="*/ 1514006 h 2034999"/>
                <a:gd name="connsiteX26" fmla="*/ -5467 w 4078648"/>
                <a:gd name="connsiteY26" fmla="*/ 1901707 h 2034999"/>
                <a:gd name="connsiteX27" fmla="*/ 4596 w 4078648"/>
                <a:gd name="connsiteY27" fmla="*/ 1890679 h 2034999"/>
                <a:gd name="connsiteX28" fmla="*/ -5467 w 4078648"/>
                <a:gd name="connsiteY28" fmla="*/ 1901707 h 2034999"/>
                <a:gd name="connsiteX29" fmla="*/ 345635 w 4078648"/>
                <a:gd name="connsiteY29" fmla="*/ 1947679 h 2034999"/>
                <a:gd name="connsiteX30" fmla="*/ 345635 w 4078648"/>
                <a:gd name="connsiteY30" fmla="*/ 1947679 h 2034999"/>
                <a:gd name="connsiteX31" fmla="*/ 2810931 w 4078648"/>
                <a:gd name="connsiteY31" fmla="*/ 1973664 h 2034999"/>
                <a:gd name="connsiteX32" fmla="*/ 2838776 w 4078648"/>
                <a:gd name="connsiteY32" fmla="*/ 1986898 h 2034999"/>
                <a:gd name="connsiteX33" fmla="*/ 2843050 w 4078648"/>
                <a:gd name="connsiteY33" fmla="*/ 1959673 h 2034999"/>
                <a:gd name="connsiteX34" fmla="*/ 2819064 w 4078648"/>
                <a:gd name="connsiteY34" fmla="*/ 1966427 h 2034999"/>
                <a:gd name="connsiteX35" fmla="*/ 2810931 w 4078648"/>
                <a:gd name="connsiteY35" fmla="*/ 1973664 h 2034999"/>
                <a:gd name="connsiteX36" fmla="*/ 1456424 w 4078648"/>
                <a:gd name="connsiteY36" fmla="*/ 1989792 h 2034999"/>
                <a:gd name="connsiteX37" fmla="*/ 1484545 w 4078648"/>
                <a:gd name="connsiteY37" fmla="*/ 2031492 h 2034999"/>
                <a:gd name="connsiteX38" fmla="*/ 1483236 w 4078648"/>
                <a:gd name="connsiteY38" fmla="*/ 1990413 h 2034999"/>
                <a:gd name="connsiteX39" fmla="*/ 1474551 w 4078648"/>
                <a:gd name="connsiteY39" fmla="*/ 1999718 h 2034999"/>
                <a:gd name="connsiteX40" fmla="*/ 1456424 w 4078648"/>
                <a:gd name="connsiteY40" fmla="*/ 1989792 h 203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078648" h="2034999">
                  <a:moveTo>
                    <a:pt x="4046680" y="25716"/>
                  </a:moveTo>
                  <a:cubicBezTo>
                    <a:pt x="4049782" y="27440"/>
                    <a:pt x="4055847" y="30748"/>
                    <a:pt x="4058949" y="32471"/>
                  </a:cubicBezTo>
                  <a:cubicBezTo>
                    <a:pt x="4061568" y="32471"/>
                    <a:pt x="4066807" y="32471"/>
                    <a:pt x="4069494" y="32540"/>
                  </a:cubicBezTo>
                  <a:lnTo>
                    <a:pt x="4072251" y="22339"/>
                  </a:lnTo>
                  <a:cubicBezTo>
                    <a:pt x="4069081" y="23304"/>
                    <a:pt x="4062740" y="25234"/>
                    <a:pt x="4059638" y="26268"/>
                  </a:cubicBezTo>
                  <a:cubicBezTo>
                    <a:pt x="4059432" y="23304"/>
                    <a:pt x="4059087" y="17377"/>
                    <a:pt x="4058880" y="14413"/>
                  </a:cubicBezTo>
                  <a:cubicBezTo>
                    <a:pt x="4058604" y="9933"/>
                    <a:pt x="4057984" y="972"/>
                    <a:pt x="4057708" y="-3508"/>
                  </a:cubicBezTo>
                  <a:cubicBezTo>
                    <a:pt x="4048472" y="1386"/>
                    <a:pt x="4033240" y="18066"/>
                    <a:pt x="4046680" y="25716"/>
                  </a:cubicBezTo>
                  <a:close/>
                  <a:moveTo>
                    <a:pt x="3707089" y="185001"/>
                  </a:moveTo>
                  <a:cubicBezTo>
                    <a:pt x="3731970" y="186311"/>
                    <a:pt x="3756921" y="188241"/>
                    <a:pt x="3781734" y="191067"/>
                  </a:cubicBezTo>
                  <a:cubicBezTo>
                    <a:pt x="3774222" y="182796"/>
                    <a:pt x="3767260" y="173215"/>
                    <a:pt x="3766502" y="161636"/>
                  </a:cubicBezTo>
                  <a:cubicBezTo>
                    <a:pt x="3761608" y="161084"/>
                    <a:pt x="3751821" y="159982"/>
                    <a:pt x="3746858" y="159430"/>
                  </a:cubicBezTo>
                  <a:cubicBezTo>
                    <a:pt x="3750305" y="156122"/>
                    <a:pt x="3757059" y="149574"/>
                    <a:pt x="3760437" y="146266"/>
                  </a:cubicBezTo>
                  <a:cubicBezTo>
                    <a:pt x="3748443" y="142957"/>
                    <a:pt x="3736520" y="139718"/>
                    <a:pt x="3724320" y="137926"/>
                  </a:cubicBezTo>
                  <a:cubicBezTo>
                    <a:pt x="3718185" y="146679"/>
                    <a:pt x="3711913" y="155295"/>
                    <a:pt x="3705442" y="163704"/>
                  </a:cubicBezTo>
                  <a:cubicBezTo>
                    <a:pt x="3705848" y="169080"/>
                    <a:pt x="3706675" y="179694"/>
                    <a:pt x="3707089" y="185001"/>
                  </a:cubicBezTo>
                  <a:moveTo>
                    <a:pt x="2378015" y="1044629"/>
                  </a:moveTo>
                  <a:cubicBezTo>
                    <a:pt x="2381599" y="1041114"/>
                    <a:pt x="2381599" y="1041114"/>
                    <a:pt x="2378015" y="1044629"/>
                  </a:cubicBezTo>
                  <a:moveTo>
                    <a:pt x="1785264" y="1279455"/>
                  </a:moveTo>
                  <a:cubicBezTo>
                    <a:pt x="1788434" y="1275527"/>
                    <a:pt x="1788434" y="1275527"/>
                    <a:pt x="1785264" y="1279455"/>
                  </a:cubicBezTo>
                  <a:moveTo>
                    <a:pt x="2378291" y="1376226"/>
                  </a:moveTo>
                  <a:cubicBezTo>
                    <a:pt x="2381530" y="1372366"/>
                    <a:pt x="2381530" y="1372366"/>
                    <a:pt x="2378291" y="1376226"/>
                  </a:cubicBezTo>
                  <a:moveTo>
                    <a:pt x="3975067" y="1514006"/>
                  </a:moveTo>
                  <a:cubicBezTo>
                    <a:pt x="3978652" y="1523586"/>
                    <a:pt x="3982443" y="1533029"/>
                    <a:pt x="3986854" y="1542265"/>
                  </a:cubicBezTo>
                  <a:cubicBezTo>
                    <a:pt x="3997537" y="1520623"/>
                    <a:pt x="3994918" y="1495948"/>
                    <a:pt x="3995470" y="1472582"/>
                  </a:cubicBezTo>
                  <a:cubicBezTo>
                    <a:pt x="3993057" y="1488228"/>
                    <a:pt x="3992023" y="1506975"/>
                    <a:pt x="3975067" y="1514006"/>
                  </a:cubicBezTo>
                  <a:moveTo>
                    <a:pt x="-5467" y="1901707"/>
                  </a:moveTo>
                  <a:cubicBezTo>
                    <a:pt x="4044" y="1904119"/>
                    <a:pt x="7421" y="1900466"/>
                    <a:pt x="4596" y="1890679"/>
                  </a:cubicBezTo>
                  <a:cubicBezTo>
                    <a:pt x="-4847" y="1888404"/>
                    <a:pt x="-8224" y="1892057"/>
                    <a:pt x="-5467" y="1901707"/>
                  </a:cubicBezTo>
                  <a:moveTo>
                    <a:pt x="345635" y="1947679"/>
                  </a:moveTo>
                  <a:cubicBezTo>
                    <a:pt x="348943" y="1943889"/>
                    <a:pt x="348943" y="1943889"/>
                    <a:pt x="345635" y="1947679"/>
                  </a:cubicBezTo>
                  <a:moveTo>
                    <a:pt x="2810931" y="1973664"/>
                  </a:moveTo>
                  <a:cubicBezTo>
                    <a:pt x="2820029" y="1978420"/>
                    <a:pt x="2829265" y="1982762"/>
                    <a:pt x="2838776" y="1986898"/>
                  </a:cubicBezTo>
                  <a:cubicBezTo>
                    <a:pt x="2839810" y="1980074"/>
                    <a:pt x="2841947" y="1966427"/>
                    <a:pt x="2843050" y="1959673"/>
                  </a:cubicBezTo>
                  <a:cubicBezTo>
                    <a:pt x="2837053" y="1961327"/>
                    <a:pt x="2825060" y="1964773"/>
                    <a:pt x="2819064" y="1966427"/>
                  </a:cubicBezTo>
                  <a:cubicBezTo>
                    <a:pt x="2817065" y="1968288"/>
                    <a:pt x="2812930" y="1971872"/>
                    <a:pt x="2810931" y="1973664"/>
                  </a:cubicBezTo>
                  <a:moveTo>
                    <a:pt x="1456424" y="1989792"/>
                  </a:moveTo>
                  <a:cubicBezTo>
                    <a:pt x="1463041" y="2005369"/>
                    <a:pt x="1470278" y="2021291"/>
                    <a:pt x="1484545" y="2031492"/>
                  </a:cubicBezTo>
                  <a:cubicBezTo>
                    <a:pt x="1484201" y="2017845"/>
                    <a:pt x="1483580" y="2004129"/>
                    <a:pt x="1483236" y="1990413"/>
                  </a:cubicBezTo>
                  <a:cubicBezTo>
                    <a:pt x="1481030" y="1992756"/>
                    <a:pt x="1476688" y="1997374"/>
                    <a:pt x="1474551" y="1999718"/>
                  </a:cubicBezTo>
                  <a:cubicBezTo>
                    <a:pt x="1470002" y="1997237"/>
                    <a:pt x="1460973" y="1992274"/>
                    <a:pt x="1456424" y="1989792"/>
                  </a:cubicBezTo>
                </a:path>
              </a:pathLst>
            </a:custGeom>
            <a:grpFill/>
            <a:ln w="689" cap="flat">
              <a:noFill/>
              <a:prstDash val="solid"/>
              <a:miter/>
            </a:ln>
          </p:spPr>
          <p:txBody>
            <a:bodyPr rtlCol="0" anchor="ctr"/>
            <a:lstStyle/>
            <a:p>
              <a:endParaRPr lang="en-US" sz="2400" dirty="0"/>
            </a:p>
          </p:txBody>
        </p:sp>
        <p:sp>
          <p:nvSpPr>
            <p:cNvPr id="117" name="Graphic 8">
              <a:extLst>
                <a:ext uri="{FF2B5EF4-FFF2-40B4-BE49-F238E27FC236}">
                  <a16:creationId xmlns:a16="http://schemas.microsoft.com/office/drawing/2014/main" id="{42FC7477-6E34-43FB-B7F4-8EA6D6883132}"/>
                </a:ext>
              </a:extLst>
            </p:cNvPr>
            <p:cNvSpPr/>
            <p:nvPr/>
          </p:nvSpPr>
          <p:spPr>
            <a:xfrm flipV="1">
              <a:off x="3330341" y="1394069"/>
              <a:ext cx="4900660" cy="1677906"/>
            </a:xfrm>
            <a:custGeom>
              <a:avLst/>
              <a:gdLst>
                <a:gd name="connsiteX0" fmla="*/ -5000 w 4900660"/>
                <a:gd name="connsiteY0" fmla="*/ 5729 h 1677906"/>
                <a:gd name="connsiteX1" fmla="*/ -5000 w 4900660"/>
                <a:gd name="connsiteY1" fmla="*/ 5729 h 1677906"/>
                <a:gd name="connsiteX2" fmla="*/ 2235533 w 4900660"/>
                <a:gd name="connsiteY2" fmla="*/ 876040 h 1677906"/>
                <a:gd name="connsiteX3" fmla="*/ 2235533 w 4900660"/>
                <a:gd name="connsiteY3" fmla="*/ 876040 h 1677906"/>
                <a:gd name="connsiteX4" fmla="*/ 4883962 w 4900660"/>
                <a:gd name="connsiteY4" fmla="*/ 1440326 h 1677906"/>
                <a:gd name="connsiteX5" fmla="*/ 4883962 w 4900660"/>
                <a:gd name="connsiteY5" fmla="*/ 1440326 h 1677906"/>
                <a:gd name="connsiteX6" fmla="*/ 1506173 w 4900660"/>
                <a:gd name="connsiteY6" fmla="*/ 1674118 h 1677906"/>
                <a:gd name="connsiteX7" fmla="*/ 1506173 w 4900660"/>
                <a:gd name="connsiteY7" fmla="*/ 1674118 h 167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0660" h="1677906">
                  <a:moveTo>
                    <a:pt x="-5000" y="5729"/>
                  </a:moveTo>
                  <a:cubicBezTo>
                    <a:pt x="17677" y="4557"/>
                    <a:pt x="-15614" y="-15086"/>
                    <a:pt x="-5000" y="5729"/>
                  </a:cubicBezTo>
                  <a:close/>
                  <a:moveTo>
                    <a:pt x="2235533" y="876040"/>
                  </a:moveTo>
                  <a:cubicBezTo>
                    <a:pt x="2256280" y="886585"/>
                    <a:pt x="2236360" y="853157"/>
                    <a:pt x="2235533" y="876040"/>
                  </a:cubicBezTo>
                  <a:moveTo>
                    <a:pt x="4883962" y="1440326"/>
                  </a:moveTo>
                  <a:cubicBezTo>
                    <a:pt x="4904294" y="1451354"/>
                    <a:pt x="4886167" y="1417650"/>
                    <a:pt x="4883962" y="1440326"/>
                  </a:cubicBezTo>
                  <a:moveTo>
                    <a:pt x="1506173" y="1674118"/>
                  </a:moveTo>
                  <a:cubicBezTo>
                    <a:pt x="1509619" y="1670121"/>
                    <a:pt x="1509619" y="1670121"/>
                    <a:pt x="1506173" y="1674118"/>
                  </a:cubicBezTo>
                </a:path>
              </a:pathLst>
            </a:custGeom>
            <a:grpFill/>
            <a:ln w="689" cap="flat">
              <a:noFill/>
              <a:prstDash val="solid"/>
              <a:miter/>
            </a:ln>
          </p:spPr>
          <p:txBody>
            <a:bodyPr rtlCol="0" anchor="ctr"/>
            <a:lstStyle/>
            <a:p>
              <a:endParaRPr lang="en-US" sz="2400" dirty="0"/>
            </a:p>
          </p:txBody>
        </p:sp>
        <p:sp>
          <p:nvSpPr>
            <p:cNvPr id="118" name="Graphic 8">
              <a:extLst>
                <a:ext uri="{FF2B5EF4-FFF2-40B4-BE49-F238E27FC236}">
                  <a16:creationId xmlns:a16="http://schemas.microsoft.com/office/drawing/2014/main" id="{1F0AE2C7-949A-4A85-BD20-7FBCF356495C}"/>
                </a:ext>
              </a:extLst>
            </p:cNvPr>
            <p:cNvSpPr/>
            <p:nvPr/>
          </p:nvSpPr>
          <p:spPr>
            <a:xfrm flipV="1">
              <a:off x="6561130" y="1392897"/>
              <a:ext cx="63617" cy="48729"/>
            </a:xfrm>
            <a:custGeom>
              <a:avLst/>
              <a:gdLst>
                <a:gd name="connsiteX0" fmla="*/ 7955 w 63617"/>
                <a:gd name="connsiteY0" fmla="*/ 32917 h 48729"/>
                <a:gd name="connsiteX1" fmla="*/ 35180 w 63617"/>
                <a:gd name="connsiteY1" fmla="*/ 43600 h 48729"/>
                <a:gd name="connsiteX2" fmla="*/ 32285 w 63617"/>
                <a:gd name="connsiteY2" fmla="*/ 18305 h 48729"/>
                <a:gd name="connsiteX3" fmla="*/ 50619 w 63617"/>
                <a:gd name="connsiteY3" fmla="*/ 22303 h 48729"/>
                <a:gd name="connsiteX4" fmla="*/ 55444 w 63617"/>
                <a:gd name="connsiteY4" fmla="*/ -3682 h 48729"/>
                <a:gd name="connsiteX5" fmla="*/ 31320 w 63617"/>
                <a:gd name="connsiteY5" fmla="*/ -1614 h 48729"/>
                <a:gd name="connsiteX6" fmla="*/ 31734 w 63617"/>
                <a:gd name="connsiteY6" fmla="*/ 9689 h 48729"/>
                <a:gd name="connsiteX7" fmla="*/ 24496 w 63617"/>
                <a:gd name="connsiteY7" fmla="*/ 10585 h 48729"/>
                <a:gd name="connsiteX8" fmla="*/ 25462 w 63617"/>
                <a:gd name="connsiteY8" fmla="*/ -3337 h 48729"/>
                <a:gd name="connsiteX9" fmla="*/ 11263 w 63617"/>
                <a:gd name="connsiteY9" fmla="*/ -2993 h 48729"/>
                <a:gd name="connsiteX10" fmla="*/ 11263 w 63617"/>
                <a:gd name="connsiteY10" fmla="*/ 11619 h 48729"/>
                <a:gd name="connsiteX11" fmla="*/ -1626 w 63617"/>
                <a:gd name="connsiteY11" fmla="*/ -5130 h 48729"/>
                <a:gd name="connsiteX12" fmla="*/ -8173 w 63617"/>
                <a:gd name="connsiteY12" fmla="*/ 15410 h 48729"/>
                <a:gd name="connsiteX13" fmla="*/ 3682 w 63617"/>
                <a:gd name="connsiteY13" fmla="*/ 28230 h 48729"/>
                <a:gd name="connsiteX14" fmla="*/ 7955 w 63617"/>
                <a:gd name="connsiteY14" fmla="*/ 32917 h 48729"/>
                <a:gd name="connsiteX15" fmla="*/ 7955 w 63617"/>
                <a:gd name="connsiteY15" fmla="*/ 32917 h 4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617" h="48729">
                  <a:moveTo>
                    <a:pt x="7955" y="32917"/>
                  </a:moveTo>
                  <a:cubicBezTo>
                    <a:pt x="16915" y="36432"/>
                    <a:pt x="26082" y="40016"/>
                    <a:pt x="35180" y="43600"/>
                  </a:cubicBezTo>
                  <a:cubicBezTo>
                    <a:pt x="33871" y="35191"/>
                    <a:pt x="32630" y="26783"/>
                    <a:pt x="32285" y="18305"/>
                  </a:cubicBezTo>
                  <a:cubicBezTo>
                    <a:pt x="38489" y="18994"/>
                    <a:pt x="44554" y="20304"/>
                    <a:pt x="50619" y="22303"/>
                  </a:cubicBezTo>
                  <a:cubicBezTo>
                    <a:pt x="47242" y="12722"/>
                    <a:pt x="47586" y="3555"/>
                    <a:pt x="55444" y="-3682"/>
                  </a:cubicBezTo>
                  <a:cubicBezTo>
                    <a:pt x="47311" y="-2855"/>
                    <a:pt x="39247" y="-2166"/>
                    <a:pt x="31320" y="-1614"/>
                  </a:cubicBezTo>
                  <a:cubicBezTo>
                    <a:pt x="31389" y="1212"/>
                    <a:pt x="31596" y="6863"/>
                    <a:pt x="31734" y="9689"/>
                  </a:cubicBezTo>
                  <a:lnTo>
                    <a:pt x="24496" y="10585"/>
                  </a:lnTo>
                  <a:cubicBezTo>
                    <a:pt x="24704" y="7139"/>
                    <a:pt x="25193" y="178"/>
                    <a:pt x="25462" y="-3337"/>
                  </a:cubicBezTo>
                  <a:cubicBezTo>
                    <a:pt x="21877" y="-3199"/>
                    <a:pt x="14778" y="-3062"/>
                    <a:pt x="11263" y="-2993"/>
                  </a:cubicBezTo>
                  <a:lnTo>
                    <a:pt x="11263" y="11619"/>
                  </a:lnTo>
                  <a:cubicBezTo>
                    <a:pt x="8093" y="7415"/>
                    <a:pt x="1614" y="-925"/>
                    <a:pt x="-1626" y="-5130"/>
                  </a:cubicBezTo>
                  <a:cubicBezTo>
                    <a:pt x="-3831" y="1763"/>
                    <a:pt x="-6037" y="8586"/>
                    <a:pt x="-8173" y="15410"/>
                  </a:cubicBezTo>
                  <a:cubicBezTo>
                    <a:pt x="-5210" y="18649"/>
                    <a:pt x="717" y="25060"/>
                    <a:pt x="3682" y="28230"/>
                  </a:cubicBezTo>
                  <a:lnTo>
                    <a:pt x="7955" y="32917"/>
                  </a:lnTo>
                  <a:lnTo>
                    <a:pt x="7955" y="32917"/>
                  </a:lnTo>
                </a:path>
              </a:pathLst>
            </a:custGeom>
            <a:grpFill/>
            <a:ln w="689" cap="flat">
              <a:noFill/>
              <a:prstDash val="solid"/>
              <a:miter/>
            </a:ln>
          </p:spPr>
          <p:txBody>
            <a:bodyPr rtlCol="0" anchor="ctr"/>
            <a:lstStyle/>
            <a:p>
              <a:endParaRPr lang="en-US" sz="2400" dirty="0"/>
            </a:p>
          </p:txBody>
        </p:sp>
        <p:sp>
          <p:nvSpPr>
            <p:cNvPr id="119" name="Graphic 8">
              <a:extLst>
                <a:ext uri="{FF2B5EF4-FFF2-40B4-BE49-F238E27FC236}">
                  <a16:creationId xmlns:a16="http://schemas.microsoft.com/office/drawing/2014/main" id="{D0BEFC57-573A-4578-BA2B-2A0FB7F67053}"/>
                </a:ext>
              </a:extLst>
            </p:cNvPr>
            <p:cNvSpPr/>
            <p:nvPr/>
          </p:nvSpPr>
          <p:spPr>
            <a:xfrm flipV="1">
              <a:off x="6858776" y="1394134"/>
              <a:ext cx="10247" cy="9424"/>
            </a:xfrm>
            <a:custGeom>
              <a:avLst/>
              <a:gdLst>
                <a:gd name="connsiteX0" fmla="*/ -6959 w 10247"/>
                <a:gd name="connsiteY0" fmla="*/ 4260 h 9424"/>
                <a:gd name="connsiteX1" fmla="*/ -6959 w 10247"/>
                <a:gd name="connsiteY1" fmla="*/ 4260 h 9424"/>
                <a:gd name="connsiteX2" fmla="*/ -6959 w 10247"/>
                <a:gd name="connsiteY2" fmla="*/ 4260 h 9424"/>
              </a:gdLst>
              <a:ahLst/>
              <a:cxnLst>
                <a:cxn ang="0">
                  <a:pos x="connsiteX0" y="connsiteY0"/>
                </a:cxn>
                <a:cxn ang="0">
                  <a:pos x="connsiteX1" y="connsiteY1"/>
                </a:cxn>
                <a:cxn ang="0">
                  <a:pos x="connsiteX2" y="connsiteY2"/>
                </a:cxn>
              </a:cxnLst>
              <a:rect l="l" t="t" r="r" b="b"/>
              <a:pathLst>
                <a:path w="10247" h="9424">
                  <a:moveTo>
                    <a:pt x="-6959" y="4260"/>
                  </a:moveTo>
                  <a:cubicBezTo>
                    <a:pt x="16407" y="4605"/>
                    <a:pt x="-15713" y="-17106"/>
                    <a:pt x="-6959" y="4260"/>
                  </a:cubicBezTo>
                  <a:lnTo>
                    <a:pt x="-6959" y="4260"/>
                  </a:lnTo>
                </a:path>
              </a:pathLst>
            </a:custGeom>
            <a:grpFill/>
            <a:ln w="689" cap="flat">
              <a:noFill/>
              <a:prstDash val="solid"/>
              <a:miter/>
            </a:ln>
          </p:spPr>
          <p:txBody>
            <a:bodyPr rtlCol="0" anchor="ctr"/>
            <a:lstStyle/>
            <a:p>
              <a:endParaRPr lang="en-US" sz="2400" dirty="0"/>
            </a:p>
          </p:txBody>
        </p:sp>
        <p:sp>
          <p:nvSpPr>
            <p:cNvPr id="120" name="Graphic 8">
              <a:extLst>
                <a:ext uri="{FF2B5EF4-FFF2-40B4-BE49-F238E27FC236}">
                  <a16:creationId xmlns:a16="http://schemas.microsoft.com/office/drawing/2014/main" id="{FDDF813B-B4D7-4BE8-A536-3C6310457052}"/>
                </a:ext>
              </a:extLst>
            </p:cNvPr>
            <p:cNvSpPr/>
            <p:nvPr/>
          </p:nvSpPr>
          <p:spPr>
            <a:xfrm flipV="1">
              <a:off x="418949" y="1401444"/>
              <a:ext cx="5027672" cy="2429593"/>
            </a:xfrm>
            <a:custGeom>
              <a:avLst/>
              <a:gdLst>
                <a:gd name="connsiteX0" fmla="*/ 164156 w 5027672"/>
                <a:gd name="connsiteY0" fmla="*/ 5940 h 2429593"/>
                <a:gd name="connsiteX1" fmla="*/ 190207 w 5027672"/>
                <a:gd name="connsiteY1" fmla="*/ 31511 h 2429593"/>
                <a:gd name="connsiteX2" fmla="*/ 197582 w 5027672"/>
                <a:gd name="connsiteY2" fmla="*/ -3158 h 2429593"/>
                <a:gd name="connsiteX3" fmla="*/ 164156 w 5027672"/>
                <a:gd name="connsiteY3" fmla="*/ 5940 h 2429593"/>
                <a:gd name="connsiteX4" fmla="*/ 3420223 w 5027672"/>
                <a:gd name="connsiteY4" fmla="*/ 234839 h 2429593"/>
                <a:gd name="connsiteX5" fmla="*/ 3420223 w 5027672"/>
                <a:gd name="connsiteY5" fmla="*/ 234839 h 2429593"/>
                <a:gd name="connsiteX6" fmla="*/ 5013829 w 5027672"/>
                <a:gd name="connsiteY6" fmla="*/ 1229145 h 2429593"/>
                <a:gd name="connsiteX7" fmla="*/ 5022169 w 5027672"/>
                <a:gd name="connsiteY7" fmla="*/ 1219013 h 2429593"/>
                <a:gd name="connsiteX8" fmla="*/ 5013829 w 5027672"/>
                <a:gd name="connsiteY8" fmla="*/ 1229145 h 2429593"/>
                <a:gd name="connsiteX9" fmla="*/ 4957587 w 5027672"/>
                <a:gd name="connsiteY9" fmla="*/ 1239691 h 2429593"/>
                <a:gd name="connsiteX10" fmla="*/ 4977712 w 5027672"/>
                <a:gd name="connsiteY10" fmla="*/ 1234866 h 2429593"/>
                <a:gd name="connsiteX11" fmla="*/ 4957587 w 5027672"/>
                <a:gd name="connsiteY11" fmla="*/ 1239691 h 2429593"/>
                <a:gd name="connsiteX12" fmla="*/ -2849 w 5027672"/>
                <a:gd name="connsiteY12" fmla="*/ 1289868 h 2429593"/>
                <a:gd name="connsiteX13" fmla="*/ 13897 w 5027672"/>
                <a:gd name="connsiteY13" fmla="*/ 1281045 h 2429593"/>
                <a:gd name="connsiteX14" fmla="*/ -2849 w 5027672"/>
                <a:gd name="connsiteY14" fmla="*/ 1289868 h 2429593"/>
                <a:gd name="connsiteX15" fmla="*/ 4732134 w 5027672"/>
                <a:gd name="connsiteY15" fmla="*/ 1364858 h 2429593"/>
                <a:gd name="connsiteX16" fmla="*/ 4745230 w 5027672"/>
                <a:gd name="connsiteY16" fmla="*/ 1357552 h 2429593"/>
                <a:gd name="connsiteX17" fmla="*/ 4732134 w 5027672"/>
                <a:gd name="connsiteY17" fmla="*/ 1364858 h 2429593"/>
                <a:gd name="connsiteX18" fmla="*/ 808048 w 5027672"/>
                <a:gd name="connsiteY18" fmla="*/ 1614158 h 2429593"/>
                <a:gd name="connsiteX19" fmla="*/ 808048 w 5027672"/>
                <a:gd name="connsiteY19" fmla="*/ 1614158 h 2429593"/>
                <a:gd name="connsiteX20" fmla="*/ 2448386 w 5027672"/>
                <a:gd name="connsiteY20" fmla="*/ 1717407 h 2429593"/>
                <a:gd name="connsiteX21" fmla="*/ 2448386 w 5027672"/>
                <a:gd name="connsiteY21" fmla="*/ 1717407 h 2429593"/>
                <a:gd name="connsiteX22" fmla="*/ 3530985 w 5027672"/>
                <a:gd name="connsiteY22" fmla="*/ 2426435 h 2429593"/>
                <a:gd name="connsiteX23" fmla="*/ 3534982 w 5027672"/>
                <a:gd name="connsiteY23" fmla="*/ 2410720 h 2429593"/>
                <a:gd name="connsiteX24" fmla="*/ 3530985 w 5027672"/>
                <a:gd name="connsiteY24" fmla="*/ 2426435 h 242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27672" h="2429593">
                  <a:moveTo>
                    <a:pt x="164156" y="5940"/>
                  </a:moveTo>
                  <a:cubicBezTo>
                    <a:pt x="170978" y="16279"/>
                    <a:pt x="179801" y="24894"/>
                    <a:pt x="190207" y="31511"/>
                  </a:cubicBezTo>
                  <a:cubicBezTo>
                    <a:pt x="192482" y="20001"/>
                    <a:pt x="194620" y="8352"/>
                    <a:pt x="197582" y="-3158"/>
                  </a:cubicBezTo>
                  <a:cubicBezTo>
                    <a:pt x="185794" y="-2744"/>
                    <a:pt x="174699" y="1046"/>
                    <a:pt x="164156" y="5940"/>
                  </a:cubicBezTo>
                  <a:close/>
                  <a:moveTo>
                    <a:pt x="3420223" y="234839"/>
                  </a:moveTo>
                  <a:cubicBezTo>
                    <a:pt x="3442899" y="234356"/>
                    <a:pt x="3410229" y="213817"/>
                    <a:pt x="3420223" y="234839"/>
                  </a:cubicBezTo>
                  <a:moveTo>
                    <a:pt x="5013829" y="1229145"/>
                  </a:moveTo>
                  <a:cubicBezTo>
                    <a:pt x="5023616" y="1232109"/>
                    <a:pt x="5026442" y="1228732"/>
                    <a:pt x="5022169" y="1219013"/>
                  </a:cubicBezTo>
                  <a:cubicBezTo>
                    <a:pt x="5012313" y="1216119"/>
                    <a:pt x="5009556" y="1219496"/>
                    <a:pt x="5013829" y="1229145"/>
                  </a:cubicBezTo>
                  <a:moveTo>
                    <a:pt x="4957587" y="1239691"/>
                  </a:moveTo>
                  <a:cubicBezTo>
                    <a:pt x="4962825" y="1245136"/>
                    <a:pt x="4977230" y="1244102"/>
                    <a:pt x="4977712" y="1234866"/>
                  </a:cubicBezTo>
                  <a:cubicBezTo>
                    <a:pt x="4975300" y="1223149"/>
                    <a:pt x="4952279" y="1227974"/>
                    <a:pt x="4957587" y="1239691"/>
                  </a:cubicBezTo>
                  <a:moveTo>
                    <a:pt x="-2849" y="1289868"/>
                  </a:moveTo>
                  <a:cubicBezTo>
                    <a:pt x="2802" y="1296485"/>
                    <a:pt x="18999" y="1290212"/>
                    <a:pt x="13897" y="1281045"/>
                  </a:cubicBezTo>
                  <a:cubicBezTo>
                    <a:pt x="8246" y="1275256"/>
                    <a:pt x="-7055" y="1281183"/>
                    <a:pt x="-2849" y="1289868"/>
                  </a:cubicBezTo>
                  <a:moveTo>
                    <a:pt x="4732134" y="1364858"/>
                  </a:moveTo>
                  <a:cubicBezTo>
                    <a:pt x="4737097" y="1372991"/>
                    <a:pt x="4754190" y="1366443"/>
                    <a:pt x="4745230" y="1357552"/>
                  </a:cubicBezTo>
                  <a:cubicBezTo>
                    <a:pt x="4740061" y="1349419"/>
                    <a:pt x="4723519" y="1356036"/>
                    <a:pt x="4732134" y="1364858"/>
                  </a:cubicBezTo>
                  <a:moveTo>
                    <a:pt x="808048" y="1614158"/>
                  </a:moveTo>
                  <a:cubicBezTo>
                    <a:pt x="831000" y="1612918"/>
                    <a:pt x="797503" y="1593688"/>
                    <a:pt x="808048" y="1614158"/>
                  </a:cubicBezTo>
                  <a:moveTo>
                    <a:pt x="2448386" y="1717407"/>
                  </a:moveTo>
                  <a:cubicBezTo>
                    <a:pt x="2471062" y="1716856"/>
                    <a:pt x="2438116" y="1696454"/>
                    <a:pt x="2448386" y="1717407"/>
                  </a:cubicBezTo>
                  <a:moveTo>
                    <a:pt x="3530985" y="2426435"/>
                  </a:moveTo>
                  <a:cubicBezTo>
                    <a:pt x="3539807" y="2424574"/>
                    <a:pt x="3541117" y="2419336"/>
                    <a:pt x="3534982" y="2410720"/>
                  </a:cubicBezTo>
                  <a:cubicBezTo>
                    <a:pt x="3526091" y="2412650"/>
                    <a:pt x="3524781" y="2417820"/>
                    <a:pt x="3530985" y="2426435"/>
                  </a:cubicBezTo>
                </a:path>
              </a:pathLst>
            </a:custGeom>
            <a:grpFill/>
            <a:ln w="689" cap="flat">
              <a:noFill/>
              <a:prstDash val="solid"/>
              <a:miter/>
            </a:ln>
          </p:spPr>
          <p:txBody>
            <a:bodyPr rtlCol="0" anchor="ctr"/>
            <a:lstStyle/>
            <a:p>
              <a:endParaRPr lang="en-US" sz="2400" dirty="0"/>
            </a:p>
          </p:txBody>
        </p:sp>
        <p:sp>
          <p:nvSpPr>
            <p:cNvPr id="121" name="Graphic 8">
              <a:extLst>
                <a:ext uri="{FF2B5EF4-FFF2-40B4-BE49-F238E27FC236}">
                  <a16:creationId xmlns:a16="http://schemas.microsoft.com/office/drawing/2014/main" id="{4E27E156-2B98-452C-A4BA-7EC45C0B0E3B}"/>
                </a:ext>
              </a:extLst>
            </p:cNvPr>
            <p:cNvSpPr/>
            <p:nvPr/>
          </p:nvSpPr>
          <p:spPr>
            <a:xfrm flipV="1">
              <a:off x="4591112" y="1400962"/>
              <a:ext cx="3322732" cy="1319768"/>
            </a:xfrm>
            <a:custGeom>
              <a:avLst/>
              <a:gdLst>
                <a:gd name="connsiteX0" fmla="*/ -4147 w 3322732"/>
                <a:gd name="connsiteY0" fmla="*/ 11712 h 1319768"/>
                <a:gd name="connsiteX1" fmla="*/ 264 w 3322732"/>
                <a:gd name="connsiteY1" fmla="*/ -4071 h 1319768"/>
                <a:gd name="connsiteX2" fmla="*/ -4147 w 3322732"/>
                <a:gd name="connsiteY2" fmla="*/ 11712 h 1319768"/>
                <a:gd name="connsiteX3" fmla="*/ 3279353 w 3322732"/>
                <a:gd name="connsiteY3" fmla="*/ 681384 h 1319768"/>
                <a:gd name="connsiteX4" fmla="*/ 3293896 w 3322732"/>
                <a:gd name="connsiteY4" fmla="*/ 699373 h 1319768"/>
                <a:gd name="connsiteX5" fmla="*/ 3286797 w 3322732"/>
                <a:gd name="connsiteY5" fmla="*/ 682487 h 1319768"/>
                <a:gd name="connsiteX6" fmla="*/ 3301891 w 3322732"/>
                <a:gd name="connsiteY6" fmla="*/ 669667 h 1319768"/>
                <a:gd name="connsiteX7" fmla="*/ 3310024 w 3322732"/>
                <a:gd name="connsiteY7" fmla="*/ 633826 h 1319768"/>
                <a:gd name="connsiteX8" fmla="*/ 3306992 w 3322732"/>
                <a:gd name="connsiteY8" fmla="*/ 573310 h 1319768"/>
                <a:gd name="connsiteX9" fmla="*/ 3314987 w 3322732"/>
                <a:gd name="connsiteY9" fmla="*/ 587026 h 1319768"/>
                <a:gd name="connsiteX10" fmla="*/ 3305200 w 3322732"/>
                <a:gd name="connsiteY10" fmla="*/ 540226 h 1319768"/>
                <a:gd name="connsiteX11" fmla="*/ 3301064 w 3322732"/>
                <a:gd name="connsiteY11" fmla="*/ 564488 h 1319768"/>
                <a:gd name="connsiteX12" fmla="*/ 3286245 w 3322732"/>
                <a:gd name="connsiteY12" fmla="*/ 556906 h 1319768"/>
                <a:gd name="connsiteX13" fmla="*/ 3269773 w 3322732"/>
                <a:gd name="connsiteY13" fmla="*/ 560421 h 1319768"/>
                <a:gd name="connsiteX14" fmla="*/ 3270117 w 3322732"/>
                <a:gd name="connsiteY14" fmla="*/ 563730 h 1319768"/>
                <a:gd name="connsiteX15" fmla="*/ 3280939 w 3322732"/>
                <a:gd name="connsiteY15" fmla="*/ 565591 h 1319768"/>
                <a:gd name="connsiteX16" fmla="*/ 3296377 w 3322732"/>
                <a:gd name="connsiteY16" fmla="*/ 622522 h 1319768"/>
                <a:gd name="connsiteX17" fmla="*/ 3285764 w 3322732"/>
                <a:gd name="connsiteY17" fmla="*/ 646922 h 1319768"/>
                <a:gd name="connsiteX18" fmla="*/ 3278044 w 3322732"/>
                <a:gd name="connsiteY18" fmla="*/ 656433 h 1319768"/>
                <a:gd name="connsiteX19" fmla="*/ 3279422 w 3322732"/>
                <a:gd name="connsiteY19" fmla="*/ 674561 h 1319768"/>
                <a:gd name="connsiteX20" fmla="*/ 3268256 w 3322732"/>
                <a:gd name="connsiteY20" fmla="*/ 666772 h 1319768"/>
                <a:gd name="connsiteX21" fmla="*/ 3268601 w 3322732"/>
                <a:gd name="connsiteY21" fmla="*/ 689448 h 1319768"/>
                <a:gd name="connsiteX22" fmla="*/ 3279353 w 3322732"/>
                <a:gd name="connsiteY22" fmla="*/ 681384 h 1319768"/>
                <a:gd name="connsiteX23" fmla="*/ 230817 w 3322732"/>
                <a:gd name="connsiteY23" fmla="*/ 1315697 h 1319768"/>
                <a:gd name="connsiteX24" fmla="*/ 230817 w 3322732"/>
                <a:gd name="connsiteY24" fmla="*/ 1315697 h 131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322732" h="1319768">
                  <a:moveTo>
                    <a:pt x="-4147" y="11712"/>
                  </a:moveTo>
                  <a:cubicBezTo>
                    <a:pt x="4537" y="10058"/>
                    <a:pt x="5985" y="4751"/>
                    <a:pt x="264" y="-4071"/>
                  </a:cubicBezTo>
                  <a:cubicBezTo>
                    <a:pt x="-8627" y="-2348"/>
                    <a:pt x="-10143" y="2959"/>
                    <a:pt x="-4147" y="11712"/>
                  </a:cubicBezTo>
                  <a:close/>
                  <a:moveTo>
                    <a:pt x="3279353" y="681384"/>
                  </a:moveTo>
                  <a:cubicBezTo>
                    <a:pt x="3284109" y="687449"/>
                    <a:pt x="3289002" y="693377"/>
                    <a:pt x="3293896" y="699373"/>
                  </a:cubicBezTo>
                  <a:cubicBezTo>
                    <a:pt x="3292173" y="695100"/>
                    <a:pt x="3288589" y="686691"/>
                    <a:pt x="3286797" y="682487"/>
                  </a:cubicBezTo>
                  <a:cubicBezTo>
                    <a:pt x="3291759" y="678282"/>
                    <a:pt x="3296791" y="673940"/>
                    <a:pt x="3301891" y="669667"/>
                  </a:cubicBezTo>
                  <a:cubicBezTo>
                    <a:pt x="3304510" y="657743"/>
                    <a:pt x="3307267" y="645819"/>
                    <a:pt x="3310024" y="633826"/>
                  </a:cubicBezTo>
                  <a:cubicBezTo>
                    <a:pt x="3299617" y="616871"/>
                    <a:pt x="3288176" y="587716"/>
                    <a:pt x="3306992" y="573310"/>
                  </a:cubicBezTo>
                  <a:cubicBezTo>
                    <a:pt x="3308991" y="576756"/>
                    <a:pt x="3312989" y="583580"/>
                    <a:pt x="3314987" y="587026"/>
                  </a:cubicBezTo>
                  <a:cubicBezTo>
                    <a:pt x="3313815" y="571105"/>
                    <a:pt x="3312092" y="554907"/>
                    <a:pt x="3305200" y="540226"/>
                  </a:cubicBezTo>
                  <a:cubicBezTo>
                    <a:pt x="3304166" y="546292"/>
                    <a:pt x="3302098" y="558423"/>
                    <a:pt x="3301064" y="564488"/>
                  </a:cubicBezTo>
                  <a:cubicBezTo>
                    <a:pt x="3294103" y="571794"/>
                    <a:pt x="3289210" y="569313"/>
                    <a:pt x="3286245" y="556906"/>
                  </a:cubicBezTo>
                  <a:cubicBezTo>
                    <a:pt x="3280663" y="558216"/>
                    <a:pt x="3275149" y="559318"/>
                    <a:pt x="3269773" y="560421"/>
                  </a:cubicBezTo>
                  <a:lnTo>
                    <a:pt x="3270117" y="563730"/>
                  </a:lnTo>
                  <a:cubicBezTo>
                    <a:pt x="3272874" y="564212"/>
                    <a:pt x="3278250" y="565108"/>
                    <a:pt x="3280939" y="565591"/>
                  </a:cubicBezTo>
                  <a:cubicBezTo>
                    <a:pt x="3283007" y="585372"/>
                    <a:pt x="3287624" y="604533"/>
                    <a:pt x="3296377" y="622522"/>
                  </a:cubicBezTo>
                  <a:cubicBezTo>
                    <a:pt x="3302719" y="632172"/>
                    <a:pt x="3289830" y="639685"/>
                    <a:pt x="3285764" y="646922"/>
                  </a:cubicBezTo>
                  <a:cubicBezTo>
                    <a:pt x="3283833" y="649334"/>
                    <a:pt x="3279974" y="654090"/>
                    <a:pt x="3278044" y="656433"/>
                  </a:cubicBezTo>
                  <a:cubicBezTo>
                    <a:pt x="3278388" y="660982"/>
                    <a:pt x="3279078" y="670011"/>
                    <a:pt x="3279422" y="674561"/>
                  </a:cubicBezTo>
                  <a:cubicBezTo>
                    <a:pt x="3276665" y="672630"/>
                    <a:pt x="3271082" y="668702"/>
                    <a:pt x="3268256" y="666772"/>
                  </a:cubicBezTo>
                  <a:cubicBezTo>
                    <a:pt x="3268325" y="672424"/>
                    <a:pt x="3268532" y="683796"/>
                    <a:pt x="3268601" y="689448"/>
                  </a:cubicBezTo>
                  <a:cubicBezTo>
                    <a:pt x="3271289" y="687449"/>
                    <a:pt x="3276665" y="683452"/>
                    <a:pt x="3279353" y="681384"/>
                  </a:cubicBezTo>
                  <a:moveTo>
                    <a:pt x="230817" y="1315697"/>
                  </a:moveTo>
                  <a:cubicBezTo>
                    <a:pt x="234470" y="1312113"/>
                    <a:pt x="234470" y="1312113"/>
                    <a:pt x="230817" y="1315697"/>
                  </a:cubicBezTo>
                </a:path>
              </a:pathLst>
            </a:custGeom>
            <a:grpFill/>
            <a:ln w="689" cap="flat">
              <a:noFill/>
              <a:prstDash val="solid"/>
              <a:miter/>
            </a:ln>
          </p:spPr>
          <p:txBody>
            <a:bodyPr rtlCol="0" anchor="ctr"/>
            <a:lstStyle/>
            <a:p>
              <a:endParaRPr lang="en-US" sz="2400" dirty="0"/>
            </a:p>
          </p:txBody>
        </p:sp>
        <p:sp>
          <p:nvSpPr>
            <p:cNvPr id="122" name="Graphic 8">
              <a:extLst>
                <a:ext uri="{FF2B5EF4-FFF2-40B4-BE49-F238E27FC236}">
                  <a16:creationId xmlns:a16="http://schemas.microsoft.com/office/drawing/2014/main" id="{372CB302-E4D4-432F-B018-830306DB4300}"/>
                </a:ext>
              </a:extLst>
            </p:cNvPr>
            <p:cNvSpPr/>
            <p:nvPr/>
          </p:nvSpPr>
          <p:spPr>
            <a:xfrm flipV="1">
              <a:off x="3961224" y="1401303"/>
              <a:ext cx="3746190" cy="1844495"/>
            </a:xfrm>
            <a:custGeom>
              <a:avLst/>
              <a:gdLst>
                <a:gd name="connsiteX0" fmla="*/ 3595540 w 3746190"/>
                <a:gd name="connsiteY0" fmla="*/ 49984 h 1844495"/>
                <a:gd name="connsiteX1" fmla="*/ 3720431 w 3746190"/>
                <a:gd name="connsiteY1" fmla="*/ 61219 h 1844495"/>
                <a:gd name="connsiteX2" fmla="*/ 3715606 w 3746190"/>
                <a:gd name="connsiteY2" fmla="*/ 40541 h 1844495"/>
                <a:gd name="connsiteX3" fmla="*/ 3727944 w 3746190"/>
                <a:gd name="connsiteY3" fmla="*/ 36888 h 1844495"/>
                <a:gd name="connsiteX4" fmla="*/ 3738971 w 3746190"/>
                <a:gd name="connsiteY4" fmla="*/ 32615 h 1844495"/>
                <a:gd name="connsiteX5" fmla="*/ 3723946 w 3746190"/>
                <a:gd name="connsiteY5" fmla="*/ 30892 h 1844495"/>
                <a:gd name="connsiteX6" fmla="*/ 3726427 w 3746190"/>
                <a:gd name="connsiteY6" fmla="*/ 15108 h 1844495"/>
                <a:gd name="connsiteX7" fmla="*/ 3712298 w 3746190"/>
                <a:gd name="connsiteY7" fmla="*/ 21380 h 1844495"/>
                <a:gd name="connsiteX8" fmla="*/ 3696652 w 3746190"/>
                <a:gd name="connsiteY8" fmla="*/ 44401 h 1844495"/>
                <a:gd name="connsiteX9" fmla="*/ 3692792 w 3746190"/>
                <a:gd name="connsiteY9" fmla="*/ 28824 h 1844495"/>
                <a:gd name="connsiteX10" fmla="*/ 3681075 w 3746190"/>
                <a:gd name="connsiteY10" fmla="*/ 41162 h 1844495"/>
                <a:gd name="connsiteX11" fmla="*/ 3652058 w 3746190"/>
                <a:gd name="connsiteY11" fmla="*/ 34200 h 1844495"/>
                <a:gd name="connsiteX12" fmla="*/ 3654608 w 3746190"/>
                <a:gd name="connsiteY12" fmla="*/ 19450 h 1844495"/>
                <a:gd name="connsiteX13" fmla="*/ 3684246 w 3746190"/>
                <a:gd name="connsiteY13" fmla="*/ 20967 h 1844495"/>
                <a:gd name="connsiteX14" fmla="*/ 3650541 w 3746190"/>
                <a:gd name="connsiteY14" fmla="*/ 8629 h 1844495"/>
                <a:gd name="connsiteX15" fmla="*/ 3635447 w 3746190"/>
                <a:gd name="connsiteY15" fmla="*/ 28686 h 1844495"/>
                <a:gd name="connsiteX16" fmla="*/ 3619525 w 3746190"/>
                <a:gd name="connsiteY16" fmla="*/ 43712 h 1844495"/>
                <a:gd name="connsiteX17" fmla="*/ 3626556 w 3746190"/>
                <a:gd name="connsiteY17" fmla="*/ 7251 h 1844495"/>
                <a:gd name="connsiteX18" fmla="*/ 3594781 w 3746190"/>
                <a:gd name="connsiteY18" fmla="*/ 19175 h 1844495"/>
                <a:gd name="connsiteX19" fmla="*/ 3600364 w 3746190"/>
                <a:gd name="connsiteY19" fmla="*/ 4632 h 1844495"/>
                <a:gd name="connsiteX20" fmla="*/ 3571347 w 3746190"/>
                <a:gd name="connsiteY20" fmla="*/ 5459 h 1844495"/>
                <a:gd name="connsiteX21" fmla="*/ 3575000 w 3746190"/>
                <a:gd name="connsiteY21" fmla="*/ 25860 h 1844495"/>
                <a:gd name="connsiteX22" fmla="*/ 3591817 w 3746190"/>
                <a:gd name="connsiteY22" fmla="*/ 24137 h 1844495"/>
                <a:gd name="connsiteX23" fmla="*/ 3569900 w 3746190"/>
                <a:gd name="connsiteY23" fmla="*/ 43643 h 1844495"/>
                <a:gd name="connsiteX24" fmla="*/ 3550601 w 3746190"/>
                <a:gd name="connsiteY24" fmla="*/ 13247 h 1844495"/>
                <a:gd name="connsiteX25" fmla="*/ 3545707 w 3746190"/>
                <a:gd name="connsiteY25" fmla="*/ 3115 h 1844495"/>
                <a:gd name="connsiteX26" fmla="*/ 3476438 w 3746190"/>
                <a:gd name="connsiteY26" fmla="*/ -3639 h 1844495"/>
                <a:gd name="connsiteX27" fmla="*/ 3492773 w 3746190"/>
                <a:gd name="connsiteY27" fmla="*/ 28893 h 1844495"/>
                <a:gd name="connsiteX28" fmla="*/ 3511796 w 3746190"/>
                <a:gd name="connsiteY28" fmla="*/ 26687 h 1844495"/>
                <a:gd name="connsiteX29" fmla="*/ 3513450 w 3746190"/>
                <a:gd name="connsiteY29" fmla="*/ 35716 h 1844495"/>
                <a:gd name="connsiteX30" fmla="*/ 3486845 w 3746190"/>
                <a:gd name="connsiteY30" fmla="*/ 33649 h 1844495"/>
                <a:gd name="connsiteX31" fmla="*/ 3518964 w 3746190"/>
                <a:gd name="connsiteY31" fmla="*/ 50260 h 1844495"/>
                <a:gd name="connsiteX32" fmla="*/ 3521584 w 3746190"/>
                <a:gd name="connsiteY32" fmla="*/ 5528 h 1844495"/>
                <a:gd name="connsiteX33" fmla="*/ 3533094 w 3746190"/>
                <a:gd name="connsiteY33" fmla="*/ 38542 h 1844495"/>
                <a:gd name="connsiteX34" fmla="*/ 3551359 w 3746190"/>
                <a:gd name="connsiteY34" fmla="*/ 40197 h 1844495"/>
                <a:gd name="connsiteX35" fmla="*/ 3551221 w 3746190"/>
                <a:gd name="connsiteY35" fmla="*/ 51018 h 1844495"/>
                <a:gd name="connsiteX36" fmla="*/ 3595540 w 3746190"/>
                <a:gd name="connsiteY36" fmla="*/ 49984 h 1844495"/>
                <a:gd name="connsiteX37" fmla="*/ 2505979 w 3746190"/>
                <a:gd name="connsiteY37" fmla="*/ 456777 h 1844495"/>
                <a:gd name="connsiteX38" fmla="*/ 2524106 w 3746190"/>
                <a:gd name="connsiteY38" fmla="*/ 464910 h 1844495"/>
                <a:gd name="connsiteX39" fmla="*/ 2526657 w 3746190"/>
                <a:gd name="connsiteY39" fmla="*/ 450781 h 1844495"/>
                <a:gd name="connsiteX40" fmla="*/ 2526312 w 3746190"/>
                <a:gd name="connsiteY40" fmla="*/ 437409 h 1844495"/>
                <a:gd name="connsiteX41" fmla="*/ 2512458 w 3746190"/>
                <a:gd name="connsiteY41" fmla="*/ 416249 h 1844495"/>
                <a:gd name="connsiteX42" fmla="*/ 2515353 w 3746190"/>
                <a:gd name="connsiteY42" fmla="*/ 351874 h 1844495"/>
                <a:gd name="connsiteX43" fmla="*/ 2505979 w 3746190"/>
                <a:gd name="connsiteY43" fmla="*/ 456777 h 1844495"/>
                <a:gd name="connsiteX44" fmla="*/ -7220 w 3746190"/>
                <a:gd name="connsiteY44" fmla="*/ 1641591 h 1844495"/>
                <a:gd name="connsiteX45" fmla="*/ -7220 w 3746190"/>
                <a:gd name="connsiteY45" fmla="*/ 1641591 h 1844495"/>
                <a:gd name="connsiteX46" fmla="*/ 2488334 w 3746190"/>
                <a:gd name="connsiteY46" fmla="*/ 1814247 h 1844495"/>
                <a:gd name="connsiteX47" fmla="*/ 2506048 w 3746190"/>
                <a:gd name="connsiteY47" fmla="*/ 1840370 h 1844495"/>
                <a:gd name="connsiteX48" fmla="*/ 2488334 w 3746190"/>
                <a:gd name="connsiteY48" fmla="*/ 1814247 h 18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746190" h="1844495">
                  <a:moveTo>
                    <a:pt x="3595540" y="49984"/>
                  </a:moveTo>
                  <a:cubicBezTo>
                    <a:pt x="3634757" y="63562"/>
                    <a:pt x="3679214" y="55015"/>
                    <a:pt x="3720431" y="61219"/>
                  </a:cubicBezTo>
                  <a:cubicBezTo>
                    <a:pt x="3719190" y="56049"/>
                    <a:pt x="3716778" y="45711"/>
                    <a:pt x="3715606" y="40541"/>
                  </a:cubicBezTo>
                  <a:cubicBezTo>
                    <a:pt x="3718708" y="39645"/>
                    <a:pt x="3724842" y="37784"/>
                    <a:pt x="3727944" y="36888"/>
                  </a:cubicBezTo>
                  <a:cubicBezTo>
                    <a:pt x="3730701" y="35854"/>
                    <a:pt x="3736214" y="33718"/>
                    <a:pt x="3738971" y="32615"/>
                  </a:cubicBezTo>
                  <a:cubicBezTo>
                    <a:pt x="3735181" y="32201"/>
                    <a:pt x="3727668" y="31305"/>
                    <a:pt x="3723946" y="30892"/>
                  </a:cubicBezTo>
                  <a:cubicBezTo>
                    <a:pt x="3724567" y="26963"/>
                    <a:pt x="3725807" y="19037"/>
                    <a:pt x="3726427" y="15108"/>
                  </a:cubicBezTo>
                  <a:cubicBezTo>
                    <a:pt x="3722912" y="16693"/>
                    <a:pt x="3715813" y="19795"/>
                    <a:pt x="3712298" y="21380"/>
                  </a:cubicBezTo>
                  <a:cubicBezTo>
                    <a:pt x="3706922" y="29100"/>
                    <a:pt x="3701822" y="36750"/>
                    <a:pt x="3696652" y="44401"/>
                  </a:cubicBezTo>
                  <a:cubicBezTo>
                    <a:pt x="3695687" y="40472"/>
                    <a:pt x="3693757" y="32684"/>
                    <a:pt x="3692792" y="28824"/>
                  </a:cubicBezTo>
                  <a:cubicBezTo>
                    <a:pt x="3688794" y="32960"/>
                    <a:pt x="3684866" y="37095"/>
                    <a:pt x="3681075" y="41162"/>
                  </a:cubicBezTo>
                  <a:cubicBezTo>
                    <a:pt x="3671357" y="38818"/>
                    <a:pt x="3661569" y="36613"/>
                    <a:pt x="3652058" y="34200"/>
                  </a:cubicBezTo>
                  <a:cubicBezTo>
                    <a:pt x="3652747" y="30478"/>
                    <a:pt x="3653988" y="23103"/>
                    <a:pt x="3654608" y="19450"/>
                  </a:cubicBezTo>
                  <a:cubicBezTo>
                    <a:pt x="3664258" y="20071"/>
                    <a:pt x="3674320" y="20553"/>
                    <a:pt x="3684246" y="20967"/>
                  </a:cubicBezTo>
                  <a:cubicBezTo>
                    <a:pt x="3673148" y="16624"/>
                    <a:pt x="3662810" y="8698"/>
                    <a:pt x="3650541" y="8629"/>
                  </a:cubicBezTo>
                  <a:cubicBezTo>
                    <a:pt x="3644889" y="14970"/>
                    <a:pt x="3640134" y="21863"/>
                    <a:pt x="3635447" y="28686"/>
                  </a:cubicBezTo>
                  <a:cubicBezTo>
                    <a:pt x="3630966" y="34683"/>
                    <a:pt x="3626418" y="40610"/>
                    <a:pt x="3619525" y="43712"/>
                  </a:cubicBezTo>
                  <a:cubicBezTo>
                    <a:pt x="3623040" y="31788"/>
                    <a:pt x="3626486" y="19864"/>
                    <a:pt x="3626556" y="7251"/>
                  </a:cubicBezTo>
                  <a:cubicBezTo>
                    <a:pt x="3618147" y="17520"/>
                    <a:pt x="3608153" y="24206"/>
                    <a:pt x="3594781" y="19175"/>
                  </a:cubicBezTo>
                  <a:cubicBezTo>
                    <a:pt x="3596160" y="15522"/>
                    <a:pt x="3598986" y="8285"/>
                    <a:pt x="3600364" y="4632"/>
                  </a:cubicBezTo>
                  <a:cubicBezTo>
                    <a:pt x="3590646" y="5114"/>
                    <a:pt x="3580996" y="5390"/>
                    <a:pt x="3571347" y="5459"/>
                  </a:cubicBezTo>
                  <a:cubicBezTo>
                    <a:pt x="3572243" y="10559"/>
                    <a:pt x="3574104" y="20760"/>
                    <a:pt x="3575000" y="25860"/>
                  </a:cubicBezTo>
                  <a:cubicBezTo>
                    <a:pt x="3579204" y="25447"/>
                    <a:pt x="3587613" y="24551"/>
                    <a:pt x="3591817" y="24137"/>
                  </a:cubicBezTo>
                  <a:cubicBezTo>
                    <a:pt x="3586373" y="32615"/>
                    <a:pt x="3577550" y="37715"/>
                    <a:pt x="3569900" y="43643"/>
                  </a:cubicBezTo>
                  <a:cubicBezTo>
                    <a:pt x="3575069" y="27446"/>
                    <a:pt x="3567487" y="15246"/>
                    <a:pt x="3550601" y="13247"/>
                  </a:cubicBezTo>
                  <a:cubicBezTo>
                    <a:pt x="3549360" y="10697"/>
                    <a:pt x="3546948" y="5665"/>
                    <a:pt x="3545707" y="3115"/>
                  </a:cubicBezTo>
                  <a:cubicBezTo>
                    <a:pt x="3522824" y="-745"/>
                    <a:pt x="3499390" y="-676"/>
                    <a:pt x="3476438" y="-3639"/>
                  </a:cubicBezTo>
                  <a:cubicBezTo>
                    <a:pt x="3483537" y="6424"/>
                    <a:pt x="3488982" y="17245"/>
                    <a:pt x="3492773" y="28893"/>
                  </a:cubicBezTo>
                  <a:cubicBezTo>
                    <a:pt x="3497529" y="28342"/>
                    <a:pt x="3507040" y="27239"/>
                    <a:pt x="3511796" y="26687"/>
                  </a:cubicBezTo>
                  <a:cubicBezTo>
                    <a:pt x="3512209" y="28962"/>
                    <a:pt x="3513037" y="33442"/>
                    <a:pt x="3513450" y="35716"/>
                  </a:cubicBezTo>
                  <a:cubicBezTo>
                    <a:pt x="3506833" y="35165"/>
                    <a:pt x="3493462" y="34200"/>
                    <a:pt x="3486845" y="33649"/>
                  </a:cubicBezTo>
                  <a:cubicBezTo>
                    <a:pt x="3489464" y="51225"/>
                    <a:pt x="3506076" y="48606"/>
                    <a:pt x="3518964" y="50260"/>
                  </a:cubicBezTo>
                  <a:cubicBezTo>
                    <a:pt x="3519516" y="35372"/>
                    <a:pt x="3520205" y="20484"/>
                    <a:pt x="3521584" y="5528"/>
                  </a:cubicBezTo>
                  <a:cubicBezTo>
                    <a:pt x="3531922" y="13799"/>
                    <a:pt x="3533438" y="26136"/>
                    <a:pt x="3533094" y="38542"/>
                  </a:cubicBezTo>
                  <a:cubicBezTo>
                    <a:pt x="3537643" y="38956"/>
                    <a:pt x="3546810" y="39783"/>
                    <a:pt x="3551359" y="40197"/>
                  </a:cubicBezTo>
                  <a:cubicBezTo>
                    <a:pt x="3551359" y="42885"/>
                    <a:pt x="3551221" y="48330"/>
                    <a:pt x="3551221" y="51018"/>
                  </a:cubicBezTo>
                  <a:cubicBezTo>
                    <a:pt x="3565833" y="51638"/>
                    <a:pt x="3581065" y="54602"/>
                    <a:pt x="3595540" y="49984"/>
                  </a:cubicBezTo>
                  <a:close/>
                  <a:moveTo>
                    <a:pt x="2505979" y="456777"/>
                  </a:moveTo>
                  <a:cubicBezTo>
                    <a:pt x="2510528" y="458776"/>
                    <a:pt x="2519626" y="462843"/>
                    <a:pt x="2524106" y="464910"/>
                  </a:cubicBezTo>
                  <a:cubicBezTo>
                    <a:pt x="2524726" y="461395"/>
                    <a:pt x="2526036" y="454296"/>
                    <a:pt x="2526657" y="450781"/>
                  </a:cubicBezTo>
                  <a:cubicBezTo>
                    <a:pt x="2526587" y="447472"/>
                    <a:pt x="2526381" y="440787"/>
                    <a:pt x="2526312" y="437409"/>
                  </a:cubicBezTo>
                  <a:cubicBezTo>
                    <a:pt x="2521832" y="430241"/>
                    <a:pt x="2517076" y="423280"/>
                    <a:pt x="2512458" y="416249"/>
                  </a:cubicBezTo>
                  <a:cubicBezTo>
                    <a:pt x="2513906" y="394814"/>
                    <a:pt x="2514802" y="373378"/>
                    <a:pt x="2515353" y="351874"/>
                  </a:cubicBezTo>
                  <a:cubicBezTo>
                    <a:pt x="2503498" y="385096"/>
                    <a:pt x="2509218" y="422039"/>
                    <a:pt x="2505979" y="456777"/>
                  </a:cubicBezTo>
                  <a:moveTo>
                    <a:pt x="-7220" y="1641591"/>
                  </a:moveTo>
                  <a:cubicBezTo>
                    <a:pt x="14078" y="1651448"/>
                    <a:pt x="-6599" y="1618846"/>
                    <a:pt x="-7220" y="1641591"/>
                  </a:cubicBezTo>
                  <a:moveTo>
                    <a:pt x="2488334" y="1814247"/>
                  </a:moveTo>
                  <a:cubicBezTo>
                    <a:pt x="2474067" y="1827619"/>
                    <a:pt x="2489506" y="1843885"/>
                    <a:pt x="2506048" y="1840370"/>
                  </a:cubicBezTo>
                  <a:cubicBezTo>
                    <a:pt x="2499569" y="1832099"/>
                    <a:pt x="2493573" y="1823346"/>
                    <a:pt x="2488334" y="1814247"/>
                  </a:cubicBezTo>
                </a:path>
              </a:pathLst>
            </a:custGeom>
            <a:grpFill/>
            <a:ln w="689" cap="flat">
              <a:noFill/>
              <a:prstDash val="solid"/>
              <a:miter/>
            </a:ln>
          </p:spPr>
          <p:txBody>
            <a:bodyPr rtlCol="0" anchor="ctr"/>
            <a:lstStyle/>
            <a:p>
              <a:endParaRPr lang="en-US" sz="2400" dirty="0"/>
            </a:p>
          </p:txBody>
        </p:sp>
        <p:sp>
          <p:nvSpPr>
            <p:cNvPr id="123" name="Graphic 8">
              <a:extLst>
                <a:ext uri="{FF2B5EF4-FFF2-40B4-BE49-F238E27FC236}">
                  <a16:creationId xmlns:a16="http://schemas.microsoft.com/office/drawing/2014/main" id="{48383FBA-F918-4536-A7A2-75E3DCD71FBB}"/>
                </a:ext>
              </a:extLst>
            </p:cNvPr>
            <p:cNvSpPr/>
            <p:nvPr/>
          </p:nvSpPr>
          <p:spPr>
            <a:xfrm flipV="1">
              <a:off x="4075776" y="1397240"/>
              <a:ext cx="2449581" cy="2055650"/>
            </a:xfrm>
            <a:custGeom>
              <a:avLst/>
              <a:gdLst>
                <a:gd name="connsiteX0" fmla="*/ 14060 w 2449581"/>
                <a:gd name="connsiteY0" fmla="*/ 32618 h 2055650"/>
                <a:gd name="connsiteX1" fmla="*/ 21228 w 2449581"/>
                <a:gd name="connsiteY1" fmla="*/ 27794 h 2055650"/>
                <a:gd name="connsiteX2" fmla="*/ 25295 w 2449581"/>
                <a:gd name="connsiteY2" fmla="*/ 2223 h 2055650"/>
                <a:gd name="connsiteX3" fmla="*/ 34324 w 2449581"/>
                <a:gd name="connsiteY3" fmla="*/ 28000 h 2055650"/>
                <a:gd name="connsiteX4" fmla="*/ 49488 w 2449581"/>
                <a:gd name="connsiteY4" fmla="*/ 23934 h 2055650"/>
                <a:gd name="connsiteX5" fmla="*/ 43629 w 2449581"/>
                <a:gd name="connsiteY5" fmla="*/ 4773 h 2055650"/>
                <a:gd name="connsiteX6" fmla="*/ 49281 w 2449581"/>
                <a:gd name="connsiteY6" fmla="*/ 4152 h 2055650"/>
                <a:gd name="connsiteX7" fmla="*/ 68235 w 2449581"/>
                <a:gd name="connsiteY7" fmla="*/ 9184 h 2055650"/>
                <a:gd name="connsiteX8" fmla="*/ 57207 w 2449581"/>
                <a:gd name="connsiteY8" fmla="*/ 12630 h 2055650"/>
                <a:gd name="connsiteX9" fmla="*/ 77816 w 2449581"/>
                <a:gd name="connsiteY9" fmla="*/ 30688 h 2055650"/>
                <a:gd name="connsiteX10" fmla="*/ 78229 w 2449581"/>
                <a:gd name="connsiteY10" fmla="*/ 1878 h 2055650"/>
                <a:gd name="connsiteX11" fmla="*/ 112002 w 2449581"/>
                <a:gd name="connsiteY11" fmla="*/ 1947 h 2055650"/>
                <a:gd name="connsiteX12" fmla="*/ -6548 w 2449581"/>
                <a:gd name="connsiteY12" fmla="*/ -2947 h 2055650"/>
                <a:gd name="connsiteX13" fmla="*/ -1861 w 2449581"/>
                <a:gd name="connsiteY13" fmla="*/ 13113 h 2055650"/>
                <a:gd name="connsiteX14" fmla="*/ 14060 w 2449581"/>
                <a:gd name="connsiteY14" fmla="*/ 18351 h 2055650"/>
                <a:gd name="connsiteX15" fmla="*/ 14060 w 2449581"/>
                <a:gd name="connsiteY15" fmla="*/ 32618 h 2055650"/>
                <a:gd name="connsiteX16" fmla="*/ 671257 w 2449581"/>
                <a:gd name="connsiteY16" fmla="*/ 76937 h 2055650"/>
                <a:gd name="connsiteX17" fmla="*/ 683043 w 2449581"/>
                <a:gd name="connsiteY17" fmla="*/ 57569 h 2055650"/>
                <a:gd name="connsiteX18" fmla="*/ 671257 w 2449581"/>
                <a:gd name="connsiteY18" fmla="*/ 76937 h 2055650"/>
                <a:gd name="connsiteX19" fmla="*/ 2401127 w 2449581"/>
                <a:gd name="connsiteY19" fmla="*/ 2042805 h 2055650"/>
                <a:gd name="connsiteX20" fmla="*/ 2425802 w 2449581"/>
                <a:gd name="connsiteY20" fmla="*/ 2052179 h 2055650"/>
                <a:gd name="connsiteX21" fmla="*/ 2425044 w 2449581"/>
                <a:gd name="connsiteY21" fmla="*/ 2049284 h 2055650"/>
                <a:gd name="connsiteX22" fmla="*/ 2404090 w 2449581"/>
                <a:gd name="connsiteY22" fmla="*/ 2003656 h 2055650"/>
                <a:gd name="connsiteX23" fmla="*/ 2443033 w 2449581"/>
                <a:gd name="connsiteY23" fmla="*/ 2003173 h 2055650"/>
                <a:gd name="connsiteX24" fmla="*/ 2385205 w 2449581"/>
                <a:gd name="connsiteY24" fmla="*/ 1998142 h 2055650"/>
                <a:gd name="connsiteX25" fmla="*/ 2402919 w 2449581"/>
                <a:gd name="connsiteY25" fmla="*/ 2002277 h 2055650"/>
                <a:gd name="connsiteX26" fmla="*/ 2386377 w 2449581"/>
                <a:gd name="connsiteY26" fmla="*/ 2013788 h 2055650"/>
                <a:gd name="connsiteX27" fmla="*/ 2405124 w 2449581"/>
                <a:gd name="connsiteY27" fmla="*/ 2038118 h 2055650"/>
                <a:gd name="connsiteX28" fmla="*/ 2412293 w 2449581"/>
                <a:gd name="connsiteY28" fmla="*/ 2038807 h 2055650"/>
                <a:gd name="connsiteX29" fmla="*/ 2401127 w 2449581"/>
                <a:gd name="connsiteY29" fmla="*/ 2042805 h 205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49581" h="2055650">
                  <a:moveTo>
                    <a:pt x="14060" y="32618"/>
                  </a:moveTo>
                  <a:lnTo>
                    <a:pt x="21228" y="27794"/>
                  </a:lnTo>
                  <a:cubicBezTo>
                    <a:pt x="22538" y="19316"/>
                    <a:pt x="23916" y="10769"/>
                    <a:pt x="25295" y="2223"/>
                  </a:cubicBezTo>
                  <a:cubicBezTo>
                    <a:pt x="28259" y="10838"/>
                    <a:pt x="31292" y="19454"/>
                    <a:pt x="34324" y="28000"/>
                  </a:cubicBezTo>
                  <a:cubicBezTo>
                    <a:pt x="38115" y="26967"/>
                    <a:pt x="45697" y="24968"/>
                    <a:pt x="49488" y="23934"/>
                  </a:cubicBezTo>
                  <a:cubicBezTo>
                    <a:pt x="47489" y="17593"/>
                    <a:pt x="45559" y="11183"/>
                    <a:pt x="43629" y="4773"/>
                  </a:cubicBezTo>
                  <a:lnTo>
                    <a:pt x="49281" y="4152"/>
                  </a:lnTo>
                  <a:cubicBezTo>
                    <a:pt x="58930" y="-52"/>
                    <a:pt x="65271" y="1671"/>
                    <a:pt x="68235" y="9184"/>
                  </a:cubicBezTo>
                  <a:cubicBezTo>
                    <a:pt x="65478" y="10080"/>
                    <a:pt x="59964" y="11734"/>
                    <a:pt x="57207" y="12630"/>
                  </a:cubicBezTo>
                  <a:cubicBezTo>
                    <a:pt x="63962" y="18696"/>
                    <a:pt x="70854" y="24692"/>
                    <a:pt x="77816" y="30688"/>
                  </a:cubicBezTo>
                  <a:cubicBezTo>
                    <a:pt x="77884" y="21108"/>
                    <a:pt x="78091" y="11527"/>
                    <a:pt x="78229" y="1878"/>
                  </a:cubicBezTo>
                  <a:cubicBezTo>
                    <a:pt x="89464" y="1878"/>
                    <a:pt x="100698" y="1809"/>
                    <a:pt x="112002" y="1947"/>
                  </a:cubicBezTo>
                  <a:cubicBezTo>
                    <a:pt x="73198" y="-9426"/>
                    <a:pt x="32946" y="1327"/>
                    <a:pt x="-6548" y="-2947"/>
                  </a:cubicBezTo>
                  <a:cubicBezTo>
                    <a:pt x="-5377" y="1051"/>
                    <a:pt x="-3033" y="9046"/>
                    <a:pt x="-1861" y="13113"/>
                  </a:cubicBezTo>
                  <a:cubicBezTo>
                    <a:pt x="2067" y="14422"/>
                    <a:pt x="10063" y="17041"/>
                    <a:pt x="14060" y="18351"/>
                  </a:cubicBezTo>
                  <a:cubicBezTo>
                    <a:pt x="14060" y="21935"/>
                    <a:pt x="14060" y="29034"/>
                    <a:pt x="14060" y="32618"/>
                  </a:cubicBezTo>
                  <a:close/>
                  <a:moveTo>
                    <a:pt x="671257" y="76937"/>
                  </a:moveTo>
                  <a:cubicBezTo>
                    <a:pt x="681802" y="84243"/>
                    <a:pt x="689797" y="64806"/>
                    <a:pt x="683043" y="57569"/>
                  </a:cubicBezTo>
                  <a:cubicBezTo>
                    <a:pt x="672359" y="50815"/>
                    <a:pt x="663330" y="69838"/>
                    <a:pt x="671257" y="76937"/>
                  </a:cubicBezTo>
                  <a:moveTo>
                    <a:pt x="2401127" y="2042805"/>
                  </a:moveTo>
                  <a:cubicBezTo>
                    <a:pt x="2408295" y="2048250"/>
                    <a:pt x="2416497" y="2051421"/>
                    <a:pt x="2425802" y="2052179"/>
                  </a:cubicBezTo>
                  <a:lnTo>
                    <a:pt x="2425044" y="2049284"/>
                  </a:lnTo>
                  <a:cubicBezTo>
                    <a:pt x="2421598" y="2032535"/>
                    <a:pt x="2415256" y="2016751"/>
                    <a:pt x="2404090" y="2003656"/>
                  </a:cubicBezTo>
                  <a:cubicBezTo>
                    <a:pt x="2417048" y="2003518"/>
                    <a:pt x="2430006" y="2003173"/>
                    <a:pt x="2443033" y="2003173"/>
                  </a:cubicBezTo>
                  <a:cubicBezTo>
                    <a:pt x="2425457" y="1993179"/>
                    <a:pt x="2404297" y="1998280"/>
                    <a:pt x="2385205" y="1998142"/>
                  </a:cubicBezTo>
                  <a:cubicBezTo>
                    <a:pt x="2389616" y="1999176"/>
                    <a:pt x="2398446" y="2001243"/>
                    <a:pt x="2402919" y="2002277"/>
                  </a:cubicBezTo>
                  <a:cubicBezTo>
                    <a:pt x="2397336" y="2006137"/>
                    <a:pt x="2391822" y="2009997"/>
                    <a:pt x="2386377" y="2013788"/>
                  </a:cubicBezTo>
                  <a:cubicBezTo>
                    <a:pt x="2396509" y="2018888"/>
                    <a:pt x="2406296" y="2025022"/>
                    <a:pt x="2405124" y="2038118"/>
                  </a:cubicBezTo>
                  <a:lnTo>
                    <a:pt x="2412293" y="2038807"/>
                  </a:lnTo>
                  <a:cubicBezTo>
                    <a:pt x="2409466" y="2039841"/>
                    <a:pt x="2403952" y="2041771"/>
                    <a:pt x="2401127" y="2042805"/>
                  </a:cubicBezTo>
                </a:path>
              </a:pathLst>
            </a:custGeom>
            <a:grpFill/>
            <a:ln w="689" cap="flat">
              <a:noFill/>
              <a:prstDash val="solid"/>
              <a:miter/>
            </a:ln>
          </p:spPr>
          <p:txBody>
            <a:bodyPr rtlCol="0" anchor="ctr"/>
            <a:lstStyle/>
            <a:p>
              <a:endParaRPr lang="en-US" sz="2400" dirty="0"/>
            </a:p>
          </p:txBody>
        </p:sp>
        <p:sp>
          <p:nvSpPr>
            <p:cNvPr id="124" name="Graphic 8">
              <a:extLst>
                <a:ext uri="{FF2B5EF4-FFF2-40B4-BE49-F238E27FC236}">
                  <a16:creationId xmlns:a16="http://schemas.microsoft.com/office/drawing/2014/main" id="{7C40F5E6-85E4-4753-BD84-F04FA929ABFC}"/>
                </a:ext>
              </a:extLst>
            </p:cNvPr>
            <p:cNvSpPr/>
            <p:nvPr/>
          </p:nvSpPr>
          <p:spPr>
            <a:xfrm flipV="1">
              <a:off x="521816" y="1398278"/>
              <a:ext cx="6051168" cy="2258862"/>
            </a:xfrm>
            <a:custGeom>
              <a:avLst/>
              <a:gdLst>
                <a:gd name="connsiteX0" fmla="*/ 8060 w 6051168"/>
                <a:gd name="connsiteY0" fmla="*/ 72789 h 2258862"/>
                <a:gd name="connsiteX1" fmla="*/ 29908 w 6051168"/>
                <a:gd name="connsiteY1" fmla="*/ 76029 h 2258862"/>
                <a:gd name="connsiteX2" fmla="*/ 28877 w 6051168"/>
                <a:gd name="connsiteY2" fmla="*/ 44944 h 2258862"/>
                <a:gd name="connsiteX3" fmla="*/ 45901 w 6051168"/>
                <a:gd name="connsiteY3" fmla="*/ 51974 h 2258862"/>
                <a:gd name="connsiteX4" fmla="*/ 34873 w 6051168"/>
                <a:gd name="connsiteY4" fmla="*/ 20131 h 2258862"/>
                <a:gd name="connsiteX5" fmla="*/ 21777 w 6051168"/>
                <a:gd name="connsiteY5" fmla="*/ 23784 h 2258862"/>
                <a:gd name="connsiteX6" fmla="*/ 21985 w 6051168"/>
                <a:gd name="connsiteY6" fmla="*/ -3304 h 2258862"/>
                <a:gd name="connsiteX7" fmla="*/ -1794 w 6051168"/>
                <a:gd name="connsiteY7" fmla="*/ 3589 h 2258862"/>
                <a:gd name="connsiteX8" fmla="*/ -4344 w 6051168"/>
                <a:gd name="connsiteY8" fmla="*/ 18408 h 2258862"/>
                <a:gd name="connsiteX9" fmla="*/ 8060 w 6051168"/>
                <a:gd name="connsiteY9" fmla="*/ 72789 h 2258862"/>
                <a:gd name="connsiteX10" fmla="*/ 5999198 w 6051168"/>
                <a:gd name="connsiteY10" fmla="*/ 2255425 h 2258862"/>
                <a:gd name="connsiteX11" fmla="*/ 6046825 w 6051168"/>
                <a:gd name="connsiteY11" fmla="*/ 2245569 h 2258862"/>
                <a:gd name="connsiteX12" fmla="*/ 6034970 w 6051168"/>
                <a:gd name="connsiteY12" fmla="*/ 2232749 h 2258862"/>
                <a:gd name="connsiteX13" fmla="*/ 6041518 w 6051168"/>
                <a:gd name="connsiteY13" fmla="*/ 2212209 h 2258862"/>
                <a:gd name="connsiteX14" fmla="*/ 6042758 w 6051168"/>
                <a:gd name="connsiteY14" fmla="*/ 2208419 h 2258862"/>
                <a:gd name="connsiteX15" fmla="*/ 6029180 w 6051168"/>
                <a:gd name="connsiteY15" fmla="*/ 2208281 h 2258862"/>
                <a:gd name="connsiteX16" fmla="*/ 6025044 w 6051168"/>
                <a:gd name="connsiteY16" fmla="*/ 2231853 h 2258862"/>
                <a:gd name="connsiteX17" fmla="*/ 6012087 w 6051168"/>
                <a:gd name="connsiteY17" fmla="*/ 2247016 h 2258862"/>
                <a:gd name="connsiteX18" fmla="*/ 6016153 w 6051168"/>
                <a:gd name="connsiteY18" fmla="*/ 2230888 h 2258862"/>
                <a:gd name="connsiteX19" fmla="*/ 6011811 w 6051168"/>
                <a:gd name="connsiteY19" fmla="*/ 2224823 h 2258862"/>
                <a:gd name="connsiteX20" fmla="*/ 6000369 w 6051168"/>
                <a:gd name="connsiteY20" fmla="*/ 2208557 h 2258862"/>
                <a:gd name="connsiteX21" fmla="*/ 5988997 w 6051168"/>
                <a:gd name="connsiteY21" fmla="*/ 2234196 h 2258862"/>
                <a:gd name="connsiteX22" fmla="*/ 5999198 w 6051168"/>
                <a:gd name="connsiteY22" fmla="*/ 2255425 h 22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51168" h="2258862">
                  <a:moveTo>
                    <a:pt x="8060" y="72789"/>
                  </a:moveTo>
                  <a:lnTo>
                    <a:pt x="29908" y="76029"/>
                  </a:lnTo>
                  <a:cubicBezTo>
                    <a:pt x="29499" y="65690"/>
                    <a:pt x="29152" y="55351"/>
                    <a:pt x="28877" y="44944"/>
                  </a:cubicBezTo>
                  <a:cubicBezTo>
                    <a:pt x="33150" y="46736"/>
                    <a:pt x="41628" y="50251"/>
                    <a:pt x="45901" y="51974"/>
                  </a:cubicBezTo>
                  <a:cubicBezTo>
                    <a:pt x="42869" y="41222"/>
                    <a:pt x="39149" y="30538"/>
                    <a:pt x="34873" y="20131"/>
                  </a:cubicBezTo>
                  <a:cubicBezTo>
                    <a:pt x="31637" y="21027"/>
                    <a:pt x="25086" y="22888"/>
                    <a:pt x="21777" y="23784"/>
                  </a:cubicBezTo>
                  <a:cubicBezTo>
                    <a:pt x="21845" y="17029"/>
                    <a:pt x="21918" y="3451"/>
                    <a:pt x="21985" y="-3304"/>
                  </a:cubicBezTo>
                  <a:cubicBezTo>
                    <a:pt x="13921" y="-1512"/>
                    <a:pt x="5995" y="970"/>
                    <a:pt x="-1794" y="3589"/>
                  </a:cubicBezTo>
                  <a:cubicBezTo>
                    <a:pt x="-2484" y="7242"/>
                    <a:pt x="-3725" y="14686"/>
                    <a:pt x="-4344" y="18408"/>
                  </a:cubicBezTo>
                  <a:cubicBezTo>
                    <a:pt x="25706" y="14341"/>
                    <a:pt x="9509" y="56868"/>
                    <a:pt x="8060" y="72789"/>
                  </a:cubicBezTo>
                  <a:close/>
                  <a:moveTo>
                    <a:pt x="5999198" y="2255425"/>
                  </a:moveTo>
                  <a:cubicBezTo>
                    <a:pt x="6015671" y="2256321"/>
                    <a:pt x="6031799" y="2252668"/>
                    <a:pt x="6046825" y="2245569"/>
                  </a:cubicBezTo>
                  <a:cubicBezTo>
                    <a:pt x="6043861" y="2242399"/>
                    <a:pt x="6037933" y="2235988"/>
                    <a:pt x="6034970" y="2232749"/>
                  </a:cubicBezTo>
                  <a:cubicBezTo>
                    <a:pt x="6037106" y="2225925"/>
                    <a:pt x="6039312" y="2219102"/>
                    <a:pt x="6041518" y="2212209"/>
                  </a:cubicBezTo>
                  <a:lnTo>
                    <a:pt x="6042758" y="2208419"/>
                  </a:lnTo>
                  <a:cubicBezTo>
                    <a:pt x="6039380" y="2208419"/>
                    <a:pt x="6032557" y="2208350"/>
                    <a:pt x="6029180" y="2208281"/>
                  </a:cubicBezTo>
                  <a:cubicBezTo>
                    <a:pt x="6027733" y="2216138"/>
                    <a:pt x="6026285" y="2223996"/>
                    <a:pt x="6025044" y="2231853"/>
                  </a:cubicBezTo>
                  <a:cubicBezTo>
                    <a:pt x="6041518" y="2240813"/>
                    <a:pt x="6017394" y="2242399"/>
                    <a:pt x="6012087" y="2247016"/>
                  </a:cubicBezTo>
                  <a:cubicBezTo>
                    <a:pt x="6013327" y="2241709"/>
                    <a:pt x="6014706" y="2236333"/>
                    <a:pt x="6016153" y="2230888"/>
                  </a:cubicBezTo>
                  <a:lnTo>
                    <a:pt x="6011811" y="2224823"/>
                  </a:lnTo>
                  <a:cubicBezTo>
                    <a:pt x="6008985" y="2220756"/>
                    <a:pt x="6003264" y="2212623"/>
                    <a:pt x="6000369" y="2208557"/>
                  </a:cubicBezTo>
                  <a:cubicBezTo>
                    <a:pt x="5996441" y="2217103"/>
                    <a:pt x="5992512" y="2225581"/>
                    <a:pt x="5988997" y="2234196"/>
                  </a:cubicBezTo>
                  <a:cubicBezTo>
                    <a:pt x="5991547" y="2239504"/>
                    <a:pt x="5996647" y="2250118"/>
                    <a:pt x="5999198" y="2255425"/>
                  </a:cubicBezTo>
                </a:path>
              </a:pathLst>
            </a:custGeom>
            <a:grpFill/>
            <a:ln w="689" cap="flat">
              <a:noFill/>
              <a:prstDash val="solid"/>
              <a:miter/>
            </a:ln>
          </p:spPr>
          <p:txBody>
            <a:bodyPr rtlCol="0" anchor="ctr"/>
            <a:lstStyle/>
            <a:p>
              <a:endParaRPr lang="en-US" sz="2400" dirty="0"/>
            </a:p>
          </p:txBody>
        </p:sp>
        <p:sp>
          <p:nvSpPr>
            <p:cNvPr id="125" name="Graphic 8">
              <a:extLst>
                <a:ext uri="{FF2B5EF4-FFF2-40B4-BE49-F238E27FC236}">
                  <a16:creationId xmlns:a16="http://schemas.microsoft.com/office/drawing/2014/main" id="{F99919AA-CC52-46F4-BBE7-2DA2F5CBEA97}"/>
                </a:ext>
              </a:extLst>
            </p:cNvPr>
            <p:cNvSpPr/>
            <p:nvPr/>
          </p:nvSpPr>
          <p:spPr>
            <a:xfrm flipV="1">
              <a:off x="560691" y="1400962"/>
              <a:ext cx="8165515" cy="2435589"/>
            </a:xfrm>
            <a:custGeom>
              <a:avLst/>
              <a:gdLst>
                <a:gd name="connsiteX0" fmla="*/ 169280 w 8165515"/>
                <a:gd name="connsiteY0" fmla="*/ 12837 h 2435589"/>
                <a:gd name="connsiteX1" fmla="*/ 173897 w 8165515"/>
                <a:gd name="connsiteY1" fmla="*/ -3154 h 2435589"/>
                <a:gd name="connsiteX2" fmla="*/ 169280 w 8165515"/>
                <a:gd name="connsiteY2" fmla="*/ 12837 h 2435589"/>
                <a:gd name="connsiteX3" fmla="*/ 637619 w 8165515"/>
                <a:gd name="connsiteY3" fmla="*/ 41509 h 2435589"/>
                <a:gd name="connsiteX4" fmla="*/ 637619 w 8165515"/>
                <a:gd name="connsiteY4" fmla="*/ 41509 h 2435589"/>
                <a:gd name="connsiteX5" fmla="*/ 7234 w 8165515"/>
                <a:gd name="connsiteY5" fmla="*/ 1548891 h 2435589"/>
                <a:gd name="connsiteX6" fmla="*/ 28463 w 8165515"/>
                <a:gd name="connsiteY6" fmla="*/ 1523251 h 2435589"/>
                <a:gd name="connsiteX7" fmla="*/ 18677 w 8165515"/>
                <a:gd name="connsiteY7" fmla="*/ 1500437 h 2435589"/>
                <a:gd name="connsiteX8" fmla="*/ 39009 w 8165515"/>
                <a:gd name="connsiteY8" fmla="*/ 1487961 h 2435589"/>
                <a:gd name="connsiteX9" fmla="*/ 44938 w 8165515"/>
                <a:gd name="connsiteY9" fmla="*/ 1458806 h 2435589"/>
                <a:gd name="connsiteX10" fmla="*/ 40046 w 8165515"/>
                <a:gd name="connsiteY10" fmla="*/ 1463769 h 2435589"/>
                <a:gd name="connsiteX11" fmla="*/ 29839 w 8165515"/>
                <a:gd name="connsiteY11" fmla="*/ 1473763 h 2435589"/>
                <a:gd name="connsiteX12" fmla="*/ 26533 w 8165515"/>
                <a:gd name="connsiteY12" fmla="*/ 1463424 h 2435589"/>
                <a:gd name="connsiteX13" fmla="*/ 14126 w 8165515"/>
                <a:gd name="connsiteY13" fmla="*/ 1473832 h 2435589"/>
                <a:gd name="connsiteX14" fmla="*/ 5788 w 8165515"/>
                <a:gd name="connsiteY14" fmla="*/ 1480931 h 2435589"/>
                <a:gd name="connsiteX15" fmla="*/ 17368 w 8165515"/>
                <a:gd name="connsiteY15" fmla="*/ 1494096 h 2435589"/>
                <a:gd name="connsiteX16" fmla="*/ -4346 w 8165515"/>
                <a:gd name="connsiteY16" fmla="*/ 1493269 h 2435589"/>
                <a:gd name="connsiteX17" fmla="*/ 10610 w 8165515"/>
                <a:gd name="connsiteY17" fmla="*/ 1512774 h 2435589"/>
                <a:gd name="connsiteX18" fmla="*/ -5722 w 8165515"/>
                <a:gd name="connsiteY18" fmla="*/ 1511258 h 2435589"/>
                <a:gd name="connsiteX19" fmla="*/ -2553 w 8165515"/>
                <a:gd name="connsiteY19" fmla="*/ 1531108 h 2435589"/>
                <a:gd name="connsiteX20" fmla="*/ 15502 w 8165515"/>
                <a:gd name="connsiteY20" fmla="*/ 1519253 h 2435589"/>
                <a:gd name="connsiteX21" fmla="*/ 7234 w 8165515"/>
                <a:gd name="connsiteY21" fmla="*/ 1548891 h 2435589"/>
                <a:gd name="connsiteX22" fmla="*/ 1017256 w 8165515"/>
                <a:gd name="connsiteY22" fmla="*/ 2275494 h 2435589"/>
                <a:gd name="connsiteX23" fmla="*/ 1017256 w 8165515"/>
                <a:gd name="connsiteY23" fmla="*/ 2275494 h 2435589"/>
                <a:gd name="connsiteX24" fmla="*/ 8157157 w 8165515"/>
                <a:gd name="connsiteY24" fmla="*/ 2432435 h 2435589"/>
                <a:gd name="connsiteX25" fmla="*/ 8157157 w 8165515"/>
                <a:gd name="connsiteY25" fmla="*/ 2432435 h 2435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65515" h="2435589">
                  <a:moveTo>
                    <a:pt x="169280" y="12837"/>
                  </a:moveTo>
                  <a:cubicBezTo>
                    <a:pt x="178100" y="11113"/>
                    <a:pt x="179618" y="5806"/>
                    <a:pt x="173897" y="-3154"/>
                  </a:cubicBezTo>
                  <a:cubicBezTo>
                    <a:pt x="165071" y="-1224"/>
                    <a:pt x="163558" y="4083"/>
                    <a:pt x="169280" y="12837"/>
                  </a:cubicBezTo>
                  <a:close/>
                  <a:moveTo>
                    <a:pt x="637619" y="41509"/>
                  </a:moveTo>
                  <a:cubicBezTo>
                    <a:pt x="660364" y="40131"/>
                    <a:pt x="626798" y="20901"/>
                    <a:pt x="637619" y="41509"/>
                  </a:cubicBezTo>
                  <a:moveTo>
                    <a:pt x="7234" y="1548891"/>
                  </a:moveTo>
                  <a:cubicBezTo>
                    <a:pt x="20400" y="1546272"/>
                    <a:pt x="24395" y="1534279"/>
                    <a:pt x="28463" y="1523251"/>
                  </a:cubicBezTo>
                  <a:cubicBezTo>
                    <a:pt x="22052" y="1516703"/>
                    <a:pt x="10406" y="1510638"/>
                    <a:pt x="18677" y="1500437"/>
                  </a:cubicBezTo>
                  <a:cubicBezTo>
                    <a:pt x="20540" y="1492648"/>
                    <a:pt x="30738" y="1479691"/>
                    <a:pt x="39009" y="1487961"/>
                  </a:cubicBezTo>
                  <a:cubicBezTo>
                    <a:pt x="41349" y="1478312"/>
                    <a:pt x="43008" y="1468594"/>
                    <a:pt x="44938" y="1458806"/>
                  </a:cubicBezTo>
                  <a:lnTo>
                    <a:pt x="40046" y="1463769"/>
                  </a:lnTo>
                  <a:cubicBezTo>
                    <a:pt x="37494" y="1466250"/>
                    <a:pt x="32391" y="1471213"/>
                    <a:pt x="29839" y="1473763"/>
                  </a:cubicBezTo>
                  <a:cubicBezTo>
                    <a:pt x="29015" y="1471144"/>
                    <a:pt x="27359" y="1466043"/>
                    <a:pt x="26533" y="1463424"/>
                  </a:cubicBezTo>
                  <a:cubicBezTo>
                    <a:pt x="22400" y="1466939"/>
                    <a:pt x="18262" y="1470386"/>
                    <a:pt x="14126" y="1473832"/>
                  </a:cubicBezTo>
                  <a:cubicBezTo>
                    <a:pt x="12061" y="1475624"/>
                    <a:pt x="7853" y="1479139"/>
                    <a:pt x="5788" y="1480931"/>
                  </a:cubicBezTo>
                  <a:cubicBezTo>
                    <a:pt x="8682" y="1484239"/>
                    <a:pt x="14471" y="1490787"/>
                    <a:pt x="17368" y="1494096"/>
                  </a:cubicBezTo>
                  <a:cubicBezTo>
                    <a:pt x="11924" y="1493889"/>
                    <a:pt x="1101" y="1493475"/>
                    <a:pt x="-4346" y="1493269"/>
                  </a:cubicBezTo>
                  <a:cubicBezTo>
                    <a:pt x="-622" y="1498162"/>
                    <a:pt x="6892" y="1507881"/>
                    <a:pt x="10610" y="1512774"/>
                  </a:cubicBezTo>
                  <a:cubicBezTo>
                    <a:pt x="6544" y="1512361"/>
                    <a:pt x="-1656" y="1511671"/>
                    <a:pt x="-5722" y="1511258"/>
                  </a:cubicBezTo>
                  <a:cubicBezTo>
                    <a:pt x="-4898" y="1516221"/>
                    <a:pt x="-3379" y="1526146"/>
                    <a:pt x="-2553" y="1531108"/>
                  </a:cubicBezTo>
                  <a:cubicBezTo>
                    <a:pt x="3376" y="1527042"/>
                    <a:pt x="9372" y="1523113"/>
                    <a:pt x="15502" y="1519253"/>
                  </a:cubicBezTo>
                  <a:cubicBezTo>
                    <a:pt x="12681" y="1529109"/>
                    <a:pt x="9924" y="1539035"/>
                    <a:pt x="7234" y="1548891"/>
                  </a:cubicBezTo>
                  <a:moveTo>
                    <a:pt x="1017256" y="2275494"/>
                  </a:moveTo>
                  <a:cubicBezTo>
                    <a:pt x="1038002" y="2285764"/>
                    <a:pt x="1018152" y="2252542"/>
                    <a:pt x="1017256" y="2275494"/>
                  </a:cubicBezTo>
                  <a:moveTo>
                    <a:pt x="8157157" y="2432435"/>
                  </a:moveTo>
                  <a:cubicBezTo>
                    <a:pt x="8160673" y="2428714"/>
                    <a:pt x="8160673" y="2428714"/>
                    <a:pt x="8157157" y="2432435"/>
                  </a:cubicBezTo>
                </a:path>
              </a:pathLst>
            </a:custGeom>
            <a:grpFill/>
            <a:ln w="689" cap="flat">
              <a:noFill/>
              <a:prstDash val="solid"/>
              <a:miter/>
            </a:ln>
          </p:spPr>
          <p:txBody>
            <a:bodyPr rtlCol="0" anchor="ctr"/>
            <a:lstStyle/>
            <a:p>
              <a:endParaRPr lang="en-US" sz="2400" dirty="0"/>
            </a:p>
          </p:txBody>
        </p:sp>
        <p:sp>
          <p:nvSpPr>
            <p:cNvPr id="126" name="Graphic 8">
              <a:extLst>
                <a:ext uri="{FF2B5EF4-FFF2-40B4-BE49-F238E27FC236}">
                  <a16:creationId xmlns:a16="http://schemas.microsoft.com/office/drawing/2014/main" id="{51A81B61-0770-45F3-9FB6-C3272981592A}"/>
                </a:ext>
              </a:extLst>
            </p:cNvPr>
            <p:cNvSpPr/>
            <p:nvPr/>
          </p:nvSpPr>
          <p:spPr>
            <a:xfrm flipV="1">
              <a:off x="478943" y="1408888"/>
              <a:ext cx="3694603" cy="342693"/>
            </a:xfrm>
            <a:custGeom>
              <a:avLst/>
              <a:gdLst>
                <a:gd name="connsiteX0" fmla="*/ 52059 w 3694603"/>
                <a:gd name="connsiteY0" fmla="*/ 77227 h 342693"/>
                <a:gd name="connsiteX1" fmla="*/ 52059 w 3694603"/>
                <a:gd name="connsiteY1" fmla="*/ 77227 h 342693"/>
                <a:gd name="connsiteX2" fmla="*/ 447134 w 3694603"/>
                <a:gd name="connsiteY2" fmla="*/ 85292 h 342693"/>
                <a:gd name="connsiteX3" fmla="*/ 447134 w 3694603"/>
                <a:gd name="connsiteY3" fmla="*/ 85292 h 342693"/>
                <a:gd name="connsiteX4" fmla="*/ 543835 w 3694603"/>
                <a:gd name="connsiteY4" fmla="*/ 119134 h 342693"/>
                <a:gd name="connsiteX5" fmla="*/ 546178 w 3694603"/>
                <a:gd name="connsiteY5" fmla="*/ 109277 h 342693"/>
                <a:gd name="connsiteX6" fmla="*/ 519573 w 3694603"/>
                <a:gd name="connsiteY6" fmla="*/ 96320 h 342693"/>
                <a:gd name="connsiteX7" fmla="*/ 492417 w 3694603"/>
                <a:gd name="connsiteY7" fmla="*/ 82328 h 342693"/>
                <a:gd name="connsiteX8" fmla="*/ 540733 w 3694603"/>
                <a:gd name="connsiteY8" fmla="*/ 92046 h 342693"/>
                <a:gd name="connsiteX9" fmla="*/ 541078 w 3694603"/>
                <a:gd name="connsiteY9" fmla="*/ 77917 h 342693"/>
                <a:gd name="connsiteX10" fmla="*/ 544455 w 3694603"/>
                <a:gd name="connsiteY10" fmla="*/ 97147 h 342693"/>
                <a:gd name="connsiteX11" fmla="*/ 574575 w 3694603"/>
                <a:gd name="connsiteY11" fmla="*/ 95837 h 342693"/>
                <a:gd name="connsiteX12" fmla="*/ 575678 w 3694603"/>
                <a:gd name="connsiteY12" fmla="*/ 103350 h 342693"/>
                <a:gd name="connsiteX13" fmla="*/ 543835 w 3694603"/>
                <a:gd name="connsiteY13" fmla="*/ 119134 h 342693"/>
                <a:gd name="connsiteX14" fmla="*/ 234709 w 3694603"/>
                <a:gd name="connsiteY14" fmla="*/ 118513 h 342693"/>
                <a:gd name="connsiteX15" fmla="*/ 247113 w 3694603"/>
                <a:gd name="connsiteY15" fmla="*/ 105004 h 342693"/>
                <a:gd name="connsiteX16" fmla="*/ 234709 w 3694603"/>
                <a:gd name="connsiteY16" fmla="*/ 118513 h 342693"/>
                <a:gd name="connsiteX17" fmla="*/ 913547 w 3694603"/>
                <a:gd name="connsiteY17" fmla="*/ 125613 h 342693"/>
                <a:gd name="connsiteX18" fmla="*/ 925264 w 3694603"/>
                <a:gd name="connsiteY18" fmla="*/ 114309 h 342693"/>
                <a:gd name="connsiteX19" fmla="*/ 913547 w 3694603"/>
                <a:gd name="connsiteY19" fmla="*/ 125613 h 342693"/>
                <a:gd name="connsiteX20" fmla="*/ 199696 w 3694603"/>
                <a:gd name="connsiteY20" fmla="*/ 125061 h 342693"/>
                <a:gd name="connsiteX21" fmla="*/ 198796 w 3694603"/>
                <a:gd name="connsiteY21" fmla="*/ 87428 h 342693"/>
                <a:gd name="connsiteX22" fmla="*/ 201141 w 3694603"/>
                <a:gd name="connsiteY22" fmla="*/ 87428 h 342693"/>
                <a:gd name="connsiteX23" fmla="*/ 210034 w 3694603"/>
                <a:gd name="connsiteY23" fmla="*/ 119754 h 342693"/>
                <a:gd name="connsiteX24" fmla="*/ 214032 w 3694603"/>
                <a:gd name="connsiteY24" fmla="*/ 85361 h 342693"/>
                <a:gd name="connsiteX25" fmla="*/ 222026 w 3694603"/>
                <a:gd name="connsiteY25" fmla="*/ 104522 h 342693"/>
                <a:gd name="connsiteX26" fmla="*/ 206518 w 3694603"/>
                <a:gd name="connsiteY26" fmla="*/ 124854 h 342693"/>
                <a:gd name="connsiteX27" fmla="*/ 217683 w 3694603"/>
                <a:gd name="connsiteY27" fmla="*/ 133263 h 342693"/>
                <a:gd name="connsiteX28" fmla="*/ 199696 w 3694603"/>
                <a:gd name="connsiteY28" fmla="*/ 125061 h 342693"/>
                <a:gd name="connsiteX29" fmla="*/ 539906 w 3694603"/>
                <a:gd name="connsiteY29" fmla="*/ 133401 h 342693"/>
                <a:gd name="connsiteX30" fmla="*/ 559894 w 3694603"/>
                <a:gd name="connsiteY30" fmla="*/ 131471 h 342693"/>
                <a:gd name="connsiteX31" fmla="*/ 539906 w 3694603"/>
                <a:gd name="connsiteY31" fmla="*/ 133401 h 342693"/>
                <a:gd name="connsiteX32" fmla="*/ 515507 w 3694603"/>
                <a:gd name="connsiteY32" fmla="*/ 139466 h 342693"/>
                <a:gd name="connsiteX33" fmla="*/ 523433 w 3694603"/>
                <a:gd name="connsiteY33" fmla="*/ 123269 h 342693"/>
                <a:gd name="connsiteX34" fmla="*/ 515507 w 3694603"/>
                <a:gd name="connsiteY34" fmla="*/ 139466 h 342693"/>
                <a:gd name="connsiteX35" fmla="*/ 942288 w 3694603"/>
                <a:gd name="connsiteY35" fmla="*/ 146704 h 342693"/>
                <a:gd name="connsiteX36" fmla="*/ 942288 w 3694603"/>
                <a:gd name="connsiteY36" fmla="*/ 146704 h 342693"/>
                <a:gd name="connsiteX37" fmla="*/ 732344 w 3694603"/>
                <a:gd name="connsiteY37" fmla="*/ 148151 h 342693"/>
                <a:gd name="connsiteX38" fmla="*/ 730414 w 3694603"/>
                <a:gd name="connsiteY38" fmla="*/ 119478 h 342693"/>
                <a:gd name="connsiteX39" fmla="*/ 754055 w 3694603"/>
                <a:gd name="connsiteY39" fmla="*/ 132436 h 342693"/>
                <a:gd name="connsiteX40" fmla="*/ 732344 w 3694603"/>
                <a:gd name="connsiteY40" fmla="*/ 148151 h 342693"/>
                <a:gd name="connsiteX41" fmla="*/ 267858 w 3694603"/>
                <a:gd name="connsiteY41" fmla="*/ 147048 h 342693"/>
                <a:gd name="connsiteX42" fmla="*/ 262142 w 3694603"/>
                <a:gd name="connsiteY42" fmla="*/ 122442 h 342693"/>
                <a:gd name="connsiteX43" fmla="*/ 267858 w 3694603"/>
                <a:gd name="connsiteY43" fmla="*/ 147048 h 342693"/>
                <a:gd name="connsiteX44" fmla="*/ 825116 w 3694603"/>
                <a:gd name="connsiteY44" fmla="*/ 160557 h 342693"/>
                <a:gd name="connsiteX45" fmla="*/ 825116 w 3694603"/>
                <a:gd name="connsiteY45" fmla="*/ 160557 h 342693"/>
                <a:gd name="connsiteX46" fmla="*/ 229126 w 3694603"/>
                <a:gd name="connsiteY46" fmla="*/ 152493 h 342693"/>
                <a:gd name="connsiteX47" fmla="*/ 235329 w 3694603"/>
                <a:gd name="connsiteY47" fmla="*/ 128921 h 342693"/>
                <a:gd name="connsiteX48" fmla="*/ 244841 w 3694603"/>
                <a:gd name="connsiteY48" fmla="*/ 136641 h 342693"/>
                <a:gd name="connsiteX49" fmla="*/ 233743 w 3694603"/>
                <a:gd name="connsiteY49" fmla="*/ 148771 h 342693"/>
                <a:gd name="connsiteX50" fmla="*/ 244701 w 3694603"/>
                <a:gd name="connsiteY50" fmla="*/ 151597 h 342693"/>
                <a:gd name="connsiteX51" fmla="*/ 242566 w 3694603"/>
                <a:gd name="connsiteY51" fmla="*/ 159937 h 342693"/>
                <a:gd name="connsiteX52" fmla="*/ 229126 w 3694603"/>
                <a:gd name="connsiteY52" fmla="*/ 152493 h 342693"/>
                <a:gd name="connsiteX53" fmla="*/ 571887 w 3694603"/>
                <a:gd name="connsiteY53" fmla="*/ 169655 h 342693"/>
                <a:gd name="connsiteX54" fmla="*/ 568648 w 3694603"/>
                <a:gd name="connsiteY54" fmla="*/ 119065 h 342693"/>
                <a:gd name="connsiteX55" fmla="*/ 599733 w 3694603"/>
                <a:gd name="connsiteY55" fmla="*/ 115412 h 342693"/>
                <a:gd name="connsiteX56" fmla="*/ 579331 w 3694603"/>
                <a:gd name="connsiteY56" fmla="*/ 122649 h 342693"/>
                <a:gd name="connsiteX57" fmla="*/ 589463 w 3694603"/>
                <a:gd name="connsiteY57" fmla="*/ 161936 h 342693"/>
                <a:gd name="connsiteX58" fmla="*/ 576161 w 3694603"/>
                <a:gd name="connsiteY58" fmla="*/ 156835 h 342693"/>
                <a:gd name="connsiteX59" fmla="*/ 571887 w 3694603"/>
                <a:gd name="connsiteY59" fmla="*/ 169655 h 342693"/>
                <a:gd name="connsiteX60" fmla="*/ 516265 w 3694603"/>
                <a:gd name="connsiteY60" fmla="*/ 173309 h 342693"/>
                <a:gd name="connsiteX61" fmla="*/ 526879 w 3694603"/>
                <a:gd name="connsiteY61" fmla="*/ 162074 h 342693"/>
                <a:gd name="connsiteX62" fmla="*/ 516265 w 3694603"/>
                <a:gd name="connsiteY62" fmla="*/ 173309 h 342693"/>
                <a:gd name="connsiteX63" fmla="*/ 356015 w 3694603"/>
                <a:gd name="connsiteY63" fmla="*/ 173791 h 342693"/>
                <a:gd name="connsiteX64" fmla="*/ 356015 w 3694603"/>
                <a:gd name="connsiteY64" fmla="*/ 173791 h 342693"/>
                <a:gd name="connsiteX65" fmla="*/ 753986 w 3694603"/>
                <a:gd name="connsiteY65" fmla="*/ 186955 h 342693"/>
                <a:gd name="connsiteX66" fmla="*/ 760947 w 3694603"/>
                <a:gd name="connsiteY66" fmla="*/ 169655 h 342693"/>
                <a:gd name="connsiteX67" fmla="*/ 769839 w 3694603"/>
                <a:gd name="connsiteY67" fmla="*/ 175583 h 342693"/>
                <a:gd name="connsiteX68" fmla="*/ 774594 w 3694603"/>
                <a:gd name="connsiteY68" fmla="*/ 182337 h 342693"/>
                <a:gd name="connsiteX69" fmla="*/ 753986 w 3694603"/>
                <a:gd name="connsiteY69" fmla="*/ 186955 h 342693"/>
                <a:gd name="connsiteX70" fmla="*/ 804646 w 3694603"/>
                <a:gd name="connsiteY70" fmla="*/ 173584 h 342693"/>
                <a:gd name="connsiteX71" fmla="*/ 805197 w 3694603"/>
                <a:gd name="connsiteY71" fmla="*/ 149185 h 342693"/>
                <a:gd name="connsiteX72" fmla="*/ 790861 w 3694603"/>
                <a:gd name="connsiteY72" fmla="*/ 121477 h 342693"/>
                <a:gd name="connsiteX73" fmla="*/ 768874 w 3694603"/>
                <a:gd name="connsiteY73" fmla="*/ 148013 h 342693"/>
                <a:gd name="connsiteX74" fmla="*/ 768185 w 3694603"/>
                <a:gd name="connsiteY74" fmla="*/ 118858 h 342693"/>
                <a:gd name="connsiteX75" fmla="*/ 796926 w 3694603"/>
                <a:gd name="connsiteY75" fmla="*/ 106796 h 342693"/>
                <a:gd name="connsiteX76" fmla="*/ 792377 w 3694603"/>
                <a:gd name="connsiteY76" fmla="*/ 117824 h 342693"/>
                <a:gd name="connsiteX77" fmla="*/ 810091 w 3694603"/>
                <a:gd name="connsiteY77" fmla="*/ 125819 h 342693"/>
                <a:gd name="connsiteX78" fmla="*/ 808299 w 3694603"/>
                <a:gd name="connsiteY78" fmla="*/ 149323 h 342693"/>
                <a:gd name="connsiteX79" fmla="*/ 820705 w 3694603"/>
                <a:gd name="connsiteY79" fmla="*/ 130024 h 342693"/>
                <a:gd name="connsiteX80" fmla="*/ 835455 w 3694603"/>
                <a:gd name="connsiteY80" fmla="*/ 132643 h 342693"/>
                <a:gd name="connsiteX81" fmla="*/ 811331 w 3694603"/>
                <a:gd name="connsiteY81" fmla="*/ 160420 h 342693"/>
                <a:gd name="connsiteX82" fmla="*/ 811262 w 3694603"/>
                <a:gd name="connsiteY82" fmla="*/ 182200 h 342693"/>
                <a:gd name="connsiteX83" fmla="*/ 815398 w 3694603"/>
                <a:gd name="connsiteY83" fmla="*/ 197777 h 342693"/>
                <a:gd name="connsiteX84" fmla="*/ 804646 w 3694603"/>
                <a:gd name="connsiteY84" fmla="*/ 173584 h 342693"/>
                <a:gd name="connsiteX85" fmla="*/ 725520 w 3694603"/>
                <a:gd name="connsiteY85" fmla="*/ 173791 h 342693"/>
                <a:gd name="connsiteX86" fmla="*/ 708703 w 3694603"/>
                <a:gd name="connsiteY86" fmla="*/ 173446 h 342693"/>
                <a:gd name="connsiteX87" fmla="*/ 724417 w 3694603"/>
                <a:gd name="connsiteY87" fmla="*/ 163659 h 342693"/>
                <a:gd name="connsiteX88" fmla="*/ 745922 w 3694603"/>
                <a:gd name="connsiteY88" fmla="*/ 165382 h 342693"/>
                <a:gd name="connsiteX89" fmla="*/ 754262 w 3694603"/>
                <a:gd name="connsiteY89" fmla="*/ 146152 h 342693"/>
                <a:gd name="connsiteX90" fmla="*/ 747163 w 3694603"/>
                <a:gd name="connsiteY90" fmla="*/ 182406 h 342693"/>
                <a:gd name="connsiteX91" fmla="*/ 722212 w 3694603"/>
                <a:gd name="connsiteY91" fmla="*/ 195985 h 342693"/>
                <a:gd name="connsiteX92" fmla="*/ 725520 w 3694603"/>
                <a:gd name="connsiteY92" fmla="*/ 173791 h 342693"/>
                <a:gd name="connsiteX93" fmla="*/ 687198 w 3694603"/>
                <a:gd name="connsiteY93" fmla="*/ 194744 h 342693"/>
                <a:gd name="connsiteX94" fmla="*/ 687198 w 3694603"/>
                <a:gd name="connsiteY94" fmla="*/ 194744 h 342693"/>
                <a:gd name="connsiteX95" fmla="*/ 848551 w 3694603"/>
                <a:gd name="connsiteY95" fmla="*/ 213216 h 342693"/>
                <a:gd name="connsiteX96" fmla="*/ 915201 w 3694603"/>
                <a:gd name="connsiteY96" fmla="*/ 218041 h 342693"/>
                <a:gd name="connsiteX97" fmla="*/ 922920 w 3694603"/>
                <a:gd name="connsiteY97" fmla="*/ 187507 h 342693"/>
                <a:gd name="connsiteX98" fmla="*/ 941254 w 3694603"/>
                <a:gd name="connsiteY98" fmla="*/ 177375 h 342693"/>
                <a:gd name="connsiteX99" fmla="*/ 953109 w 3694603"/>
                <a:gd name="connsiteY99" fmla="*/ 174066 h 342693"/>
                <a:gd name="connsiteX100" fmla="*/ 968617 w 3694603"/>
                <a:gd name="connsiteY100" fmla="*/ 165382 h 342693"/>
                <a:gd name="connsiteX101" fmla="*/ 961449 w 3694603"/>
                <a:gd name="connsiteY101" fmla="*/ 127474 h 342693"/>
                <a:gd name="connsiteX102" fmla="*/ 970892 w 3694603"/>
                <a:gd name="connsiteY102" fmla="*/ 112999 h 342693"/>
                <a:gd name="connsiteX103" fmla="*/ 980334 w 3694603"/>
                <a:gd name="connsiteY103" fmla="*/ 98318 h 342693"/>
                <a:gd name="connsiteX104" fmla="*/ 948285 w 3694603"/>
                <a:gd name="connsiteY104" fmla="*/ 95630 h 342693"/>
                <a:gd name="connsiteX105" fmla="*/ 952903 w 3694603"/>
                <a:gd name="connsiteY105" fmla="*/ 121132 h 342693"/>
                <a:gd name="connsiteX106" fmla="*/ 943322 w 3694603"/>
                <a:gd name="connsiteY106" fmla="*/ 95699 h 342693"/>
                <a:gd name="connsiteX107" fmla="*/ 875569 w 3694603"/>
                <a:gd name="connsiteY107" fmla="*/ 94321 h 342693"/>
                <a:gd name="connsiteX108" fmla="*/ 818844 w 3694603"/>
                <a:gd name="connsiteY108" fmla="*/ 87153 h 342693"/>
                <a:gd name="connsiteX109" fmla="*/ 820360 w 3694603"/>
                <a:gd name="connsiteY109" fmla="*/ 95768 h 342693"/>
                <a:gd name="connsiteX110" fmla="*/ 774526 w 3694603"/>
                <a:gd name="connsiteY110" fmla="*/ 106176 h 342693"/>
                <a:gd name="connsiteX111" fmla="*/ 810918 w 3694603"/>
                <a:gd name="connsiteY111" fmla="*/ 88945 h 342693"/>
                <a:gd name="connsiteX112" fmla="*/ 708496 w 3694603"/>
                <a:gd name="connsiteY112" fmla="*/ 81363 h 342693"/>
                <a:gd name="connsiteX113" fmla="*/ 697123 w 3694603"/>
                <a:gd name="connsiteY113" fmla="*/ 146221 h 342693"/>
                <a:gd name="connsiteX114" fmla="*/ 694711 w 3694603"/>
                <a:gd name="connsiteY114" fmla="*/ 132712 h 342693"/>
                <a:gd name="connsiteX115" fmla="*/ 680512 w 3694603"/>
                <a:gd name="connsiteY115" fmla="*/ 147393 h 342693"/>
                <a:gd name="connsiteX116" fmla="*/ 691954 w 3694603"/>
                <a:gd name="connsiteY116" fmla="*/ 114378 h 342693"/>
                <a:gd name="connsiteX117" fmla="*/ 675619 w 3694603"/>
                <a:gd name="connsiteY117" fmla="*/ 99146 h 342693"/>
                <a:gd name="connsiteX118" fmla="*/ 662041 w 3694603"/>
                <a:gd name="connsiteY118" fmla="*/ 155664 h 342693"/>
                <a:gd name="connsiteX119" fmla="*/ 657009 w 3694603"/>
                <a:gd name="connsiteY119" fmla="*/ 139604 h 342693"/>
                <a:gd name="connsiteX120" fmla="*/ 637848 w 3694603"/>
                <a:gd name="connsiteY120" fmla="*/ 127267 h 342693"/>
                <a:gd name="connsiteX121" fmla="*/ 659008 w 3694603"/>
                <a:gd name="connsiteY121" fmla="*/ 122442 h 342693"/>
                <a:gd name="connsiteX122" fmla="*/ 666107 w 3694603"/>
                <a:gd name="connsiteY122" fmla="*/ 97078 h 342693"/>
                <a:gd name="connsiteX123" fmla="*/ 689335 w 3694603"/>
                <a:gd name="connsiteY123" fmla="*/ 93907 h 342693"/>
                <a:gd name="connsiteX124" fmla="*/ 701397 w 3694603"/>
                <a:gd name="connsiteY124" fmla="*/ 103557 h 342693"/>
                <a:gd name="connsiteX125" fmla="*/ 702706 w 3694603"/>
                <a:gd name="connsiteY125" fmla="*/ 80743 h 342693"/>
                <a:gd name="connsiteX126" fmla="*/ 642397 w 3694603"/>
                <a:gd name="connsiteY126" fmla="*/ 97147 h 342693"/>
                <a:gd name="connsiteX127" fmla="*/ 644327 w 3694603"/>
                <a:gd name="connsiteY127" fmla="*/ 77779 h 342693"/>
                <a:gd name="connsiteX128" fmla="*/ 487523 w 3694603"/>
                <a:gd name="connsiteY128" fmla="*/ 66751 h 342693"/>
                <a:gd name="connsiteX129" fmla="*/ 474772 w 3694603"/>
                <a:gd name="connsiteY129" fmla="*/ 80605 h 342693"/>
                <a:gd name="connsiteX130" fmla="*/ 483112 w 3694603"/>
                <a:gd name="connsiteY130" fmla="*/ 83844 h 342693"/>
                <a:gd name="connsiteX131" fmla="*/ 470430 w 3694603"/>
                <a:gd name="connsiteY131" fmla="*/ 113206 h 342693"/>
                <a:gd name="connsiteX132" fmla="*/ 484491 w 3694603"/>
                <a:gd name="connsiteY132" fmla="*/ 134573 h 342693"/>
                <a:gd name="connsiteX133" fmla="*/ 465743 w 3694603"/>
                <a:gd name="connsiteY133" fmla="*/ 120374 h 342693"/>
                <a:gd name="connsiteX134" fmla="*/ 474566 w 3694603"/>
                <a:gd name="connsiteY134" fmla="*/ 61513 h 342693"/>
                <a:gd name="connsiteX135" fmla="*/ 370076 w 3694603"/>
                <a:gd name="connsiteY135" fmla="*/ 65717 h 342693"/>
                <a:gd name="connsiteX136" fmla="*/ 382827 w 3694603"/>
                <a:gd name="connsiteY136" fmla="*/ 76193 h 342693"/>
                <a:gd name="connsiteX137" fmla="*/ 353051 w 3694603"/>
                <a:gd name="connsiteY137" fmla="*/ 104935 h 342693"/>
                <a:gd name="connsiteX138" fmla="*/ 374487 w 3694603"/>
                <a:gd name="connsiteY138" fmla="*/ 98181 h 342693"/>
                <a:gd name="connsiteX139" fmla="*/ 372902 w 3694603"/>
                <a:gd name="connsiteY139" fmla="*/ 111345 h 342693"/>
                <a:gd name="connsiteX140" fmla="*/ 387445 w 3694603"/>
                <a:gd name="connsiteY140" fmla="*/ 141603 h 342693"/>
                <a:gd name="connsiteX141" fmla="*/ 361254 w 3694603"/>
                <a:gd name="connsiteY141" fmla="*/ 141603 h 342693"/>
                <a:gd name="connsiteX142" fmla="*/ 351397 w 3694603"/>
                <a:gd name="connsiteY142" fmla="*/ 138777 h 342693"/>
                <a:gd name="connsiteX143" fmla="*/ 348778 w 3694603"/>
                <a:gd name="connsiteY143" fmla="*/ 87704 h 342693"/>
                <a:gd name="connsiteX144" fmla="*/ 333339 w 3694603"/>
                <a:gd name="connsiteY144" fmla="*/ 89014 h 342693"/>
                <a:gd name="connsiteX145" fmla="*/ 362839 w 3694603"/>
                <a:gd name="connsiteY145" fmla="*/ 67027 h 342693"/>
                <a:gd name="connsiteX146" fmla="*/ 357945 w 3694603"/>
                <a:gd name="connsiteY146" fmla="*/ 62753 h 342693"/>
                <a:gd name="connsiteX147" fmla="*/ 264759 w 3694603"/>
                <a:gd name="connsiteY147" fmla="*/ 54345 h 342693"/>
                <a:gd name="connsiteX148" fmla="*/ 277440 w 3694603"/>
                <a:gd name="connsiteY148" fmla="*/ 100110 h 342693"/>
                <a:gd name="connsiteX149" fmla="*/ 261728 w 3694603"/>
                <a:gd name="connsiteY149" fmla="*/ 52552 h 342693"/>
                <a:gd name="connsiteX150" fmla="*/ 216719 w 3694603"/>
                <a:gd name="connsiteY150" fmla="*/ 51381 h 342693"/>
                <a:gd name="connsiteX151" fmla="*/ 177225 w 3694603"/>
                <a:gd name="connsiteY151" fmla="*/ 53931 h 342693"/>
                <a:gd name="connsiteX152" fmla="*/ 175020 w 3694603"/>
                <a:gd name="connsiteY152" fmla="*/ 109071 h 342693"/>
                <a:gd name="connsiteX153" fmla="*/ 186188 w 3694603"/>
                <a:gd name="connsiteY153" fmla="*/ 138364 h 342693"/>
                <a:gd name="connsiteX154" fmla="*/ 158960 w 3694603"/>
                <a:gd name="connsiteY154" fmla="*/ 115963 h 342693"/>
                <a:gd name="connsiteX155" fmla="*/ 157789 w 3694603"/>
                <a:gd name="connsiteY155" fmla="*/ 119340 h 342693"/>
                <a:gd name="connsiteX156" fmla="*/ 151310 w 3694603"/>
                <a:gd name="connsiteY156" fmla="*/ 139466 h 342693"/>
                <a:gd name="connsiteX157" fmla="*/ 140143 w 3694603"/>
                <a:gd name="connsiteY157" fmla="*/ 145807 h 342693"/>
                <a:gd name="connsiteX158" fmla="*/ 133528 w 3694603"/>
                <a:gd name="connsiteY158" fmla="*/ 128783 h 342693"/>
                <a:gd name="connsiteX159" fmla="*/ 120154 w 3694603"/>
                <a:gd name="connsiteY159" fmla="*/ 129748 h 342693"/>
                <a:gd name="connsiteX160" fmla="*/ 128840 w 3694603"/>
                <a:gd name="connsiteY160" fmla="*/ 84671 h 342693"/>
                <a:gd name="connsiteX161" fmla="*/ 132356 w 3694603"/>
                <a:gd name="connsiteY161" fmla="*/ 106314 h 342693"/>
                <a:gd name="connsiteX162" fmla="*/ 139801 w 3694603"/>
                <a:gd name="connsiteY162" fmla="*/ 104384 h 342693"/>
                <a:gd name="connsiteX163" fmla="*/ 144833 w 3694603"/>
                <a:gd name="connsiteY163" fmla="*/ 74402 h 342693"/>
                <a:gd name="connsiteX164" fmla="*/ 168332 w 3694603"/>
                <a:gd name="connsiteY164" fmla="*/ 62891 h 342693"/>
                <a:gd name="connsiteX165" fmla="*/ 134699 w 3694603"/>
                <a:gd name="connsiteY165" fmla="*/ 46143 h 342693"/>
                <a:gd name="connsiteX166" fmla="*/ 57433 w 3694603"/>
                <a:gd name="connsiteY166" fmla="*/ 32151 h 342693"/>
                <a:gd name="connsiteX167" fmla="*/ 10635 w 3694603"/>
                <a:gd name="connsiteY167" fmla="*/ -4724 h 342693"/>
                <a:gd name="connsiteX168" fmla="*/ 18 w 3694603"/>
                <a:gd name="connsiteY168" fmla="*/ -4862 h 342693"/>
                <a:gd name="connsiteX169" fmla="*/ 1330 w 3694603"/>
                <a:gd name="connsiteY169" fmla="*/ -2725 h 342693"/>
                <a:gd name="connsiteX170" fmla="*/ 25728 w 3694603"/>
                <a:gd name="connsiteY170" fmla="*/ 57653 h 342693"/>
                <a:gd name="connsiteX171" fmla="*/ 5328 w 3694603"/>
                <a:gd name="connsiteY171" fmla="*/ 55378 h 342693"/>
                <a:gd name="connsiteX172" fmla="*/ -2808 w 3694603"/>
                <a:gd name="connsiteY172" fmla="*/ 90047 h 342693"/>
                <a:gd name="connsiteX173" fmla="*/ 17664 w 3694603"/>
                <a:gd name="connsiteY173" fmla="*/ 81845 h 342693"/>
                <a:gd name="connsiteX174" fmla="*/ 38274 w 3694603"/>
                <a:gd name="connsiteY174" fmla="*/ 75987 h 342693"/>
                <a:gd name="connsiteX175" fmla="*/ 52468 w 3694603"/>
                <a:gd name="connsiteY175" fmla="*/ 37320 h 342693"/>
                <a:gd name="connsiteX176" fmla="*/ 46475 w 3694603"/>
                <a:gd name="connsiteY176" fmla="*/ 59238 h 342693"/>
                <a:gd name="connsiteX177" fmla="*/ 40547 w 3694603"/>
                <a:gd name="connsiteY177" fmla="*/ 95837 h 342693"/>
                <a:gd name="connsiteX178" fmla="*/ 29863 w 3694603"/>
                <a:gd name="connsiteY178" fmla="*/ 97560 h 342693"/>
                <a:gd name="connsiteX179" fmla="*/ 39790 w 3694603"/>
                <a:gd name="connsiteY179" fmla="*/ 118513 h 342693"/>
                <a:gd name="connsiteX180" fmla="*/ 48061 w 3694603"/>
                <a:gd name="connsiteY180" fmla="*/ 114378 h 342693"/>
                <a:gd name="connsiteX181" fmla="*/ 57570 w 3694603"/>
                <a:gd name="connsiteY181" fmla="*/ 129334 h 342693"/>
                <a:gd name="connsiteX182" fmla="*/ 65774 w 3694603"/>
                <a:gd name="connsiteY182" fmla="*/ 163039 h 342693"/>
                <a:gd name="connsiteX183" fmla="*/ 92655 w 3694603"/>
                <a:gd name="connsiteY183" fmla="*/ 134504 h 342693"/>
                <a:gd name="connsiteX184" fmla="*/ 87830 w 3694603"/>
                <a:gd name="connsiteY184" fmla="*/ 166002 h 342693"/>
                <a:gd name="connsiteX185" fmla="*/ 128563 w 3694603"/>
                <a:gd name="connsiteY185" fmla="*/ 151528 h 342693"/>
                <a:gd name="connsiteX186" fmla="*/ 176465 w 3694603"/>
                <a:gd name="connsiteY186" fmla="*/ 170689 h 342693"/>
                <a:gd name="connsiteX187" fmla="*/ 303219 w 3694603"/>
                <a:gd name="connsiteY187" fmla="*/ 176341 h 342693"/>
                <a:gd name="connsiteX188" fmla="*/ 281990 w 3694603"/>
                <a:gd name="connsiteY188" fmla="*/ 148978 h 342693"/>
                <a:gd name="connsiteX189" fmla="*/ 286196 w 3694603"/>
                <a:gd name="connsiteY189" fmla="*/ 119892 h 342693"/>
                <a:gd name="connsiteX190" fmla="*/ 303564 w 3694603"/>
                <a:gd name="connsiteY190" fmla="*/ 124648 h 342693"/>
                <a:gd name="connsiteX191" fmla="*/ 303701 w 3694603"/>
                <a:gd name="connsiteY191" fmla="*/ 139742 h 342693"/>
                <a:gd name="connsiteX192" fmla="*/ 318107 w 3694603"/>
                <a:gd name="connsiteY192" fmla="*/ 161384 h 342693"/>
                <a:gd name="connsiteX193" fmla="*/ 317280 w 3694603"/>
                <a:gd name="connsiteY193" fmla="*/ 178478 h 342693"/>
                <a:gd name="connsiteX194" fmla="*/ 356360 w 3694603"/>
                <a:gd name="connsiteY194" fmla="*/ 168139 h 342693"/>
                <a:gd name="connsiteX195" fmla="*/ 333339 w 3694603"/>
                <a:gd name="connsiteY195" fmla="*/ 178960 h 342693"/>
                <a:gd name="connsiteX196" fmla="*/ 373109 w 3694603"/>
                <a:gd name="connsiteY196" fmla="*/ 177237 h 342693"/>
                <a:gd name="connsiteX197" fmla="*/ 380484 w 3694603"/>
                <a:gd name="connsiteY197" fmla="*/ 180752 h 342693"/>
                <a:gd name="connsiteX198" fmla="*/ 403504 w 3694603"/>
                <a:gd name="connsiteY198" fmla="*/ 170000 h 342693"/>
                <a:gd name="connsiteX199" fmla="*/ 382827 w 3694603"/>
                <a:gd name="connsiteY199" fmla="*/ 163659 h 342693"/>
                <a:gd name="connsiteX200" fmla="*/ 395302 w 3694603"/>
                <a:gd name="connsiteY200" fmla="*/ 157732 h 342693"/>
                <a:gd name="connsiteX201" fmla="*/ 389995 w 3694603"/>
                <a:gd name="connsiteY201" fmla="*/ 142085 h 342693"/>
                <a:gd name="connsiteX202" fmla="*/ 412051 w 3694603"/>
                <a:gd name="connsiteY202" fmla="*/ 161522 h 342693"/>
                <a:gd name="connsiteX203" fmla="*/ 403366 w 3694603"/>
                <a:gd name="connsiteY203" fmla="*/ 182131 h 342693"/>
                <a:gd name="connsiteX204" fmla="*/ 460987 w 3694603"/>
                <a:gd name="connsiteY204" fmla="*/ 188954 h 342693"/>
                <a:gd name="connsiteX205" fmla="*/ 453268 w 3694603"/>
                <a:gd name="connsiteY205" fmla="*/ 171654 h 342693"/>
                <a:gd name="connsiteX206" fmla="*/ 423699 w 3694603"/>
                <a:gd name="connsiteY206" fmla="*/ 179856 h 342693"/>
                <a:gd name="connsiteX207" fmla="*/ 411500 w 3694603"/>
                <a:gd name="connsiteY207" fmla="*/ 113620 h 342693"/>
                <a:gd name="connsiteX208" fmla="*/ 399782 w 3694603"/>
                <a:gd name="connsiteY208" fmla="*/ 135951 h 342693"/>
                <a:gd name="connsiteX209" fmla="*/ 403573 w 3694603"/>
                <a:gd name="connsiteY209" fmla="*/ 69577 h 342693"/>
                <a:gd name="connsiteX210" fmla="*/ 399162 w 3694603"/>
                <a:gd name="connsiteY210" fmla="*/ 111621 h 342693"/>
                <a:gd name="connsiteX211" fmla="*/ 422941 w 3694603"/>
                <a:gd name="connsiteY211" fmla="*/ 114309 h 342693"/>
                <a:gd name="connsiteX212" fmla="*/ 411982 w 3694603"/>
                <a:gd name="connsiteY212" fmla="*/ 98043 h 342693"/>
                <a:gd name="connsiteX213" fmla="*/ 424940 w 3694603"/>
                <a:gd name="connsiteY213" fmla="*/ 109209 h 342693"/>
                <a:gd name="connsiteX214" fmla="*/ 456025 w 3694603"/>
                <a:gd name="connsiteY214" fmla="*/ 110174 h 342693"/>
                <a:gd name="connsiteX215" fmla="*/ 444101 w 3694603"/>
                <a:gd name="connsiteY215" fmla="*/ 141810 h 342693"/>
                <a:gd name="connsiteX216" fmla="*/ 476840 w 3694603"/>
                <a:gd name="connsiteY216" fmla="*/ 148771 h 342693"/>
                <a:gd name="connsiteX217" fmla="*/ 475806 w 3694603"/>
                <a:gd name="connsiteY217" fmla="*/ 158214 h 342693"/>
                <a:gd name="connsiteX218" fmla="*/ 454991 w 3694603"/>
                <a:gd name="connsiteY218" fmla="*/ 156008 h 342693"/>
                <a:gd name="connsiteX219" fmla="*/ 427559 w 3694603"/>
                <a:gd name="connsiteY219" fmla="*/ 144084 h 342693"/>
                <a:gd name="connsiteX220" fmla="*/ 437208 w 3694603"/>
                <a:gd name="connsiteY220" fmla="*/ 167243 h 342693"/>
                <a:gd name="connsiteX221" fmla="*/ 459816 w 3694603"/>
                <a:gd name="connsiteY221" fmla="*/ 164141 h 342693"/>
                <a:gd name="connsiteX222" fmla="*/ 472360 w 3694603"/>
                <a:gd name="connsiteY222" fmla="*/ 175997 h 342693"/>
                <a:gd name="connsiteX223" fmla="*/ 492968 w 3694603"/>
                <a:gd name="connsiteY223" fmla="*/ 145807 h 342693"/>
                <a:gd name="connsiteX224" fmla="*/ 488902 w 3694603"/>
                <a:gd name="connsiteY224" fmla="*/ 183234 h 342693"/>
                <a:gd name="connsiteX225" fmla="*/ 463882 w 3694603"/>
                <a:gd name="connsiteY225" fmla="*/ 186611 h 342693"/>
                <a:gd name="connsiteX226" fmla="*/ 530257 w 3694603"/>
                <a:gd name="connsiteY226" fmla="*/ 193779 h 342693"/>
                <a:gd name="connsiteX227" fmla="*/ 552657 w 3694603"/>
                <a:gd name="connsiteY227" fmla="*/ 146704 h 342693"/>
                <a:gd name="connsiteX228" fmla="*/ 542732 w 3694603"/>
                <a:gd name="connsiteY228" fmla="*/ 173722 h 342693"/>
                <a:gd name="connsiteX229" fmla="*/ 562720 w 3694603"/>
                <a:gd name="connsiteY229" fmla="*/ 172068 h 342693"/>
                <a:gd name="connsiteX230" fmla="*/ 537011 w 3694603"/>
                <a:gd name="connsiteY230" fmla="*/ 191642 h 342693"/>
                <a:gd name="connsiteX231" fmla="*/ 587119 w 3694603"/>
                <a:gd name="connsiteY231" fmla="*/ 183303 h 342693"/>
                <a:gd name="connsiteX232" fmla="*/ 584363 w 3694603"/>
                <a:gd name="connsiteY232" fmla="*/ 196260 h 342693"/>
                <a:gd name="connsiteX233" fmla="*/ 804163 w 3694603"/>
                <a:gd name="connsiteY233" fmla="*/ 209632 h 342693"/>
                <a:gd name="connsiteX234" fmla="*/ 831251 w 3694603"/>
                <a:gd name="connsiteY234" fmla="*/ 183303 h 342693"/>
                <a:gd name="connsiteX235" fmla="*/ 851445 w 3694603"/>
                <a:gd name="connsiteY235" fmla="*/ 183371 h 342693"/>
                <a:gd name="connsiteX236" fmla="*/ 848551 w 3694603"/>
                <a:gd name="connsiteY236" fmla="*/ 213216 h 342693"/>
                <a:gd name="connsiteX237" fmla="*/ 1081240 w 3694603"/>
                <a:gd name="connsiteY237" fmla="*/ 118375 h 342693"/>
                <a:gd name="connsiteX238" fmla="*/ 1081240 w 3694603"/>
                <a:gd name="connsiteY238" fmla="*/ 118375 h 342693"/>
                <a:gd name="connsiteX239" fmla="*/ 1299869 w 3694603"/>
                <a:gd name="connsiteY239" fmla="*/ 139122 h 342693"/>
                <a:gd name="connsiteX240" fmla="*/ 1299869 w 3694603"/>
                <a:gd name="connsiteY240" fmla="*/ 139122 h 342693"/>
                <a:gd name="connsiteX241" fmla="*/ 1067662 w 3694603"/>
                <a:gd name="connsiteY241" fmla="*/ 139466 h 342693"/>
                <a:gd name="connsiteX242" fmla="*/ 1067662 w 3694603"/>
                <a:gd name="connsiteY242" fmla="*/ 139466 h 342693"/>
                <a:gd name="connsiteX243" fmla="*/ 1204684 w 3694603"/>
                <a:gd name="connsiteY243" fmla="*/ 146221 h 342693"/>
                <a:gd name="connsiteX244" fmla="*/ 1204684 w 3694603"/>
                <a:gd name="connsiteY244" fmla="*/ 146221 h 342693"/>
                <a:gd name="connsiteX245" fmla="*/ 1092268 w 3694603"/>
                <a:gd name="connsiteY245" fmla="*/ 168828 h 342693"/>
                <a:gd name="connsiteX246" fmla="*/ 1096817 w 3694603"/>
                <a:gd name="connsiteY246" fmla="*/ 119065 h 342693"/>
                <a:gd name="connsiteX247" fmla="*/ 1092268 w 3694603"/>
                <a:gd name="connsiteY247" fmla="*/ 168828 h 342693"/>
                <a:gd name="connsiteX248" fmla="*/ 1162020 w 3694603"/>
                <a:gd name="connsiteY248" fmla="*/ 172895 h 342693"/>
                <a:gd name="connsiteX249" fmla="*/ 1162020 w 3694603"/>
                <a:gd name="connsiteY249" fmla="*/ 172895 h 342693"/>
                <a:gd name="connsiteX250" fmla="*/ 1190624 w 3694603"/>
                <a:gd name="connsiteY250" fmla="*/ 179098 h 342693"/>
                <a:gd name="connsiteX251" fmla="*/ 1195173 w 3694603"/>
                <a:gd name="connsiteY251" fmla="*/ 163659 h 342693"/>
                <a:gd name="connsiteX252" fmla="*/ 1190624 w 3694603"/>
                <a:gd name="connsiteY252" fmla="*/ 179098 h 342693"/>
                <a:gd name="connsiteX253" fmla="*/ 1121079 w 3694603"/>
                <a:gd name="connsiteY253" fmla="*/ 181855 h 342693"/>
                <a:gd name="connsiteX254" fmla="*/ 1133347 w 3694603"/>
                <a:gd name="connsiteY254" fmla="*/ 157180 h 342693"/>
                <a:gd name="connsiteX255" fmla="*/ 1121079 w 3694603"/>
                <a:gd name="connsiteY255" fmla="*/ 181855 h 342693"/>
                <a:gd name="connsiteX256" fmla="*/ 1101918 w 3694603"/>
                <a:gd name="connsiteY256" fmla="*/ 188817 h 342693"/>
                <a:gd name="connsiteX257" fmla="*/ 1101918 w 3694603"/>
                <a:gd name="connsiteY257" fmla="*/ 188817 h 342693"/>
                <a:gd name="connsiteX258" fmla="*/ 1204133 w 3694603"/>
                <a:gd name="connsiteY258" fmla="*/ 192056 h 342693"/>
                <a:gd name="connsiteX259" fmla="*/ 1213300 w 3694603"/>
                <a:gd name="connsiteY259" fmla="*/ 176272 h 342693"/>
                <a:gd name="connsiteX260" fmla="*/ 1204133 w 3694603"/>
                <a:gd name="connsiteY260" fmla="*/ 192056 h 342693"/>
                <a:gd name="connsiteX261" fmla="*/ 1259824 w 3694603"/>
                <a:gd name="connsiteY261" fmla="*/ 208046 h 342693"/>
                <a:gd name="connsiteX262" fmla="*/ 1259824 w 3694603"/>
                <a:gd name="connsiteY262" fmla="*/ 208046 h 342693"/>
                <a:gd name="connsiteX263" fmla="*/ 1154369 w 3694603"/>
                <a:gd name="connsiteY263" fmla="*/ 184199 h 342693"/>
                <a:gd name="connsiteX264" fmla="*/ 1176770 w 3694603"/>
                <a:gd name="connsiteY264" fmla="*/ 189299 h 342693"/>
                <a:gd name="connsiteX265" fmla="*/ 1175460 w 3694603"/>
                <a:gd name="connsiteY265" fmla="*/ 210803 h 342693"/>
                <a:gd name="connsiteX266" fmla="*/ 1154369 w 3694603"/>
                <a:gd name="connsiteY266" fmla="*/ 184199 h 342693"/>
                <a:gd name="connsiteX267" fmla="*/ 1091648 w 3694603"/>
                <a:gd name="connsiteY267" fmla="*/ 190677 h 342693"/>
                <a:gd name="connsiteX268" fmla="*/ 1094405 w 3694603"/>
                <a:gd name="connsiteY268" fmla="*/ 211010 h 342693"/>
                <a:gd name="connsiteX269" fmla="*/ 1091648 w 3694603"/>
                <a:gd name="connsiteY269" fmla="*/ 190677 h 342693"/>
                <a:gd name="connsiteX270" fmla="*/ 1066146 w 3694603"/>
                <a:gd name="connsiteY270" fmla="*/ 208942 h 342693"/>
                <a:gd name="connsiteX271" fmla="*/ 1066146 w 3694603"/>
                <a:gd name="connsiteY271" fmla="*/ 208942 h 342693"/>
                <a:gd name="connsiteX272" fmla="*/ 1203650 w 3694603"/>
                <a:gd name="connsiteY272" fmla="*/ 214043 h 342693"/>
                <a:gd name="connsiteX273" fmla="*/ 1203650 w 3694603"/>
                <a:gd name="connsiteY273" fmla="*/ 214043 h 342693"/>
                <a:gd name="connsiteX274" fmla="*/ 1128798 w 3694603"/>
                <a:gd name="connsiteY274" fmla="*/ 215008 h 342693"/>
                <a:gd name="connsiteX275" fmla="*/ 1127282 w 3694603"/>
                <a:gd name="connsiteY275" fmla="*/ 194675 h 342693"/>
                <a:gd name="connsiteX276" fmla="*/ 1128798 w 3694603"/>
                <a:gd name="connsiteY276" fmla="*/ 215008 h 342693"/>
                <a:gd name="connsiteX277" fmla="*/ 1300903 w 3694603"/>
                <a:gd name="connsiteY277" fmla="*/ 230792 h 342693"/>
                <a:gd name="connsiteX278" fmla="*/ 1310070 w 3694603"/>
                <a:gd name="connsiteY278" fmla="*/ 220591 h 342693"/>
                <a:gd name="connsiteX279" fmla="*/ 1300903 w 3694603"/>
                <a:gd name="connsiteY279" fmla="*/ 230792 h 342693"/>
                <a:gd name="connsiteX280" fmla="*/ 1079310 w 3694603"/>
                <a:gd name="connsiteY280" fmla="*/ 227345 h 342693"/>
                <a:gd name="connsiteX281" fmla="*/ 1349081 w 3694603"/>
                <a:gd name="connsiteY281" fmla="*/ 243749 h 342693"/>
                <a:gd name="connsiteX282" fmla="*/ 1357628 w 3694603"/>
                <a:gd name="connsiteY282" fmla="*/ 225691 h 342693"/>
                <a:gd name="connsiteX283" fmla="*/ 1359696 w 3694603"/>
                <a:gd name="connsiteY283" fmla="*/ 182475 h 342693"/>
                <a:gd name="connsiteX284" fmla="*/ 1353148 w 3694603"/>
                <a:gd name="connsiteY284" fmla="*/ 177237 h 342693"/>
                <a:gd name="connsiteX285" fmla="*/ 1341913 w 3694603"/>
                <a:gd name="connsiteY285" fmla="*/ 189919 h 342693"/>
                <a:gd name="connsiteX286" fmla="*/ 1332333 w 3694603"/>
                <a:gd name="connsiteY286" fmla="*/ 174480 h 342693"/>
                <a:gd name="connsiteX287" fmla="*/ 1331092 w 3694603"/>
                <a:gd name="connsiteY287" fmla="*/ 211217 h 342693"/>
                <a:gd name="connsiteX288" fmla="*/ 1323717 w 3694603"/>
                <a:gd name="connsiteY288" fmla="*/ 196054 h 342693"/>
                <a:gd name="connsiteX289" fmla="*/ 1327163 w 3694603"/>
                <a:gd name="connsiteY289" fmla="*/ 155801 h 342693"/>
                <a:gd name="connsiteX290" fmla="*/ 1312344 w 3694603"/>
                <a:gd name="connsiteY290" fmla="*/ 132229 h 342693"/>
                <a:gd name="connsiteX291" fmla="*/ 1340052 w 3694603"/>
                <a:gd name="connsiteY291" fmla="*/ 132574 h 342693"/>
                <a:gd name="connsiteX292" fmla="*/ 1283396 w 3694603"/>
                <a:gd name="connsiteY292" fmla="*/ 116583 h 342693"/>
                <a:gd name="connsiteX293" fmla="*/ 1291322 w 3694603"/>
                <a:gd name="connsiteY293" fmla="*/ 133677 h 342693"/>
                <a:gd name="connsiteX294" fmla="*/ 1300558 w 3694603"/>
                <a:gd name="connsiteY294" fmla="*/ 187851 h 342693"/>
                <a:gd name="connsiteX295" fmla="*/ 1295871 w 3694603"/>
                <a:gd name="connsiteY295" fmla="*/ 188196 h 342693"/>
                <a:gd name="connsiteX296" fmla="*/ 1280777 w 3694603"/>
                <a:gd name="connsiteY296" fmla="*/ 153872 h 342693"/>
                <a:gd name="connsiteX297" fmla="*/ 1282431 w 3694603"/>
                <a:gd name="connsiteY297" fmla="*/ 118375 h 342693"/>
                <a:gd name="connsiteX298" fmla="*/ 1206959 w 3694603"/>
                <a:gd name="connsiteY298" fmla="*/ 112241 h 342693"/>
                <a:gd name="connsiteX299" fmla="*/ 1213851 w 3694603"/>
                <a:gd name="connsiteY299" fmla="*/ 128163 h 342693"/>
                <a:gd name="connsiteX300" fmla="*/ 1203306 w 3694603"/>
                <a:gd name="connsiteY300" fmla="*/ 112172 h 342693"/>
                <a:gd name="connsiteX301" fmla="*/ 1162847 w 3694603"/>
                <a:gd name="connsiteY301" fmla="*/ 109622 h 342693"/>
                <a:gd name="connsiteX302" fmla="*/ 1166569 w 3694603"/>
                <a:gd name="connsiteY302" fmla="*/ 154147 h 342693"/>
                <a:gd name="connsiteX303" fmla="*/ 1152164 w 3694603"/>
                <a:gd name="connsiteY303" fmla="*/ 128232 h 342693"/>
                <a:gd name="connsiteX304" fmla="*/ 1153266 w 3694603"/>
                <a:gd name="connsiteY304" fmla="*/ 107072 h 342693"/>
                <a:gd name="connsiteX305" fmla="*/ 1130452 w 3694603"/>
                <a:gd name="connsiteY305" fmla="*/ 110311 h 342693"/>
                <a:gd name="connsiteX306" fmla="*/ 979852 w 3694603"/>
                <a:gd name="connsiteY306" fmla="*/ 100455 h 342693"/>
                <a:gd name="connsiteX307" fmla="*/ 989915 w 3694603"/>
                <a:gd name="connsiteY307" fmla="*/ 135538 h 342693"/>
                <a:gd name="connsiteX308" fmla="*/ 992534 w 3694603"/>
                <a:gd name="connsiteY308" fmla="*/ 125337 h 342693"/>
                <a:gd name="connsiteX309" fmla="*/ 995774 w 3694603"/>
                <a:gd name="connsiteY309" fmla="*/ 144980 h 342693"/>
                <a:gd name="connsiteX310" fmla="*/ 1042642 w 3694603"/>
                <a:gd name="connsiteY310" fmla="*/ 148564 h 342693"/>
                <a:gd name="connsiteX311" fmla="*/ 1046433 w 3694603"/>
                <a:gd name="connsiteY311" fmla="*/ 154147 h 342693"/>
                <a:gd name="connsiteX312" fmla="*/ 1032648 w 3694603"/>
                <a:gd name="connsiteY312" fmla="*/ 171172 h 342693"/>
                <a:gd name="connsiteX313" fmla="*/ 1025480 w 3694603"/>
                <a:gd name="connsiteY313" fmla="*/ 178478 h 342693"/>
                <a:gd name="connsiteX314" fmla="*/ 1029891 w 3694603"/>
                <a:gd name="connsiteY314" fmla="*/ 203428 h 342693"/>
                <a:gd name="connsiteX315" fmla="*/ 1042780 w 3694603"/>
                <a:gd name="connsiteY315" fmla="*/ 189506 h 342693"/>
                <a:gd name="connsiteX316" fmla="*/ 1045813 w 3694603"/>
                <a:gd name="connsiteY316" fmla="*/ 222383 h 342693"/>
                <a:gd name="connsiteX317" fmla="*/ 1079310 w 3694603"/>
                <a:gd name="connsiteY317" fmla="*/ 227345 h 342693"/>
                <a:gd name="connsiteX318" fmla="*/ 3641721 w 3694603"/>
                <a:gd name="connsiteY318" fmla="*/ 296684 h 342693"/>
                <a:gd name="connsiteX319" fmla="*/ 3676528 w 3694603"/>
                <a:gd name="connsiteY319" fmla="*/ 298682 h 342693"/>
                <a:gd name="connsiteX320" fmla="*/ 3691416 w 3694603"/>
                <a:gd name="connsiteY320" fmla="*/ 271457 h 342693"/>
                <a:gd name="connsiteX321" fmla="*/ 3629866 w 3694603"/>
                <a:gd name="connsiteY321" fmla="*/ 266977 h 342693"/>
                <a:gd name="connsiteX322" fmla="*/ 3641721 w 3694603"/>
                <a:gd name="connsiteY322" fmla="*/ 296684 h 342693"/>
                <a:gd name="connsiteX323" fmla="*/ 1714520 w 3694603"/>
                <a:gd name="connsiteY323" fmla="*/ 167932 h 342693"/>
                <a:gd name="connsiteX324" fmla="*/ 1726030 w 3694603"/>
                <a:gd name="connsiteY324" fmla="*/ 156215 h 342693"/>
                <a:gd name="connsiteX325" fmla="*/ 1714520 w 3694603"/>
                <a:gd name="connsiteY325" fmla="*/ 167932 h 342693"/>
                <a:gd name="connsiteX326" fmla="*/ 2107666 w 3694603"/>
                <a:gd name="connsiteY326" fmla="*/ 202464 h 342693"/>
                <a:gd name="connsiteX327" fmla="*/ 2107666 w 3694603"/>
                <a:gd name="connsiteY327" fmla="*/ 202464 h 342693"/>
                <a:gd name="connsiteX328" fmla="*/ 1775449 w 3694603"/>
                <a:gd name="connsiteY328" fmla="*/ 201499 h 342693"/>
                <a:gd name="connsiteX329" fmla="*/ 1775449 w 3694603"/>
                <a:gd name="connsiteY329" fmla="*/ 201499 h 342693"/>
                <a:gd name="connsiteX330" fmla="*/ 2259920 w 3694603"/>
                <a:gd name="connsiteY330" fmla="*/ 207840 h 342693"/>
                <a:gd name="connsiteX331" fmla="*/ 2259162 w 3694603"/>
                <a:gd name="connsiteY331" fmla="*/ 191436 h 342693"/>
                <a:gd name="connsiteX332" fmla="*/ 2259920 w 3694603"/>
                <a:gd name="connsiteY332" fmla="*/ 207840 h 342693"/>
                <a:gd name="connsiteX333" fmla="*/ 1831485 w 3694603"/>
                <a:gd name="connsiteY333" fmla="*/ 172343 h 342693"/>
                <a:gd name="connsiteX334" fmla="*/ 1809774 w 3694603"/>
                <a:gd name="connsiteY334" fmla="*/ 163314 h 342693"/>
                <a:gd name="connsiteX335" fmla="*/ 1850370 w 3694603"/>
                <a:gd name="connsiteY335" fmla="*/ 182131 h 342693"/>
                <a:gd name="connsiteX336" fmla="*/ 1855126 w 3694603"/>
                <a:gd name="connsiteY336" fmla="*/ 168277 h 342693"/>
                <a:gd name="connsiteX337" fmla="*/ 1862914 w 3694603"/>
                <a:gd name="connsiteY337" fmla="*/ 192952 h 342693"/>
                <a:gd name="connsiteX338" fmla="*/ 1856298 w 3694603"/>
                <a:gd name="connsiteY338" fmla="*/ 209149 h 342693"/>
                <a:gd name="connsiteX339" fmla="*/ 1831485 w 3694603"/>
                <a:gd name="connsiteY339" fmla="*/ 172343 h 342693"/>
                <a:gd name="connsiteX340" fmla="*/ 2465178 w 3694603"/>
                <a:gd name="connsiteY340" fmla="*/ 215628 h 342693"/>
                <a:gd name="connsiteX341" fmla="*/ 2482754 w 3694603"/>
                <a:gd name="connsiteY341" fmla="*/ 204876 h 342693"/>
                <a:gd name="connsiteX342" fmla="*/ 2465178 w 3694603"/>
                <a:gd name="connsiteY342" fmla="*/ 215628 h 342693"/>
                <a:gd name="connsiteX343" fmla="*/ 2347110 w 3694603"/>
                <a:gd name="connsiteY343" fmla="*/ 214319 h 342693"/>
                <a:gd name="connsiteX344" fmla="*/ 2347110 w 3694603"/>
                <a:gd name="connsiteY344" fmla="*/ 214319 h 342693"/>
                <a:gd name="connsiteX345" fmla="*/ 2046254 w 3694603"/>
                <a:gd name="connsiteY345" fmla="*/ 215904 h 342693"/>
                <a:gd name="connsiteX346" fmla="*/ 2046254 w 3694603"/>
                <a:gd name="connsiteY346" fmla="*/ 215904 h 342693"/>
                <a:gd name="connsiteX347" fmla="*/ 2162874 w 3694603"/>
                <a:gd name="connsiteY347" fmla="*/ 222314 h 342693"/>
                <a:gd name="connsiteX348" fmla="*/ 2162874 w 3694603"/>
                <a:gd name="connsiteY348" fmla="*/ 222314 h 342693"/>
                <a:gd name="connsiteX349" fmla="*/ 1889519 w 3694603"/>
                <a:gd name="connsiteY349" fmla="*/ 224037 h 342693"/>
                <a:gd name="connsiteX350" fmla="*/ 1875321 w 3694603"/>
                <a:gd name="connsiteY350" fmla="*/ 196536 h 342693"/>
                <a:gd name="connsiteX351" fmla="*/ 1883109 w 3694603"/>
                <a:gd name="connsiteY351" fmla="*/ 167036 h 342693"/>
                <a:gd name="connsiteX352" fmla="*/ 1889519 w 3694603"/>
                <a:gd name="connsiteY352" fmla="*/ 224037 h 342693"/>
                <a:gd name="connsiteX353" fmla="*/ 2660303 w 3694603"/>
                <a:gd name="connsiteY353" fmla="*/ 230792 h 342693"/>
                <a:gd name="connsiteX354" fmla="*/ 2670366 w 3694603"/>
                <a:gd name="connsiteY354" fmla="*/ 219764 h 342693"/>
                <a:gd name="connsiteX355" fmla="*/ 2660303 w 3694603"/>
                <a:gd name="connsiteY355" fmla="*/ 230792 h 342693"/>
                <a:gd name="connsiteX356" fmla="*/ 2319333 w 3694603"/>
                <a:gd name="connsiteY356" fmla="*/ 229275 h 342693"/>
                <a:gd name="connsiteX357" fmla="*/ 2307823 w 3694603"/>
                <a:gd name="connsiteY357" fmla="*/ 202670 h 342693"/>
                <a:gd name="connsiteX358" fmla="*/ 2334290 w 3694603"/>
                <a:gd name="connsiteY358" fmla="*/ 214663 h 342693"/>
                <a:gd name="connsiteX359" fmla="*/ 2319333 w 3694603"/>
                <a:gd name="connsiteY359" fmla="*/ 229275 h 342693"/>
                <a:gd name="connsiteX360" fmla="*/ 2716201 w 3694603"/>
                <a:gd name="connsiteY360" fmla="*/ 235892 h 342693"/>
                <a:gd name="connsiteX361" fmla="*/ 2731365 w 3694603"/>
                <a:gd name="connsiteY361" fmla="*/ 224519 h 342693"/>
                <a:gd name="connsiteX362" fmla="*/ 2716201 w 3694603"/>
                <a:gd name="connsiteY362" fmla="*/ 235892 h 342693"/>
                <a:gd name="connsiteX363" fmla="*/ 2292384 w 3694603"/>
                <a:gd name="connsiteY363" fmla="*/ 237339 h 342693"/>
                <a:gd name="connsiteX364" fmla="*/ 2294865 w 3694603"/>
                <a:gd name="connsiteY364" fmla="*/ 206323 h 342693"/>
                <a:gd name="connsiteX365" fmla="*/ 2298105 w 3694603"/>
                <a:gd name="connsiteY365" fmla="*/ 223555 h 342693"/>
                <a:gd name="connsiteX366" fmla="*/ 2292384 w 3694603"/>
                <a:gd name="connsiteY366" fmla="*/ 237339 h 342693"/>
                <a:gd name="connsiteX367" fmla="*/ 2086506 w 3694603"/>
                <a:gd name="connsiteY367" fmla="*/ 234720 h 342693"/>
                <a:gd name="connsiteX368" fmla="*/ 2102772 w 3694603"/>
                <a:gd name="connsiteY368" fmla="*/ 210665 h 342693"/>
                <a:gd name="connsiteX369" fmla="*/ 2086506 w 3694603"/>
                <a:gd name="connsiteY369" fmla="*/ 234720 h 342693"/>
                <a:gd name="connsiteX370" fmla="*/ 1997731 w 3694603"/>
                <a:gd name="connsiteY370" fmla="*/ 235478 h 342693"/>
                <a:gd name="connsiteX371" fmla="*/ 2006484 w 3694603"/>
                <a:gd name="connsiteY371" fmla="*/ 226105 h 342693"/>
                <a:gd name="connsiteX372" fmla="*/ 1997731 w 3694603"/>
                <a:gd name="connsiteY372" fmla="*/ 235478 h 342693"/>
                <a:gd name="connsiteX373" fmla="*/ 1975468 w 3694603"/>
                <a:gd name="connsiteY373" fmla="*/ 236581 h 342693"/>
                <a:gd name="connsiteX374" fmla="*/ 1975468 w 3694603"/>
                <a:gd name="connsiteY374" fmla="*/ 236581 h 342693"/>
                <a:gd name="connsiteX375" fmla="*/ 1941695 w 3694603"/>
                <a:gd name="connsiteY375" fmla="*/ 215284 h 342693"/>
                <a:gd name="connsiteX376" fmla="*/ 1918881 w 3694603"/>
                <a:gd name="connsiteY376" fmla="*/ 207840 h 342693"/>
                <a:gd name="connsiteX377" fmla="*/ 1952585 w 3694603"/>
                <a:gd name="connsiteY377" fmla="*/ 205634 h 342693"/>
                <a:gd name="connsiteX378" fmla="*/ 1944245 w 3694603"/>
                <a:gd name="connsiteY378" fmla="*/ 238580 h 342693"/>
                <a:gd name="connsiteX379" fmla="*/ 1941695 w 3694603"/>
                <a:gd name="connsiteY379" fmla="*/ 215284 h 342693"/>
                <a:gd name="connsiteX380" fmla="*/ 1784133 w 3694603"/>
                <a:gd name="connsiteY380" fmla="*/ 238098 h 342693"/>
                <a:gd name="connsiteX381" fmla="*/ 1796884 w 3694603"/>
                <a:gd name="connsiteY381" fmla="*/ 190333 h 342693"/>
                <a:gd name="connsiteX382" fmla="*/ 1802812 w 3694603"/>
                <a:gd name="connsiteY382" fmla="*/ 191298 h 342693"/>
                <a:gd name="connsiteX383" fmla="*/ 1791715 w 3694603"/>
                <a:gd name="connsiteY383" fmla="*/ 217076 h 342693"/>
                <a:gd name="connsiteX384" fmla="*/ 1808188 w 3694603"/>
                <a:gd name="connsiteY384" fmla="*/ 228310 h 342693"/>
                <a:gd name="connsiteX385" fmla="*/ 1794817 w 3694603"/>
                <a:gd name="connsiteY385" fmla="*/ 225622 h 342693"/>
                <a:gd name="connsiteX386" fmla="*/ 1784133 w 3694603"/>
                <a:gd name="connsiteY386" fmla="*/ 238098 h 342693"/>
                <a:gd name="connsiteX387" fmla="*/ 1723962 w 3694603"/>
                <a:gd name="connsiteY387" fmla="*/ 240303 h 342693"/>
                <a:gd name="connsiteX388" fmla="*/ 1692739 w 3694603"/>
                <a:gd name="connsiteY388" fmla="*/ 212871 h 342693"/>
                <a:gd name="connsiteX389" fmla="*/ 1677438 w 3694603"/>
                <a:gd name="connsiteY389" fmla="*/ 221487 h 342693"/>
                <a:gd name="connsiteX390" fmla="*/ 1673509 w 3694603"/>
                <a:gd name="connsiteY390" fmla="*/ 188748 h 342693"/>
                <a:gd name="connsiteX391" fmla="*/ 1683848 w 3694603"/>
                <a:gd name="connsiteY391" fmla="*/ 205703 h 342693"/>
                <a:gd name="connsiteX392" fmla="*/ 1721067 w 3694603"/>
                <a:gd name="connsiteY392" fmla="*/ 213285 h 342693"/>
                <a:gd name="connsiteX393" fmla="*/ 1705628 w 3694603"/>
                <a:gd name="connsiteY393" fmla="*/ 197088 h 342693"/>
                <a:gd name="connsiteX394" fmla="*/ 1720516 w 3694603"/>
                <a:gd name="connsiteY394" fmla="*/ 194951 h 342693"/>
                <a:gd name="connsiteX395" fmla="*/ 1716932 w 3694603"/>
                <a:gd name="connsiteY395" fmla="*/ 207633 h 342693"/>
                <a:gd name="connsiteX396" fmla="*/ 1727753 w 3694603"/>
                <a:gd name="connsiteY396" fmla="*/ 205152 h 342693"/>
                <a:gd name="connsiteX397" fmla="*/ 1752428 w 3694603"/>
                <a:gd name="connsiteY397" fmla="*/ 208736 h 342693"/>
                <a:gd name="connsiteX398" fmla="*/ 1726788 w 3694603"/>
                <a:gd name="connsiteY398" fmla="*/ 207633 h 342693"/>
                <a:gd name="connsiteX399" fmla="*/ 1723962 w 3694603"/>
                <a:gd name="connsiteY399" fmla="*/ 240303 h 342693"/>
                <a:gd name="connsiteX400" fmla="*/ 1695359 w 3694603"/>
                <a:gd name="connsiteY400" fmla="*/ 234720 h 342693"/>
                <a:gd name="connsiteX401" fmla="*/ 1695359 w 3694603"/>
                <a:gd name="connsiteY401" fmla="*/ 234720 h 342693"/>
                <a:gd name="connsiteX402" fmla="*/ 2437953 w 3694603"/>
                <a:gd name="connsiteY402" fmla="*/ 241613 h 342693"/>
                <a:gd name="connsiteX403" fmla="*/ 2442088 w 3694603"/>
                <a:gd name="connsiteY403" fmla="*/ 226312 h 342693"/>
                <a:gd name="connsiteX404" fmla="*/ 2437953 w 3694603"/>
                <a:gd name="connsiteY404" fmla="*/ 241613 h 342693"/>
                <a:gd name="connsiteX405" fmla="*/ 2328431 w 3694603"/>
                <a:gd name="connsiteY405" fmla="*/ 242233 h 342693"/>
                <a:gd name="connsiteX406" fmla="*/ 2328431 w 3694603"/>
                <a:gd name="connsiteY406" fmla="*/ 242233 h 342693"/>
                <a:gd name="connsiteX407" fmla="*/ 1769590 w 3694603"/>
                <a:gd name="connsiteY407" fmla="*/ 242302 h 342693"/>
                <a:gd name="connsiteX408" fmla="*/ 1767936 w 3694603"/>
                <a:gd name="connsiteY408" fmla="*/ 222934 h 342693"/>
                <a:gd name="connsiteX409" fmla="*/ 1769590 w 3694603"/>
                <a:gd name="connsiteY409" fmla="*/ 242302 h 342693"/>
                <a:gd name="connsiteX410" fmla="*/ 2728125 w 3694603"/>
                <a:gd name="connsiteY410" fmla="*/ 249332 h 342693"/>
                <a:gd name="connsiteX411" fmla="*/ 2728125 w 3694603"/>
                <a:gd name="connsiteY411" fmla="*/ 249332 h 342693"/>
                <a:gd name="connsiteX412" fmla="*/ 2549541 w 3694603"/>
                <a:gd name="connsiteY412" fmla="*/ 250435 h 342693"/>
                <a:gd name="connsiteX413" fmla="*/ 2559811 w 3694603"/>
                <a:gd name="connsiteY413" fmla="*/ 239889 h 342693"/>
                <a:gd name="connsiteX414" fmla="*/ 2549541 w 3694603"/>
                <a:gd name="connsiteY414" fmla="*/ 250435 h 342693"/>
                <a:gd name="connsiteX415" fmla="*/ 2341389 w 3694603"/>
                <a:gd name="connsiteY415" fmla="*/ 249470 h 342693"/>
                <a:gd name="connsiteX416" fmla="*/ 2341389 w 3694603"/>
                <a:gd name="connsiteY416" fmla="*/ 249470 h 342693"/>
                <a:gd name="connsiteX417" fmla="*/ 1859675 w 3694603"/>
                <a:gd name="connsiteY417" fmla="*/ 248919 h 342693"/>
                <a:gd name="connsiteX418" fmla="*/ 1859675 w 3694603"/>
                <a:gd name="connsiteY418" fmla="*/ 248919 h 342693"/>
                <a:gd name="connsiteX419" fmla="*/ 1643183 w 3694603"/>
                <a:gd name="connsiteY419" fmla="*/ 254226 h 342693"/>
                <a:gd name="connsiteX420" fmla="*/ 1640012 w 3694603"/>
                <a:gd name="connsiteY420" fmla="*/ 220798 h 342693"/>
                <a:gd name="connsiteX421" fmla="*/ 1658208 w 3694603"/>
                <a:gd name="connsiteY421" fmla="*/ 220315 h 342693"/>
                <a:gd name="connsiteX422" fmla="*/ 1644975 w 3694603"/>
                <a:gd name="connsiteY422" fmla="*/ 237339 h 342693"/>
                <a:gd name="connsiteX423" fmla="*/ 1654417 w 3694603"/>
                <a:gd name="connsiteY423" fmla="*/ 255673 h 342693"/>
                <a:gd name="connsiteX424" fmla="*/ 1643183 w 3694603"/>
                <a:gd name="connsiteY424" fmla="*/ 254226 h 342693"/>
                <a:gd name="connsiteX425" fmla="*/ 2661889 w 3694603"/>
                <a:gd name="connsiteY425" fmla="*/ 255122 h 342693"/>
                <a:gd name="connsiteX426" fmla="*/ 2694835 w 3694603"/>
                <a:gd name="connsiteY426" fmla="*/ 253399 h 342693"/>
                <a:gd name="connsiteX427" fmla="*/ 2661889 w 3694603"/>
                <a:gd name="connsiteY427" fmla="*/ 255122 h 342693"/>
                <a:gd name="connsiteX428" fmla="*/ 2450773 w 3694603"/>
                <a:gd name="connsiteY428" fmla="*/ 255053 h 342693"/>
                <a:gd name="connsiteX429" fmla="*/ 2460353 w 3694603"/>
                <a:gd name="connsiteY429" fmla="*/ 238511 h 342693"/>
                <a:gd name="connsiteX430" fmla="*/ 2450773 w 3694603"/>
                <a:gd name="connsiteY430" fmla="*/ 255053 h 342693"/>
                <a:gd name="connsiteX431" fmla="*/ 2068379 w 3694603"/>
                <a:gd name="connsiteY431" fmla="*/ 255260 h 342693"/>
                <a:gd name="connsiteX432" fmla="*/ 2078648 w 3694603"/>
                <a:gd name="connsiteY432" fmla="*/ 232032 h 342693"/>
                <a:gd name="connsiteX433" fmla="*/ 2068379 w 3694603"/>
                <a:gd name="connsiteY433" fmla="*/ 255260 h 342693"/>
                <a:gd name="connsiteX434" fmla="*/ 1660552 w 3694603"/>
                <a:gd name="connsiteY434" fmla="*/ 257190 h 342693"/>
                <a:gd name="connsiteX435" fmla="*/ 1679230 w 3694603"/>
                <a:gd name="connsiteY435" fmla="*/ 247609 h 342693"/>
                <a:gd name="connsiteX436" fmla="*/ 1660552 w 3694603"/>
                <a:gd name="connsiteY436" fmla="*/ 257190 h 342693"/>
                <a:gd name="connsiteX437" fmla="*/ 2052388 w 3694603"/>
                <a:gd name="connsiteY437" fmla="*/ 263462 h 342693"/>
                <a:gd name="connsiteX438" fmla="*/ 2052388 w 3694603"/>
                <a:gd name="connsiteY438" fmla="*/ 263462 h 342693"/>
                <a:gd name="connsiteX439" fmla="*/ 2714960 w 3694603"/>
                <a:gd name="connsiteY439" fmla="*/ 271250 h 342693"/>
                <a:gd name="connsiteX440" fmla="*/ 2714960 w 3694603"/>
                <a:gd name="connsiteY440" fmla="*/ 271250 h 342693"/>
                <a:gd name="connsiteX441" fmla="*/ 2369717 w 3694603"/>
                <a:gd name="connsiteY441" fmla="*/ 250435 h 342693"/>
                <a:gd name="connsiteX442" fmla="*/ 2360481 w 3694603"/>
                <a:gd name="connsiteY442" fmla="*/ 221556 h 342693"/>
                <a:gd name="connsiteX443" fmla="*/ 2375783 w 3694603"/>
                <a:gd name="connsiteY443" fmla="*/ 274834 h 342693"/>
                <a:gd name="connsiteX444" fmla="*/ 2369717 w 3694603"/>
                <a:gd name="connsiteY444" fmla="*/ 250435 h 342693"/>
                <a:gd name="connsiteX445" fmla="*/ 2299138 w 3694603"/>
                <a:gd name="connsiteY445" fmla="*/ 270492 h 342693"/>
                <a:gd name="connsiteX446" fmla="*/ 2299138 w 3694603"/>
                <a:gd name="connsiteY446" fmla="*/ 270492 h 342693"/>
                <a:gd name="connsiteX447" fmla="*/ 2249306 w 3694603"/>
                <a:gd name="connsiteY447" fmla="*/ 229068 h 342693"/>
                <a:gd name="connsiteX448" fmla="*/ 2230903 w 3694603"/>
                <a:gd name="connsiteY448" fmla="*/ 229068 h 342693"/>
                <a:gd name="connsiteX449" fmla="*/ 2226423 w 3694603"/>
                <a:gd name="connsiteY449" fmla="*/ 208115 h 342693"/>
                <a:gd name="connsiteX450" fmla="*/ 2245584 w 3694603"/>
                <a:gd name="connsiteY450" fmla="*/ 189643 h 342693"/>
                <a:gd name="connsiteX451" fmla="*/ 2251856 w 3694603"/>
                <a:gd name="connsiteY451" fmla="*/ 227828 h 342693"/>
                <a:gd name="connsiteX452" fmla="*/ 2280391 w 3694603"/>
                <a:gd name="connsiteY452" fmla="*/ 212596 h 342693"/>
                <a:gd name="connsiteX453" fmla="*/ 2278874 w 3694603"/>
                <a:gd name="connsiteY453" fmla="*/ 259257 h 342693"/>
                <a:gd name="connsiteX454" fmla="*/ 2264745 w 3694603"/>
                <a:gd name="connsiteY454" fmla="*/ 276695 h 342693"/>
                <a:gd name="connsiteX455" fmla="*/ 2249306 w 3694603"/>
                <a:gd name="connsiteY455" fmla="*/ 229068 h 342693"/>
                <a:gd name="connsiteX456" fmla="*/ 1976640 w 3694603"/>
                <a:gd name="connsiteY456" fmla="*/ 269665 h 342693"/>
                <a:gd name="connsiteX457" fmla="*/ 1986152 w 3694603"/>
                <a:gd name="connsiteY457" fmla="*/ 261049 h 342693"/>
                <a:gd name="connsiteX458" fmla="*/ 1976640 w 3694603"/>
                <a:gd name="connsiteY458" fmla="*/ 269665 h 342693"/>
                <a:gd name="connsiteX459" fmla="*/ 1928255 w 3694603"/>
                <a:gd name="connsiteY459" fmla="*/ 270423 h 342693"/>
                <a:gd name="connsiteX460" fmla="*/ 1935285 w 3694603"/>
                <a:gd name="connsiteY460" fmla="*/ 256363 h 342693"/>
                <a:gd name="connsiteX461" fmla="*/ 1928255 w 3694603"/>
                <a:gd name="connsiteY461" fmla="*/ 270423 h 342693"/>
                <a:gd name="connsiteX462" fmla="*/ 2451462 w 3694603"/>
                <a:gd name="connsiteY462" fmla="*/ 277109 h 342693"/>
                <a:gd name="connsiteX463" fmla="*/ 2451462 w 3694603"/>
                <a:gd name="connsiteY463" fmla="*/ 277109 h 342693"/>
                <a:gd name="connsiteX464" fmla="*/ 2196716 w 3694603"/>
                <a:gd name="connsiteY464" fmla="*/ 262497 h 342693"/>
                <a:gd name="connsiteX465" fmla="*/ 2198853 w 3694603"/>
                <a:gd name="connsiteY465" fmla="*/ 249884 h 342693"/>
                <a:gd name="connsiteX466" fmla="*/ 2172248 w 3694603"/>
                <a:gd name="connsiteY466" fmla="*/ 252158 h 342693"/>
                <a:gd name="connsiteX467" fmla="*/ 2203471 w 3694603"/>
                <a:gd name="connsiteY467" fmla="*/ 234858 h 342693"/>
                <a:gd name="connsiteX468" fmla="*/ 2220220 w 3694603"/>
                <a:gd name="connsiteY468" fmla="*/ 203911 h 342693"/>
                <a:gd name="connsiteX469" fmla="*/ 2227939 w 3694603"/>
                <a:gd name="connsiteY469" fmla="*/ 229964 h 342693"/>
                <a:gd name="connsiteX470" fmla="*/ 2216567 w 3694603"/>
                <a:gd name="connsiteY470" fmla="*/ 242095 h 342693"/>
                <a:gd name="connsiteX471" fmla="*/ 2227732 w 3694603"/>
                <a:gd name="connsiteY471" fmla="*/ 250986 h 342693"/>
                <a:gd name="connsiteX472" fmla="*/ 2243034 w 3694603"/>
                <a:gd name="connsiteY472" fmla="*/ 235892 h 342693"/>
                <a:gd name="connsiteX473" fmla="*/ 2240001 w 3694603"/>
                <a:gd name="connsiteY473" fmla="*/ 253743 h 342693"/>
                <a:gd name="connsiteX474" fmla="*/ 2217463 w 3694603"/>
                <a:gd name="connsiteY474" fmla="*/ 259671 h 342693"/>
                <a:gd name="connsiteX475" fmla="*/ 2214912 w 3694603"/>
                <a:gd name="connsiteY475" fmla="*/ 277867 h 342693"/>
                <a:gd name="connsiteX476" fmla="*/ 2196716 w 3694603"/>
                <a:gd name="connsiteY476" fmla="*/ 262497 h 342693"/>
                <a:gd name="connsiteX477" fmla="*/ 2004968 w 3694603"/>
                <a:gd name="connsiteY477" fmla="*/ 277247 h 342693"/>
                <a:gd name="connsiteX478" fmla="*/ 2022682 w 3694603"/>
                <a:gd name="connsiteY478" fmla="*/ 267942 h 342693"/>
                <a:gd name="connsiteX479" fmla="*/ 2004968 w 3694603"/>
                <a:gd name="connsiteY479" fmla="*/ 277247 h 342693"/>
                <a:gd name="connsiteX480" fmla="*/ 2707517 w 3694603"/>
                <a:gd name="connsiteY480" fmla="*/ 283105 h 342693"/>
                <a:gd name="connsiteX481" fmla="*/ 2707517 w 3694603"/>
                <a:gd name="connsiteY481" fmla="*/ 283105 h 342693"/>
                <a:gd name="connsiteX482" fmla="*/ 2665542 w 3694603"/>
                <a:gd name="connsiteY482" fmla="*/ 285242 h 342693"/>
                <a:gd name="connsiteX483" fmla="*/ 2665197 w 3694603"/>
                <a:gd name="connsiteY483" fmla="*/ 270699 h 342693"/>
                <a:gd name="connsiteX484" fmla="*/ 2665542 w 3694603"/>
                <a:gd name="connsiteY484" fmla="*/ 285242 h 342693"/>
                <a:gd name="connsiteX485" fmla="*/ 2585038 w 3694603"/>
                <a:gd name="connsiteY485" fmla="*/ 286207 h 342693"/>
                <a:gd name="connsiteX486" fmla="*/ 2583866 w 3694603"/>
                <a:gd name="connsiteY486" fmla="*/ 247609 h 342693"/>
                <a:gd name="connsiteX487" fmla="*/ 2589793 w 3694603"/>
                <a:gd name="connsiteY487" fmla="*/ 222727 h 342693"/>
                <a:gd name="connsiteX488" fmla="*/ 2600477 w 3694603"/>
                <a:gd name="connsiteY488" fmla="*/ 223692 h 342693"/>
                <a:gd name="connsiteX489" fmla="*/ 2585038 w 3694603"/>
                <a:gd name="connsiteY489" fmla="*/ 286207 h 342693"/>
                <a:gd name="connsiteX490" fmla="*/ 2544579 w 3694603"/>
                <a:gd name="connsiteY490" fmla="*/ 268425 h 342693"/>
                <a:gd name="connsiteX491" fmla="*/ 2560156 w 3694603"/>
                <a:gd name="connsiteY491" fmla="*/ 283519 h 342693"/>
                <a:gd name="connsiteX492" fmla="*/ 2544579 w 3694603"/>
                <a:gd name="connsiteY492" fmla="*/ 268425 h 342693"/>
                <a:gd name="connsiteX493" fmla="*/ 2170801 w 3694603"/>
                <a:gd name="connsiteY493" fmla="*/ 285035 h 342693"/>
                <a:gd name="connsiteX494" fmla="*/ 2185895 w 3694603"/>
                <a:gd name="connsiteY494" fmla="*/ 268976 h 342693"/>
                <a:gd name="connsiteX495" fmla="*/ 2170801 w 3694603"/>
                <a:gd name="connsiteY495" fmla="*/ 285035 h 342693"/>
                <a:gd name="connsiteX496" fmla="*/ 2514803 w 3694603"/>
                <a:gd name="connsiteY496" fmla="*/ 291238 h 342693"/>
                <a:gd name="connsiteX497" fmla="*/ 2514803 w 3694603"/>
                <a:gd name="connsiteY497" fmla="*/ 291238 h 342693"/>
                <a:gd name="connsiteX498" fmla="*/ 2418791 w 3694603"/>
                <a:gd name="connsiteY498" fmla="*/ 292135 h 342693"/>
                <a:gd name="connsiteX499" fmla="*/ 2404386 w 3694603"/>
                <a:gd name="connsiteY499" fmla="*/ 244921 h 342693"/>
                <a:gd name="connsiteX500" fmla="*/ 2429613 w 3694603"/>
                <a:gd name="connsiteY500" fmla="*/ 291790 h 342693"/>
                <a:gd name="connsiteX501" fmla="*/ 2418791 w 3694603"/>
                <a:gd name="connsiteY501" fmla="*/ 292135 h 342693"/>
                <a:gd name="connsiteX502" fmla="*/ 2252752 w 3694603"/>
                <a:gd name="connsiteY502" fmla="*/ 289791 h 342693"/>
                <a:gd name="connsiteX503" fmla="*/ 2252752 w 3694603"/>
                <a:gd name="connsiteY503" fmla="*/ 289791 h 342693"/>
                <a:gd name="connsiteX504" fmla="*/ 2737223 w 3694603"/>
                <a:gd name="connsiteY504" fmla="*/ 298131 h 342693"/>
                <a:gd name="connsiteX505" fmla="*/ 2735362 w 3694603"/>
                <a:gd name="connsiteY505" fmla="*/ 268011 h 342693"/>
                <a:gd name="connsiteX506" fmla="*/ 2741979 w 3694603"/>
                <a:gd name="connsiteY506" fmla="*/ 217282 h 342693"/>
                <a:gd name="connsiteX507" fmla="*/ 2776510 w 3694603"/>
                <a:gd name="connsiteY507" fmla="*/ 218110 h 342693"/>
                <a:gd name="connsiteX508" fmla="*/ 2770514 w 3694603"/>
                <a:gd name="connsiteY508" fmla="*/ 260980 h 342693"/>
                <a:gd name="connsiteX509" fmla="*/ 2787194 w 3694603"/>
                <a:gd name="connsiteY509" fmla="*/ 278143 h 342693"/>
                <a:gd name="connsiteX510" fmla="*/ 2792225 w 3694603"/>
                <a:gd name="connsiteY510" fmla="*/ 273801 h 342693"/>
                <a:gd name="connsiteX511" fmla="*/ 2792639 w 3694603"/>
                <a:gd name="connsiteY511" fmla="*/ 299785 h 342693"/>
                <a:gd name="connsiteX512" fmla="*/ 2787952 w 3694603"/>
                <a:gd name="connsiteY512" fmla="*/ 285104 h 342693"/>
                <a:gd name="connsiteX513" fmla="*/ 2770652 w 3694603"/>
                <a:gd name="connsiteY513" fmla="*/ 287447 h 342693"/>
                <a:gd name="connsiteX514" fmla="*/ 2744943 w 3694603"/>
                <a:gd name="connsiteY514" fmla="*/ 279177 h 342693"/>
                <a:gd name="connsiteX515" fmla="*/ 2737223 w 3694603"/>
                <a:gd name="connsiteY515" fmla="*/ 298131 h 342693"/>
                <a:gd name="connsiteX516" fmla="*/ 2622119 w 3694603"/>
                <a:gd name="connsiteY516" fmla="*/ 278281 h 342693"/>
                <a:gd name="connsiteX517" fmla="*/ 2631631 w 3694603"/>
                <a:gd name="connsiteY517" fmla="*/ 301095 h 342693"/>
                <a:gd name="connsiteX518" fmla="*/ 2622119 w 3694603"/>
                <a:gd name="connsiteY518" fmla="*/ 278281 h 342693"/>
                <a:gd name="connsiteX519" fmla="*/ 2694007 w 3694603"/>
                <a:gd name="connsiteY519" fmla="*/ 304955 h 342693"/>
                <a:gd name="connsiteX520" fmla="*/ 2702761 w 3694603"/>
                <a:gd name="connsiteY520" fmla="*/ 295374 h 342693"/>
                <a:gd name="connsiteX521" fmla="*/ 2694007 w 3694603"/>
                <a:gd name="connsiteY521" fmla="*/ 304955 h 342693"/>
                <a:gd name="connsiteX522" fmla="*/ 2536101 w 3694603"/>
                <a:gd name="connsiteY522" fmla="*/ 303852 h 342693"/>
                <a:gd name="connsiteX523" fmla="*/ 2542649 w 3694603"/>
                <a:gd name="connsiteY523" fmla="*/ 290273 h 342693"/>
                <a:gd name="connsiteX524" fmla="*/ 2536101 w 3694603"/>
                <a:gd name="connsiteY524" fmla="*/ 303852 h 342693"/>
                <a:gd name="connsiteX525" fmla="*/ 2790088 w 3694603"/>
                <a:gd name="connsiteY525" fmla="*/ 311847 h 342693"/>
                <a:gd name="connsiteX526" fmla="*/ 2790088 w 3694603"/>
                <a:gd name="connsiteY526" fmla="*/ 311847 h 342693"/>
                <a:gd name="connsiteX527" fmla="*/ 2761485 w 3694603"/>
                <a:gd name="connsiteY527" fmla="*/ 311364 h 342693"/>
                <a:gd name="connsiteX528" fmla="*/ 2761485 w 3694603"/>
                <a:gd name="connsiteY528" fmla="*/ 311364 h 342693"/>
                <a:gd name="connsiteX529" fmla="*/ 2479376 w 3694603"/>
                <a:gd name="connsiteY529" fmla="*/ 314052 h 342693"/>
                <a:gd name="connsiteX530" fmla="*/ 2846951 w 3694603"/>
                <a:gd name="connsiteY530" fmla="*/ 337831 h 342693"/>
                <a:gd name="connsiteX531" fmla="*/ 2857290 w 3694603"/>
                <a:gd name="connsiteY531" fmla="*/ 313226 h 342693"/>
                <a:gd name="connsiteX532" fmla="*/ 2824689 w 3694603"/>
                <a:gd name="connsiteY532" fmla="*/ 322117 h 342693"/>
                <a:gd name="connsiteX533" fmla="*/ 2840059 w 3694603"/>
                <a:gd name="connsiteY533" fmla="*/ 300474 h 342693"/>
                <a:gd name="connsiteX534" fmla="*/ 2841368 w 3694603"/>
                <a:gd name="connsiteY534" fmla="*/ 283657 h 342693"/>
                <a:gd name="connsiteX535" fmla="*/ 2827446 w 3694603"/>
                <a:gd name="connsiteY535" fmla="*/ 282554 h 342693"/>
                <a:gd name="connsiteX536" fmla="*/ 2819244 w 3694603"/>
                <a:gd name="connsiteY536" fmla="*/ 281658 h 342693"/>
                <a:gd name="connsiteX537" fmla="*/ 2816211 w 3694603"/>
                <a:gd name="connsiteY537" fmla="*/ 250297 h 342693"/>
                <a:gd name="connsiteX538" fmla="*/ 2829031 w 3694603"/>
                <a:gd name="connsiteY538" fmla="*/ 242233 h 342693"/>
                <a:gd name="connsiteX539" fmla="*/ 2813867 w 3694603"/>
                <a:gd name="connsiteY539" fmla="*/ 211217 h 342693"/>
                <a:gd name="connsiteX540" fmla="*/ 2790088 w 3694603"/>
                <a:gd name="connsiteY540" fmla="*/ 242991 h 342693"/>
                <a:gd name="connsiteX541" fmla="*/ 2790985 w 3694603"/>
                <a:gd name="connsiteY541" fmla="*/ 211010 h 342693"/>
                <a:gd name="connsiteX542" fmla="*/ 2626875 w 3694603"/>
                <a:gd name="connsiteY542" fmla="*/ 201016 h 342693"/>
                <a:gd name="connsiteX543" fmla="*/ 2627082 w 3694603"/>
                <a:gd name="connsiteY543" fmla="*/ 214870 h 342693"/>
                <a:gd name="connsiteX544" fmla="*/ 2610264 w 3694603"/>
                <a:gd name="connsiteY544" fmla="*/ 215904 h 342693"/>
                <a:gd name="connsiteX545" fmla="*/ 2614882 w 3694603"/>
                <a:gd name="connsiteY545" fmla="*/ 198466 h 342693"/>
                <a:gd name="connsiteX546" fmla="*/ 2576560 w 3694603"/>
                <a:gd name="connsiteY546" fmla="*/ 221969 h 342693"/>
                <a:gd name="connsiteX547" fmla="*/ 2584831 w 3694603"/>
                <a:gd name="connsiteY547" fmla="*/ 197363 h 342693"/>
                <a:gd name="connsiteX548" fmla="*/ 2565877 w 3694603"/>
                <a:gd name="connsiteY548" fmla="*/ 197983 h 342693"/>
                <a:gd name="connsiteX549" fmla="*/ 2565118 w 3694603"/>
                <a:gd name="connsiteY549" fmla="*/ 208805 h 342693"/>
                <a:gd name="connsiteX550" fmla="*/ 2564085 w 3694603"/>
                <a:gd name="connsiteY550" fmla="*/ 196605 h 342693"/>
                <a:gd name="connsiteX551" fmla="*/ 2515424 w 3694603"/>
                <a:gd name="connsiteY551" fmla="*/ 199086 h 342693"/>
                <a:gd name="connsiteX552" fmla="*/ 2507842 w 3694603"/>
                <a:gd name="connsiteY552" fmla="*/ 192883 h 342693"/>
                <a:gd name="connsiteX553" fmla="*/ 2415483 w 3694603"/>
                <a:gd name="connsiteY553" fmla="*/ 186060 h 342693"/>
                <a:gd name="connsiteX554" fmla="*/ 2413553 w 3694603"/>
                <a:gd name="connsiteY554" fmla="*/ 200327 h 342693"/>
                <a:gd name="connsiteX555" fmla="*/ 2443742 w 3694603"/>
                <a:gd name="connsiteY555" fmla="*/ 205221 h 342693"/>
                <a:gd name="connsiteX556" fmla="*/ 2414518 w 3694603"/>
                <a:gd name="connsiteY556" fmla="*/ 204462 h 342693"/>
                <a:gd name="connsiteX557" fmla="*/ 2403697 w 3694603"/>
                <a:gd name="connsiteY557" fmla="*/ 237408 h 342693"/>
                <a:gd name="connsiteX558" fmla="*/ 2393358 w 3694603"/>
                <a:gd name="connsiteY558" fmla="*/ 185784 h 342693"/>
                <a:gd name="connsiteX559" fmla="*/ 2322711 w 3694603"/>
                <a:gd name="connsiteY559" fmla="*/ 184819 h 342693"/>
                <a:gd name="connsiteX560" fmla="*/ 2290523 w 3694603"/>
                <a:gd name="connsiteY560" fmla="*/ 180201 h 342693"/>
                <a:gd name="connsiteX561" fmla="*/ 2281700 w 3694603"/>
                <a:gd name="connsiteY561" fmla="*/ 209976 h 342693"/>
                <a:gd name="connsiteX562" fmla="*/ 2285422 w 3694603"/>
                <a:gd name="connsiteY562" fmla="*/ 179718 h 342693"/>
                <a:gd name="connsiteX563" fmla="*/ 2249444 w 3694603"/>
                <a:gd name="connsiteY563" fmla="*/ 177306 h 342693"/>
                <a:gd name="connsiteX564" fmla="*/ 2249650 w 3694603"/>
                <a:gd name="connsiteY564" fmla="*/ 188954 h 342693"/>
                <a:gd name="connsiteX565" fmla="*/ 2226216 w 3694603"/>
                <a:gd name="connsiteY565" fmla="*/ 174135 h 342693"/>
                <a:gd name="connsiteX566" fmla="*/ 2227319 w 3694603"/>
                <a:gd name="connsiteY566" fmla="*/ 200327 h 342693"/>
                <a:gd name="connsiteX567" fmla="*/ 2209123 w 3694603"/>
                <a:gd name="connsiteY567" fmla="*/ 200671 h 342693"/>
                <a:gd name="connsiteX568" fmla="*/ 2221874 w 3694603"/>
                <a:gd name="connsiteY568" fmla="*/ 180683 h 342693"/>
                <a:gd name="connsiteX569" fmla="*/ 2168871 w 3694603"/>
                <a:gd name="connsiteY569" fmla="*/ 176410 h 342693"/>
                <a:gd name="connsiteX570" fmla="*/ 2172524 w 3694603"/>
                <a:gd name="connsiteY570" fmla="*/ 189161 h 342693"/>
                <a:gd name="connsiteX571" fmla="*/ 2160117 w 3694603"/>
                <a:gd name="connsiteY571" fmla="*/ 185094 h 342693"/>
                <a:gd name="connsiteX572" fmla="*/ 2154052 w 3694603"/>
                <a:gd name="connsiteY572" fmla="*/ 175169 h 342693"/>
                <a:gd name="connsiteX573" fmla="*/ 2135856 w 3694603"/>
                <a:gd name="connsiteY573" fmla="*/ 169242 h 342693"/>
                <a:gd name="connsiteX574" fmla="*/ 2130618 w 3694603"/>
                <a:gd name="connsiteY574" fmla="*/ 191160 h 342693"/>
                <a:gd name="connsiteX575" fmla="*/ 2133168 w 3694603"/>
                <a:gd name="connsiteY575" fmla="*/ 169655 h 342693"/>
                <a:gd name="connsiteX576" fmla="*/ 2084507 w 3694603"/>
                <a:gd name="connsiteY576" fmla="*/ 167105 h 342693"/>
                <a:gd name="connsiteX577" fmla="*/ 2072307 w 3694603"/>
                <a:gd name="connsiteY577" fmla="*/ 184130 h 342693"/>
                <a:gd name="connsiteX578" fmla="*/ 2074030 w 3694603"/>
                <a:gd name="connsiteY578" fmla="*/ 166002 h 342693"/>
                <a:gd name="connsiteX579" fmla="*/ 1966094 w 3694603"/>
                <a:gd name="connsiteY579" fmla="*/ 159041 h 342693"/>
                <a:gd name="connsiteX580" fmla="*/ 1954998 w 3694603"/>
                <a:gd name="connsiteY580" fmla="*/ 166209 h 342693"/>
                <a:gd name="connsiteX581" fmla="*/ 1938869 w 3694603"/>
                <a:gd name="connsiteY581" fmla="*/ 154285 h 342693"/>
                <a:gd name="connsiteX582" fmla="*/ 1931287 w 3694603"/>
                <a:gd name="connsiteY582" fmla="*/ 197294 h 342693"/>
                <a:gd name="connsiteX583" fmla="*/ 1917434 w 3694603"/>
                <a:gd name="connsiteY583" fmla="*/ 154492 h 342693"/>
                <a:gd name="connsiteX584" fmla="*/ 1895240 w 3694603"/>
                <a:gd name="connsiteY584" fmla="*/ 167105 h 342693"/>
                <a:gd name="connsiteX585" fmla="*/ 1894551 w 3694603"/>
                <a:gd name="connsiteY585" fmla="*/ 155250 h 342693"/>
                <a:gd name="connsiteX586" fmla="*/ 1802261 w 3694603"/>
                <a:gd name="connsiteY586" fmla="*/ 150081 h 342693"/>
                <a:gd name="connsiteX587" fmla="*/ 1686192 w 3694603"/>
                <a:gd name="connsiteY587" fmla="*/ 143947 h 342693"/>
                <a:gd name="connsiteX588" fmla="*/ 1689913 w 3694603"/>
                <a:gd name="connsiteY588" fmla="*/ 186680 h 342693"/>
                <a:gd name="connsiteX589" fmla="*/ 1667582 w 3694603"/>
                <a:gd name="connsiteY589" fmla="*/ 181304 h 342693"/>
                <a:gd name="connsiteX590" fmla="*/ 1659587 w 3694603"/>
                <a:gd name="connsiteY590" fmla="*/ 210596 h 342693"/>
                <a:gd name="connsiteX591" fmla="*/ 1652212 w 3694603"/>
                <a:gd name="connsiteY591" fmla="*/ 197708 h 342693"/>
                <a:gd name="connsiteX592" fmla="*/ 1639736 w 3694603"/>
                <a:gd name="connsiteY592" fmla="*/ 200189 h 342693"/>
                <a:gd name="connsiteX593" fmla="*/ 1626847 w 3694603"/>
                <a:gd name="connsiteY593" fmla="*/ 202739 h 342693"/>
                <a:gd name="connsiteX594" fmla="*/ 1627192 w 3694603"/>
                <a:gd name="connsiteY594" fmla="*/ 259878 h 342693"/>
                <a:gd name="connsiteX595" fmla="*/ 1889726 w 3694603"/>
                <a:gd name="connsiteY595" fmla="*/ 276075 h 342693"/>
                <a:gd name="connsiteX596" fmla="*/ 1983050 w 3694603"/>
                <a:gd name="connsiteY596" fmla="*/ 283519 h 342693"/>
                <a:gd name="connsiteX597" fmla="*/ 2049149 w 3694603"/>
                <a:gd name="connsiteY597" fmla="*/ 282071 h 342693"/>
                <a:gd name="connsiteX598" fmla="*/ 2098912 w 3694603"/>
                <a:gd name="connsiteY598" fmla="*/ 290963 h 342693"/>
                <a:gd name="connsiteX599" fmla="*/ 2196303 w 3694603"/>
                <a:gd name="connsiteY599" fmla="*/ 293927 h 342693"/>
                <a:gd name="connsiteX600" fmla="*/ 2197957 w 3694603"/>
                <a:gd name="connsiteY600" fmla="*/ 279177 h 342693"/>
                <a:gd name="connsiteX601" fmla="*/ 2202023 w 3694603"/>
                <a:gd name="connsiteY601" fmla="*/ 279383 h 342693"/>
                <a:gd name="connsiteX602" fmla="*/ 2200921 w 3694603"/>
                <a:gd name="connsiteY602" fmla="*/ 296959 h 342693"/>
                <a:gd name="connsiteX603" fmla="*/ 2232006 w 3694603"/>
                <a:gd name="connsiteY603" fmla="*/ 281038 h 342693"/>
                <a:gd name="connsiteX604" fmla="*/ 2208089 w 3694603"/>
                <a:gd name="connsiteY604" fmla="*/ 298062 h 342693"/>
                <a:gd name="connsiteX605" fmla="*/ 2274326 w 3694603"/>
                <a:gd name="connsiteY605" fmla="*/ 302749 h 342693"/>
                <a:gd name="connsiteX606" fmla="*/ 2291005 w 3694603"/>
                <a:gd name="connsiteY606" fmla="*/ 263255 h 342693"/>
                <a:gd name="connsiteX607" fmla="*/ 2290523 w 3694603"/>
                <a:gd name="connsiteY607" fmla="*/ 303024 h 342693"/>
                <a:gd name="connsiteX608" fmla="*/ 2418447 w 3694603"/>
                <a:gd name="connsiteY608" fmla="*/ 310813 h 342693"/>
                <a:gd name="connsiteX609" fmla="*/ 2428303 w 3694603"/>
                <a:gd name="connsiteY609" fmla="*/ 300474 h 342693"/>
                <a:gd name="connsiteX610" fmla="*/ 2451806 w 3694603"/>
                <a:gd name="connsiteY610" fmla="*/ 315086 h 342693"/>
                <a:gd name="connsiteX611" fmla="*/ 2454081 w 3694603"/>
                <a:gd name="connsiteY611" fmla="*/ 292617 h 342693"/>
                <a:gd name="connsiteX612" fmla="*/ 2454839 w 3694603"/>
                <a:gd name="connsiteY612" fmla="*/ 313501 h 342693"/>
                <a:gd name="connsiteX613" fmla="*/ 2475447 w 3694603"/>
                <a:gd name="connsiteY613" fmla="*/ 313846 h 342693"/>
                <a:gd name="connsiteX614" fmla="*/ 2468210 w 3694603"/>
                <a:gd name="connsiteY614" fmla="*/ 286552 h 342693"/>
                <a:gd name="connsiteX615" fmla="*/ 2479376 w 3694603"/>
                <a:gd name="connsiteY615" fmla="*/ 314052 h 342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Lst>
              <a:rect l="l" t="t" r="r" b="b"/>
              <a:pathLst>
                <a:path w="3694603" h="342693">
                  <a:moveTo>
                    <a:pt x="52059" y="77227"/>
                  </a:moveTo>
                  <a:cubicBezTo>
                    <a:pt x="41651" y="56481"/>
                    <a:pt x="74732" y="75849"/>
                    <a:pt x="52059" y="77227"/>
                  </a:cubicBezTo>
                  <a:close/>
                  <a:moveTo>
                    <a:pt x="447134" y="85292"/>
                  </a:moveTo>
                  <a:cubicBezTo>
                    <a:pt x="448374" y="62478"/>
                    <a:pt x="467673" y="96044"/>
                    <a:pt x="447134" y="85292"/>
                  </a:cubicBezTo>
                  <a:moveTo>
                    <a:pt x="543835" y="119134"/>
                  </a:moveTo>
                  <a:lnTo>
                    <a:pt x="546178" y="109277"/>
                  </a:lnTo>
                  <a:cubicBezTo>
                    <a:pt x="532807" y="115136"/>
                    <a:pt x="525501" y="106589"/>
                    <a:pt x="519573" y="96320"/>
                  </a:cubicBezTo>
                  <a:cubicBezTo>
                    <a:pt x="510200" y="92391"/>
                    <a:pt x="500137" y="89289"/>
                    <a:pt x="492417" y="82328"/>
                  </a:cubicBezTo>
                  <a:cubicBezTo>
                    <a:pt x="508752" y="84189"/>
                    <a:pt x="524950" y="87221"/>
                    <a:pt x="540733" y="92046"/>
                  </a:cubicBezTo>
                  <a:cubicBezTo>
                    <a:pt x="540802" y="88531"/>
                    <a:pt x="541009" y="81432"/>
                    <a:pt x="541078" y="77917"/>
                  </a:cubicBezTo>
                  <a:cubicBezTo>
                    <a:pt x="541905" y="82741"/>
                    <a:pt x="543628" y="92322"/>
                    <a:pt x="544455" y="97147"/>
                  </a:cubicBezTo>
                  <a:cubicBezTo>
                    <a:pt x="554518" y="96664"/>
                    <a:pt x="564512" y="96251"/>
                    <a:pt x="574575" y="95837"/>
                  </a:cubicBezTo>
                  <a:cubicBezTo>
                    <a:pt x="574851" y="97698"/>
                    <a:pt x="575402" y="101489"/>
                    <a:pt x="575678" y="103350"/>
                  </a:cubicBezTo>
                  <a:cubicBezTo>
                    <a:pt x="565064" y="108657"/>
                    <a:pt x="554518" y="114033"/>
                    <a:pt x="543835" y="119134"/>
                  </a:cubicBezTo>
                  <a:moveTo>
                    <a:pt x="234709" y="118513"/>
                  </a:moveTo>
                  <a:cubicBezTo>
                    <a:pt x="226643" y="110863"/>
                    <a:pt x="239604" y="93632"/>
                    <a:pt x="247113" y="105004"/>
                  </a:cubicBezTo>
                  <a:cubicBezTo>
                    <a:pt x="256558" y="113964"/>
                    <a:pt x="243874" y="130575"/>
                    <a:pt x="234709" y="118513"/>
                  </a:cubicBezTo>
                  <a:moveTo>
                    <a:pt x="913547" y="125613"/>
                  </a:moveTo>
                  <a:cubicBezTo>
                    <a:pt x="909962" y="114585"/>
                    <a:pt x="913822" y="110794"/>
                    <a:pt x="925264" y="114309"/>
                  </a:cubicBezTo>
                  <a:cubicBezTo>
                    <a:pt x="928848" y="125268"/>
                    <a:pt x="924919" y="129059"/>
                    <a:pt x="913547" y="125613"/>
                  </a:cubicBezTo>
                  <a:moveTo>
                    <a:pt x="199696" y="125061"/>
                  </a:moveTo>
                  <a:cubicBezTo>
                    <a:pt x="199625" y="112517"/>
                    <a:pt x="199281" y="99972"/>
                    <a:pt x="198796" y="87428"/>
                  </a:cubicBezTo>
                  <a:lnTo>
                    <a:pt x="201141" y="87428"/>
                  </a:lnTo>
                  <a:cubicBezTo>
                    <a:pt x="202727" y="98525"/>
                    <a:pt x="196111" y="114102"/>
                    <a:pt x="210034" y="119754"/>
                  </a:cubicBezTo>
                  <a:cubicBezTo>
                    <a:pt x="212444" y="108450"/>
                    <a:pt x="213758" y="97009"/>
                    <a:pt x="214032" y="85361"/>
                  </a:cubicBezTo>
                  <a:cubicBezTo>
                    <a:pt x="216579" y="91840"/>
                    <a:pt x="219269" y="98181"/>
                    <a:pt x="222026" y="104522"/>
                  </a:cubicBezTo>
                  <a:cubicBezTo>
                    <a:pt x="216856" y="111345"/>
                    <a:pt x="211687" y="118100"/>
                    <a:pt x="206518" y="124854"/>
                  </a:cubicBezTo>
                  <a:cubicBezTo>
                    <a:pt x="209345" y="126991"/>
                    <a:pt x="214856" y="131196"/>
                    <a:pt x="217683" y="133263"/>
                  </a:cubicBezTo>
                  <a:cubicBezTo>
                    <a:pt x="211687" y="130644"/>
                    <a:pt x="205694" y="127887"/>
                    <a:pt x="199696" y="125061"/>
                  </a:cubicBezTo>
                  <a:moveTo>
                    <a:pt x="539906" y="133401"/>
                  </a:moveTo>
                  <a:cubicBezTo>
                    <a:pt x="540044" y="122787"/>
                    <a:pt x="559550" y="119478"/>
                    <a:pt x="559894" y="131471"/>
                  </a:cubicBezTo>
                  <a:cubicBezTo>
                    <a:pt x="558723" y="140638"/>
                    <a:pt x="541423" y="143947"/>
                    <a:pt x="539906" y="133401"/>
                  </a:cubicBezTo>
                  <a:moveTo>
                    <a:pt x="515507" y="139466"/>
                  </a:moveTo>
                  <a:cubicBezTo>
                    <a:pt x="515231" y="132574"/>
                    <a:pt x="517850" y="127198"/>
                    <a:pt x="523433" y="123269"/>
                  </a:cubicBezTo>
                  <a:cubicBezTo>
                    <a:pt x="542250" y="117342"/>
                    <a:pt x="532118" y="156904"/>
                    <a:pt x="515507" y="139466"/>
                  </a:cubicBezTo>
                  <a:moveTo>
                    <a:pt x="942288" y="146704"/>
                  </a:moveTo>
                  <a:cubicBezTo>
                    <a:pt x="930088" y="126853"/>
                    <a:pt x="964826" y="143671"/>
                    <a:pt x="942288" y="146704"/>
                  </a:cubicBezTo>
                  <a:moveTo>
                    <a:pt x="732344" y="148151"/>
                  </a:moveTo>
                  <a:cubicBezTo>
                    <a:pt x="731654" y="138639"/>
                    <a:pt x="731034" y="129059"/>
                    <a:pt x="730414" y="119478"/>
                  </a:cubicBezTo>
                  <a:cubicBezTo>
                    <a:pt x="739719" y="120719"/>
                    <a:pt x="747300" y="126095"/>
                    <a:pt x="754055" y="132436"/>
                  </a:cubicBezTo>
                  <a:cubicBezTo>
                    <a:pt x="748472" y="140018"/>
                    <a:pt x="741511" y="145876"/>
                    <a:pt x="732344" y="148151"/>
                  </a:cubicBezTo>
                  <a:moveTo>
                    <a:pt x="267858" y="147048"/>
                  </a:moveTo>
                  <a:cubicBezTo>
                    <a:pt x="259175" y="143119"/>
                    <a:pt x="257452" y="129955"/>
                    <a:pt x="262142" y="122442"/>
                  </a:cubicBezTo>
                  <a:cubicBezTo>
                    <a:pt x="275650" y="116239"/>
                    <a:pt x="284405" y="148289"/>
                    <a:pt x="267858" y="147048"/>
                  </a:cubicBezTo>
                  <a:moveTo>
                    <a:pt x="825116" y="160557"/>
                  </a:moveTo>
                  <a:cubicBezTo>
                    <a:pt x="828907" y="156353"/>
                    <a:pt x="828907" y="156353"/>
                    <a:pt x="825116" y="160557"/>
                  </a:cubicBezTo>
                  <a:moveTo>
                    <a:pt x="229126" y="152493"/>
                  </a:moveTo>
                  <a:cubicBezTo>
                    <a:pt x="231263" y="144705"/>
                    <a:pt x="233191" y="136847"/>
                    <a:pt x="235329" y="128921"/>
                  </a:cubicBezTo>
                  <a:cubicBezTo>
                    <a:pt x="237671" y="130851"/>
                    <a:pt x="242496" y="134711"/>
                    <a:pt x="244841" y="136641"/>
                  </a:cubicBezTo>
                  <a:cubicBezTo>
                    <a:pt x="241117" y="140707"/>
                    <a:pt x="237397" y="144705"/>
                    <a:pt x="233743" y="148771"/>
                  </a:cubicBezTo>
                  <a:lnTo>
                    <a:pt x="244701" y="151597"/>
                  </a:lnTo>
                  <a:lnTo>
                    <a:pt x="242566" y="159937"/>
                  </a:lnTo>
                  <a:cubicBezTo>
                    <a:pt x="238018" y="157525"/>
                    <a:pt x="233535" y="155044"/>
                    <a:pt x="229126" y="152493"/>
                  </a:cubicBezTo>
                  <a:moveTo>
                    <a:pt x="571887" y="169655"/>
                  </a:moveTo>
                  <a:cubicBezTo>
                    <a:pt x="578090" y="152355"/>
                    <a:pt x="564926" y="135882"/>
                    <a:pt x="568648" y="119065"/>
                  </a:cubicBezTo>
                  <a:cubicBezTo>
                    <a:pt x="577746" y="113964"/>
                    <a:pt x="589670" y="117273"/>
                    <a:pt x="599733" y="115412"/>
                  </a:cubicBezTo>
                  <a:cubicBezTo>
                    <a:pt x="595046" y="122304"/>
                    <a:pt x="588222" y="124717"/>
                    <a:pt x="579331" y="122649"/>
                  </a:cubicBezTo>
                  <a:cubicBezTo>
                    <a:pt x="581054" y="136158"/>
                    <a:pt x="580296" y="150770"/>
                    <a:pt x="589463" y="161936"/>
                  </a:cubicBezTo>
                  <a:cubicBezTo>
                    <a:pt x="586155" y="160626"/>
                    <a:pt x="579538" y="158145"/>
                    <a:pt x="576161" y="156835"/>
                  </a:cubicBezTo>
                  <a:cubicBezTo>
                    <a:pt x="575127" y="160075"/>
                    <a:pt x="572990" y="166485"/>
                    <a:pt x="571887" y="169655"/>
                  </a:cubicBezTo>
                  <a:moveTo>
                    <a:pt x="516265" y="173309"/>
                  </a:moveTo>
                  <a:cubicBezTo>
                    <a:pt x="511923" y="162074"/>
                    <a:pt x="515507" y="158283"/>
                    <a:pt x="526879" y="162074"/>
                  </a:cubicBezTo>
                  <a:cubicBezTo>
                    <a:pt x="530946" y="173515"/>
                    <a:pt x="527431" y="177237"/>
                    <a:pt x="516265" y="173309"/>
                  </a:cubicBezTo>
                  <a:moveTo>
                    <a:pt x="356015" y="173791"/>
                  </a:moveTo>
                  <a:cubicBezTo>
                    <a:pt x="359944" y="169793"/>
                    <a:pt x="359944" y="169793"/>
                    <a:pt x="356015" y="173791"/>
                  </a:cubicBezTo>
                  <a:moveTo>
                    <a:pt x="753986" y="186955"/>
                  </a:moveTo>
                  <a:cubicBezTo>
                    <a:pt x="748127" y="177513"/>
                    <a:pt x="750471" y="171792"/>
                    <a:pt x="760947" y="169655"/>
                  </a:cubicBezTo>
                  <a:cubicBezTo>
                    <a:pt x="763153" y="171172"/>
                    <a:pt x="767633" y="174135"/>
                    <a:pt x="769839" y="175583"/>
                  </a:cubicBezTo>
                  <a:cubicBezTo>
                    <a:pt x="771010" y="177306"/>
                    <a:pt x="773423" y="180683"/>
                    <a:pt x="774594" y="182337"/>
                  </a:cubicBezTo>
                  <a:cubicBezTo>
                    <a:pt x="769425" y="189368"/>
                    <a:pt x="762602" y="190884"/>
                    <a:pt x="753986" y="186955"/>
                  </a:cubicBezTo>
                  <a:moveTo>
                    <a:pt x="804646" y="173584"/>
                  </a:moveTo>
                  <a:cubicBezTo>
                    <a:pt x="803887" y="165589"/>
                    <a:pt x="794100" y="154768"/>
                    <a:pt x="805197" y="149185"/>
                  </a:cubicBezTo>
                  <a:cubicBezTo>
                    <a:pt x="800441" y="139949"/>
                    <a:pt x="795685" y="130713"/>
                    <a:pt x="790861" y="121477"/>
                  </a:cubicBezTo>
                  <a:cubicBezTo>
                    <a:pt x="784933" y="131540"/>
                    <a:pt x="777007" y="139811"/>
                    <a:pt x="768874" y="148013"/>
                  </a:cubicBezTo>
                  <a:cubicBezTo>
                    <a:pt x="764256" y="138708"/>
                    <a:pt x="762946" y="128370"/>
                    <a:pt x="768185" y="118858"/>
                  </a:cubicBezTo>
                  <a:cubicBezTo>
                    <a:pt x="777351" y="113895"/>
                    <a:pt x="787277" y="110656"/>
                    <a:pt x="796926" y="106796"/>
                  </a:cubicBezTo>
                  <a:lnTo>
                    <a:pt x="792377" y="117824"/>
                  </a:lnTo>
                  <a:cubicBezTo>
                    <a:pt x="798305" y="120443"/>
                    <a:pt x="804163" y="123131"/>
                    <a:pt x="810091" y="125819"/>
                  </a:cubicBezTo>
                  <a:cubicBezTo>
                    <a:pt x="809677" y="131678"/>
                    <a:pt x="808781" y="143464"/>
                    <a:pt x="808299" y="149323"/>
                  </a:cubicBezTo>
                  <a:cubicBezTo>
                    <a:pt x="811400" y="144498"/>
                    <a:pt x="817603" y="134848"/>
                    <a:pt x="820705" y="130024"/>
                  </a:cubicBezTo>
                  <a:cubicBezTo>
                    <a:pt x="824358" y="130644"/>
                    <a:pt x="831802" y="131954"/>
                    <a:pt x="835455" y="132643"/>
                  </a:cubicBezTo>
                  <a:cubicBezTo>
                    <a:pt x="827184" y="141741"/>
                    <a:pt x="819051" y="150908"/>
                    <a:pt x="811331" y="160420"/>
                  </a:cubicBezTo>
                  <a:cubicBezTo>
                    <a:pt x="811883" y="167726"/>
                    <a:pt x="811814" y="174963"/>
                    <a:pt x="811262" y="182200"/>
                  </a:cubicBezTo>
                  <a:cubicBezTo>
                    <a:pt x="812296" y="186128"/>
                    <a:pt x="814364" y="193917"/>
                    <a:pt x="815398" y="197777"/>
                  </a:cubicBezTo>
                  <a:cubicBezTo>
                    <a:pt x="805266" y="193572"/>
                    <a:pt x="805542" y="182820"/>
                    <a:pt x="804646" y="173584"/>
                  </a:cubicBezTo>
                  <a:moveTo>
                    <a:pt x="725520" y="173791"/>
                  </a:moveTo>
                  <a:cubicBezTo>
                    <a:pt x="721316" y="173722"/>
                    <a:pt x="712907" y="173515"/>
                    <a:pt x="708703" y="173446"/>
                  </a:cubicBezTo>
                  <a:cubicBezTo>
                    <a:pt x="713941" y="170207"/>
                    <a:pt x="719179" y="166898"/>
                    <a:pt x="724417" y="163659"/>
                  </a:cubicBezTo>
                  <a:cubicBezTo>
                    <a:pt x="729793" y="164072"/>
                    <a:pt x="740546" y="164969"/>
                    <a:pt x="745922" y="165382"/>
                  </a:cubicBezTo>
                  <a:cubicBezTo>
                    <a:pt x="747990" y="160557"/>
                    <a:pt x="752194" y="150977"/>
                    <a:pt x="754262" y="146152"/>
                  </a:cubicBezTo>
                  <a:cubicBezTo>
                    <a:pt x="753159" y="158490"/>
                    <a:pt x="750333" y="170552"/>
                    <a:pt x="747163" y="182406"/>
                  </a:cubicBezTo>
                  <a:cubicBezTo>
                    <a:pt x="734480" y="175514"/>
                    <a:pt x="725244" y="183234"/>
                    <a:pt x="722212" y="195985"/>
                  </a:cubicBezTo>
                  <a:cubicBezTo>
                    <a:pt x="723039" y="190471"/>
                    <a:pt x="724693" y="179305"/>
                    <a:pt x="725520" y="173791"/>
                  </a:cubicBezTo>
                  <a:moveTo>
                    <a:pt x="687198" y="194744"/>
                  </a:moveTo>
                  <a:cubicBezTo>
                    <a:pt x="677411" y="173722"/>
                    <a:pt x="710012" y="194193"/>
                    <a:pt x="687198" y="194744"/>
                  </a:cubicBezTo>
                  <a:moveTo>
                    <a:pt x="848551" y="213216"/>
                  </a:moveTo>
                  <a:cubicBezTo>
                    <a:pt x="870813" y="213767"/>
                    <a:pt x="893076" y="215146"/>
                    <a:pt x="915201" y="218041"/>
                  </a:cubicBezTo>
                  <a:cubicBezTo>
                    <a:pt x="917751" y="207840"/>
                    <a:pt x="920370" y="197708"/>
                    <a:pt x="922920" y="187507"/>
                  </a:cubicBezTo>
                  <a:cubicBezTo>
                    <a:pt x="929055" y="184130"/>
                    <a:pt x="935120" y="180752"/>
                    <a:pt x="941254" y="177375"/>
                  </a:cubicBezTo>
                  <a:cubicBezTo>
                    <a:pt x="944218" y="176548"/>
                    <a:pt x="950146" y="174894"/>
                    <a:pt x="953109" y="174066"/>
                  </a:cubicBezTo>
                  <a:cubicBezTo>
                    <a:pt x="956969" y="171930"/>
                    <a:pt x="964758" y="167588"/>
                    <a:pt x="968617" y="165382"/>
                  </a:cubicBezTo>
                  <a:cubicBezTo>
                    <a:pt x="965998" y="152838"/>
                    <a:pt x="963310" y="140225"/>
                    <a:pt x="961449" y="127474"/>
                  </a:cubicBezTo>
                  <a:cubicBezTo>
                    <a:pt x="963793" y="123820"/>
                    <a:pt x="968548" y="116583"/>
                    <a:pt x="970892" y="112999"/>
                  </a:cubicBezTo>
                  <a:cubicBezTo>
                    <a:pt x="974062" y="108175"/>
                    <a:pt x="977233" y="103281"/>
                    <a:pt x="980334" y="98318"/>
                  </a:cubicBezTo>
                  <a:cubicBezTo>
                    <a:pt x="972339" y="97698"/>
                    <a:pt x="956280" y="96320"/>
                    <a:pt x="948285" y="95630"/>
                  </a:cubicBezTo>
                  <a:cubicBezTo>
                    <a:pt x="949456" y="102040"/>
                    <a:pt x="951731" y="114791"/>
                    <a:pt x="952903" y="121132"/>
                  </a:cubicBezTo>
                  <a:cubicBezTo>
                    <a:pt x="949594" y="112724"/>
                    <a:pt x="946424" y="104246"/>
                    <a:pt x="943322" y="95699"/>
                  </a:cubicBezTo>
                  <a:cubicBezTo>
                    <a:pt x="920784" y="93976"/>
                    <a:pt x="898107" y="91702"/>
                    <a:pt x="875569" y="94321"/>
                  </a:cubicBezTo>
                  <a:cubicBezTo>
                    <a:pt x="857028" y="89358"/>
                    <a:pt x="837867" y="88738"/>
                    <a:pt x="818844" y="87153"/>
                  </a:cubicBezTo>
                  <a:lnTo>
                    <a:pt x="820360" y="95768"/>
                  </a:lnTo>
                  <a:cubicBezTo>
                    <a:pt x="804163" y="94045"/>
                    <a:pt x="789069" y="99766"/>
                    <a:pt x="774526" y="106176"/>
                  </a:cubicBezTo>
                  <a:cubicBezTo>
                    <a:pt x="778385" y="89634"/>
                    <a:pt x="799476" y="96389"/>
                    <a:pt x="810918" y="88945"/>
                  </a:cubicBezTo>
                  <a:cubicBezTo>
                    <a:pt x="776938" y="84327"/>
                    <a:pt x="742682" y="83500"/>
                    <a:pt x="708496" y="81363"/>
                  </a:cubicBezTo>
                  <a:cubicBezTo>
                    <a:pt x="714423" y="103557"/>
                    <a:pt x="700156" y="124303"/>
                    <a:pt x="697123" y="146221"/>
                  </a:cubicBezTo>
                  <a:cubicBezTo>
                    <a:pt x="696503" y="142844"/>
                    <a:pt x="695331" y="136089"/>
                    <a:pt x="694711" y="132712"/>
                  </a:cubicBezTo>
                  <a:cubicBezTo>
                    <a:pt x="691196" y="136365"/>
                    <a:pt x="684096" y="143671"/>
                    <a:pt x="680512" y="147393"/>
                  </a:cubicBezTo>
                  <a:cubicBezTo>
                    <a:pt x="683132" y="136020"/>
                    <a:pt x="683959" y="123751"/>
                    <a:pt x="691954" y="114378"/>
                  </a:cubicBezTo>
                  <a:cubicBezTo>
                    <a:pt x="686578" y="109277"/>
                    <a:pt x="681133" y="104177"/>
                    <a:pt x="675619" y="99146"/>
                  </a:cubicBezTo>
                  <a:cubicBezTo>
                    <a:pt x="670932" y="117962"/>
                    <a:pt x="666521" y="136778"/>
                    <a:pt x="662041" y="155664"/>
                  </a:cubicBezTo>
                  <a:cubicBezTo>
                    <a:pt x="660800" y="151666"/>
                    <a:pt x="658250" y="143602"/>
                    <a:pt x="657009" y="139604"/>
                  </a:cubicBezTo>
                  <a:cubicBezTo>
                    <a:pt x="649634" y="136778"/>
                    <a:pt x="637159" y="138915"/>
                    <a:pt x="637848" y="127267"/>
                  </a:cubicBezTo>
                  <a:cubicBezTo>
                    <a:pt x="644534" y="124372"/>
                    <a:pt x="651633" y="122787"/>
                    <a:pt x="659008" y="122442"/>
                  </a:cubicBezTo>
                  <a:cubicBezTo>
                    <a:pt x="661351" y="113964"/>
                    <a:pt x="663695" y="105486"/>
                    <a:pt x="666107" y="97078"/>
                  </a:cubicBezTo>
                  <a:cubicBezTo>
                    <a:pt x="671897" y="96251"/>
                    <a:pt x="683545" y="94665"/>
                    <a:pt x="689335" y="93907"/>
                  </a:cubicBezTo>
                  <a:cubicBezTo>
                    <a:pt x="693332" y="97147"/>
                    <a:pt x="697399" y="100317"/>
                    <a:pt x="701397" y="103557"/>
                  </a:cubicBezTo>
                  <a:lnTo>
                    <a:pt x="702706" y="80743"/>
                  </a:lnTo>
                  <a:cubicBezTo>
                    <a:pt x="681271" y="81156"/>
                    <a:pt x="650599" y="68819"/>
                    <a:pt x="642397" y="97147"/>
                  </a:cubicBezTo>
                  <a:cubicBezTo>
                    <a:pt x="642880" y="92322"/>
                    <a:pt x="643844" y="82673"/>
                    <a:pt x="644327" y="77779"/>
                  </a:cubicBezTo>
                  <a:cubicBezTo>
                    <a:pt x="592220" y="72127"/>
                    <a:pt x="539699" y="71438"/>
                    <a:pt x="487523" y="66751"/>
                  </a:cubicBezTo>
                  <a:cubicBezTo>
                    <a:pt x="483250" y="71300"/>
                    <a:pt x="478977" y="75918"/>
                    <a:pt x="474772" y="80605"/>
                  </a:cubicBezTo>
                  <a:lnTo>
                    <a:pt x="483112" y="83844"/>
                  </a:lnTo>
                  <a:cubicBezTo>
                    <a:pt x="479735" y="93976"/>
                    <a:pt x="477392" y="104797"/>
                    <a:pt x="470430" y="113206"/>
                  </a:cubicBezTo>
                  <a:cubicBezTo>
                    <a:pt x="474497" y="120719"/>
                    <a:pt x="479321" y="127749"/>
                    <a:pt x="484491" y="134573"/>
                  </a:cubicBezTo>
                  <a:cubicBezTo>
                    <a:pt x="478288" y="129748"/>
                    <a:pt x="472015" y="125061"/>
                    <a:pt x="465743" y="120374"/>
                  </a:cubicBezTo>
                  <a:cubicBezTo>
                    <a:pt x="470844" y="101075"/>
                    <a:pt x="475255" y="81639"/>
                    <a:pt x="474566" y="61513"/>
                  </a:cubicBezTo>
                  <a:cubicBezTo>
                    <a:pt x="440655" y="72816"/>
                    <a:pt x="403022" y="52552"/>
                    <a:pt x="370076" y="65717"/>
                  </a:cubicBezTo>
                  <a:cubicBezTo>
                    <a:pt x="373246" y="68336"/>
                    <a:pt x="379656" y="73574"/>
                    <a:pt x="382827" y="76193"/>
                  </a:cubicBezTo>
                  <a:cubicBezTo>
                    <a:pt x="373936" y="87566"/>
                    <a:pt x="352845" y="88118"/>
                    <a:pt x="353051" y="104935"/>
                  </a:cubicBezTo>
                  <a:cubicBezTo>
                    <a:pt x="360151" y="102729"/>
                    <a:pt x="367319" y="100455"/>
                    <a:pt x="374487" y="98181"/>
                  </a:cubicBezTo>
                  <a:cubicBezTo>
                    <a:pt x="374073" y="101489"/>
                    <a:pt x="373315" y="108037"/>
                    <a:pt x="372902" y="111345"/>
                  </a:cubicBezTo>
                  <a:cubicBezTo>
                    <a:pt x="378140" y="121201"/>
                    <a:pt x="383447" y="131127"/>
                    <a:pt x="387445" y="141603"/>
                  </a:cubicBezTo>
                  <a:cubicBezTo>
                    <a:pt x="381862" y="152149"/>
                    <a:pt x="369593" y="141603"/>
                    <a:pt x="361254" y="141603"/>
                  </a:cubicBezTo>
                  <a:cubicBezTo>
                    <a:pt x="358772" y="140914"/>
                    <a:pt x="353879" y="139466"/>
                    <a:pt x="351397" y="138777"/>
                  </a:cubicBezTo>
                  <a:cubicBezTo>
                    <a:pt x="352845" y="121753"/>
                    <a:pt x="352087" y="104522"/>
                    <a:pt x="348778" y="87704"/>
                  </a:cubicBezTo>
                  <a:lnTo>
                    <a:pt x="333339" y="89014"/>
                  </a:lnTo>
                  <a:cubicBezTo>
                    <a:pt x="338508" y="75918"/>
                    <a:pt x="347882" y="66268"/>
                    <a:pt x="362839" y="67027"/>
                  </a:cubicBezTo>
                  <a:cubicBezTo>
                    <a:pt x="361667" y="65993"/>
                    <a:pt x="359186" y="63787"/>
                    <a:pt x="357945" y="62753"/>
                  </a:cubicBezTo>
                  <a:cubicBezTo>
                    <a:pt x="327618" y="54689"/>
                    <a:pt x="295912" y="55240"/>
                    <a:pt x="264759" y="54345"/>
                  </a:cubicBezTo>
                  <a:cubicBezTo>
                    <a:pt x="276547" y="67027"/>
                    <a:pt x="278612" y="83638"/>
                    <a:pt x="277440" y="100110"/>
                  </a:cubicBezTo>
                  <a:cubicBezTo>
                    <a:pt x="257729" y="92115"/>
                    <a:pt x="264827" y="69094"/>
                    <a:pt x="261728" y="52552"/>
                  </a:cubicBezTo>
                  <a:cubicBezTo>
                    <a:pt x="246771" y="51519"/>
                    <a:pt x="231746" y="51174"/>
                    <a:pt x="216719" y="51381"/>
                  </a:cubicBezTo>
                  <a:cubicBezTo>
                    <a:pt x="203551" y="52001"/>
                    <a:pt x="190391" y="53035"/>
                    <a:pt x="177225" y="53931"/>
                  </a:cubicBezTo>
                  <a:cubicBezTo>
                    <a:pt x="175709" y="72334"/>
                    <a:pt x="174605" y="90668"/>
                    <a:pt x="175020" y="109071"/>
                  </a:cubicBezTo>
                  <a:cubicBezTo>
                    <a:pt x="183910" y="116308"/>
                    <a:pt x="184532" y="128025"/>
                    <a:pt x="186188" y="138364"/>
                  </a:cubicBezTo>
                  <a:cubicBezTo>
                    <a:pt x="174605" y="134297"/>
                    <a:pt x="166194" y="125544"/>
                    <a:pt x="158960" y="115963"/>
                  </a:cubicBezTo>
                  <a:cubicBezTo>
                    <a:pt x="158685" y="116790"/>
                    <a:pt x="158063" y="118513"/>
                    <a:pt x="157789" y="119340"/>
                  </a:cubicBezTo>
                  <a:cubicBezTo>
                    <a:pt x="156132" y="124372"/>
                    <a:pt x="152964" y="134435"/>
                    <a:pt x="151310" y="139466"/>
                  </a:cubicBezTo>
                  <a:cubicBezTo>
                    <a:pt x="147587" y="141603"/>
                    <a:pt x="143867" y="143740"/>
                    <a:pt x="140143" y="145807"/>
                  </a:cubicBezTo>
                  <a:cubicBezTo>
                    <a:pt x="138493" y="141534"/>
                    <a:pt x="135178" y="133056"/>
                    <a:pt x="133528" y="128783"/>
                  </a:cubicBezTo>
                  <a:cubicBezTo>
                    <a:pt x="130149" y="129059"/>
                    <a:pt x="123464" y="129472"/>
                    <a:pt x="120154" y="129748"/>
                  </a:cubicBezTo>
                  <a:cubicBezTo>
                    <a:pt x="118986" y="114102"/>
                    <a:pt x="123945" y="99283"/>
                    <a:pt x="128840" y="84671"/>
                  </a:cubicBezTo>
                  <a:cubicBezTo>
                    <a:pt x="129734" y="90047"/>
                    <a:pt x="131457" y="100869"/>
                    <a:pt x="132356" y="106314"/>
                  </a:cubicBezTo>
                  <a:cubicBezTo>
                    <a:pt x="134217" y="105831"/>
                    <a:pt x="137941" y="104866"/>
                    <a:pt x="139801" y="104384"/>
                  </a:cubicBezTo>
                  <a:cubicBezTo>
                    <a:pt x="142281" y="94596"/>
                    <a:pt x="142695" y="84327"/>
                    <a:pt x="144833" y="74402"/>
                  </a:cubicBezTo>
                  <a:cubicBezTo>
                    <a:pt x="152272" y="69853"/>
                    <a:pt x="160268" y="66268"/>
                    <a:pt x="168332" y="62891"/>
                  </a:cubicBezTo>
                  <a:cubicBezTo>
                    <a:pt x="157993" y="55723"/>
                    <a:pt x="146346" y="50898"/>
                    <a:pt x="134699" y="46143"/>
                  </a:cubicBezTo>
                  <a:cubicBezTo>
                    <a:pt x="108989" y="41800"/>
                    <a:pt x="81487" y="44075"/>
                    <a:pt x="57433" y="32151"/>
                  </a:cubicBezTo>
                  <a:cubicBezTo>
                    <a:pt x="38479" y="24569"/>
                    <a:pt x="25176" y="8854"/>
                    <a:pt x="10635" y="-4724"/>
                  </a:cubicBezTo>
                  <a:cubicBezTo>
                    <a:pt x="8015" y="-4724"/>
                    <a:pt x="2708" y="-4793"/>
                    <a:pt x="18" y="-4862"/>
                  </a:cubicBezTo>
                  <a:lnTo>
                    <a:pt x="1330" y="-2725"/>
                  </a:lnTo>
                  <a:cubicBezTo>
                    <a:pt x="19046" y="14161"/>
                    <a:pt x="6707" y="41869"/>
                    <a:pt x="25728" y="57653"/>
                  </a:cubicBezTo>
                  <a:cubicBezTo>
                    <a:pt x="33172" y="71093"/>
                    <a:pt x="10153" y="58894"/>
                    <a:pt x="5328" y="55378"/>
                  </a:cubicBezTo>
                  <a:cubicBezTo>
                    <a:pt x="1674" y="66751"/>
                    <a:pt x="-256" y="78537"/>
                    <a:pt x="-2808" y="90047"/>
                  </a:cubicBezTo>
                  <a:cubicBezTo>
                    <a:pt x="4016" y="87428"/>
                    <a:pt x="10839" y="84533"/>
                    <a:pt x="17664" y="81845"/>
                  </a:cubicBezTo>
                  <a:cubicBezTo>
                    <a:pt x="24142" y="78675"/>
                    <a:pt x="31175" y="76883"/>
                    <a:pt x="38274" y="75987"/>
                  </a:cubicBezTo>
                  <a:cubicBezTo>
                    <a:pt x="41169" y="62478"/>
                    <a:pt x="46338" y="49658"/>
                    <a:pt x="52468" y="37320"/>
                  </a:cubicBezTo>
                  <a:cubicBezTo>
                    <a:pt x="57985" y="45315"/>
                    <a:pt x="48817" y="52139"/>
                    <a:pt x="46475" y="59238"/>
                  </a:cubicBezTo>
                  <a:cubicBezTo>
                    <a:pt x="39031" y="70128"/>
                    <a:pt x="41099" y="83569"/>
                    <a:pt x="40547" y="95837"/>
                  </a:cubicBezTo>
                  <a:cubicBezTo>
                    <a:pt x="37860" y="96251"/>
                    <a:pt x="32483" y="97147"/>
                    <a:pt x="29863" y="97560"/>
                  </a:cubicBezTo>
                  <a:cubicBezTo>
                    <a:pt x="32962" y="104660"/>
                    <a:pt x="36277" y="111621"/>
                    <a:pt x="39790" y="118513"/>
                  </a:cubicBezTo>
                  <a:cubicBezTo>
                    <a:pt x="41855" y="117480"/>
                    <a:pt x="45991" y="115412"/>
                    <a:pt x="48061" y="114378"/>
                  </a:cubicBezTo>
                  <a:cubicBezTo>
                    <a:pt x="46753" y="122511"/>
                    <a:pt x="49922" y="127474"/>
                    <a:pt x="57570" y="129334"/>
                  </a:cubicBezTo>
                  <a:cubicBezTo>
                    <a:pt x="52746" y="138915"/>
                    <a:pt x="45716" y="167174"/>
                    <a:pt x="65774" y="163039"/>
                  </a:cubicBezTo>
                  <a:cubicBezTo>
                    <a:pt x="83485" y="169724"/>
                    <a:pt x="85692" y="144980"/>
                    <a:pt x="92655" y="134504"/>
                  </a:cubicBezTo>
                  <a:cubicBezTo>
                    <a:pt x="91069" y="145049"/>
                    <a:pt x="89483" y="155526"/>
                    <a:pt x="87830" y="166002"/>
                  </a:cubicBezTo>
                  <a:cubicBezTo>
                    <a:pt x="103131" y="165727"/>
                    <a:pt x="122911" y="171309"/>
                    <a:pt x="128563" y="151528"/>
                  </a:cubicBezTo>
                  <a:cubicBezTo>
                    <a:pt x="132494" y="174825"/>
                    <a:pt x="159302" y="168277"/>
                    <a:pt x="176465" y="170689"/>
                  </a:cubicBezTo>
                  <a:cubicBezTo>
                    <a:pt x="218650" y="170689"/>
                    <a:pt x="261590" y="179649"/>
                    <a:pt x="303219" y="176341"/>
                  </a:cubicBezTo>
                  <a:cubicBezTo>
                    <a:pt x="302737" y="164004"/>
                    <a:pt x="289435" y="157318"/>
                    <a:pt x="281990" y="148978"/>
                  </a:cubicBezTo>
                  <a:cubicBezTo>
                    <a:pt x="282957" y="139260"/>
                    <a:pt x="284405" y="129541"/>
                    <a:pt x="286196" y="119892"/>
                  </a:cubicBezTo>
                  <a:cubicBezTo>
                    <a:pt x="290535" y="121132"/>
                    <a:pt x="299221" y="123476"/>
                    <a:pt x="303564" y="124648"/>
                  </a:cubicBezTo>
                  <a:cubicBezTo>
                    <a:pt x="303633" y="128439"/>
                    <a:pt x="303701" y="135951"/>
                    <a:pt x="303701" y="139742"/>
                  </a:cubicBezTo>
                  <a:cubicBezTo>
                    <a:pt x="308595" y="146841"/>
                    <a:pt x="313420" y="154078"/>
                    <a:pt x="318107" y="161384"/>
                  </a:cubicBezTo>
                  <a:cubicBezTo>
                    <a:pt x="310456" y="164555"/>
                    <a:pt x="302392" y="181924"/>
                    <a:pt x="317280" y="178478"/>
                  </a:cubicBezTo>
                  <a:cubicBezTo>
                    <a:pt x="317969" y="155250"/>
                    <a:pt x="342368" y="162625"/>
                    <a:pt x="356360" y="168139"/>
                  </a:cubicBezTo>
                  <a:cubicBezTo>
                    <a:pt x="350570" y="170827"/>
                    <a:pt x="339129" y="176272"/>
                    <a:pt x="333339" y="178960"/>
                  </a:cubicBezTo>
                  <a:cubicBezTo>
                    <a:pt x="346573" y="179580"/>
                    <a:pt x="360082" y="180683"/>
                    <a:pt x="373109" y="177237"/>
                  </a:cubicBezTo>
                  <a:cubicBezTo>
                    <a:pt x="374970" y="178133"/>
                    <a:pt x="378623" y="179856"/>
                    <a:pt x="380484" y="180752"/>
                  </a:cubicBezTo>
                  <a:cubicBezTo>
                    <a:pt x="386273" y="178064"/>
                    <a:pt x="397715" y="172688"/>
                    <a:pt x="403504" y="170000"/>
                  </a:cubicBezTo>
                  <a:cubicBezTo>
                    <a:pt x="398335" y="168415"/>
                    <a:pt x="387996" y="165244"/>
                    <a:pt x="382827" y="163659"/>
                  </a:cubicBezTo>
                  <a:cubicBezTo>
                    <a:pt x="385929" y="162143"/>
                    <a:pt x="392201" y="159179"/>
                    <a:pt x="395302" y="157732"/>
                  </a:cubicBezTo>
                  <a:cubicBezTo>
                    <a:pt x="393993" y="153803"/>
                    <a:pt x="391305" y="146014"/>
                    <a:pt x="389995" y="142085"/>
                  </a:cubicBezTo>
                  <a:cubicBezTo>
                    <a:pt x="397232" y="148771"/>
                    <a:pt x="404607" y="155181"/>
                    <a:pt x="412051" y="161522"/>
                  </a:cubicBezTo>
                  <a:cubicBezTo>
                    <a:pt x="408398" y="168070"/>
                    <a:pt x="405503" y="174963"/>
                    <a:pt x="403366" y="182131"/>
                  </a:cubicBezTo>
                  <a:cubicBezTo>
                    <a:pt x="421976" y="186955"/>
                    <a:pt x="441964" y="184957"/>
                    <a:pt x="460987" y="188954"/>
                  </a:cubicBezTo>
                  <a:cubicBezTo>
                    <a:pt x="459058" y="184612"/>
                    <a:pt x="455198" y="175997"/>
                    <a:pt x="453268" y="171654"/>
                  </a:cubicBezTo>
                  <a:cubicBezTo>
                    <a:pt x="443412" y="174480"/>
                    <a:pt x="433555" y="177168"/>
                    <a:pt x="423699" y="179856"/>
                  </a:cubicBezTo>
                  <a:cubicBezTo>
                    <a:pt x="421631" y="157318"/>
                    <a:pt x="424940" y="133677"/>
                    <a:pt x="411500" y="113620"/>
                  </a:cubicBezTo>
                  <a:cubicBezTo>
                    <a:pt x="406606" y="120512"/>
                    <a:pt x="403160" y="128301"/>
                    <a:pt x="399782" y="135951"/>
                  </a:cubicBezTo>
                  <a:cubicBezTo>
                    <a:pt x="400196" y="114378"/>
                    <a:pt x="383241" y="86739"/>
                    <a:pt x="403573" y="69577"/>
                  </a:cubicBezTo>
                  <a:cubicBezTo>
                    <a:pt x="397715" y="83155"/>
                    <a:pt x="393855" y="97215"/>
                    <a:pt x="399162" y="111621"/>
                  </a:cubicBezTo>
                  <a:cubicBezTo>
                    <a:pt x="407088" y="112586"/>
                    <a:pt x="415015" y="113482"/>
                    <a:pt x="422941" y="114309"/>
                  </a:cubicBezTo>
                  <a:cubicBezTo>
                    <a:pt x="420253" y="110243"/>
                    <a:pt x="414739" y="102109"/>
                    <a:pt x="411982" y="98043"/>
                  </a:cubicBezTo>
                  <a:cubicBezTo>
                    <a:pt x="415222" y="100869"/>
                    <a:pt x="421700" y="106452"/>
                    <a:pt x="424940" y="109209"/>
                  </a:cubicBezTo>
                  <a:cubicBezTo>
                    <a:pt x="435279" y="109622"/>
                    <a:pt x="445617" y="109898"/>
                    <a:pt x="456025" y="110174"/>
                  </a:cubicBezTo>
                  <a:cubicBezTo>
                    <a:pt x="451820" y="120650"/>
                    <a:pt x="447892" y="131196"/>
                    <a:pt x="444101" y="141810"/>
                  </a:cubicBezTo>
                  <a:cubicBezTo>
                    <a:pt x="454784" y="145187"/>
                    <a:pt x="465192" y="150563"/>
                    <a:pt x="476840" y="148771"/>
                  </a:cubicBezTo>
                  <a:lnTo>
                    <a:pt x="475806" y="158214"/>
                  </a:lnTo>
                  <a:cubicBezTo>
                    <a:pt x="470568" y="157663"/>
                    <a:pt x="460160" y="156560"/>
                    <a:pt x="454991" y="156008"/>
                  </a:cubicBezTo>
                  <a:cubicBezTo>
                    <a:pt x="449270" y="146221"/>
                    <a:pt x="438587" y="141121"/>
                    <a:pt x="427559" y="144084"/>
                  </a:cubicBezTo>
                  <a:cubicBezTo>
                    <a:pt x="430798" y="151804"/>
                    <a:pt x="434038" y="159524"/>
                    <a:pt x="437208" y="167243"/>
                  </a:cubicBezTo>
                  <a:cubicBezTo>
                    <a:pt x="442860" y="166485"/>
                    <a:pt x="454164" y="164969"/>
                    <a:pt x="459816" y="164141"/>
                  </a:cubicBezTo>
                  <a:cubicBezTo>
                    <a:pt x="462986" y="167105"/>
                    <a:pt x="469189" y="173033"/>
                    <a:pt x="472360" y="175997"/>
                  </a:cubicBezTo>
                  <a:cubicBezTo>
                    <a:pt x="474635" y="163245"/>
                    <a:pt x="484973" y="155112"/>
                    <a:pt x="492968" y="145807"/>
                  </a:cubicBezTo>
                  <a:cubicBezTo>
                    <a:pt x="491521" y="158283"/>
                    <a:pt x="490143" y="170758"/>
                    <a:pt x="488902" y="183234"/>
                  </a:cubicBezTo>
                  <a:cubicBezTo>
                    <a:pt x="479528" y="179098"/>
                    <a:pt x="471188" y="180201"/>
                    <a:pt x="463882" y="186611"/>
                  </a:cubicBezTo>
                  <a:cubicBezTo>
                    <a:pt x="486214" y="186611"/>
                    <a:pt x="508132" y="191022"/>
                    <a:pt x="530257" y="193779"/>
                  </a:cubicBezTo>
                  <a:cubicBezTo>
                    <a:pt x="540664" y="178960"/>
                    <a:pt x="534944" y="156422"/>
                    <a:pt x="552657" y="146704"/>
                  </a:cubicBezTo>
                  <a:cubicBezTo>
                    <a:pt x="549487" y="155801"/>
                    <a:pt x="546178" y="164762"/>
                    <a:pt x="542732" y="173722"/>
                  </a:cubicBezTo>
                  <a:cubicBezTo>
                    <a:pt x="547764" y="173309"/>
                    <a:pt x="557758" y="172481"/>
                    <a:pt x="562720" y="172068"/>
                  </a:cubicBezTo>
                  <a:cubicBezTo>
                    <a:pt x="553829" y="178202"/>
                    <a:pt x="544524" y="183854"/>
                    <a:pt x="537011" y="191642"/>
                  </a:cubicBezTo>
                  <a:cubicBezTo>
                    <a:pt x="553553" y="191298"/>
                    <a:pt x="578849" y="204600"/>
                    <a:pt x="587119" y="183303"/>
                  </a:cubicBezTo>
                  <a:cubicBezTo>
                    <a:pt x="586430" y="186542"/>
                    <a:pt x="585052" y="193021"/>
                    <a:pt x="584363" y="196260"/>
                  </a:cubicBezTo>
                  <a:cubicBezTo>
                    <a:pt x="657629" y="200465"/>
                    <a:pt x="730896" y="205703"/>
                    <a:pt x="804163" y="209632"/>
                  </a:cubicBezTo>
                  <a:cubicBezTo>
                    <a:pt x="821188" y="213147"/>
                    <a:pt x="824772" y="194262"/>
                    <a:pt x="831251" y="183303"/>
                  </a:cubicBezTo>
                  <a:cubicBezTo>
                    <a:pt x="836282" y="183303"/>
                    <a:pt x="846414" y="183303"/>
                    <a:pt x="851445" y="183371"/>
                  </a:cubicBezTo>
                  <a:cubicBezTo>
                    <a:pt x="850481" y="193365"/>
                    <a:pt x="849584" y="203291"/>
                    <a:pt x="848551" y="213216"/>
                  </a:cubicBezTo>
                  <a:moveTo>
                    <a:pt x="1081240" y="118375"/>
                  </a:moveTo>
                  <a:cubicBezTo>
                    <a:pt x="1084962" y="114654"/>
                    <a:pt x="1084962" y="114654"/>
                    <a:pt x="1081240" y="118375"/>
                  </a:cubicBezTo>
                  <a:moveTo>
                    <a:pt x="1299869" y="139122"/>
                  </a:moveTo>
                  <a:cubicBezTo>
                    <a:pt x="1288565" y="118789"/>
                    <a:pt x="1322614" y="137330"/>
                    <a:pt x="1299869" y="139122"/>
                  </a:cubicBezTo>
                  <a:moveTo>
                    <a:pt x="1067662" y="139466"/>
                  </a:moveTo>
                  <a:cubicBezTo>
                    <a:pt x="1071177" y="135676"/>
                    <a:pt x="1071177" y="135676"/>
                    <a:pt x="1067662" y="139466"/>
                  </a:cubicBezTo>
                  <a:moveTo>
                    <a:pt x="1204684" y="146221"/>
                  </a:moveTo>
                  <a:cubicBezTo>
                    <a:pt x="1208475" y="142568"/>
                    <a:pt x="1208475" y="142568"/>
                    <a:pt x="1204684" y="146221"/>
                  </a:cubicBezTo>
                  <a:moveTo>
                    <a:pt x="1092268" y="168828"/>
                  </a:moveTo>
                  <a:cubicBezTo>
                    <a:pt x="1089373" y="152218"/>
                    <a:pt x="1083859" y="132988"/>
                    <a:pt x="1096817" y="119065"/>
                  </a:cubicBezTo>
                  <a:cubicBezTo>
                    <a:pt x="1097575" y="135813"/>
                    <a:pt x="1097782" y="152838"/>
                    <a:pt x="1092268" y="168828"/>
                  </a:cubicBezTo>
                  <a:moveTo>
                    <a:pt x="1162020" y="172895"/>
                  </a:moveTo>
                  <a:cubicBezTo>
                    <a:pt x="1151130" y="152287"/>
                    <a:pt x="1184696" y="171447"/>
                    <a:pt x="1162020" y="172895"/>
                  </a:cubicBezTo>
                  <a:moveTo>
                    <a:pt x="1190624" y="179098"/>
                  </a:moveTo>
                  <a:cubicBezTo>
                    <a:pt x="1184627" y="170483"/>
                    <a:pt x="1186143" y="165313"/>
                    <a:pt x="1195173" y="163659"/>
                  </a:cubicBezTo>
                  <a:cubicBezTo>
                    <a:pt x="1201031" y="172275"/>
                    <a:pt x="1199515" y="177444"/>
                    <a:pt x="1190624" y="179098"/>
                  </a:cubicBezTo>
                  <a:moveTo>
                    <a:pt x="1121079" y="181855"/>
                  </a:moveTo>
                  <a:cubicBezTo>
                    <a:pt x="1113773" y="173722"/>
                    <a:pt x="1121492" y="153458"/>
                    <a:pt x="1133347" y="157180"/>
                  </a:cubicBezTo>
                  <a:cubicBezTo>
                    <a:pt x="1139550" y="165038"/>
                    <a:pt x="1132589" y="186473"/>
                    <a:pt x="1121079" y="181855"/>
                  </a:cubicBezTo>
                  <a:moveTo>
                    <a:pt x="1101918" y="188817"/>
                  </a:moveTo>
                  <a:cubicBezTo>
                    <a:pt x="1102814" y="165864"/>
                    <a:pt x="1122664" y="199086"/>
                    <a:pt x="1101918" y="188817"/>
                  </a:cubicBezTo>
                  <a:moveTo>
                    <a:pt x="1204133" y="192056"/>
                  </a:moveTo>
                  <a:cubicBezTo>
                    <a:pt x="1196689" y="186542"/>
                    <a:pt x="1204546" y="170483"/>
                    <a:pt x="1213300" y="176272"/>
                  </a:cubicBezTo>
                  <a:cubicBezTo>
                    <a:pt x="1218469" y="181993"/>
                    <a:pt x="1212748" y="196812"/>
                    <a:pt x="1204133" y="192056"/>
                  </a:cubicBezTo>
                  <a:moveTo>
                    <a:pt x="1259824" y="208046"/>
                  </a:moveTo>
                  <a:cubicBezTo>
                    <a:pt x="1261065" y="185163"/>
                    <a:pt x="1280363" y="218661"/>
                    <a:pt x="1259824" y="208046"/>
                  </a:cubicBezTo>
                  <a:moveTo>
                    <a:pt x="1154369" y="184199"/>
                  </a:moveTo>
                  <a:cubicBezTo>
                    <a:pt x="1161813" y="185853"/>
                    <a:pt x="1169326" y="187576"/>
                    <a:pt x="1176770" y="189299"/>
                  </a:cubicBezTo>
                  <a:cubicBezTo>
                    <a:pt x="1176494" y="194675"/>
                    <a:pt x="1175805" y="205427"/>
                    <a:pt x="1175460" y="210803"/>
                  </a:cubicBezTo>
                  <a:cubicBezTo>
                    <a:pt x="1160641" y="213285"/>
                    <a:pt x="1159608" y="193572"/>
                    <a:pt x="1154369" y="184199"/>
                  </a:cubicBezTo>
                  <a:moveTo>
                    <a:pt x="1091648" y="190677"/>
                  </a:moveTo>
                  <a:cubicBezTo>
                    <a:pt x="1102262" y="190746"/>
                    <a:pt x="1106742" y="209839"/>
                    <a:pt x="1094405" y="211010"/>
                  </a:cubicBezTo>
                  <a:cubicBezTo>
                    <a:pt x="1085858" y="209770"/>
                    <a:pt x="1081654" y="192331"/>
                    <a:pt x="1091648" y="190677"/>
                  </a:cubicBezTo>
                  <a:moveTo>
                    <a:pt x="1066146" y="208942"/>
                  </a:moveTo>
                  <a:cubicBezTo>
                    <a:pt x="1067317" y="186266"/>
                    <a:pt x="1087030" y="219764"/>
                    <a:pt x="1066146" y="208942"/>
                  </a:cubicBezTo>
                  <a:moveTo>
                    <a:pt x="1203650" y="214043"/>
                  </a:moveTo>
                  <a:cubicBezTo>
                    <a:pt x="1192691" y="193572"/>
                    <a:pt x="1226464" y="212733"/>
                    <a:pt x="1203650" y="214043"/>
                  </a:cubicBezTo>
                  <a:moveTo>
                    <a:pt x="1128798" y="215008"/>
                  </a:moveTo>
                  <a:cubicBezTo>
                    <a:pt x="1119355" y="213698"/>
                    <a:pt x="1115771" y="195364"/>
                    <a:pt x="1127282" y="194675"/>
                  </a:cubicBezTo>
                  <a:cubicBezTo>
                    <a:pt x="1137000" y="195571"/>
                    <a:pt x="1140102" y="214456"/>
                    <a:pt x="1128798" y="215008"/>
                  </a:cubicBezTo>
                  <a:moveTo>
                    <a:pt x="1300903" y="230792"/>
                  </a:moveTo>
                  <a:cubicBezTo>
                    <a:pt x="1297801" y="220935"/>
                    <a:pt x="1300834" y="217489"/>
                    <a:pt x="1310070" y="220591"/>
                  </a:cubicBezTo>
                  <a:cubicBezTo>
                    <a:pt x="1313172" y="230792"/>
                    <a:pt x="1310139" y="234169"/>
                    <a:pt x="1300903" y="230792"/>
                  </a:cubicBezTo>
                  <a:moveTo>
                    <a:pt x="1079310" y="227345"/>
                  </a:moveTo>
                  <a:cubicBezTo>
                    <a:pt x="1169257" y="232239"/>
                    <a:pt x="1259135" y="238925"/>
                    <a:pt x="1349081" y="243749"/>
                  </a:cubicBezTo>
                  <a:cubicBezTo>
                    <a:pt x="1351838" y="237684"/>
                    <a:pt x="1354664" y="231687"/>
                    <a:pt x="1357628" y="225691"/>
                  </a:cubicBezTo>
                  <a:cubicBezTo>
                    <a:pt x="1359834" y="212182"/>
                    <a:pt x="1370999" y="193297"/>
                    <a:pt x="1359696" y="182475"/>
                  </a:cubicBezTo>
                  <a:cubicBezTo>
                    <a:pt x="1358110" y="181166"/>
                    <a:pt x="1354802" y="178547"/>
                    <a:pt x="1353148" y="177237"/>
                  </a:cubicBezTo>
                  <a:cubicBezTo>
                    <a:pt x="1350322" y="180408"/>
                    <a:pt x="1344739" y="186749"/>
                    <a:pt x="1341913" y="189919"/>
                  </a:cubicBezTo>
                  <a:cubicBezTo>
                    <a:pt x="1339501" y="186060"/>
                    <a:pt x="1334745" y="178340"/>
                    <a:pt x="1332333" y="174480"/>
                  </a:cubicBezTo>
                  <a:cubicBezTo>
                    <a:pt x="1332057" y="186749"/>
                    <a:pt x="1331505" y="199017"/>
                    <a:pt x="1331092" y="211217"/>
                  </a:cubicBezTo>
                  <a:cubicBezTo>
                    <a:pt x="1328611" y="206185"/>
                    <a:pt x="1326129" y="201154"/>
                    <a:pt x="1323717" y="196054"/>
                  </a:cubicBezTo>
                  <a:cubicBezTo>
                    <a:pt x="1325371" y="182751"/>
                    <a:pt x="1326750" y="169311"/>
                    <a:pt x="1327163" y="155801"/>
                  </a:cubicBezTo>
                  <a:cubicBezTo>
                    <a:pt x="1323717" y="147117"/>
                    <a:pt x="1317445" y="139949"/>
                    <a:pt x="1312344" y="132229"/>
                  </a:cubicBezTo>
                  <a:cubicBezTo>
                    <a:pt x="1319237" y="132298"/>
                    <a:pt x="1333160" y="132436"/>
                    <a:pt x="1340052" y="132574"/>
                  </a:cubicBezTo>
                  <a:cubicBezTo>
                    <a:pt x="1329989" y="111345"/>
                    <a:pt x="1301592" y="121270"/>
                    <a:pt x="1283396" y="116583"/>
                  </a:cubicBezTo>
                  <a:cubicBezTo>
                    <a:pt x="1286015" y="122304"/>
                    <a:pt x="1288634" y="127956"/>
                    <a:pt x="1291322" y="133677"/>
                  </a:cubicBezTo>
                  <a:cubicBezTo>
                    <a:pt x="1277400" y="152011"/>
                    <a:pt x="1295113" y="169862"/>
                    <a:pt x="1300558" y="187851"/>
                  </a:cubicBezTo>
                  <a:lnTo>
                    <a:pt x="1295871" y="188196"/>
                  </a:lnTo>
                  <a:cubicBezTo>
                    <a:pt x="1293114" y="175790"/>
                    <a:pt x="1286980" y="164762"/>
                    <a:pt x="1280777" y="153872"/>
                  </a:cubicBezTo>
                  <a:cubicBezTo>
                    <a:pt x="1280432" y="142017"/>
                    <a:pt x="1281397" y="130162"/>
                    <a:pt x="1282431" y="118375"/>
                  </a:cubicBezTo>
                  <a:cubicBezTo>
                    <a:pt x="1257480" y="114171"/>
                    <a:pt x="1232185" y="113757"/>
                    <a:pt x="1206959" y="112241"/>
                  </a:cubicBezTo>
                  <a:cubicBezTo>
                    <a:pt x="1208682" y="116239"/>
                    <a:pt x="1212128" y="124165"/>
                    <a:pt x="1213851" y="128163"/>
                  </a:cubicBezTo>
                  <a:cubicBezTo>
                    <a:pt x="1209578" y="123338"/>
                    <a:pt x="1206063" y="117962"/>
                    <a:pt x="1203306" y="112172"/>
                  </a:cubicBezTo>
                  <a:cubicBezTo>
                    <a:pt x="1189797" y="111069"/>
                    <a:pt x="1176356" y="110311"/>
                    <a:pt x="1162847" y="109622"/>
                  </a:cubicBezTo>
                  <a:cubicBezTo>
                    <a:pt x="1163536" y="124510"/>
                    <a:pt x="1164777" y="139329"/>
                    <a:pt x="1166569" y="154147"/>
                  </a:cubicBezTo>
                  <a:cubicBezTo>
                    <a:pt x="1164156" y="143878"/>
                    <a:pt x="1165397" y="130437"/>
                    <a:pt x="1152164" y="128232"/>
                  </a:cubicBezTo>
                  <a:cubicBezTo>
                    <a:pt x="1152439" y="122925"/>
                    <a:pt x="1152991" y="112379"/>
                    <a:pt x="1153266" y="107072"/>
                  </a:cubicBezTo>
                  <a:cubicBezTo>
                    <a:pt x="1147615" y="107899"/>
                    <a:pt x="1136173" y="109484"/>
                    <a:pt x="1130452" y="110311"/>
                  </a:cubicBezTo>
                  <a:cubicBezTo>
                    <a:pt x="1080964" y="100524"/>
                    <a:pt x="1030098" y="102247"/>
                    <a:pt x="979852" y="100455"/>
                  </a:cubicBezTo>
                  <a:cubicBezTo>
                    <a:pt x="980955" y="110243"/>
                    <a:pt x="974338" y="146014"/>
                    <a:pt x="989915" y="135538"/>
                  </a:cubicBezTo>
                  <a:cubicBezTo>
                    <a:pt x="990535" y="132988"/>
                    <a:pt x="991914" y="127887"/>
                    <a:pt x="992534" y="125337"/>
                  </a:cubicBezTo>
                  <a:cubicBezTo>
                    <a:pt x="993361" y="130231"/>
                    <a:pt x="994947" y="140087"/>
                    <a:pt x="995774" y="144980"/>
                  </a:cubicBezTo>
                  <a:cubicBezTo>
                    <a:pt x="1011144" y="139742"/>
                    <a:pt x="1028858" y="138570"/>
                    <a:pt x="1042642" y="148564"/>
                  </a:cubicBezTo>
                  <a:cubicBezTo>
                    <a:pt x="1046157" y="131885"/>
                    <a:pt x="1061390" y="150977"/>
                    <a:pt x="1046433" y="154147"/>
                  </a:cubicBezTo>
                  <a:cubicBezTo>
                    <a:pt x="1041884" y="159937"/>
                    <a:pt x="1037611" y="165864"/>
                    <a:pt x="1032648" y="171172"/>
                  </a:cubicBezTo>
                  <a:lnTo>
                    <a:pt x="1025480" y="178478"/>
                  </a:lnTo>
                  <a:cubicBezTo>
                    <a:pt x="1026583" y="184681"/>
                    <a:pt x="1028789" y="197225"/>
                    <a:pt x="1029891" y="203428"/>
                  </a:cubicBezTo>
                  <a:cubicBezTo>
                    <a:pt x="1033062" y="199982"/>
                    <a:pt x="1039541" y="192952"/>
                    <a:pt x="1042780" y="189506"/>
                  </a:cubicBezTo>
                  <a:cubicBezTo>
                    <a:pt x="1041471" y="200396"/>
                    <a:pt x="1038576" y="212733"/>
                    <a:pt x="1045813" y="222383"/>
                  </a:cubicBezTo>
                  <a:cubicBezTo>
                    <a:pt x="1055531" y="228655"/>
                    <a:pt x="1068282" y="225553"/>
                    <a:pt x="1079310" y="227345"/>
                  </a:cubicBezTo>
                  <a:moveTo>
                    <a:pt x="3641721" y="296684"/>
                  </a:moveTo>
                  <a:cubicBezTo>
                    <a:pt x="3653300" y="297580"/>
                    <a:pt x="3664949" y="298131"/>
                    <a:pt x="3676528" y="298682"/>
                  </a:cubicBezTo>
                  <a:cubicBezTo>
                    <a:pt x="3683076" y="290618"/>
                    <a:pt x="3693966" y="283588"/>
                    <a:pt x="3691416" y="271457"/>
                  </a:cubicBezTo>
                  <a:cubicBezTo>
                    <a:pt x="3675425" y="260085"/>
                    <a:pt x="3649785" y="268218"/>
                    <a:pt x="3629866" y="266977"/>
                  </a:cubicBezTo>
                  <a:cubicBezTo>
                    <a:pt x="3634001" y="276833"/>
                    <a:pt x="3637999" y="286758"/>
                    <a:pt x="3641721" y="296684"/>
                  </a:cubicBezTo>
                  <a:moveTo>
                    <a:pt x="1714520" y="167932"/>
                  </a:moveTo>
                  <a:cubicBezTo>
                    <a:pt x="1711211" y="156491"/>
                    <a:pt x="1715071" y="152562"/>
                    <a:pt x="1726030" y="156215"/>
                  </a:cubicBezTo>
                  <a:cubicBezTo>
                    <a:pt x="1729270" y="167726"/>
                    <a:pt x="1725410" y="171654"/>
                    <a:pt x="1714520" y="167932"/>
                  </a:cubicBezTo>
                  <a:moveTo>
                    <a:pt x="2107666" y="202464"/>
                  </a:moveTo>
                  <a:cubicBezTo>
                    <a:pt x="2108424" y="179512"/>
                    <a:pt x="2128343" y="212664"/>
                    <a:pt x="2107666" y="202464"/>
                  </a:cubicBezTo>
                  <a:moveTo>
                    <a:pt x="1775449" y="201499"/>
                  </a:moveTo>
                  <a:cubicBezTo>
                    <a:pt x="1764628" y="180477"/>
                    <a:pt x="1798125" y="200671"/>
                    <a:pt x="1775449" y="201499"/>
                  </a:cubicBezTo>
                  <a:moveTo>
                    <a:pt x="2259920" y="207840"/>
                  </a:moveTo>
                  <a:cubicBezTo>
                    <a:pt x="2250133" y="207633"/>
                    <a:pt x="2248272" y="191298"/>
                    <a:pt x="2259162" y="191436"/>
                  </a:cubicBezTo>
                  <a:cubicBezTo>
                    <a:pt x="2268536" y="191160"/>
                    <a:pt x="2270535" y="208736"/>
                    <a:pt x="2259920" y="207840"/>
                  </a:cubicBezTo>
                  <a:moveTo>
                    <a:pt x="1831485" y="172343"/>
                  </a:moveTo>
                  <a:cubicBezTo>
                    <a:pt x="1823145" y="172206"/>
                    <a:pt x="1814667" y="170965"/>
                    <a:pt x="1809774" y="163314"/>
                  </a:cubicBezTo>
                  <a:cubicBezTo>
                    <a:pt x="1826591" y="160420"/>
                    <a:pt x="1838101" y="173102"/>
                    <a:pt x="1850370" y="182131"/>
                  </a:cubicBezTo>
                  <a:cubicBezTo>
                    <a:pt x="1851542" y="178685"/>
                    <a:pt x="1853954" y="171723"/>
                    <a:pt x="1855126" y="168277"/>
                  </a:cubicBezTo>
                  <a:cubicBezTo>
                    <a:pt x="1857676" y="176548"/>
                    <a:pt x="1860226" y="184750"/>
                    <a:pt x="1862914" y="192952"/>
                  </a:cubicBezTo>
                  <a:cubicBezTo>
                    <a:pt x="1861260" y="197019"/>
                    <a:pt x="1857952" y="205083"/>
                    <a:pt x="1856298" y="209149"/>
                  </a:cubicBezTo>
                  <a:cubicBezTo>
                    <a:pt x="1846372" y="197983"/>
                    <a:pt x="1832450" y="188748"/>
                    <a:pt x="1831485" y="172343"/>
                  </a:cubicBezTo>
                  <a:moveTo>
                    <a:pt x="2465178" y="215628"/>
                  </a:moveTo>
                  <a:cubicBezTo>
                    <a:pt x="2456424" y="204945"/>
                    <a:pt x="2475792" y="196122"/>
                    <a:pt x="2482754" y="204876"/>
                  </a:cubicBezTo>
                  <a:cubicBezTo>
                    <a:pt x="2490955" y="215146"/>
                    <a:pt x="2471864" y="224381"/>
                    <a:pt x="2465178" y="215628"/>
                  </a:cubicBezTo>
                  <a:moveTo>
                    <a:pt x="2347110" y="214319"/>
                  </a:moveTo>
                  <a:cubicBezTo>
                    <a:pt x="2337392" y="193297"/>
                    <a:pt x="2369993" y="214319"/>
                    <a:pt x="2347110" y="214319"/>
                  </a:cubicBezTo>
                  <a:moveTo>
                    <a:pt x="2046254" y="215904"/>
                  </a:moveTo>
                  <a:cubicBezTo>
                    <a:pt x="2046805" y="193021"/>
                    <a:pt x="2067069" y="225829"/>
                    <a:pt x="2046254" y="215904"/>
                  </a:cubicBezTo>
                  <a:moveTo>
                    <a:pt x="2162874" y="222314"/>
                  </a:moveTo>
                  <a:cubicBezTo>
                    <a:pt x="2166389" y="218592"/>
                    <a:pt x="2166389" y="218592"/>
                    <a:pt x="2162874" y="222314"/>
                  </a:cubicBezTo>
                  <a:moveTo>
                    <a:pt x="1889519" y="224037"/>
                  </a:moveTo>
                  <a:cubicBezTo>
                    <a:pt x="1888485" y="212733"/>
                    <a:pt x="1888692" y="200120"/>
                    <a:pt x="1875321" y="196536"/>
                  </a:cubicBezTo>
                  <a:cubicBezTo>
                    <a:pt x="1877802" y="186749"/>
                    <a:pt x="1880352" y="176823"/>
                    <a:pt x="1883109" y="167036"/>
                  </a:cubicBezTo>
                  <a:cubicBezTo>
                    <a:pt x="1890484" y="185163"/>
                    <a:pt x="1891518" y="204738"/>
                    <a:pt x="1889519" y="224037"/>
                  </a:cubicBezTo>
                  <a:moveTo>
                    <a:pt x="2660303" y="230792"/>
                  </a:moveTo>
                  <a:cubicBezTo>
                    <a:pt x="2657546" y="221142"/>
                    <a:pt x="2660924" y="217489"/>
                    <a:pt x="2670366" y="219764"/>
                  </a:cubicBezTo>
                  <a:cubicBezTo>
                    <a:pt x="2673192" y="229551"/>
                    <a:pt x="2669815" y="233204"/>
                    <a:pt x="2660303" y="230792"/>
                  </a:cubicBezTo>
                  <a:moveTo>
                    <a:pt x="2319333" y="229275"/>
                  </a:moveTo>
                  <a:cubicBezTo>
                    <a:pt x="2317679" y="219557"/>
                    <a:pt x="2313544" y="210665"/>
                    <a:pt x="2307823" y="202670"/>
                  </a:cubicBezTo>
                  <a:cubicBezTo>
                    <a:pt x="2316232" y="207495"/>
                    <a:pt x="2324985" y="211699"/>
                    <a:pt x="2334290" y="214663"/>
                  </a:cubicBezTo>
                  <a:cubicBezTo>
                    <a:pt x="2329189" y="219488"/>
                    <a:pt x="2324227" y="224381"/>
                    <a:pt x="2319333" y="229275"/>
                  </a:cubicBezTo>
                  <a:moveTo>
                    <a:pt x="2716201" y="235892"/>
                  </a:moveTo>
                  <a:cubicBezTo>
                    <a:pt x="2707586" y="226518"/>
                    <a:pt x="2724472" y="213905"/>
                    <a:pt x="2731365" y="224519"/>
                  </a:cubicBezTo>
                  <a:cubicBezTo>
                    <a:pt x="2740049" y="234582"/>
                    <a:pt x="2723438" y="246920"/>
                    <a:pt x="2716201" y="235892"/>
                  </a:cubicBezTo>
                  <a:moveTo>
                    <a:pt x="2292384" y="237339"/>
                  </a:moveTo>
                  <a:cubicBezTo>
                    <a:pt x="2286318" y="230102"/>
                    <a:pt x="2286181" y="208460"/>
                    <a:pt x="2294865" y="206323"/>
                  </a:cubicBezTo>
                  <a:cubicBezTo>
                    <a:pt x="2295692" y="210665"/>
                    <a:pt x="2297277" y="219281"/>
                    <a:pt x="2298105" y="223555"/>
                  </a:cubicBezTo>
                  <a:cubicBezTo>
                    <a:pt x="2304928" y="228862"/>
                    <a:pt x="2303274" y="245059"/>
                    <a:pt x="2292384" y="237339"/>
                  </a:cubicBezTo>
                  <a:moveTo>
                    <a:pt x="2086506" y="234720"/>
                  </a:moveTo>
                  <a:cubicBezTo>
                    <a:pt x="2082370" y="225829"/>
                    <a:pt x="2091399" y="205427"/>
                    <a:pt x="2102772" y="210665"/>
                  </a:cubicBezTo>
                  <a:cubicBezTo>
                    <a:pt x="2105943" y="220039"/>
                    <a:pt x="2095880" y="234238"/>
                    <a:pt x="2086506" y="234720"/>
                  </a:cubicBezTo>
                  <a:moveTo>
                    <a:pt x="1997731" y="235478"/>
                  </a:moveTo>
                  <a:cubicBezTo>
                    <a:pt x="1993733" y="225622"/>
                    <a:pt x="1996628" y="222521"/>
                    <a:pt x="2006484" y="226105"/>
                  </a:cubicBezTo>
                  <a:cubicBezTo>
                    <a:pt x="2010413" y="235961"/>
                    <a:pt x="2007518" y="239063"/>
                    <a:pt x="1997731" y="235478"/>
                  </a:cubicBezTo>
                  <a:moveTo>
                    <a:pt x="1975468" y="236581"/>
                  </a:moveTo>
                  <a:cubicBezTo>
                    <a:pt x="1964923" y="215628"/>
                    <a:pt x="1998144" y="235823"/>
                    <a:pt x="1975468" y="236581"/>
                  </a:cubicBezTo>
                  <a:moveTo>
                    <a:pt x="1941695" y="215284"/>
                  </a:moveTo>
                  <a:cubicBezTo>
                    <a:pt x="1933976" y="213078"/>
                    <a:pt x="1926256" y="211010"/>
                    <a:pt x="1918881" y="207840"/>
                  </a:cubicBezTo>
                  <a:cubicBezTo>
                    <a:pt x="1930047" y="206875"/>
                    <a:pt x="1941282" y="206254"/>
                    <a:pt x="1952585" y="205634"/>
                  </a:cubicBezTo>
                  <a:cubicBezTo>
                    <a:pt x="1949759" y="216593"/>
                    <a:pt x="1947071" y="227621"/>
                    <a:pt x="1944245" y="238580"/>
                  </a:cubicBezTo>
                  <a:cubicBezTo>
                    <a:pt x="1943349" y="230861"/>
                    <a:pt x="1942453" y="223072"/>
                    <a:pt x="1941695" y="215284"/>
                  </a:cubicBezTo>
                  <a:moveTo>
                    <a:pt x="1784133" y="238098"/>
                  </a:moveTo>
                  <a:cubicBezTo>
                    <a:pt x="1785374" y="221487"/>
                    <a:pt x="1791784" y="205979"/>
                    <a:pt x="1796884" y="190333"/>
                  </a:cubicBezTo>
                  <a:lnTo>
                    <a:pt x="1802812" y="191298"/>
                  </a:lnTo>
                  <a:cubicBezTo>
                    <a:pt x="1798746" y="199707"/>
                    <a:pt x="1792129" y="207357"/>
                    <a:pt x="1791715" y="217076"/>
                  </a:cubicBezTo>
                  <a:cubicBezTo>
                    <a:pt x="1797091" y="220935"/>
                    <a:pt x="1802605" y="224726"/>
                    <a:pt x="1808188" y="228310"/>
                  </a:cubicBezTo>
                  <a:cubicBezTo>
                    <a:pt x="1804811" y="227621"/>
                    <a:pt x="1798125" y="226312"/>
                    <a:pt x="1794817" y="225622"/>
                  </a:cubicBezTo>
                  <a:cubicBezTo>
                    <a:pt x="1792129" y="228724"/>
                    <a:pt x="1786822" y="234927"/>
                    <a:pt x="1784133" y="238098"/>
                  </a:cubicBezTo>
                  <a:moveTo>
                    <a:pt x="1723962" y="240303"/>
                  </a:moveTo>
                  <a:cubicBezTo>
                    <a:pt x="1726995" y="218523"/>
                    <a:pt x="1705835" y="220935"/>
                    <a:pt x="1692739" y="212871"/>
                  </a:cubicBezTo>
                  <a:cubicBezTo>
                    <a:pt x="1688880" y="215077"/>
                    <a:pt x="1681229" y="219350"/>
                    <a:pt x="1677438" y="221487"/>
                  </a:cubicBezTo>
                  <a:cubicBezTo>
                    <a:pt x="1669512" y="212664"/>
                    <a:pt x="1674750" y="199500"/>
                    <a:pt x="1673509" y="188748"/>
                  </a:cubicBezTo>
                  <a:cubicBezTo>
                    <a:pt x="1676956" y="194399"/>
                    <a:pt x="1680402" y="200051"/>
                    <a:pt x="1683848" y="205703"/>
                  </a:cubicBezTo>
                  <a:cubicBezTo>
                    <a:pt x="1696186" y="208460"/>
                    <a:pt x="1708523" y="211286"/>
                    <a:pt x="1721067" y="213285"/>
                  </a:cubicBezTo>
                  <a:cubicBezTo>
                    <a:pt x="1717208" y="209218"/>
                    <a:pt x="1709488" y="201154"/>
                    <a:pt x="1705628" y="197088"/>
                  </a:cubicBezTo>
                  <a:cubicBezTo>
                    <a:pt x="1709350" y="196605"/>
                    <a:pt x="1716794" y="195502"/>
                    <a:pt x="1720516" y="194951"/>
                  </a:cubicBezTo>
                  <a:lnTo>
                    <a:pt x="1716932" y="207633"/>
                  </a:lnTo>
                  <a:lnTo>
                    <a:pt x="1727753" y="205152"/>
                  </a:lnTo>
                  <a:cubicBezTo>
                    <a:pt x="1734163" y="200878"/>
                    <a:pt x="1751325" y="198466"/>
                    <a:pt x="1752428" y="208736"/>
                  </a:cubicBezTo>
                  <a:cubicBezTo>
                    <a:pt x="1743813" y="213147"/>
                    <a:pt x="1735266" y="212802"/>
                    <a:pt x="1726788" y="207633"/>
                  </a:cubicBezTo>
                  <a:cubicBezTo>
                    <a:pt x="1715416" y="218523"/>
                    <a:pt x="1735266" y="229413"/>
                    <a:pt x="1723962" y="240303"/>
                  </a:cubicBezTo>
                  <a:moveTo>
                    <a:pt x="1695359" y="234720"/>
                  </a:moveTo>
                  <a:cubicBezTo>
                    <a:pt x="1699494" y="230723"/>
                    <a:pt x="1699494" y="230723"/>
                    <a:pt x="1695359" y="234720"/>
                  </a:cubicBezTo>
                  <a:moveTo>
                    <a:pt x="2437953" y="241613"/>
                  </a:moveTo>
                  <a:cubicBezTo>
                    <a:pt x="2431611" y="233342"/>
                    <a:pt x="2432990" y="228241"/>
                    <a:pt x="2442088" y="226312"/>
                  </a:cubicBezTo>
                  <a:cubicBezTo>
                    <a:pt x="2448291" y="234651"/>
                    <a:pt x="2446913" y="239752"/>
                    <a:pt x="2437953" y="241613"/>
                  </a:cubicBezTo>
                  <a:moveTo>
                    <a:pt x="2328431" y="242233"/>
                  </a:moveTo>
                  <a:cubicBezTo>
                    <a:pt x="2331946" y="238511"/>
                    <a:pt x="2331946" y="238511"/>
                    <a:pt x="2328431" y="242233"/>
                  </a:cubicBezTo>
                  <a:moveTo>
                    <a:pt x="1769590" y="242302"/>
                  </a:moveTo>
                  <a:cubicBezTo>
                    <a:pt x="1759183" y="241889"/>
                    <a:pt x="1755805" y="223555"/>
                    <a:pt x="1767936" y="222934"/>
                  </a:cubicBezTo>
                  <a:cubicBezTo>
                    <a:pt x="1777999" y="222865"/>
                    <a:pt x="1780549" y="241957"/>
                    <a:pt x="1769590" y="242302"/>
                  </a:cubicBezTo>
                  <a:moveTo>
                    <a:pt x="2728125" y="249332"/>
                  </a:moveTo>
                  <a:cubicBezTo>
                    <a:pt x="2731985" y="245886"/>
                    <a:pt x="2731985" y="245886"/>
                    <a:pt x="2728125" y="249332"/>
                  </a:cubicBezTo>
                  <a:moveTo>
                    <a:pt x="2549541" y="250435"/>
                  </a:moveTo>
                  <a:cubicBezTo>
                    <a:pt x="2546784" y="240786"/>
                    <a:pt x="2550231" y="237270"/>
                    <a:pt x="2559811" y="239889"/>
                  </a:cubicBezTo>
                  <a:cubicBezTo>
                    <a:pt x="2562499" y="249608"/>
                    <a:pt x="2559122" y="253123"/>
                    <a:pt x="2549541" y="250435"/>
                  </a:cubicBezTo>
                  <a:moveTo>
                    <a:pt x="2341389" y="249470"/>
                  </a:moveTo>
                  <a:cubicBezTo>
                    <a:pt x="2330775" y="228517"/>
                    <a:pt x="2363996" y="248574"/>
                    <a:pt x="2341389" y="249470"/>
                  </a:cubicBezTo>
                  <a:moveTo>
                    <a:pt x="1859675" y="248919"/>
                  </a:moveTo>
                  <a:cubicBezTo>
                    <a:pt x="1863535" y="245472"/>
                    <a:pt x="1863535" y="245472"/>
                    <a:pt x="1859675" y="248919"/>
                  </a:cubicBezTo>
                  <a:moveTo>
                    <a:pt x="1643183" y="254226"/>
                  </a:moveTo>
                  <a:cubicBezTo>
                    <a:pt x="1642700" y="243060"/>
                    <a:pt x="1641597" y="231894"/>
                    <a:pt x="1640012" y="220798"/>
                  </a:cubicBezTo>
                  <a:cubicBezTo>
                    <a:pt x="1644561" y="220660"/>
                    <a:pt x="1653659" y="220453"/>
                    <a:pt x="1658208" y="220315"/>
                  </a:cubicBezTo>
                  <a:cubicBezTo>
                    <a:pt x="1657795" y="229413"/>
                    <a:pt x="1653452" y="235065"/>
                    <a:pt x="1644975" y="237339"/>
                  </a:cubicBezTo>
                  <a:cubicBezTo>
                    <a:pt x="1647318" y="241889"/>
                    <a:pt x="1652074" y="251055"/>
                    <a:pt x="1654417" y="255673"/>
                  </a:cubicBezTo>
                  <a:lnTo>
                    <a:pt x="1643183" y="254226"/>
                  </a:lnTo>
                  <a:moveTo>
                    <a:pt x="2661889" y="255122"/>
                  </a:moveTo>
                  <a:cubicBezTo>
                    <a:pt x="2670573" y="246093"/>
                    <a:pt x="2684565" y="248505"/>
                    <a:pt x="2694835" y="253399"/>
                  </a:cubicBezTo>
                  <a:cubicBezTo>
                    <a:pt x="2683807" y="254571"/>
                    <a:pt x="2672847" y="255122"/>
                    <a:pt x="2661889" y="255122"/>
                  </a:cubicBezTo>
                  <a:moveTo>
                    <a:pt x="2450773" y="255053"/>
                  </a:moveTo>
                  <a:cubicBezTo>
                    <a:pt x="2443466" y="249194"/>
                    <a:pt x="2451531" y="234100"/>
                    <a:pt x="2460353" y="238511"/>
                  </a:cubicBezTo>
                  <a:cubicBezTo>
                    <a:pt x="2465247" y="244439"/>
                    <a:pt x="2459457" y="258982"/>
                    <a:pt x="2450773" y="255053"/>
                  </a:cubicBezTo>
                  <a:moveTo>
                    <a:pt x="2068379" y="255260"/>
                  </a:moveTo>
                  <a:cubicBezTo>
                    <a:pt x="2063347" y="247609"/>
                    <a:pt x="2065828" y="227207"/>
                    <a:pt x="2078648" y="232032"/>
                  </a:cubicBezTo>
                  <a:cubicBezTo>
                    <a:pt x="2087953" y="238718"/>
                    <a:pt x="2080234" y="262566"/>
                    <a:pt x="2068379" y="255260"/>
                  </a:cubicBezTo>
                  <a:moveTo>
                    <a:pt x="1660552" y="257190"/>
                  </a:moveTo>
                  <a:cubicBezTo>
                    <a:pt x="1658553" y="248850"/>
                    <a:pt x="1673027" y="243543"/>
                    <a:pt x="1679230" y="247609"/>
                  </a:cubicBezTo>
                  <a:cubicBezTo>
                    <a:pt x="1683503" y="257465"/>
                    <a:pt x="1666824" y="263048"/>
                    <a:pt x="1660552" y="257190"/>
                  </a:cubicBezTo>
                  <a:moveTo>
                    <a:pt x="2052388" y="263462"/>
                  </a:moveTo>
                  <a:cubicBezTo>
                    <a:pt x="2041153" y="243129"/>
                    <a:pt x="2075133" y="261739"/>
                    <a:pt x="2052388" y="263462"/>
                  </a:cubicBezTo>
                  <a:moveTo>
                    <a:pt x="2714960" y="271250"/>
                  </a:moveTo>
                  <a:cubicBezTo>
                    <a:pt x="2715098" y="248436"/>
                    <a:pt x="2736120" y="281038"/>
                    <a:pt x="2714960" y="271250"/>
                  </a:cubicBezTo>
                  <a:moveTo>
                    <a:pt x="2369717" y="250435"/>
                  </a:moveTo>
                  <a:cubicBezTo>
                    <a:pt x="2362549" y="242371"/>
                    <a:pt x="2359516" y="232308"/>
                    <a:pt x="2360481" y="221556"/>
                  </a:cubicBezTo>
                  <a:cubicBezTo>
                    <a:pt x="2381917" y="225347"/>
                    <a:pt x="2383088" y="260222"/>
                    <a:pt x="2375783" y="274834"/>
                  </a:cubicBezTo>
                  <a:cubicBezTo>
                    <a:pt x="2359723" y="273249"/>
                    <a:pt x="2374680" y="258568"/>
                    <a:pt x="2369717" y="250435"/>
                  </a:cubicBezTo>
                  <a:moveTo>
                    <a:pt x="2299138" y="270492"/>
                  </a:moveTo>
                  <a:cubicBezTo>
                    <a:pt x="2287352" y="250297"/>
                    <a:pt x="2321746" y="268356"/>
                    <a:pt x="2299138" y="270492"/>
                  </a:cubicBezTo>
                  <a:moveTo>
                    <a:pt x="2249306" y="229068"/>
                  </a:moveTo>
                  <a:cubicBezTo>
                    <a:pt x="2244688" y="229068"/>
                    <a:pt x="2235521" y="229068"/>
                    <a:pt x="2230903" y="229068"/>
                  </a:cubicBezTo>
                  <a:cubicBezTo>
                    <a:pt x="2229800" y="223830"/>
                    <a:pt x="2227526" y="213353"/>
                    <a:pt x="2226423" y="208115"/>
                  </a:cubicBezTo>
                  <a:cubicBezTo>
                    <a:pt x="2232833" y="202050"/>
                    <a:pt x="2239174" y="195847"/>
                    <a:pt x="2245584" y="189643"/>
                  </a:cubicBezTo>
                  <a:cubicBezTo>
                    <a:pt x="2246411" y="202602"/>
                    <a:pt x="2248754" y="215284"/>
                    <a:pt x="2251856" y="227828"/>
                  </a:cubicBezTo>
                  <a:cubicBezTo>
                    <a:pt x="2261299" y="222658"/>
                    <a:pt x="2270741" y="217558"/>
                    <a:pt x="2280391" y="212596"/>
                  </a:cubicBezTo>
                  <a:cubicBezTo>
                    <a:pt x="2279495" y="228104"/>
                    <a:pt x="2273223" y="243956"/>
                    <a:pt x="2278874" y="259257"/>
                  </a:cubicBezTo>
                  <a:cubicBezTo>
                    <a:pt x="2282734" y="271113"/>
                    <a:pt x="2278047" y="276902"/>
                    <a:pt x="2264745" y="276695"/>
                  </a:cubicBezTo>
                  <a:cubicBezTo>
                    <a:pt x="2257301" y="261670"/>
                    <a:pt x="2254544" y="244852"/>
                    <a:pt x="2249306" y="229068"/>
                  </a:cubicBezTo>
                  <a:moveTo>
                    <a:pt x="1976640" y="269665"/>
                  </a:moveTo>
                  <a:cubicBezTo>
                    <a:pt x="1973469" y="259533"/>
                    <a:pt x="1976640" y="256638"/>
                    <a:pt x="1986152" y="261049"/>
                  </a:cubicBezTo>
                  <a:cubicBezTo>
                    <a:pt x="1989184" y="271250"/>
                    <a:pt x="1986014" y="274076"/>
                    <a:pt x="1976640" y="269665"/>
                  </a:cubicBezTo>
                  <a:moveTo>
                    <a:pt x="1928255" y="270423"/>
                  </a:moveTo>
                  <a:cubicBezTo>
                    <a:pt x="1921087" y="265461"/>
                    <a:pt x="1926945" y="245266"/>
                    <a:pt x="1935285" y="256363"/>
                  </a:cubicBezTo>
                  <a:cubicBezTo>
                    <a:pt x="1941282" y="261532"/>
                    <a:pt x="1937353" y="279866"/>
                    <a:pt x="1928255" y="270423"/>
                  </a:cubicBezTo>
                  <a:moveTo>
                    <a:pt x="2451462" y="277109"/>
                  </a:moveTo>
                  <a:cubicBezTo>
                    <a:pt x="2441261" y="256156"/>
                    <a:pt x="2474138" y="276420"/>
                    <a:pt x="2451462" y="277109"/>
                  </a:cubicBezTo>
                  <a:moveTo>
                    <a:pt x="2196716" y="262497"/>
                  </a:moveTo>
                  <a:cubicBezTo>
                    <a:pt x="2197268" y="259395"/>
                    <a:pt x="2198302" y="253054"/>
                    <a:pt x="2198853" y="249884"/>
                  </a:cubicBezTo>
                  <a:cubicBezTo>
                    <a:pt x="2192236" y="250435"/>
                    <a:pt x="2178934" y="251607"/>
                    <a:pt x="2172248" y="252158"/>
                  </a:cubicBezTo>
                  <a:cubicBezTo>
                    <a:pt x="2173833" y="235823"/>
                    <a:pt x="2192443" y="239821"/>
                    <a:pt x="2203471" y="234858"/>
                  </a:cubicBezTo>
                  <a:cubicBezTo>
                    <a:pt x="2217187" y="231687"/>
                    <a:pt x="2215464" y="213836"/>
                    <a:pt x="2220220" y="203911"/>
                  </a:cubicBezTo>
                  <a:cubicBezTo>
                    <a:pt x="2222770" y="212596"/>
                    <a:pt x="2225320" y="221280"/>
                    <a:pt x="2227939" y="229964"/>
                  </a:cubicBezTo>
                  <a:cubicBezTo>
                    <a:pt x="2225113" y="232997"/>
                    <a:pt x="2219392" y="239063"/>
                    <a:pt x="2216567" y="242095"/>
                  </a:cubicBezTo>
                  <a:cubicBezTo>
                    <a:pt x="2219324" y="244301"/>
                    <a:pt x="2224906" y="248781"/>
                    <a:pt x="2227732" y="250986"/>
                  </a:cubicBezTo>
                  <a:cubicBezTo>
                    <a:pt x="2230972" y="244025"/>
                    <a:pt x="2236072" y="238994"/>
                    <a:pt x="2243034" y="235892"/>
                  </a:cubicBezTo>
                  <a:cubicBezTo>
                    <a:pt x="2242276" y="240372"/>
                    <a:pt x="2240759" y="249263"/>
                    <a:pt x="2240001" y="253743"/>
                  </a:cubicBezTo>
                  <a:cubicBezTo>
                    <a:pt x="2232419" y="255742"/>
                    <a:pt x="2224906" y="257741"/>
                    <a:pt x="2217463" y="259671"/>
                  </a:cubicBezTo>
                  <a:cubicBezTo>
                    <a:pt x="2216773" y="264220"/>
                    <a:pt x="2215533" y="273318"/>
                    <a:pt x="2214912" y="277867"/>
                  </a:cubicBezTo>
                  <a:cubicBezTo>
                    <a:pt x="2211190" y="270079"/>
                    <a:pt x="2205263" y="264565"/>
                    <a:pt x="2196716" y="262497"/>
                  </a:cubicBezTo>
                  <a:moveTo>
                    <a:pt x="2004968" y="277247"/>
                  </a:moveTo>
                  <a:cubicBezTo>
                    <a:pt x="1996766" y="266425"/>
                    <a:pt x="2016341" y="260360"/>
                    <a:pt x="2022682" y="267942"/>
                  </a:cubicBezTo>
                  <a:cubicBezTo>
                    <a:pt x="2033365" y="278901"/>
                    <a:pt x="2011033" y="286965"/>
                    <a:pt x="2004968" y="277247"/>
                  </a:cubicBezTo>
                  <a:moveTo>
                    <a:pt x="2707517" y="283105"/>
                  </a:moveTo>
                  <a:cubicBezTo>
                    <a:pt x="2711101" y="279590"/>
                    <a:pt x="2711101" y="279590"/>
                    <a:pt x="2707517" y="283105"/>
                  </a:cubicBezTo>
                  <a:moveTo>
                    <a:pt x="2665542" y="285242"/>
                  </a:moveTo>
                  <a:cubicBezTo>
                    <a:pt x="2656650" y="279797"/>
                    <a:pt x="2656513" y="274972"/>
                    <a:pt x="2665197" y="270699"/>
                  </a:cubicBezTo>
                  <a:cubicBezTo>
                    <a:pt x="2674088" y="276144"/>
                    <a:pt x="2674226" y="280969"/>
                    <a:pt x="2665542" y="285242"/>
                  </a:cubicBezTo>
                  <a:moveTo>
                    <a:pt x="2585038" y="286207"/>
                  </a:moveTo>
                  <a:cubicBezTo>
                    <a:pt x="2584348" y="273387"/>
                    <a:pt x="2584004" y="260498"/>
                    <a:pt x="2583866" y="247609"/>
                  </a:cubicBezTo>
                  <a:cubicBezTo>
                    <a:pt x="2585865" y="239338"/>
                    <a:pt x="2587795" y="231067"/>
                    <a:pt x="2589793" y="222727"/>
                  </a:cubicBezTo>
                  <a:cubicBezTo>
                    <a:pt x="2592482" y="222934"/>
                    <a:pt x="2597789" y="223417"/>
                    <a:pt x="2600477" y="223692"/>
                  </a:cubicBezTo>
                  <a:cubicBezTo>
                    <a:pt x="2596548" y="244852"/>
                    <a:pt x="2594825" y="266770"/>
                    <a:pt x="2585038" y="286207"/>
                  </a:cubicBezTo>
                  <a:moveTo>
                    <a:pt x="2544579" y="268425"/>
                  </a:moveTo>
                  <a:cubicBezTo>
                    <a:pt x="2553677" y="258223"/>
                    <a:pt x="2567393" y="274214"/>
                    <a:pt x="2560156" y="283519"/>
                  </a:cubicBezTo>
                  <a:cubicBezTo>
                    <a:pt x="2552229" y="289515"/>
                    <a:pt x="2537204" y="276833"/>
                    <a:pt x="2544579" y="268425"/>
                  </a:cubicBezTo>
                  <a:moveTo>
                    <a:pt x="2170801" y="285035"/>
                  </a:moveTo>
                  <a:cubicBezTo>
                    <a:pt x="2165218" y="276351"/>
                    <a:pt x="2176246" y="259671"/>
                    <a:pt x="2185895" y="268976"/>
                  </a:cubicBezTo>
                  <a:cubicBezTo>
                    <a:pt x="2194511" y="277591"/>
                    <a:pt x="2179141" y="290687"/>
                    <a:pt x="2170801" y="285035"/>
                  </a:cubicBezTo>
                  <a:moveTo>
                    <a:pt x="2514803" y="291238"/>
                  </a:moveTo>
                  <a:cubicBezTo>
                    <a:pt x="2518319" y="287723"/>
                    <a:pt x="2518319" y="287723"/>
                    <a:pt x="2514803" y="291238"/>
                  </a:cubicBezTo>
                  <a:moveTo>
                    <a:pt x="2418791" y="292135"/>
                  </a:moveTo>
                  <a:cubicBezTo>
                    <a:pt x="2425477" y="274076"/>
                    <a:pt x="2409693" y="260843"/>
                    <a:pt x="2404386" y="244921"/>
                  </a:cubicBezTo>
                  <a:cubicBezTo>
                    <a:pt x="2415897" y="258637"/>
                    <a:pt x="2424099" y="274765"/>
                    <a:pt x="2429613" y="291790"/>
                  </a:cubicBezTo>
                  <a:cubicBezTo>
                    <a:pt x="2426925" y="291859"/>
                    <a:pt x="2421480" y="291997"/>
                    <a:pt x="2418791" y="292135"/>
                  </a:cubicBezTo>
                  <a:moveTo>
                    <a:pt x="2252752" y="289791"/>
                  </a:moveTo>
                  <a:cubicBezTo>
                    <a:pt x="2256405" y="285724"/>
                    <a:pt x="2256405" y="285724"/>
                    <a:pt x="2252752" y="289791"/>
                  </a:cubicBezTo>
                  <a:moveTo>
                    <a:pt x="2737223" y="298131"/>
                  </a:moveTo>
                  <a:cubicBezTo>
                    <a:pt x="2736534" y="288137"/>
                    <a:pt x="2735845" y="278074"/>
                    <a:pt x="2735362" y="268011"/>
                  </a:cubicBezTo>
                  <a:cubicBezTo>
                    <a:pt x="2752249" y="256500"/>
                    <a:pt x="2746390" y="233893"/>
                    <a:pt x="2741979" y="217282"/>
                  </a:cubicBezTo>
                  <a:cubicBezTo>
                    <a:pt x="2753421" y="218592"/>
                    <a:pt x="2765000" y="219901"/>
                    <a:pt x="2776510" y="218110"/>
                  </a:cubicBezTo>
                  <a:cubicBezTo>
                    <a:pt x="2771686" y="231963"/>
                    <a:pt x="2770720" y="246506"/>
                    <a:pt x="2770514" y="260980"/>
                  </a:cubicBezTo>
                  <a:cubicBezTo>
                    <a:pt x="2775959" y="266701"/>
                    <a:pt x="2779681" y="274765"/>
                    <a:pt x="2787194" y="278143"/>
                  </a:cubicBezTo>
                  <a:cubicBezTo>
                    <a:pt x="2788434" y="277040"/>
                    <a:pt x="2790985" y="274903"/>
                    <a:pt x="2792225" y="273801"/>
                  </a:cubicBezTo>
                  <a:cubicBezTo>
                    <a:pt x="2792156" y="282485"/>
                    <a:pt x="2792294" y="291170"/>
                    <a:pt x="2792639" y="299785"/>
                  </a:cubicBezTo>
                  <a:cubicBezTo>
                    <a:pt x="2791467" y="296132"/>
                    <a:pt x="2789123" y="288757"/>
                    <a:pt x="2787952" y="285104"/>
                  </a:cubicBezTo>
                  <a:cubicBezTo>
                    <a:pt x="2782024" y="284759"/>
                    <a:pt x="2776234" y="285518"/>
                    <a:pt x="2770652" y="287447"/>
                  </a:cubicBezTo>
                  <a:cubicBezTo>
                    <a:pt x="2762174" y="284277"/>
                    <a:pt x="2753627" y="281520"/>
                    <a:pt x="2744943" y="279177"/>
                  </a:cubicBezTo>
                  <a:cubicBezTo>
                    <a:pt x="2742324" y="285518"/>
                    <a:pt x="2739773" y="291859"/>
                    <a:pt x="2737223" y="298131"/>
                  </a:cubicBezTo>
                  <a:moveTo>
                    <a:pt x="2622119" y="278281"/>
                  </a:moveTo>
                  <a:cubicBezTo>
                    <a:pt x="2632320" y="263186"/>
                    <a:pt x="2650930" y="300750"/>
                    <a:pt x="2631631" y="301095"/>
                  </a:cubicBezTo>
                  <a:cubicBezTo>
                    <a:pt x="2625014" y="295167"/>
                    <a:pt x="2621843" y="287516"/>
                    <a:pt x="2622119" y="278281"/>
                  </a:cubicBezTo>
                  <a:moveTo>
                    <a:pt x="2694007" y="304955"/>
                  </a:moveTo>
                  <a:cubicBezTo>
                    <a:pt x="2690148" y="295098"/>
                    <a:pt x="2693043" y="291859"/>
                    <a:pt x="2702761" y="295374"/>
                  </a:cubicBezTo>
                  <a:cubicBezTo>
                    <a:pt x="2706621" y="305299"/>
                    <a:pt x="2703726" y="308469"/>
                    <a:pt x="2694007" y="304955"/>
                  </a:cubicBezTo>
                  <a:moveTo>
                    <a:pt x="2536101" y="303852"/>
                  </a:moveTo>
                  <a:cubicBezTo>
                    <a:pt x="2528450" y="299027"/>
                    <a:pt x="2533827" y="279659"/>
                    <a:pt x="2542649" y="290273"/>
                  </a:cubicBezTo>
                  <a:cubicBezTo>
                    <a:pt x="2549748" y="295305"/>
                    <a:pt x="2545406" y="313432"/>
                    <a:pt x="2536101" y="303852"/>
                  </a:cubicBezTo>
                  <a:moveTo>
                    <a:pt x="2790088" y="311847"/>
                  </a:moveTo>
                  <a:cubicBezTo>
                    <a:pt x="2793810" y="307918"/>
                    <a:pt x="2793810" y="307918"/>
                    <a:pt x="2790088" y="311847"/>
                  </a:cubicBezTo>
                  <a:moveTo>
                    <a:pt x="2761485" y="311364"/>
                  </a:moveTo>
                  <a:cubicBezTo>
                    <a:pt x="2751284" y="290480"/>
                    <a:pt x="2784230" y="310331"/>
                    <a:pt x="2761485" y="311364"/>
                  </a:cubicBezTo>
                  <a:moveTo>
                    <a:pt x="2479376" y="314052"/>
                  </a:moveTo>
                  <a:cubicBezTo>
                    <a:pt x="2601717" y="323771"/>
                    <a:pt x="2724541" y="328802"/>
                    <a:pt x="2846951" y="337831"/>
                  </a:cubicBezTo>
                  <a:cubicBezTo>
                    <a:pt x="2847089" y="328389"/>
                    <a:pt x="2851845" y="320600"/>
                    <a:pt x="2857290" y="313226"/>
                  </a:cubicBezTo>
                  <a:cubicBezTo>
                    <a:pt x="2846469" y="316327"/>
                    <a:pt x="2835510" y="319222"/>
                    <a:pt x="2824689" y="322117"/>
                  </a:cubicBezTo>
                  <a:cubicBezTo>
                    <a:pt x="2827652" y="313226"/>
                    <a:pt x="2832753" y="306057"/>
                    <a:pt x="2840059" y="300474"/>
                  </a:cubicBezTo>
                  <a:cubicBezTo>
                    <a:pt x="2840403" y="296270"/>
                    <a:pt x="2841093" y="287861"/>
                    <a:pt x="2841368" y="283657"/>
                  </a:cubicBezTo>
                  <a:cubicBezTo>
                    <a:pt x="2836681" y="283450"/>
                    <a:pt x="2832063" y="283105"/>
                    <a:pt x="2827446" y="282554"/>
                  </a:cubicBezTo>
                  <a:lnTo>
                    <a:pt x="2819244" y="281658"/>
                  </a:lnTo>
                  <a:cubicBezTo>
                    <a:pt x="2818278" y="271250"/>
                    <a:pt x="2817245" y="260774"/>
                    <a:pt x="2816211" y="250297"/>
                  </a:cubicBezTo>
                  <a:cubicBezTo>
                    <a:pt x="2819450" y="248298"/>
                    <a:pt x="2825860" y="244232"/>
                    <a:pt x="2829031" y="242233"/>
                  </a:cubicBezTo>
                  <a:cubicBezTo>
                    <a:pt x="2816693" y="236443"/>
                    <a:pt x="2814764" y="223624"/>
                    <a:pt x="2813867" y="211217"/>
                  </a:cubicBezTo>
                  <a:cubicBezTo>
                    <a:pt x="2806906" y="222521"/>
                    <a:pt x="2799807" y="233824"/>
                    <a:pt x="2790088" y="242991"/>
                  </a:cubicBezTo>
                  <a:cubicBezTo>
                    <a:pt x="2767550" y="242646"/>
                    <a:pt x="2784368" y="219488"/>
                    <a:pt x="2790985" y="211010"/>
                  </a:cubicBezTo>
                  <a:cubicBezTo>
                    <a:pt x="2736189" y="209494"/>
                    <a:pt x="2681670" y="203153"/>
                    <a:pt x="2626875" y="201016"/>
                  </a:cubicBezTo>
                  <a:cubicBezTo>
                    <a:pt x="2626944" y="204462"/>
                    <a:pt x="2627082" y="211424"/>
                    <a:pt x="2627082" y="214870"/>
                  </a:cubicBezTo>
                  <a:cubicBezTo>
                    <a:pt x="2621775" y="202326"/>
                    <a:pt x="2616123" y="202670"/>
                    <a:pt x="2610264" y="215904"/>
                  </a:cubicBezTo>
                  <a:cubicBezTo>
                    <a:pt x="2611367" y="211562"/>
                    <a:pt x="2613710" y="202808"/>
                    <a:pt x="2614882" y="198466"/>
                  </a:cubicBezTo>
                  <a:cubicBezTo>
                    <a:pt x="2595859" y="192883"/>
                    <a:pt x="2585382" y="209218"/>
                    <a:pt x="2576560" y="221969"/>
                  </a:cubicBezTo>
                  <a:cubicBezTo>
                    <a:pt x="2579386" y="213836"/>
                    <a:pt x="2582143" y="205634"/>
                    <a:pt x="2584831" y="197363"/>
                  </a:cubicBezTo>
                  <a:lnTo>
                    <a:pt x="2565877" y="197983"/>
                  </a:lnTo>
                  <a:lnTo>
                    <a:pt x="2565118" y="208805"/>
                  </a:lnTo>
                  <a:cubicBezTo>
                    <a:pt x="2564843" y="205772"/>
                    <a:pt x="2564360" y="199707"/>
                    <a:pt x="2564085" y="196605"/>
                  </a:cubicBezTo>
                  <a:cubicBezTo>
                    <a:pt x="2547887" y="196536"/>
                    <a:pt x="2530794" y="192194"/>
                    <a:pt x="2515424" y="199086"/>
                  </a:cubicBezTo>
                  <a:cubicBezTo>
                    <a:pt x="2513563" y="197501"/>
                    <a:pt x="2509772" y="194468"/>
                    <a:pt x="2507842" y="192883"/>
                  </a:cubicBezTo>
                  <a:cubicBezTo>
                    <a:pt x="2476964" y="191574"/>
                    <a:pt x="2445948" y="191918"/>
                    <a:pt x="2415483" y="186060"/>
                  </a:cubicBezTo>
                  <a:cubicBezTo>
                    <a:pt x="2415001" y="189643"/>
                    <a:pt x="2414036" y="196812"/>
                    <a:pt x="2413553" y="200327"/>
                  </a:cubicBezTo>
                  <a:cubicBezTo>
                    <a:pt x="2423823" y="198879"/>
                    <a:pt x="2434713" y="199845"/>
                    <a:pt x="2443742" y="205221"/>
                  </a:cubicBezTo>
                  <a:cubicBezTo>
                    <a:pt x="2436436" y="205014"/>
                    <a:pt x="2421824" y="204669"/>
                    <a:pt x="2414518" y="204462"/>
                  </a:cubicBezTo>
                  <a:cubicBezTo>
                    <a:pt x="2411830" y="215697"/>
                    <a:pt x="2414587" y="229895"/>
                    <a:pt x="2403697" y="237408"/>
                  </a:cubicBezTo>
                  <a:cubicBezTo>
                    <a:pt x="2404455" y="219005"/>
                    <a:pt x="2416034" y="195640"/>
                    <a:pt x="2393358" y="185784"/>
                  </a:cubicBezTo>
                  <a:cubicBezTo>
                    <a:pt x="2369786" y="184957"/>
                    <a:pt x="2346214" y="182269"/>
                    <a:pt x="2322711" y="184819"/>
                  </a:cubicBezTo>
                  <a:cubicBezTo>
                    <a:pt x="2312096" y="182475"/>
                    <a:pt x="2301275" y="180890"/>
                    <a:pt x="2290523" y="180201"/>
                  </a:cubicBezTo>
                  <a:cubicBezTo>
                    <a:pt x="2287904" y="190264"/>
                    <a:pt x="2285009" y="200189"/>
                    <a:pt x="2281700" y="209976"/>
                  </a:cubicBezTo>
                  <a:cubicBezTo>
                    <a:pt x="2282596" y="199845"/>
                    <a:pt x="2283906" y="189781"/>
                    <a:pt x="2285422" y="179718"/>
                  </a:cubicBezTo>
                  <a:cubicBezTo>
                    <a:pt x="2273360" y="178960"/>
                    <a:pt x="2261368" y="178133"/>
                    <a:pt x="2249444" y="177306"/>
                  </a:cubicBezTo>
                  <a:lnTo>
                    <a:pt x="2249650" y="188954"/>
                  </a:lnTo>
                  <a:cubicBezTo>
                    <a:pt x="2246342" y="178133"/>
                    <a:pt x="2236624" y="175238"/>
                    <a:pt x="2226216" y="174135"/>
                  </a:cubicBezTo>
                  <a:cubicBezTo>
                    <a:pt x="2226492" y="182889"/>
                    <a:pt x="2226836" y="191642"/>
                    <a:pt x="2227319" y="200327"/>
                  </a:cubicBezTo>
                  <a:cubicBezTo>
                    <a:pt x="2222770" y="200396"/>
                    <a:pt x="2213672" y="200602"/>
                    <a:pt x="2209123" y="200671"/>
                  </a:cubicBezTo>
                  <a:cubicBezTo>
                    <a:pt x="2213327" y="194055"/>
                    <a:pt x="2217601" y="187369"/>
                    <a:pt x="2221874" y="180683"/>
                  </a:cubicBezTo>
                  <a:cubicBezTo>
                    <a:pt x="2205470" y="174411"/>
                    <a:pt x="2185688" y="168828"/>
                    <a:pt x="2168871" y="176410"/>
                  </a:cubicBezTo>
                  <a:cubicBezTo>
                    <a:pt x="2169767" y="179580"/>
                    <a:pt x="2171628" y="185991"/>
                    <a:pt x="2172524" y="189161"/>
                  </a:cubicBezTo>
                  <a:cubicBezTo>
                    <a:pt x="2169422" y="188127"/>
                    <a:pt x="2163219" y="186128"/>
                    <a:pt x="2160117" y="185094"/>
                  </a:cubicBezTo>
                  <a:cubicBezTo>
                    <a:pt x="2158601" y="182613"/>
                    <a:pt x="2155568" y="177651"/>
                    <a:pt x="2154052" y="175169"/>
                  </a:cubicBezTo>
                  <a:cubicBezTo>
                    <a:pt x="2149503" y="173722"/>
                    <a:pt x="2140405" y="170758"/>
                    <a:pt x="2135856" y="169242"/>
                  </a:cubicBezTo>
                  <a:cubicBezTo>
                    <a:pt x="2136407" y="177306"/>
                    <a:pt x="2134615" y="184612"/>
                    <a:pt x="2130618" y="191160"/>
                  </a:cubicBezTo>
                  <a:cubicBezTo>
                    <a:pt x="2131307" y="185784"/>
                    <a:pt x="2132547" y="175032"/>
                    <a:pt x="2133168" y="169655"/>
                  </a:cubicBezTo>
                  <a:cubicBezTo>
                    <a:pt x="2116902" y="169518"/>
                    <a:pt x="2100635" y="168346"/>
                    <a:pt x="2084507" y="167105"/>
                  </a:cubicBezTo>
                  <a:cubicBezTo>
                    <a:pt x="2080440" y="172826"/>
                    <a:pt x="2076374" y="178478"/>
                    <a:pt x="2072307" y="184130"/>
                  </a:cubicBezTo>
                  <a:cubicBezTo>
                    <a:pt x="2072721" y="179580"/>
                    <a:pt x="2073617" y="170483"/>
                    <a:pt x="2074030" y="166002"/>
                  </a:cubicBezTo>
                  <a:cubicBezTo>
                    <a:pt x="2038052" y="164348"/>
                    <a:pt x="2002004" y="162074"/>
                    <a:pt x="1966094" y="159041"/>
                  </a:cubicBezTo>
                  <a:cubicBezTo>
                    <a:pt x="1963337" y="160833"/>
                    <a:pt x="1957755" y="164417"/>
                    <a:pt x="1954998" y="166209"/>
                  </a:cubicBezTo>
                  <a:cubicBezTo>
                    <a:pt x="1950931" y="163245"/>
                    <a:pt x="1942867" y="157249"/>
                    <a:pt x="1938869" y="154285"/>
                  </a:cubicBezTo>
                  <a:cubicBezTo>
                    <a:pt x="1933011" y="168070"/>
                    <a:pt x="1926807" y="182131"/>
                    <a:pt x="1931287" y="197294"/>
                  </a:cubicBezTo>
                  <a:cubicBezTo>
                    <a:pt x="1926876" y="182958"/>
                    <a:pt x="1922189" y="168690"/>
                    <a:pt x="1917434" y="154492"/>
                  </a:cubicBezTo>
                  <a:cubicBezTo>
                    <a:pt x="1908198" y="155457"/>
                    <a:pt x="1899789" y="158352"/>
                    <a:pt x="1895240" y="167105"/>
                  </a:cubicBezTo>
                  <a:cubicBezTo>
                    <a:pt x="1895102" y="164141"/>
                    <a:pt x="1894757" y="158214"/>
                    <a:pt x="1894551" y="155250"/>
                  </a:cubicBezTo>
                  <a:cubicBezTo>
                    <a:pt x="1863810" y="153596"/>
                    <a:pt x="1833070" y="150701"/>
                    <a:pt x="1802261" y="150081"/>
                  </a:cubicBezTo>
                  <a:cubicBezTo>
                    <a:pt x="1763456" y="150287"/>
                    <a:pt x="1725134" y="141948"/>
                    <a:pt x="1686192" y="143947"/>
                  </a:cubicBezTo>
                  <a:cubicBezTo>
                    <a:pt x="1686743" y="158283"/>
                    <a:pt x="1687639" y="172550"/>
                    <a:pt x="1689913" y="186680"/>
                  </a:cubicBezTo>
                  <a:cubicBezTo>
                    <a:pt x="1683917" y="181166"/>
                    <a:pt x="1674681" y="171516"/>
                    <a:pt x="1667582" y="181304"/>
                  </a:cubicBezTo>
                  <a:cubicBezTo>
                    <a:pt x="1664618" y="191022"/>
                    <a:pt x="1661930" y="200809"/>
                    <a:pt x="1659587" y="210596"/>
                  </a:cubicBezTo>
                  <a:cubicBezTo>
                    <a:pt x="1657105" y="206323"/>
                    <a:pt x="1654624" y="202050"/>
                    <a:pt x="1652212" y="197708"/>
                  </a:cubicBezTo>
                  <a:cubicBezTo>
                    <a:pt x="1649110" y="198328"/>
                    <a:pt x="1642838" y="199569"/>
                    <a:pt x="1639736" y="200189"/>
                  </a:cubicBezTo>
                  <a:lnTo>
                    <a:pt x="1626847" y="202739"/>
                  </a:lnTo>
                  <a:cubicBezTo>
                    <a:pt x="1626985" y="221762"/>
                    <a:pt x="1626847" y="240855"/>
                    <a:pt x="1627192" y="259878"/>
                  </a:cubicBezTo>
                  <a:cubicBezTo>
                    <a:pt x="1714589" y="266150"/>
                    <a:pt x="1802123" y="274421"/>
                    <a:pt x="1889726" y="276075"/>
                  </a:cubicBezTo>
                  <a:cubicBezTo>
                    <a:pt x="1920535" y="281451"/>
                    <a:pt x="1951965" y="280486"/>
                    <a:pt x="1983050" y="283519"/>
                  </a:cubicBezTo>
                  <a:cubicBezTo>
                    <a:pt x="2005037" y="284828"/>
                    <a:pt x="2027713" y="289791"/>
                    <a:pt x="2049149" y="282071"/>
                  </a:cubicBezTo>
                  <a:cubicBezTo>
                    <a:pt x="2063416" y="292824"/>
                    <a:pt x="2082301" y="288826"/>
                    <a:pt x="2098912" y="290963"/>
                  </a:cubicBezTo>
                  <a:cubicBezTo>
                    <a:pt x="2131307" y="291238"/>
                    <a:pt x="2164046" y="298820"/>
                    <a:pt x="2196303" y="293927"/>
                  </a:cubicBezTo>
                  <a:cubicBezTo>
                    <a:pt x="2196716" y="290204"/>
                    <a:pt x="2197543" y="282830"/>
                    <a:pt x="2197957" y="279177"/>
                  </a:cubicBezTo>
                  <a:lnTo>
                    <a:pt x="2202023" y="279383"/>
                  </a:lnTo>
                  <a:cubicBezTo>
                    <a:pt x="2201748" y="283795"/>
                    <a:pt x="2201196" y="292548"/>
                    <a:pt x="2200921" y="296959"/>
                  </a:cubicBezTo>
                  <a:cubicBezTo>
                    <a:pt x="2211328" y="291790"/>
                    <a:pt x="2221667" y="286414"/>
                    <a:pt x="2232006" y="281038"/>
                  </a:cubicBezTo>
                  <a:cubicBezTo>
                    <a:pt x="2224079" y="286827"/>
                    <a:pt x="2215877" y="292341"/>
                    <a:pt x="2208089" y="298062"/>
                  </a:cubicBezTo>
                  <a:cubicBezTo>
                    <a:pt x="2230145" y="298751"/>
                    <a:pt x="2252338" y="300061"/>
                    <a:pt x="2274326" y="302749"/>
                  </a:cubicBezTo>
                  <a:cubicBezTo>
                    <a:pt x="2284595" y="291928"/>
                    <a:pt x="2286663" y="276971"/>
                    <a:pt x="2291005" y="263255"/>
                  </a:cubicBezTo>
                  <a:cubicBezTo>
                    <a:pt x="2293900" y="276489"/>
                    <a:pt x="2292935" y="289929"/>
                    <a:pt x="2290523" y="303024"/>
                  </a:cubicBezTo>
                  <a:cubicBezTo>
                    <a:pt x="2333187" y="305092"/>
                    <a:pt x="2375783" y="308607"/>
                    <a:pt x="2418447" y="310813"/>
                  </a:cubicBezTo>
                  <a:cubicBezTo>
                    <a:pt x="2420859" y="308263"/>
                    <a:pt x="2425822" y="303024"/>
                    <a:pt x="2428303" y="300474"/>
                  </a:cubicBezTo>
                  <a:cubicBezTo>
                    <a:pt x="2435471" y="306402"/>
                    <a:pt x="2443328" y="311226"/>
                    <a:pt x="2451806" y="315086"/>
                  </a:cubicBezTo>
                  <a:cubicBezTo>
                    <a:pt x="2452358" y="309435"/>
                    <a:pt x="2453530" y="298200"/>
                    <a:pt x="2454081" y="292617"/>
                  </a:cubicBezTo>
                  <a:cubicBezTo>
                    <a:pt x="2454288" y="299578"/>
                    <a:pt x="2454563" y="306540"/>
                    <a:pt x="2454839" y="313501"/>
                  </a:cubicBezTo>
                  <a:cubicBezTo>
                    <a:pt x="2459939" y="313570"/>
                    <a:pt x="2470278" y="313777"/>
                    <a:pt x="2475447" y="313846"/>
                  </a:cubicBezTo>
                  <a:cubicBezTo>
                    <a:pt x="2472690" y="304817"/>
                    <a:pt x="2470278" y="295718"/>
                    <a:pt x="2468210" y="286552"/>
                  </a:cubicBezTo>
                  <a:cubicBezTo>
                    <a:pt x="2479790" y="291928"/>
                    <a:pt x="2486475" y="301646"/>
                    <a:pt x="2479376" y="314052"/>
                  </a:cubicBezTo>
                </a:path>
              </a:pathLst>
            </a:custGeom>
            <a:grpFill/>
            <a:ln w="689" cap="flat">
              <a:noFill/>
              <a:prstDash val="solid"/>
              <a:miter/>
            </a:ln>
          </p:spPr>
          <p:txBody>
            <a:bodyPr rtlCol="0" anchor="ctr"/>
            <a:lstStyle/>
            <a:p>
              <a:endParaRPr lang="en-US" sz="2400" dirty="0"/>
            </a:p>
          </p:txBody>
        </p:sp>
        <p:sp>
          <p:nvSpPr>
            <p:cNvPr id="127" name="Graphic 8">
              <a:extLst>
                <a:ext uri="{FF2B5EF4-FFF2-40B4-BE49-F238E27FC236}">
                  <a16:creationId xmlns:a16="http://schemas.microsoft.com/office/drawing/2014/main" id="{59E1AA8F-7D9B-4F01-9C9E-1B51E4713EF2}"/>
                </a:ext>
              </a:extLst>
            </p:cNvPr>
            <p:cNvSpPr/>
            <p:nvPr/>
          </p:nvSpPr>
          <p:spPr>
            <a:xfrm flipV="1">
              <a:off x="1497054" y="1407923"/>
              <a:ext cx="7337435" cy="2083763"/>
            </a:xfrm>
            <a:custGeom>
              <a:avLst/>
              <a:gdLst>
                <a:gd name="connsiteX0" fmla="*/ 4704665 w 7337435"/>
                <a:gd name="connsiteY0" fmla="*/ -847 h 2083763"/>
                <a:gd name="connsiteX1" fmla="*/ 4704665 w 7337435"/>
                <a:gd name="connsiteY1" fmla="*/ -847 h 2083763"/>
                <a:gd name="connsiteX2" fmla="*/ 6076471 w 7337435"/>
                <a:gd name="connsiteY2" fmla="*/ 95510 h 2083763"/>
                <a:gd name="connsiteX3" fmla="*/ 6076471 w 7337435"/>
                <a:gd name="connsiteY3" fmla="*/ 95510 h 2083763"/>
                <a:gd name="connsiteX4" fmla="*/ 7323249 w 7337435"/>
                <a:gd name="connsiteY4" fmla="*/ 219229 h 2083763"/>
                <a:gd name="connsiteX5" fmla="*/ 7323249 w 7337435"/>
                <a:gd name="connsiteY5" fmla="*/ 219229 h 2083763"/>
                <a:gd name="connsiteX6" fmla="*/ -3990 w 7337435"/>
                <a:gd name="connsiteY6" fmla="*/ 286844 h 2083763"/>
                <a:gd name="connsiteX7" fmla="*/ 7589 w 7337435"/>
                <a:gd name="connsiteY7" fmla="*/ 269958 h 2083763"/>
                <a:gd name="connsiteX8" fmla="*/ -3990 w 7337435"/>
                <a:gd name="connsiteY8" fmla="*/ 286844 h 2083763"/>
                <a:gd name="connsiteX9" fmla="*/ 3494072 w 7337435"/>
                <a:gd name="connsiteY9" fmla="*/ 573226 h 2083763"/>
                <a:gd name="connsiteX10" fmla="*/ 3517851 w 7337435"/>
                <a:gd name="connsiteY10" fmla="*/ 573571 h 2083763"/>
                <a:gd name="connsiteX11" fmla="*/ 3527501 w 7337435"/>
                <a:gd name="connsiteY11" fmla="*/ 557994 h 2083763"/>
                <a:gd name="connsiteX12" fmla="*/ 3523986 w 7337435"/>
                <a:gd name="connsiteY12" fmla="*/ 551032 h 2083763"/>
                <a:gd name="connsiteX13" fmla="*/ 3523572 w 7337435"/>
                <a:gd name="connsiteY13" fmla="*/ 545243 h 2083763"/>
                <a:gd name="connsiteX14" fmla="*/ 3523572 w 7337435"/>
                <a:gd name="connsiteY14" fmla="*/ 538074 h 2083763"/>
                <a:gd name="connsiteX15" fmla="*/ 3520539 w 7337435"/>
                <a:gd name="connsiteY15" fmla="*/ 538488 h 2083763"/>
                <a:gd name="connsiteX16" fmla="*/ 3500689 w 7337435"/>
                <a:gd name="connsiteY16" fmla="*/ 541383 h 2083763"/>
                <a:gd name="connsiteX17" fmla="*/ 3498759 w 7337435"/>
                <a:gd name="connsiteY17" fmla="*/ 542141 h 2083763"/>
                <a:gd name="connsiteX18" fmla="*/ 3494072 w 7337435"/>
                <a:gd name="connsiteY18" fmla="*/ 573226 h 2083763"/>
                <a:gd name="connsiteX19" fmla="*/ 2182092 w 7337435"/>
                <a:gd name="connsiteY19" fmla="*/ 667170 h 2083763"/>
                <a:gd name="connsiteX20" fmla="*/ 2182092 w 7337435"/>
                <a:gd name="connsiteY20" fmla="*/ 667170 h 2083763"/>
                <a:gd name="connsiteX21" fmla="*/ 2324559 w 7337435"/>
                <a:gd name="connsiteY21" fmla="*/ 730650 h 2083763"/>
                <a:gd name="connsiteX22" fmla="*/ 2349303 w 7337435"/>
                <a:gd name="connsiteY22" fmla="*/ 728927 h 2083763"/>
                <a:gd name="connsiteX23" fmla="*/ 2324559 w 7337435"/>
                <a:gd name="connsiteY23" fmla="*/ 730650 h 2083763"/>
                <a:gd name="connsiteX24" fmla="*/ 6214390 w 7337435"/>
                <a:gd name="connsiteY24" fmla="*/ 744573 h 2083763"/>
                <a:gd name="connsiteX25" fmla="*/ 6225418 w 7337435"/>
                <a:gd name="connsiteY25" fmla="*/ 733338 h 2083763"/>
                <a:gd name="connsiteX26" fmla="*/ 6214390 w 7337435"/>
                <a:gd name="connsiteY26" fmla="*/ 744573 h 2083763"/>
                <a:gd name="connsiteX27" fmla="*/ 769482 w 7337435"/>
                <a:gd name="connsiteY27" fmla="*/ 963546 h 2083763"/>
                <a:gd name="connsiteX28" fmla="*/ 769482 w 7337435"/>
                <a:gd name="connsiteY28" fmla="*/ 963546 h 2083763"/>
                <a:gd name="connsiteX29" fmla="*/ 4448127 w 7337435"/>
                <a:gd name="connsiteY29" fmla="*/ 1066520 h 2083763"/>
                <a:gd name="connsiteX30" fmla="*/ 4448127 w 7337435"/>
                <a:gd name="connsiteY30" fmla="*/ 1066520 h 2083763"/>
                <a:gd name="connsiteX31" fmla="*/ 865425 w 7337435"/>
                <a:gd name="connsiteY31" fmla="*/ 1381712 h 2083763"/>
                <a:gd name="connsiteX32" fmla="*/ 885000 w 7337435"/>
                <a:gd name="connsiteY32" fmla="*/ 1373717 h 2083763"/>
                <a:gd name="connsiteX33" fmla="*/ 865425 w 7337435"/>
                <a:gd name="connsiteY33" fmla="*/ 1381712 h 2083763"/>
                <a:gd name="connsiteX34" fmla="*/ 1527239 w 7337435"/>
                <a:gd name="connsiteY34" fmla="*/ 1502192 h 2083763"/>
                <a:gd name="connsiteX35" fmla="*/ 1538129 w 7337435"/>
                <a:gd name="connsiteY35" fmla="*/ 1491578 h 2083763"/>
                <a:gd name="connsiteX36" fmla="*/ 1527239 w 7337435"/>
                <a:gd name="connsiteY36" fmla="*/ 1502192 h 2083763"/>
                <a:gd name="connsiteX37" fmla="*/ 1761652 w 7337435"/>
                <a:gd name="connsiteY37" fmla="*/ 1543202 h 2083763"/>
                <a:gd name="connsiteX38" fmla="*/ 1761652 w 7337435"/>
                <a:gd name="connsiteY38" fmla="*/ 1543202 h 2083763"/>
                <a:gd name="connsiteX39" fmla="*/ 5020960 w 7337435"/>
                <a:gd name="connsiteY39" fmla="*/ 1653275 h 2083763"/>
                <a:gd name="connsiteX40" fmla="*/ 5032263 w 7337435"/>
                <a:gd name="connsiteY40" fmla="*/ 1642109 h 2083763"/>
                <a:gd name="connsiteX41" fmla="*/ 5020960 w 7337435"/>
                <a:gd name="connsiteY41" fmla="*/ 1653275 h 2083763"/>
                <a:gd name="connsiteX42" fmla="*/ 3049646 w 7337435"/>
                <a:gd name="connsiteY42" fmla="*/ 2080332 h 2083763"/>
                <a:gd name="connsiteX43" fmla="*/ 3080318 w 7337435"/>
                <a:gd name="connsiteY43" fmla="*/ 2079849 h 2083763"/>
                <a:gd name="connsiteX44" fmla="*/ 3093000 w 7337435"/>
                <a:gd name="connsiteY44" fmla="*/ 2061102 h 2083763"/>
                <a:gd name="connsiteX45" fmla="*/ 3069083 w 7337435"/>
                <a:gd name="connsiteY45" fmla="*/ 2047800 h 2083763"/>
                <a:gd name="connsiteX46" fmla="*/ 3075080 w 7337435"/>
                <a:gd name="connsiteY46" fmla="*/ 2034359 h 2083763"/>
                <a:gd name="connsiteX47" fmla="*/ 3060192 w 7337435"/>
                <a:gd name="connsiteY47" fmla="*/ 2033946 h 2083763"/>
                <a:gd name="connsiteX48" fmla="*/ 3062260 w 7337435"/>
                <a:gd name="connsiteY48" fmla="*/ 2074404 h 2083763"/>
                <a:gd name="connsiteX49" fmla="*/ 3049646 w 7337435"/>
                <a:gd name="connsiteY49" fmla="*/ 2080332 h 2083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337435" h="2083763">
                  <a:moveTo>
                    <a:pt x="4704665" y="-847"/>
                  </a:moveTo>
                  <a:cubicBezTo>
                    <a:pt x="4708179" y="-4293"/>
                    <a:pt x="4708179" y="-4293"/>
                    <a:pt x="4704665" y="-847"/>
                  </a:cubicBezTo>
                  <a:close/>
                  <a:moveTo>
                    <a:pt x="6076471" y="95510"/>
                  </a:moveTo>
                  <a:cubicBezTo>
                    <a:pt x="6079779" y="91788"/>
                    <a:pt x="6079779" y="91788"/>
                    <a:pt x="6076471" y="95510"/>
                  </a:cubicBezTo>
                  <a:moveTo>
                    <a:pt x="7323249" y="219229"/>
                  </a:moveTo>
                  <a:cubicBezTo>
                    <a:pt x="7345718" y="216748"/>
                    <a:pt x="7311325" y="199103"/>
                    <a:pt x="7323249" y="219229"/>
                  </a:cubicBezTo>
                  <a:moveTo>
                    <a:pt x="-3990" y="286844"/>
                  </a:moveTo>
                  <a:cubicBezTo>
                    <a:pt x="5108" y="293185"/>
                    <a:pt x="14137" y="276919"/>
                    <a:pt x="7589" y="269958"/>
                  </a:cubicBezTo>
                  <a:cubicBezTo>
                    <a:pt x="-1785" y="262927"/>
                    <a:pt x="-10814" y="279952"/>
                    <a:pt x="-3990" y="286844"/>
                  </a:cubicBezTo>
                  <a:moveTo>
                    <a:pt x="3494072" y="573226"/>
                  </a:moveTo>
                  <a:cubicBezTo>
                    <a:pt x="3500000" y="573295"/>
                    <a:pt x="3511924" y="573502"/>
                    <a:pt x="3517851" y="573571"/>
                  </a:cubicBezTo>
                  <a:cubicBezTo>
                    <a:pt x="3520264" y="569711"/>
                    <a:pt x="3525089" y="561922"/>
                    <a:pt x="3527501" y="557994"/>
                  </a:cubicBezTo>
                  <a:lnTo>
                    <a:pt x="3523986" y="551032"/>
                  </a:lnTo>
                  <a:cubicBezTo>
                    <a:pt x="3510752" y="561991"/>
                    <a:pt x="3508967" y="535938"/>
                    <a:pt x="3523572" y="545243"/>
                  </a:cubicBezTo>
                  <a:lnTo>
                    <a:pt x="3523572" y="538074"/>
                  </a:lnTo>
                  <a:lnTo>
                    <a:pt x="3520539" y="538488"/>
                  </a:lnTo>
                  <a:cubicBezTo>
                    <a:pt x="3515577" y="539246"/>
                    <a:pt x="3505652" y="540694"/>
                    <a:pt x="3500689" y="541383"/>
                  </a:cubicBezTo>
                  <a:cubicBezTo>
                    <a:pt x="3500207" y="541590"/>
                    <a:pt x="3499242" y="541934"/>
                    <a:pt x="3498759" y="542141"/>
                  </a:cubicBezTo>
                  <a:cubicBezTo>
                    <a:pt x="3497036" y="552549"/>
                    <a:pt x="3495520" y="562887"/>
                    <a:pt x="3494072" y="573226"/>
                  </a:cubicBezTo>
                  <a:moveTo>
                    <a:pt x="2182092" y="667170"/>
                  </a:moveTo>
                  <a:cubicBezTo>
                    <a:pt x="2185470" y="663448"/>
                    <a:pt x="2185470" y="663448"/>
                    <a:pt x="2182092" y="667170"/>
                  </a:cubicBezTo>
                  <a:moveTo>
                    <a:pt x="2324559" y="730650"/>
                  </a:moveTo>
                  <a:cubicBezTo>
                    <a:pt x="2328281" y="742712"/>
                    <a:pt x="2344203" y="736233"/>
                    <a:pt x="2349303" y="728927"/>
                  </a:cubicBezTo>
                  <a:cubicBezTo>
                    <a:pt x="2346546" y="718450"/>
                    <a:pt x="2319459" y="713281"/>
                    <a:pt x="2324559" y="730650"/>
                  </a:cubicBezTo>
                  <a:moveTo>
                    <a:pt x="6214390" y="744573"/>
                  </a:moveTo>
                  <a:cubicBezTo>
                    <a:pt x="6225486" y="748432"/>
                    <a:pt x="6229139" y="744711"/>
                    <a:pt x="6225418" y="733338"/>
                  </a:cubicBezTo>
                  <a:cubicBezTo>
                    <a:pt x="6214182" y="729547"/>
                    <a:pt x="6210461" y="733269"/>
                    <a:pt x="6214390" y="744573"/>
                  </a:cubicBezTo>
                  <a:moveTo>
                    <a:pt x="769482" y="963546"/>
                  </a:moveTo>
                  <a:cubicBezTo>
                    <a:pt x="773273" y="960376"/>
                    <a:pt x="773273" y="960376"/>
                    <a:pt x="769482" y="963546"/>
                  </a:cubicBezTo>
                  <a:moveTo>
                    <a:pt x="4448127" y="1066520"/>
                  </a:moveTo>
                  <a:cubicBezTo>
                    <a:pt x="4470803" y="1064796"/>
                    <a:pt x="4436824" y="1046187"/>
                    <a:pt x="4448127" y="1066520"/>
                  </a:cubicBezTo>
                  <a:moveTo>
                    <a:pt x="865425" y="1381712"/>
                  </a:moveTo>
                  <a:cubicBezTo>
                    <a:pt x="871904" y="1388880"/>
                    <a:pt x="888790" y="1385916"/>
                    <a:pt x="885000" y="1373717"/>
                  </a:cubicBezTo>
                  <a:cubicBezTo>
                    <a:pt x="882174" y="1360414"/>
                    <a:pt x="860531" y="1371235"/>
                    <a:pt x="865425" y="1381712"/>
                  </a:cubicBezTo>
                  <a:moveTo>
                    <a:pt x="1527239" y="1502192"/>
                  </a:moveTo>
                  <a:cubicBezTo>
                    <a:pt x="1536544" y="1504949"/>
                    <a:pt x="1540197" y="1501434"/>
                    <a:pt x="1538129" y="1491578"/>
                  </a:cubicBezTo>
                  <a:cubicBezTo>
                    <a:pt x="1528756" y="1488958"/>
                    <a:pt x="1525103" y="1492474"/>
                    <a:pt x="1527239" y="1502192"/>
                  </a:cubicBezTo>
                  <a:moveTo>
                    <a:pt x="1761652" y="1543202"/>
                  </a:moveTo>
                  <a:cubicBezTo>
                    <a:pt x="1764823" y="1539273"/>
                    <a:pt x="1764823" y="1539273"/>
                    <a:pt x="1761652" y="1543202"/>
                  </a:cubicBezTo>
                  <a:moveTo>
                    <a:pt x="5020960" y="1653275"/>
                  </a:moveTo>
                  <a:cubicBezTo>
                    <a:pt x="5032125" y="1657135"/>
                    <a:pt x="5035916" y="1653413"/>
                    <a:pt x="5032263" y="1642109"/>
                  </a:cubicBezTo>
                  <a:cubicBezTo>
                    <a:pt x="5020891" y="1638318"/>
                    <a:pt x="5017169" y="1642040"/>
                    <a:pt x="5020960" y="1653275"/>
                  </a:cubicBezTo>
                  <a:moveTo>
                    <a:pt x="3049646" y="2080332"/>
                  </a:moveTo>
                  <a:cubicBezTo>
                    <a:pt x="3059778" y="2080194"/>
                    <a:pt x="3070048" y="2079987"/>
                    <a:pt x="3080318" y="2079849"/>
                  </a:cubicBezTo>
                  <a:cubicBezTo>
                    <a:pt x="3084522" y="2073646"/>
                    <a:pt x="3088933" y="2067512"/>
                    <a:pt x="3093000" y="2061102"/>
                  </a:cubicBezTo>
                  <a:cubicBezTo>
                    <a:pt x="3083419" y="2059930"/>
                    <a:pt x="3075976" y="2053934"/>
                    <a:pt x="3069083" y="2047800"/>
                  </a:cubicBezTo>
                  <a:cubicBezTo>
                    <a:pt x="3070600" y="2044422"/>
                    <a:pt x="3073563" y="2037736"/>
                    <a:pt x="3075080" y="2034359"/>
                  </a:cubicBezTo>
                  <a:cubicBezTo>
                    <a:pt x="3071358" y="2034290"/>
                    <a:pt x="3063914" y="2034015"/>
                    <a:pt x="3060192" y="2033946"/>
                  </a:cubicBezTo>
                  <a:cubicBezTo>
                    <a:pt x="3060950" y="2047455"/>
                    <a:pt x="3061639" y="2060964"/>
                    <a:pt x="3062260" y="2074404"/>
                  </a:cubicBezTo>
                  <a:cubicBezTo>
                    <a:pt x="3059089" y="2075921"/>
                    <a:pt x="3052817" y="2078816"/>
                    <a:pt x="3049646" y="2080332"/>
                  </a:cubicBezTo>
                </a:path>
              </a:pathLst>
            </a:custGeom>
            <a:grpFill/>
            <a:ln w="689" cap="flat">
              <a:noFill/>
              <a:prstDash val="solid"/>
              <a:miter/>
            </a:ln>
          </p:spPr>
          <p:txBody>
            <a:bodyPr rtlCol="0" anchor="ctr"/>
            <a:lstStyle/>
            <a:p>
              <a:endParaRPr lang="en-US" sz="2400" dirty="0"/>
            </a:p>
          </p:txBody>
        </p:sp>
        <p:sp>
          <p:nvSpPr>
            <p:cNvPr id="128" name="Graphic 8">
              <a:extLst>
                <a:ext uri="{FF2B5EF4-FFF2-40B4-BE49-F238E27FC236}">
                  <a16:creationId xmlns:a16="http://schemas.microsoft.com/office/drawing/2014/main" id="{7A3E381D-CF1A-4497-BFFB-A104ED484B80}"/>
                </a:ext>
              </a:extLst>
            </p:cNvPr>
            <p:cNvSpPr/>
            <p:nvPr/>
          </p:nvSpPr>
          <p:spPr>
            <a:xfrm flipV="1">
              <a:off x="1417699" y="1406545"/>
              <a:ext cx="5634380" cy="2358480"/>
            </a:xfrm>
            <a:custGeom>
              <a:avLst/>
              <a:gdLst>
                <a:gd name="connsiteX0" fmla="*/ 458172 w 5634380"/>
                <a:gd name="connsiteY0" fmla="*/ 10939 h 2358480"/>
                <a:gd name="connsiteX1" fmla="*/ 474369 w 5634380"/>
                <a:gd name="connsiteY1" fmla="*/ -778 h 2358480"/>
                <a:gd name="connsiteX2" fmla="*/ 458172 w 5634380"/>
                <a:gd name="connsiteY2" fmla="*/ 10939 h 2358480"/>
                <a:gd name="connsiteX3" fmla="*/ 4261984 w 5634380"/>
                <a:gd name="connsiteY3" fmla="*/ 451850 h 2358480"/>
                <a:gd name="connsiteX4" fmla="*/ 4257780 w 5634380"/>
                <a:gd name="connsiteY4" fmla="*/ 435032 h 2358480"/>
                <a:gd name="connsiteX5" fmla="*/ 4261984 w 5634380"/>
                <a:gd name="connsiteY5" fmla="*/ 451850 h 2358480"/>
                <a:gd name="connsiteX6" fmla="*/ -5208 w 5634380"/>
                <a:gd name="connsiteY6" fmla="*/ 644632 h 2358480"/>
                <a:gd name="connsiteX7" fmla="*/ -5208 w 5634380"/>
                <a:gd name="connsiteY7" fmla="*/ 644632 h 2358480"/>
                <a:gd name="connsiteX8" fmla="*/ 889985 w 5634380"/>
                <a:gd name="connsiteY8" fmla="*/ 1197132 h 2358480"/>
                <a:gd name="connsiteX9" fmla="*/ 889985 w 5634380"/>
                <a:gd name="connsiteY9" fmla="*/ 1197132 h 2358480"/>
                <a:gd name="connsiteX10" fmla="*/ 5626485 w 5634380"/>
                <a:gd name="connsiteY10" fmla="*/ 2043595 h 2358480"/>
                <a:gd name="connsiteX11" fmla="*/ 5626485 w 5634380"/>
                <a:gd name="connsiteY11" fmla="*/ 2043595 h 2358480"/>
                <a:gd name="connsiteX12" fmla="*/ 665911 w 5634380"/>
                <a:gd name="connsiteY12" fmla="*/ 2084054 h 2358480"/>
                <a:gd name="connsiteX13" fmla="*/ 714847 w 5634380"/>
                <a:gd name="connsiteY13" fmla="*/ 2087845 h 2358480"/>
                <a:gd name="connsiteX14" fmla="*/ 723118 w 5634380"/>
                <a:gd name="connsiteY14" fmla="*/ 2069442 h 2358480"/>
                <a:gd name="connsiteX15" fmla="*/ 689690 w 5634380"/>
                <a:gd name="connsiteY15" fmla="*/ 2081090 h 2358480"/>
                <a:gd name="connsiteX16" fmla="*/ 671425 w 5634380"/>
                <a:gd name="connsiteY16" fmla="*/ 2075301 h 2358480"/>
                <a:gd name="connsiteX17" fmla="*/ 680798 w 5634380"/>
                <a:gd name="connsiteY17" fmla="*/ 2058276 h 2358480"/>
                <a:gd name="connsiteX18" fmla="*/ 652264 w 5634380"/>
                <a:gd name="connsiteY18" fmla="*/ 2044284 h 2358480"/>
                <a:gd name="connsiteX19" fmla="*/ 684796 w 5634380"/>
                <a:gd name="connsiteY19" fmla="*/ 2036772 h 2358480"/>
                <a:gd name="connsiteX20" fmla="*/ 659156 w 5634380"/>
                <a:gd name="connsiteY20" fmla="*/ 2035876 h 2358480"/>
                <a:gd name="connsiteX21" fmla="*/ 625728 w 5634380"/>
                <a:gd name="connsiteY21" fmla="*/ 2050832 h 2358480"/>
                <a:gd name="connsiteX22" fmla="*/ 606015 w 5634380"/>
                <a:gd name="connsiteY22" fmla="*/ 2031809 h 2358480"/>
                <a:gd name="connsiteX23" fmla="*/ 607807 w 5634380"/>
                <a:gd name="connsiteY23" fmla="*/ 2071716 h 2358480"/>
                <a:gd name="connsiteX24" fmla="*/ 627658 w 5634380"/>
                <a:gd name="connsiteY24" fmla="*/ 2065996 h 2358480"/>
                <a:gd name="connsiteX25" fmla="*/ 644062 w 5634380"/>
                <a:gd name="connsiteY25" fmla="*/ 2068615 h 2358480"/>
                <a:gd name="connsiteX26" fmla="*/ 636135 w 5634380"/>
                <a:gd name="connsiteY26" fmla="*/ 2052417 h 2358480"/>
                <a:gd name="connsiteX27" fmla="*/ 655365 w 5634380"/>
                <a:gd name="connsiteY27" fmla="*/ 2066202 h 2358480"/>
                <a:gd name="connsiteX28" fmla="*/ 665911 w 5634380"/>
                <a:gd name="connsiteY28" fmla="*/ 2084054 h 2358480"/>
                <a:gd name="connsiteX29" fmla="*/ 987099 w 5634380"/>
                <a:gd name="connsiteY29" fmla="*/ 2285521 h 2358480"/>
                <a:gd name="connsiteX30" fmla="*/ 994130 w 5634380"/>
                <a:gd name="connsiteY30" fmla="*/ 2271460 h 2358480"/>
                <a:gd name="connsiteX31" fmla="*/ 987099 w 5634380"/>
                <a:gd name="connsiteY31" fmla="*/ 2285521 h 2358480"/>
                <a:gd name="connsiteX32" fmla="*/ 4927452 w 5634380"/>
                <a:gd name="connsiteY32" fmla="*/ 2349758 h 2358480"/>
                <a:gd name="connsiteX33" fmla="*/ 4977491 w 5634380"/>
                <a:gd name="connsiteY33" fmla="*/ 2355272 h 2358480"/>
                <a:gd name="connsiteX34" fmla="*/ 4975354 w 5634380"/>
                <a:gd name="connsiteY34" fmla="*/ 2330391 h 2358480"/>
                <a:gd name="connsiteX35" fmla="*/ 4970667 w 5634380"/>
                <a:gd name="connsiteY35" fmla="*/ 2339558 h 2358480"/>
                <a:gd name="connsiteX36" fmla="*/ 4958950 w 5634380"/>
                <a:gd name="connsiteY36" fmla="*/ 2336525 h 2358480"/>
                <a:gd name="connsiteX37" fmla="*/ 4948749 w 5634380"/>
                <a:gd name="connsiteY37" fmla="*/ 2352929 h 2358480"/>
                <a:gd name="connsiteX38" fmla="*/ 4931449 w 5634380"/>
                <a:gd name="connsiteY38" fmla="*/ 2327634 h 2358480"/>
                <a:gd name="connsiteX39" fmla="*/ 4927452 w 5634380"/>
                <a:gd name="connsiteY39" fmla="*/ 2349758 h 2358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634380" h="2358480">
                  <a:moveTo>
                    <a:pt x="458172" y="10939"/>
                  </a:moveTo>
                  <a:cubicBezTo>
                    <a:pt x="465202" y="18521"/>
                    <a:pt x="481330" y="8665"/>
                    <a:pt x="474369" y="-778"/>
                  </a:cubicBezTo>
                  <a:cubicBezTo>
                    <a:pt x="467546" y="-7946"/>
                    <a:pt x="451969" y="2186"/>
                    <a:pt x="458172" y="10939"/>
                  </a:cubicBezTo>
                  <a:close/>
                  <a:moveTo>
                    <a:pt x="4261984" y="451850"/>
                  </a:moveTo>
                  <a:cubicBezTo>
                    <a:pt x="4274046" y="451919"/>
                    <a:pt x="4265637" y="435239"/>
                    <a:pt x="4257780" y="435032"/>
                  </a:cubicBezTo>
                  <a:cubicBezTo>
                    <a:pt x="4245994" y="434825"/>
                    <a:pt x="4253851" y="451988"/>
                    <a:pt x="4261984" y="451850"/>
                  </a:cubicBezTo>
                  <a:moveTo>
                    <a:pt x="-5208" y="644632"/>
                  </a:moveTo>
                  <a:cubicBezTo>
                    <a:pt x="-1624" y="640841"/>
                    <a:pt x="-1624" y="640841"/>
                    <a:pt x="-5208" y="644632"/>
                  </a:cubicBezTo>
                  <a:moveTo>
                    <a:pt x="889985" y="1197132"/>
                  </a:moveTo>
                  <a:cubicBezTo>
                    <a:pt x="912592" y="1196580"/>
                    <a:pt x="879922" y="1175972"/>
                    <a:pt x="889985" y="1197132"/>
                  </a:cubicBezTo>
                  <a:moveTo>
                    <a:pt x="5626485" y="2043595"/>
                  </a:moveTo>
                  <a:cubicBezTo>
                    <a:pt x="5630069" y="2039873"/>
                    <a:pt x="5630069" y="2039873"/>
                    <a:pt x="5626485" y="2043595"/>
                  </a:cubicBezTo>
                  <a:moveTo>
                    <a:pt x="665911" y="2084054"/>
                  </a:moveTo>
                  <a:cubicBezTo>
                    <a:pt x="682108" y="2086190"/>
                    <a:pt x="698443" y="2087500"/>
                    <a:pt x="714847" y="2087845"/>
                  </a:cubicBezTo>
                  <a:cubicBezTo>
                    <a:pt x="717535" y="2081710"/>
                    <a:pt x="720292" y="2075576"/>
                    <a:pt x="723118" y="2069442"/>
                  </a:cubicBezTo>
                  <a:cubicBezTo>
                    <a:pt x="712573" y="2074956"/>
                    <a:pt x="702234" y="2082675"/>
                    <a:pt x="689690" y="2081090"/>
                  </a:cubicBezTo>
                  <a:cubicBezTo>
                    <a:pt x="685141" y="2079643"/>
                    <a:pt x="675974" y="2076748"/>
                    <a:pt x="671425" y="2075301"/>
                  </a:cubicBezTo>
                  <a:cubicBezTo>
                    <a:pt x="673768" y="2071027"/>
                    <a:pt x="678455" y="2062549"/>
                    <a:pt x="680798" y="2058276"/>
                  </a:cubicBezTo>
                  <a:cubicBezTo>
                    <a:pt x="669357" y="2057794"/>
                    <a:pt x="656813" y="2057036"/>
                    <a:pt x="652264" y="2044284"/>
                  </a:cubicBezTo>
                  <a:cubicBezTo>
                    <a:pt x="661362" y="2047179"/>
                    <a:pt x="692240" y="2057518"/>
                    <a:pt x="684796" y="2036772"/>
                  </a:cubicBezTo>
                  <a:cubicBezTo>
                    <a:pt x="676249" y="2035807"/>
                    <a:pt x="667703" y="2035945"/>
                    <a:pt x="659156" y="2035876"/>
                  </a:cubicBezTo>
                  <a:cubicBezTo>
                    <a:pt x="648404" y="2041734"/>
                    <a:pt x="637031" y="2046421"/>
                    <a:pt x="625728" y="2050832"/>
                  </a:cubicBezTo>
                  <a:cubicBezTo>
                    <a:pt x="629105" y="2034842"/>
                    <a:pt x="618491" y="2031809"/>
                    <a:pt x="606015" y="2031809"/>
                  </a:cubicBezTo>
                  <a:cubicBezTo>
                    <a:pt x="606222" y="2045111"/>
                    <a:pt x="606773" y="2058414"/>
                    <a:pt x="607807" y="2071716"/>
                  </a:cubicBezTo>
                  <a:cubicBezTo>
                    <a:pt x="610702" y="2058414"/>
                    <a:pt x="618077" y="2057794"/>
                    <a:pt x="627658" y="2065996"/>
                  </a:cubicBezTo>
                  <a:cubicBezTo>
                    <a:pt x="631793" y="2066616"/>
                    <a:pt x="639995" y="2067925"/>
                    <a:pt x="644062" y="2068615"/>
                  </a:cubicBezTo>
                  <a:cubicBezTo>
                    <a:pt x="642063" y="2064548"/>
                    <a:pt x="638134" y="2056415"/>
                    <a:pt x="636135" y="2052417"/>
                  </a:cubicBezTo>
                  <a:cubicBezTo>
                    <a:pt x="644958" y="2052073"/>
                    <a:pt x="652195" y="2058276"/>
                    <a:pt x="655365" y="2066202"/>
                  </a:cubicBezTo>
                  <a:cubicBezTo>
                    <a:pt x="658811" y="2072199"/>
                    <a:pt x="662327" y="2078127"/>
                    <a:pt x="665911" y="2084054"/>
                  </a:cubicBezTo>
                  <a:moveTo>
                    <a:pt x="987099" y="2285521"/>
                  </a:moveTo>
                  <a:cubicBezTo>
                    <a:pt x="996197" y="2294963"/>
                    <a:pt x="1000126" y="2276629"/>
                    <a:pt x="994130" y="2271460"/>
                  </a:cubicBezTo>
                  <a:cubicBezTo>
                    <a:pt x="985790" y="2260363"/>
                    <a:pt x="979931" y="2280558"/>
                    <a:pt x="987099" y="2285521"/>
                  </a:cubicBezTo>
                  <a:moveTo>
                    <a:pt x="4927452" y="2349758"/>
                  </a:moveTo>
                  <a:cubicBezTo>
                    <a:pt x="4943856" y="2353480"/>
                    <a:pt x="4960742" y="2353549"/>
                    <a:pt x="4977491" y="2355272"/>
                  </a:cubicBezTo>
                  <a:cubicBezTo>
                    <a:pt x="4995687" y="2354032"/>
                    <a:pt x="4996445" y="2323360"/>
                    <a:pt x="4975354" y="2330391"/>
                  </a:cubicBezTo>
                  <a:lnTo>
                    <a:pt x="4970667" y="2339558"/>
                  </a:lnTo>
                  <a:cubicBezTo>
                    <a:pt x="4967703" y="2338799"/>
                    <a:pt x="4961845" y="2337283"/>
                    <a:pt x="4958950" y="2336525"/>
                  </a:cubicBezTo>
                  <a:cubicBezTo>
                    <a:pt x="4955573" y="2342108"/>
                    <a:pt x="4952195" y="2347553"/>
                    <a:pt x="4948749" y="2352929"/>
                  </a:cubicBezTo>
                  <a:cubicBezTo>
                    <a:pt x="4942822" y="2344589"/>
                    <a:pt x="4937101" y="2336111"/>
                    <a:pt x="4931449" y="2327634"/>
                  </a:cubicBezTo>
                  <a:cubicBezTo>
                    <a:pt x="4930484" y="2333148"/>
                    <a:pt x="4928486" y="2344244"/>
                    <a:pt x="4927452" y="2349758"/>
                  </a:cubicBezTo>
                </a:path>
              </a:pathLst>
            </a:custGeom>
            <a:grpFill/>
            <a:ln w="689" cap="flat">
              <a:noFill/>
              <a:prstDash val="solid"/>
              <a:miter/>
            </a:ln>
          </p:spPr>
          <p:txBody>
            <a:bodyPr rtlCol="0" anchor="ctr"/>
            <a:lstStyle/>
            <a:p>
              <a:endParaRPr lang="en-US" sz="2400" dirty="0"/>
            </a:p>
          </p:txBody>
        </p:sp>
        <p:sp>
          <p:nvSpPr>
            <p:cNvPr id="129" name="Graphic 8">
              <a:extLst>
                <a:ext uri="{FF2B5EF4-FFF2-40B4-BE49-F238E27FC236}">
                  <a16:creationId xmlns:a16="http://schemas.microsoft.com/office/drawing/2014/main" id="{85EACF1E-F857-4301-9738-FC54BDAF7BC1}"/>
                </a:ext>
              </a:extLst>
            </p:cNvPr>
            <p:cNvSpPr/>
            <p:nvPr/>
          </p:nvSpPr>
          <p:spPr>
            <a:xfrm flipV="1">
              <a:off x="2229355" y="1401237"/>
              <a:ext cx="5961359" cy="1961043"/>
            </a:xfrm>
            <a:custGeom>
              <a:avLst/>
              <a:gdLst>
                <a:gd name="connsiteX0" fmla="*/ 4015869 w 5961359"/>
                <a:gd name="connsiteY0" fmla="*/ 45255 h 1961043"/>
                <a:gd name="connsiteX1" fmla="*/ 4045989 w 5961359"/>
                <a:gd name="connsiteY1" fmla="*/ 48012 h 1961043"/>
                <a:gd name="connsiteX2" fmla="*/ 4015869 w 5961359"/>
                <a:gd name="connsiteY2" fmla="*/ 45255 h 1961043"/>
                <a:gd name="connsiteX3" fmla="*/ 3397891 w 5961359"/>
                <a:gd name="connsiteY3" fmla="*/ 11206 h 1961043"/>
                <a:gd name="connsiteX4" fmla="*/ 3409194 w 5961359"/>
                <a:gd name="connsiteY4" fmla="*/ 22165 h 1961043"/>
                <a:gd name="connsiteX5" fmla="*/ 3397891 w 5961359"/>
                <a:gd name="connsiteY5" fmla="*/ 11206 h 1961043"/>
                <a:gd name="connsiteX6" fmla="*/ 3372044 w 5961359"/>
                <a:gd name="connsiteY6" fmla="*/ 22441 h 1961043"/>
                <a:gd name="connsiteX7" fmla="*/ 3372044 w 5961359"/>
                <a:gd name="connsiteY7" fmla="*/ 22441 h 1961043"/>
                <a:gd name="connsiteX8" fmla="*/ 3495281 w 5961359"/>
                <a:gd name="connsiteY8" fmla="*/ 56283 h 1961043"/>
                <a:gd name="connsiteX9" fmla="*/ 3573097 w 5961359"/>
                <a:gd name="connsiteY9" fmla="*/ 59385 h 1961043"/>
                <a:gd name="connsiteX10" fmla="*/ 3564826 w 5961359"/>
                <a:gd name="connsiteY10" fmla="*/ 44841 h 1961043"/>
                <a:gd name="connsiteX11" fmla="*/ 3584469 w 5961359"/>
                <a:gd name="connsiteY11" fmla="*/ 48219 h 1961043"/>
                <a:gd name="connsiteX12" fmla="*/ 3576750 w 5961359"/>
                <a:gd name="connsiteY12" fmla="*/ 32986 h 1961043"/>
                <a:gd name="connsiteX13" fmla="*/ 3551455 w 5961359"/>
                <a:gd name="connsiteY13" fmla="*/ 26921 h 1961043"/>
                <a:gd name="connsiteX14" fmla="*/ 3536781 w 5961359"/>
                <a:gd name="connsiteY14" fmla="*/ 34916 h 1961043"/>
                <a:gd name="connsiteX15" fmla="*/ 3508032 w 5961359"/>
                <a:gd name="connsiteY15" fmla="*/ 18788 h 1961043"/>
                <a:gd name="connsiteX16" fmla="*/ 3487768 w 5961359"/>
                <a:gd name="connsiteY16" fmla="*/ 6795 h 1961043"/>
                <a:gd name="connsiteX17" fmla="*/ 3383348 w 5961359"/>
                <a:gd name="connsiteY17" fmla="*/ 1350 h 1961043"/>
                <a:gd name="connsiteX18" fmla="*/ 3374732 w 5961359"/>
                <a:gd name="connsiteY18" fmla="*/ 7071 h 1961043"/>
                <a:gd name="connsiteX19" fmla="*/ 3346128 w 5961359"/>
                <a:gd name="connsiteY19" fmla="*/ -3544 h 1961043"/>
                <a:gd name="connsiteX20" fmla="*/ 3354813 w 5961359"/>
                <a:gd name="connsiteY20" fmla="*/ 47116 h 1961043"/>
                <a:gd name="connsiteX21" fmla="*/ 3391136 w 5961359"/>
                <a:gd name="connsiteY21" fmla="*/ 49873 h 1961043"/>
                <a:gd name="connsiteX22" fmla="*/ 3379143 w 5961359"/>
                <a:gd name="connsiteY22" fmla="*/ 36846 h 1961043"/>
                <a:gd name="connsiteX23" fmla="*/ 3388930 w 5961359"/>
                <a:gd name="connsiteY23" fmla="*/ 21889 h 1961043"/>
                <a:gd name="connsiteX24" fmla="*/ 3399407 w 5961359"/>
                <a:gd name="connsiteY24" fmla="*/ 49115 h 1961043"/>
                <a:gd name="connsiteX25" fmla="*/ 3424289 w 5961359"/>
                <a:gd name="connsiteY25" fmla="*/ 49115 h 1961043"/>
                <a:gd name="connsiteX26" fmla="*/ 3421256 w 5961359"/>
                <a:gd name="connsiteY26" fmla="*/ 14515 h 1961043"/>
                <a:gd name="connsiteX27" fmla="*/ 3472743 w 5961359"/>
                <a:gd name="connsiteY27" fmla="*/ 24509 h 1961043"/>
                <a:gd name="connsiteX28" fmla="*/ 3465988 w 5961359"/>
                <a:gd name="connsiteY28" fmla="*/ 40017 h 1961043"/>
                <a:gd name="connsiteX29" fmla="*/ 3491559 w 5961359"/>
                <a:gd name="connsiteY29" fmla="*/ 32228 h 1961043"/>
                <a:gd name="connsiteX30" fmla="*/ 3501760 w 5961359"/>
                <a:gd name="connsiteY30" fmla="*/ 35743 h 1961043"/>
                <a:gd name="connsiteX31" fmla="*/ 3517130 w 5961359"/>
                <a:gd name="connsiteY31" fmla="*/ 28782 h 1961043"/>
                <a:gd name="connsiteX32" fmla="*/ 3491353 w 5961359"/>
                <a:gd name="connsiteY32" fmla="*/ 42291 h 1961043"/>
                <a:gd name="connsiteX33" fmla="*/ 3495281 w 5961359"/>
                <a:gd name="connsiteY33" fmla="*/ 56283 h 1961043"/>
                <a:gd name="connsiteX34" fmla="*/ 5861394 w 5961359"/>
                <a:gd name="connsiteY34" fmla="*/ 568669 h 1961043"/>
                <a:gd name="connsiteX35" fmla="*/ 5866219 w 5961359"/>
                <a:gd name="connsiteY35" fmla="*/ 545165 h 1961043"/>
                <a:gd name="connsiteX36" fmla="*/ 5885105 w 5961359"/>
                <a:gd name="connsiteY36" fmla="*/ 541168 h 1961043"/>
                <a:gd name="connsiteX37" fmla="*/ 5886069 w 5961359"/>
                <a:gd name="connsiteY37" fmla="*/ 534068 h 1961043"/>
                <a:gd name="connsiteX38" fmla="*/ 5889792 w 5961359"/>
                <a:gd name="connsiteY38" fmla="*/ 498917 h 1961043"/>
                <a:gd name="connsiteX39" fmla="*/ 5888758 w 5961359"/>
                <a:gd name="connsiteY39" fmla="*/ 493403 h 1961043"/>
                <a:gd name="connsiteX40" fmla="*/ 5934524 w 5961359"/>
                <a:gd name="connsiteY40" fmla="*/ 501191 h 1961043"/>
                <a:gd name="connsiteX41" fmla="*/ 5954925 w 5961359"/>
                <a:gd name="connsiteY41" fmla="*/ 491266 h 1961043"/>
                <a:gd name="connsiteX42" fmla="*/ 5867942 w 5961359"/>
                <a:gd name="connsiteY42" fmla="*/ 484856 h 1961043"/>
                <a:gd name="connsiteX43" fmla="*/ 5861394 w 5961359"/>
                <a:gd name="connsiteY43" fmla="*/ 568669 h 1961043"/>
                <a:gd name="connsiteX44" fmla="*/ -6435 w 5961359"/>
                <a:gd name="connsiteY44" fmla="*/ 1689383 h 1961043"/>
                <a:gd name="connsiteX45" fmla="*/ 11210 w 5961359"/>
                <a:gd name="connsiteY45" fmla="*/ 1685178 h 1961043"/>
                <a:gd name="connsiteX46" fmla="*/ 44156 w 5961359"/>
                <a:gd name="connsiteY46" fmla="*/ 1678975 h 1961043"/>
                <a:gd name="connsiteX47" fmla="*/ 14519 w 5961359"/>
                <a:gd name="connsiteY47" fmla="*/ 1683455 h 1961043"/>
                <a:gd name="connsiteX48" fmla="*/ 19619 w 5961359"/>
                <a:gd name="connsiteY48" fmla="*/ 1667672 h 1961043"/>
                <a:gd name="connsiteX49" fmla="*/ -6435 w 5961359"/>
                <a:gd name="connsiteY49" fmla="*/ 1689383 h 1961043"/>
                <a:gd name="connsiteX50" fmla="*/ 4166952 w 5961359"/>
                <a:gd name="connsiteY50" fmla="*/ 1925243 h 1961043"/>
                <a:gd name="connsiteX51" fmla="*/ 4189421 w 5961359"/>
                <a:gd name="connsiteY51" fmla="*/ 1921935 h 1961043"/>
                <a:gd name="connsiteX52" fmla="*/ 4187767 w 5961359"/>
                <a:gd name="connsiteY52" fmla="*/ 1911458 h 1961043"/>
                <a:gd name="connsiteX53" fmla="*/ 4219403 w 5961359"/>
                <a:gd name="connsiteY53" fmla="*/ 1911803 h 1961043"/>
                <a:gd name="connsiteX54" fmla="*/ 4227674 w 5961359"/>
                <a:gd name="connsiteY54" fmla="*/ 1926690 h 1961043"/>
                <a:gd name="connsiteX55" fmla="*/ 4232912 w 5961359"/>
                <a:gd name="connsiteY55" fmla="*/ 1923106 h 1961043"/>
                <a:gd name="connsiteX56" fmla="*/ 4249454 w 5961359"/>
                <a:gd name="connsiteY56" fmla="*/ 1911596 h 1961043"/>
                <a:gd name="connsiteX57" fmla="*/ 4231741 w 5961359"/>
                <a:gd name="connsiteY57" fmla="*/ 1907460 h 1961043"/>
                <a:gd name="connsiteX58" fmla="*/ 4165918 w 5961359"/>
                <a:gd name="connsiteY58" fmla="*/ 1902429 h 1961043"/>
                <a:gd name="connsiteX59" fmla="*/ 4166952 w 5961359"/>
                <a:gd name="connsiteY59" fmla="*/ 1925243 h 1961043"/>
                <a:gd name="connsiteX60" fmla="*/ 4477043 w 5961359"/>
                <a:gd name="connsiteY60" fmla="*/ 1957500 h 1961043"/>
                <a:gd name="connsiteX61" fmla="*/ 4482144 w 5961359"/>
                <a:gd name="connsiteY61" fmla="*/ 1922142 h 1961043"/>
                <a:gd name="connsiteX62" fmla="*/ 4448991 w 5961359"/>
                <a:gd name="connsiteY62" fmla="*/ 1939441 h 1961043"/>
                <a:gd name="connsiteX63" fmla="*/ 4477043 w 5961359"/>
                <a:gd name="connsiteY63" fmla="*/ 1957500 h 1961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961359" h="1961043">
                  <a:moveTo>
                    <a:pt x="4015869" y="45255"/>
                  </a:moveTo>
                  <a:cubicBezTo>
                    <a:pt x="4020211" y="56765"/>
                    <a:pt x="4037649" y="53112"/>
                    <a:pt x="4045989" y="48012"/>
                  </a:cubicBezTo>
                  <a:cubicBezTo>
                    <a:pt x="4047781" y="36295"/>
                    <a:pt x="4019590" y="34158"/>
                    <a:pt x="4015869" y="45255"/>
                  </a:cubicBezTo>
                  <a:close/>
                  <a:moveTo>
                    <a:pt x="3397891" y="11206"/>
                  </a:moveTo>
                  <a:cubicBezTo>
                    <a:pt x="3407471" y="9276"/>
                    <a:pt x="3411193" y="12929"/>
                    <a:pt x="3409194" y="22165"/>
                  </a:cubicBezTo>
                  <a:cubicBezTo>
                    <a:pt x="3399338" y="24440"/>
                    <a:pt x="3395547" y="20787"/>
                    <a:pt x="3397891" y="11206"/>
                  </a:cubicBezTo>
                  <a:moveTo>
                    <a:pt x="3372044" y="22441"/>
                  </a:moveTo>
                  <a:cubicBezTo>
                    <a:pt x="3375904" y="18650"/>
                    <a:pt x="3375904" y="18650"/>
                    <a:pt x="3372044" y="22441"/>
                  </a:cubicBezTo>
                  <a:moveTo>
                    <a:pt x="3495281" y="56283"/>
                  </a:moveTo>
                  <a:cubicBezTo>
                    <a:pt x="3521059" y="58902"/>
                    <a:pt x="3547120" y="58626"/>
                    <a:pt x="3573097" y="59385"/>
                  </a:cubicBezTo>
                  <a:cubicBezTo>
                    <a:pt x="3571029" y="55800"/>
                    <a:pt x="3566894" y="48494"/>
                    <a:pt x="3564826" y="44841"/>
                  </a:cubicBezTo>
                  <a:cubicBezTo>
                    <a:pt x="3569720" y="45737"/>
                    <a:pt x="3579576" y="47392"/>
                    <a:pt x="3584469" y="48219"/>
                  </a:cubicBezTo>
                  <a:cubicBezTo>
                    <a:pt x="3582540" y="44428"/>
                    <a:pt x="3578680" y="36777"/>
                    <a:pt x="3576750" y="32986"/>
                  </a:cubicBezTo>
                  <a:cubicBezTo>
                    <a:pt x="3568203" y="30987"/>
                    <a:pt x="3559863" y="28920"/>
                    <a:pt x="3551455" y="26921"/>
                  </a:cubicBezTo>
                  <a:lnTo>
                    <a:pt x="3536781" y="34916"/>
                  </a:lnTo>
                  <a:cubicBezTo>
                    <a:pt x="3554557" y="9001"/>
                    <a:pt x="3519680" y="8932"/>
                    <a:pt x="3508032" y="18788"/>
                  </a:cubicBezTo>
                  <a:cubicBezTo>
                    <a:pt x="3503552" y="11275"/>
                    <a:pt x="3496660" y="6519"/>
                    <a:pt x="3487768" y="6795"/>
                  </a:cubicBezTo>
                  <a:cubicBezTo>
                    <a:pt x="3453099" y="1901"/>
                    <a:pt x="3417948" y="5899"/>
                    <a:pt x="3383348" y="1350"/>
                  </a:cubicBezTo>
                  <a:cubicBezTo>
                    <a:pt x="3381211" y="2728"/>
                    <a:pt x="3376938" y="5623"/>
                    <a:pt x="3374732" y="7071"/>
                  </a:cubicBezTo>
                  <a:cubicBezTo>
                    <a:pt x="3365289" y="3280"/>
                    <a:pt x="3355640" y="-304"/>
                    <a:pt x="3346128" y="-3544"/>
                  </a:cubicBezTo>
                  <a:cubicBezTo>
                    <a:pt x="3349230" y="13343"/>
                    <a:pt x="3353021" y="30023"/>
                    <a:pt x="3354813" y="47116"/>
                  </a:cubicBezTo>
                  <a:cubicBezTo>
                    <a:pt x="3367012" y="45668"/>
                    <a:pt x="3379074" y="47736"/>
                    <a:pt x="3391136" y="49873"/>
                  </a:cubicBezTo>
                  <a:cubicBezTo>
                    <a:pt x="3388103" y="46634"/>
                    <a:pt x="3382107" y="40154"/>
                    <a:pt x="3379143" y="36846"/>
                  </a:cubicBezTo>
                  <a:cubicBezTo>
                    <a:pt x="3381624" y="33124"/>
                    <a:pt x="3386449" y="25611"/>
                    <a:pt x="3388930" y="21889"/>
                  </a:cubicBezTo>
                  <a:cubicBezTo>
                    <a:pt x="3392239" y="31056"/>
                    <a:pt x="3395823" y="40086"/>
                    <a:pt x="3399407" y="49115"/>
                  </a:cubicBezTo>
                  <a:cubicBezTo>
                    <a:pt x="3407609" y="49115"/>
                    <a:pt x="3415949" y="49115"/>
                    <a:pt x="3424289" y="49115"/>
                  </a:cubicBezTo>
                  <a:cubicBezTo>
                    <a:pt x="3422773" y="37673"/>
                    <a:pt x="3421739" y="26094"/>
                    <a:pt x="3421256" y="14515"/>
                  </a:cubicBezTo>
                  <a:cubicBezTo>
                    <a:pt x="3438418" y="17478"/>
                    <a:pt x="3455512" y="21062"/>
                    <a:pt x="3472743" y="24509"/>
                  </a:cubicBezTo>
                  <a:cubicBezTo>
                    <a:pt x="3471020" y="28368"/>
                    <a:pt x="3467711" y="36157"/>
                    <a:pt x="3465988" y="40017"/>
                  </a:cubicBezTo>
                  <a:cubicBezTo>
                    <a:pt x="3474466" y="37535"/>
                    <a:pt x="3482944" y="34916"/>
                    <a:pt x="3491559" y="32228"/>
                  </a:cubicBezTo>
                  <a:cubicBezTo>
                    <a:pt x="3494110" y="33124"/>
                    <a:pt x="3499210" y="34847"/>
                    <a:pt x="3501760" y="35743"/>
                  </a:cubicBezTo>
                  <a:cubicBezTo>
                    <a:pt x="3505551" y="34020"/>
                    <a:pt x="3513270" y="30505"/>
                    <a:pt x="3517130" y="28782"/>
                  </a:cubicBezTo>
                  <a:cubicBezTo>
                    <a:pt x="3523747" y="48908"/>
                    <a:pt x="3502380" y="40775"/>
                    <a:pt x="3491353" y="42291"/>
                  </a:cubicBezTo>
                  <a:cubicBezTo>
                    <a:pt x="3492386" y="45737"/>
                    <a:pt x="3494316" y="52768"/>
                    <a:pt x="3495281" y="56283"/>
                  </a:cubicBezTo>
                  <a:moveTo>
                    <a:pt x="5861394" y="568669"/>
                  </a:moveTo>
                  <a:cubicBezTo>
                    <a:pt x="5863049" y="560949"/>
                    <a:pt x="5864703" y="553092"/>
                    <a:pt x="5866219" y="545165"/>
                  </a:cubicBezTo>
                  <a:cubicBezTo>
                    <a:pt x="5872422" y="543856"/>
                    <a:pt x="5878695" y="542546"/>
                    <a:pt x="5885105" y="541168"/>
                  </a:cubicBezTo>
                  <a:lnTo>
                    <a:pt x="5886069" y="534068"/>
                  </a:lnTo>
                  <a:cubicBezTo>
                    <a:pt x="5887448" y="522420"/>
                    <a:pt x="5889240" y="510772"/>
                    <a:pt x="5889792" y="498917"/>
                  </a:cubicBezTo>
                  <a:cubicBezTo>
                    <a:pt x="5879453" y="520008"/>
                    <a:pt x="5866151" y="490439"/>
                    <a:pt x="5888758" y="493403"/>
                  </a:cubicBezTo>
                  <a:cubicBezTo>
                    <a:pt x="5904610" y="490370"/>
                    <a:pt x="5922048" y="488578"/>
                    <a:pt x="5934524" y="501191"/>
                  </a:cubicBezTo>
                  <a:cubicBezTo>
                    <a:pt x="5941140" y="497883"/>
                    <a:pt x="5947895" y="494437"/>
                    <a:pt x="5954925" y="491266"/>
                  </a:cubicBezTo>
                  <a:cubicBezTo>
                    <a:pt x="5925977" y="488027"/>
                    <a:pt x="5896960" y="485545"/>
                    <a:pt x="5867942" y="484856"/>
                  </a:cubicBezTo>
                  <a:cubicBezTo>
                    <a:pt x="5866426" y="512840"/>
                    <a:pt x="5858775" y="540547"/>
                    <a:pt x="5861394" y="568669"/>
                  </a:cubicBezTo>
                  <a:moveTo>
                    <a:pt x="-6435" y="1689383"/>
                  </a:moveTo>
                  <a:cubicBezTo>
                    <a:pt x="-576" y="1688004"/>
                    <a:pt x="5283" y="1686557"/>
                    <a:pt x="11210" y="1685178"/>
                  </a:cubicBezTo>
                  <a:cubicBezTo>
                    <a:pt x="21067" y="1701307"/>
                    <a:pt x="33749" y="1685523"/>
                    <a:pt x="44156" y="1678975"/>
                  </a:cubicBezTo>
                  <a:cubicBezTo>
                    <a:pt x="34162" y="1679733"/>
                    <a:pt x="24237" y="1681801"/>
                    <a:pt x="14519" y="1683455"/>
                  </a:cubicBezTo>
                  <a:cubicBezTo>
                    <a:pt x="15759" y="1679527"/>
                    <a:pt x="18310" y="1671601"/>
                    <a:pt x="19619" y="1667672"/>
                  </a:cubicBezTo>
                  <a:cubicBezTo>
                    <a:pt x="10107" y="1673806"/>
                    <a:pt x="-5952" y="1675460"/>
                    <a:pt x="-6435" y="1689383"/>
                  </a:cubicBezTo>
                  <a:moveTo>
                    <a:pt x="4166952" y="1925243"/>
                  </a:moveTo>
                  <a:cubicBezTo>
                    <a:pt x="4172610" y="1924416"/>
                    <a:pt x="4183769" y="1922762"/>
                    <a:pt x="4189421" y="1921935"/>
                  </a:cubicBezTo>
                  <a:cubicBezTo>
                    <a:pt x="4189008" y="1919316"/>
                    <a:pt x="4188180" y="1914077"/>
                    <a:pt x="4187767" y="1911458"/>
                  </a:cubicBezTo>
                  <a:cubicBezTo>
                    <a:pt x="4198175" y="1914353"/>
                    <a:pt x="4208927" y="1915042"/>
                    <a:pt x="4219403" y="1911803"/>
                  </a:cubicBezTo>
                  <a:cubicBezTo>
                    <a:pt x="4221471" y="1915525"/>
                    <a:pt x="4225607" y="1922968"/>
                    <a:pt x="4227674" y="1926690"/>
                  </a:cubicBezTo>
                  <a:lnTo>
                    <a:pt x="4232912" y="1923106"/>
                  </a:lnTo>
                  <a:cubicBezTo>
                    <a:pt x="4238358" y="1919316"/>
                    <a:pt x="4243872" y="1915456"/>
                    <a:pt x="4249454" y="1911596"/>
                  </a:cubicBezTo>
                  <a:cubicBezTo>
                    <a:pt x="4244981" y="1910562"/>
                    <a:pt x="4236152" y="1908494"/>
                    <a:pt x="4231741" y="1907460"/>
                  </a:cubicBezTo>
                  <a:cubicBezTo>
                    <a:pt x="4209616" y="1908219"/>
                    <a:pt x="4187353" y="1908701"/>
                    <a:pt x="4165918" y="1902429"/>
                  </a:cubicBezTo>
                  <a:cubicBezTo>
                    <a:pt x="4166193" y="1908150"/>
                    <a:pt x="4166745" y="1919591"/>
                    <a:pt x="4166952" y="1925243"/>
                  </a:cubicBezTo>
                  <a:moveTo>
                    <a:pt x="4477043" y="1957500"/>
                  </a:moveTo>
                  <a:cubicBezTo>
                    <a:pt x="4483040" y="1946610"/>
                    <a:pt x="4482006" y="1934134"/>
                    <a:pt x="4482144" y="1922142"/>
                  </a:cubicBezTo>
                  <a:cubicBezTo>
                    <a:pt x="4470702" y="1927104"/>
                    <a:pt x="4453264" y="1924623"/>
                    <a:pt x="4448991" y="1939441"/>
                  </a:cubicBezTo>
                  <a:cubicBezTo>
                    <a:pt x="4465809" y="1930068"/>
                    <a:pt x="4481661" y="1936409"/>
                    <a:pt x="4477043" y="1957500"/>
                  </a:cubicBezTo>
                </a:path>
              </a:pathLst>
            </a:custGeom>
            <a:grpFill/>
            <a:ln w="689" cap="flat">
              <a:noFill/>
              <a:prstDash val="solid"/>
              <a:miter/>
            </a:ln>
          </p:spPr>
          <p:txBody>
            <a:bodyPr rtlCol="0" anchor="ctr"/>
            <a:lstStyle/>
            <a:p>
              <a:endParaRPr lang="en-US" sz="2400" dirty="0"/>
            </a:p>
          </p:txBody>
        </p:sp>
        <p:sp>
          <p:nvSpPr>
            <p:cNvPr id="130" name="Graphic 8">
              <a:extLst>
                <a:ext uri="{FF2B5EF4-FFF2-40B4-BE49-F238E27FC236}">
                  <a16:creationId xmlns:a16="http://schemas.microsoft.com/office/drawing/2014/main" id="{E649C5A0-2C01-4D63-84EB-9B99E9DCBD68}"/>
                </a:ext>
              </a:extLst>
            </p:cNvPr>
            <p:cNvSpPr/>
            <p:nvPr/>
          </p:nvSpPr>
          <p:spPr>
            <a:xfrm flipV="1">
              <a:off x="1686436" y="1407509"/>
              <a:ext cx="6908900" cy="1971517"/>
            </a:xfrm>
            <a:custGeom>
              <a:avLst/>
              <a:gdLst>
                <a:gd name="connsiteX0" fmla="*/ 4846291 w 6908900"/>
                <a:gd name="connsiteY0" fmla="*/ 4606 h 1971517"/>
                <a:gd name="connsiteX1" fmla="*/ 4846291 w 6908900"/>
                <a:gd name="connsiteY1" fmla="*/ 4606 h 1971517"/>
                <a:gd name="connsiteX2" fmla="*/ 5039348 w 6908900"/>
                <a:gd name="connsiteY2" fmla="*/ 107235 h 1971517"/>
                <a:gd name="connsiteX3" fmla="*/ 5039348 w 6908900"/>
                <a:gd name="connsiteY3" fmla="*/ 107235 h 1971517"/>
                <a:gd name="connsiteX4" fmla="*/ 807170 w 6908900"/>
                <a:gd name="connsiteY4" fmla="*/ 258042 h 1971517"/>
                <a:gd name="connsiteX5" fmla="*/ 807170 w 6908900"/>
                <a:gd name="connsiteY5" fmla="*/ 258042 h 1971517"/>
                <a:gd name="connsiteX6" fmla="*/ 1082868 w 6908900"/>
                <a:gd name="connsiteY6" fmla="*/ 982302 h 1971517"/>
                <a:gd name="connsiteX7" fmla="*/ 1082868 w 6908900"/>
                <a:gd name="connsiteY7" fmla="*/ 982302 h 1971517"/>
                <a:gd name="connsiteX8" fmla="*/ 4432812 w 6908900"/>
                <a:gd name="connsiteY8" fmla="*/ 1108710 h 1971517"/>
                <a:gd name="connsiteX9" fmla="*/ 4438050 w 6908900"/>
                <a:gd name="connsiteY9" fmla="*/ 1107262 h 1971517"/>
                <a:gd name="connsiteX10" fmla="*/ 4432812 w 6908900"/>
                <a:gd name="connsiteY10" fmla="*/ 1108710 h 1971517"/>
                <a:gd name="connsiteX11" fmla="*/ 4408137 w 6908900"/>
                <a:gd name="connsiteY11" fmla="*/ 1225813 h 1971517"/>
                <a:gd name="connsiteX12" fmla="*/ 4405656 w 6908900"/>
                <a:gd name="connsiteY12" fmla="*/ 1188593 h 1971517"/>
                <a:gd name="connsiteX13" fmla="*/ 4402968 w 6908900"/>
                <a:gd name="connsiteY13" fmla="*/ 1166262 h 1971517"/>
                <a:gd name="connsiteX14" fmla="*/ 4385874 w 6908900"/>
                <a:gd name="connsiteY14" fmla="*/ 1194383 h 1971517"/>
                <a:gd name="connsiteX15" fmla="*/ 4408137 w 6908900"/>
                <a:gd name="connsiteY15" fmla="*/ 1225813 h 1971517"/>
                <a:gd name="connsiteX16" fmla="*/ 5687378 w 6908900"/>
                <a:gd name="connsiteY16" fmla="*/ 1395781 h 1971517"/>
                <a:gd name="connsiteX17" fmla="*/ 5687378 w 6908900"/>
                <a:gd name="connsiteY17" fmla="*/ 1395781 h 1971517"/>
                <a:gd name="connsiteX18" fmla="*/ 4599541 w 6908900"/>
                <a:gd name="connsiteY18" fmla="*/ 1500822 h 1971517"/>
                <a:gd name="connsiteX19" fmla="*/ 4609465 w 6908900"/>
                <a:gd name="connsiteY19" fmla="*/ 1489036 h 1971517"/>
                <a:gd name="connsiteX20" fmla="*/ 4599541 w 6908900"/>
                <a:gd name="connsiteY20" fmla="*/ 1500822 h 1971517"/>
                <a:gd name="connsiteX21" fmla="*/ -6348 w 6908900"/>
                <a:gd name="connsiteY21" fmla="*/ 1775004 h 1971517"/>
                <a:gd name="connsiteX22" fmla="*/ -6348 w 6908900"/>
                <a:gd name="connsiteY22" fmla="*/ 1775004 h 1971517"/>
                <a:gd name="connsiteX23" fmla="*/ 6899969 w 6908900"/>
                <a:gd name="connsiteY23" fmla="*/ 1967993 h 1971517"/>
                <a:gd name="connsiteX24" fmla="*/ 6899969 w 6908900"/>
                <a:gd name="connsiteY24" fmla="*/ 1967993 h 197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908900" h="1971517">
                  <a:moveTo>
                    <a:pt x="4846291" y="4606"/>
                  </a:moveTo>
                  <a:cubicBezTo>
                    <a:pt x="4866692" y="15565"/>
                    <a:pt x="4847531" y="-18277"/>
                    <a:pt x="4846291" y="4606"/>
                  </a:cubicBezTo>
                  <a:close/>
                  <a:moveTo>
                    <a:pt x="5039348" y="107235"/>
                  </a:moveTo>
                  <a:cubicBezTo>
                    <a:pt x="5043139" y="103513"/>
                    <a:pt x="5043139" y="103513"/>
                    <a:pt x="5039348" y="107235"/>
                  </a:cubicBezTo>
                  <a:moveTo>
                    <a:pt x="807170" y="258042"/>
                  </a:moveTo>
                  <a:cubicBezTo>
                    <a:pt x="829639" y="255216"/>
                    <a:pt x="795039" y="237985"/>
                    <a:pt x="807170" y="258042"/>
                  </a:cubicBezTo>
                  <a:moveTo>
                    <a:pt x="1082868" y="982302"/>
                  </a:moveTo>
                  <a:cubicBezTo>
                    <a:pt x="1086728" y="978718"/>
                    <a:pt x="1086728" y="978718"/>
                    <a:pt x="1082868" y="982302"/>
                  </a:cubicBezTo>
                  <a:moveTo>
                    <a:pt x="4432812" y="1108710"/>
                  </a:moveTo>
                  <a:lnTo>
                    <a:pt x="4438050" y="1107262"/>
                  </a:lnTo>
                  <a:cubicBezTo>
                    <a:pt x="4447700" y="1092099"/>
                    <a:pt x="4418889" y="1097613"/>
                    <a:pt x="4432812" y="1108710"/>
                  </a:cubicBezTo>
                  <a:moveTo>
                    <a:pt x="4408137" y="1225813"/>
                  </a:moveTo>
                  <a:cubicBezTo>
                    <a:pt x="4407034" y="1213406"/>
                    <a:pt x="4406345" y="1201069"/>
                    <a:pt x="4405656" y="1188593"/>
                  </a:cubicBezTo>
                  <a:cubicBezTo>
                    <a:pt x="4404829" y="1181149"/>
                    <a:pt x="4403933" y="1173706"/>
                    <a:pt x="4402968" y="1166262"/>
                  </a:cubicBezTo>
                  <a:cubicBezTo>
                    <a:pt x="4397178" y="1175773"/>
                    <a:pt x="4391940" y="1185216"/>
                    <a:pt x="4385874" y="1194383"/>
                  </a:cubicBezTo>
                  <a:cubicBezTo>
                    <a:pt x="4396213" y="1202585"/>
                    <a:pt x="4402623" y="1214095"/>
                    <a:pt x="4408137" y="1225813"/>
                  </a:cubicBezTo>
                  <a:moveTo>
                    <a:pt x="5687378" y="1395781"/>
                  </a:moveTo>
                  <a:cubicBezTo>
                    <a:pt x="5690962" y="1391990"/>
                    <a:pt x="5690962" y="1391990"/>
                    <a:pt x="5687378" y="1395781"/>
                  </a:cubicBezTo>
                  <a:moveTo>
                    <a:pt x="4599541" y="1500822"/>
                  </a:moveTo>
                  <a:cubicBezTo>
                    <a:pt x="4608914" y="1502821"/>
                    <a:pt x="4612230" y="1498892"/>
                    <a:pt x="4609465" y="1489036"/>
                  </a:cubicBezTo>
                  <a:cubicBezTo>
                    <a:pt x="4600023" y="1487244"/>
                    <a:pt x="4596722" y="1491172"/>
                    <a:pt x="4599541" y="1500822"/>
                  </a:cubicBezTo>
                  <a:moveTo>
                    <a:pt x="-6348" y="1775004"/>
                  </a:moveTo>
                  <a:cubicBezTo>
                    <a:pt x="-2557" y="1771351"/>
                    <a:pt x="-2557" y="1771351"/>
                    <a:pt x="-6348" y="1775004"/>
                  </a:cubicBezTo>
                  <a:moveTo>
                    <a:pt x="6899969" y="1967993"/>
                  </a:moveTo>
                  <a:cubicBezTo>
                    <a:pt x="6903415" y="1964133"/>
                    <a:pt x="6903415" y="1964133"/>
                    <a:pt x="6899969" y="1967993"/>
                  </a:cubicBezTo>
                </a:path>
              </a:pathLst>
            </a:custGeom>
            <a:grpFill/>
            <a:ln w="689" cap="flat">
              <a:noFill/>
              <a:prstDash val="solid"/>
              <a:miter/>
            </a:ln>
          </p:spPr>
          <p:txBody>
            <a:bodyPr rtlCol="0" anchor="ctr"/>
            <a:lstStyle/>
            <a:p>
              <a:endParaRPr lang="en-US" sz="2400" dirty="0"/>
            </a:p>
          </p:txBody>
        </p:sp>
        <p:sp>
          <p:nvSpPr>
            <p:cNvPr id="131" name="Graphic 8">
              <a:extLst>
                <a:ext uri="{FF2B5EF4-FFF2-40B4-BE49-F238E27FC236}">
                  <a16:creationId xmlns:a16="http://schemas.microsoft.com/office/drawing/2014/main" id="{3CF1CA84-7761-4D37-8FB6-325491FCA6FF}"/>
                </a:ext>
              </a:extLst>
            </p:cNvPr>
            <p:cNvSpPr/>
            <p:nvPr/>
          </p:nvSpPr>
          <p:spPr>
            <a:xfrm flipV="1">
              <a:off x="437521" y="1410128"/>
              <a:ext cx="8379132" cy="2074958"/>
            </a:xfrm>
            <a:custGeom>
              <a:avLst/>
              <a:gdLst>
                <a:gd name="connsiteX0" fmla="*/ 2710963 w 8379132"/>
                <a:gd name="connsiteY0" fmla="*/ -696 h 2074958"/>
                <a:gd name="connsiteX1" fmla="*/ 2710963 w 8379132"/>
                <a:gd name="connsiteY1" fmla="*/ -696 h 2074958"/>
                <a:gd name="connsiteX2" fmla="*/ -5702 w 8379132"/>
                <a:gd name="connsiteY2" fmla="*/ 539191 h 2074958"/>
                <a:gd name="connsiteX3" fmla="*/ 9532 w 8379132"/>
                <a:gd name="connsiteY3" fmla="*/ 525751 h 2074958"/>
                <a:gd name="connsiteX4" fmla="*/ -5634 w 8379132"/>
                <a:gd name="connsiteY4" fmla="*/ 533746 h 2074958"/>
                <a:gd name="connsiteX5" fmla="*/ -5702 w 8379132"/>
                <a:gd name="connsiteY5" fmla="*/ 539191 h 2074958"/>
                <a:gd name="connsiteX6" fmla="*/ 8370640 w 8379132"/>
                <a:gd name="connsiteY6" fmla="*/ 667804 h 2074958"/>
                <a:gd name="connsiteX7" fmla="*/ 8370640 w 8379132"/>
                <a:gd name="connsiteY7" fmla="*/ 667804 h 2074958"/>
                <a:gd name="connsiteX8" fmla="*/ 5825185 w 8379132"/>
                <a:gd name="connsiteY8" fmla="*/ 2032994 h 2074958"/>
                <a:gd name="connsiteX9" fmla="*/ 5825185 w 8379132"/>
                <a:gd name="connsiteY9" fmla="*/ 2032994 h 2074958"/>
                <a:gd name="connsiteX10" fmla="*/ 5840417 w 8379132"/>
                <a:gd name="connsiteY10" fmla="*/ 2067319 h 2074958"/>
                <a:gd name="connsiteX11" fmla="*/ 5898521 w 8379132"/>
                <a:gd name="connsiteY11" fmla="*/ 2071523 h 2074958"/>
                <a:gd name="connsiteX12" fmla="*/ 5897555 w 8379132"/>
                <a:gd name="connsiteY12" fmla="*/ 2040645 h 2074958"/>
                <a:gd name="connsiteX13" fmla="*/ 5910651 w 8379132"/>
                <a:gd name="connsiteY13" fmla="*/ 2026033 h 2074958"/>
                <a:gd name="connsiteX14" fmla="*/ 5929054 w 8379132"/>
                <a:gd name="connsiteY14" fmla="*/ 2024172 h 2074958"/>
                <a:gd name="connsiteX15" fmla="*/ 5884873 w 8379132"/>
                <a:gd name="connsiteY15" fmla="*/ 2020381 h 2074958"/>
                <a:gd name="connsiteX16" fmla="*/ 5869228 w 8379132"/>
                <a:gd name="connsiteY16" fmla="*/ 2064493 h 2074958"/>
                <a:gd name="connsiteX17" fmla="*/ 5843174 w 8379132"/>
                <a:gd name="connsiteY17" fmla="*/ 2057463 h 2074958"/>
                <a:gd name="connsiteX18" fmla="*/ 5841037 w 8379132"/>
                <a:gd name="connsiteY18" fmla="*/ 2037957 h 2074958"/>
                <a:gd name="connsiteX19" fmla="*/ 5855511 w 8379132"/>
                <a:gd name="connsiteY19" fmla="*/ 2024310 h 2074958"/>
                <a:gd name="connsiteX20" fmla="*/ 5803060 w 8379132"/>
                <a:gd name="connsiteY20" fmla="*/ 2014660 h 2074958"/>
                <a:gd name="connsiteX21" fmla="*/ 5801957 w 8379132"/>
                <a:gd name="connsiteY21" fmla="*/ 2049743 h 2074958"/>
                <a:gd name="connsiteX22" fmla="*/ 5819877 w 8379132"/>
                <a:gd name="connsiteY22" fmla="*/ 2063321 h 2074958"/>
                <a:gd name="connsiteX23" fmla="*/ 5806437 w 8379132"/>
                <a:gd name="connsiteY23" fmla="*/ 2037888 h 2074958"/>
                <a:gd name="connsiteX24" fmla="*/ 5829182 w 8379132"/>
                <a:gd name="connsiteY24" fmla="*/ 2041679 h 2074958"/>
                <a:gd name="connsiteX25" fmla="*/ 5840417 w 8379132"/>
                <a:gd name="connsiteY25" fmla="*/ 2067319 h 207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379132" h="2074958">
                  <a:moveTo>
                    <a:pt x="2710963" y="-696"/>
                  </a:moveTo>
                  <a:cubicBezTo>
                    <a:pt x="2714685" y="-4349"/>
                    <a:pt x="2714685" y="-4349"/>
                    <a:pt x="2710963" y="-696"/>
                  </a:cubicBezTo>
                  <a:close/>
                  <a:moveTo>
                    <a:pt x="-5702" y="539191"/>
                  </a:moveTo>
                  <a:cubicBezTo>
                    <a:pt x="4085" y="541328"/>
                    <a:pt x="9188" y="536847"/>
                    <a:pt x="9532" y="525751"/>
                  </a:cubicBezTo>
                  <a:cubicBezTo>
                    <a:pt x="5741" y="527749"/>
                    <a:pt x="-1840" y="531747"/>
                    <a:pt x="-5634" y="533746"/>
                  </a:cubicBezTo>
                  <a:lnTo>
                    <a:pt x="-5702" y="539191"/>
                  </a:lnTo>
                  <a:moveTo>
                    <a:pt x="8370640" y="667804"/>
                  </a:moveTo>
                  <a:cubicBezTo>
                    <a:pt x="8374362" y="664151"/>
                    <a:pt x="8374362" y="664151"/>
                    <a:pt x="8370640" y="667804"/>
                  </a:cubicBezTo>
                  <a:moveTo>
                    <a:pt x="5825185" y="2032994"/>
                  </a:moveTo>
                  <a:cubicBezTo>
                    <a:pt x="5815053" y="2011765"/>
                    <a:pt x="5847447" y="2031754"/>
                    <a:pt x="5825185" y="2032994"/>
                  </a:cubicBezTo>
                  <a:moveTo>
                    <a:pt x="5840417" y="2067319"/>
                  </a:moveTo>
                  <a:cubicBezTo>
                    <a:pt x="5859716" y="2069248"/>
                    <a:pt x="5879152" y="2068973"/>
                    <a:pt x="5898521" y="2071523"/>
                  </a:cubicBezTo>
                  <a:cubicBezTo>
                    <a:pt x="5898038" y="2061254"/>
                    <a:pt x="5897762" y="2050983"/>
                    <a:pt x="5897555" y="2040645"/>
                  </a:cubicBezTo>
                  <a:cubicBezTo>
                    <a:pt x="5900864" y="2036992"/>
                    <a:pt x="5907412" y="2029686"/>
                    <a:pt x="5910651" y="2026033"/>
                  </a:cubicBezTo>
                  <a:cubicBezTo>
                    <a:pt x="5915269" y="2025550"/>
                    <a:pt x="5924436" y="2024654"/>
                    <a:pt x="5929054" y="2024172"/>
                  </a:cubicBezTo>
                  <a:cubicBezTo>
                    <a:pt x="5914511" y="2021070"/>
                    <a:pt x="5899623" y="2020036"/>
                    <a:pt x="5884873" y="2020381"/>
                  </a:cubicBezTo>
                  <a:cubicBezTo>
                    <a:pt x="5887906" y="2037268"/>
                    <a:pt x="5879359" y="2051811"/>
                    <a:pt x="5869228" y="2064493"/>
                  </a:cubicBezTo>
                  <a:cubicBezTo>
                    <a:pt x="5860474" y="2062149"/>
                    <a:pt x="5851859" y="2059737"/>
                    <a:pt x="5843174" y="2057463"/>
                  </a:cubicBezTo>
                  <a:cubicBezTo>
                    <a:pt x="5842622" y="2052569"/>
                    <a:pt x="5841589" y="2042782"/>
                    <a:pt x="5841037" y="2037957"/>
                  </a:cubicBezTo>
                  <a:cubicBezTo>
                    <a:pt x="5845724" y="2033339"/>
                    <a:pt x="5850480" y="2028790"/>
                    <a:pt x="5855511" y="2024310"/>
                  </a:cubicBezTo>
                  <a:cubicBezTo>
                    <a:pt x="5838487" y="2018658"/>
                    <a:pt x="5820705" y="2016728"/>
                    <a:pt x="5803060" y="2014660"/>
                  </a:cubicBezTo>
                  <a:cubicBezTo>
                    <a:pt x="5802577" y="2026378"/>
                    <a:pt x="5801957" y="2038026"/>
                    <a:pt x="5801957" y="2049743"/>
                  </a:cubicBezTo>
                  <a:cubicBezTo>
                    <a:pt x="5806437" y="2053120"/>
                    <a:pt x="5815397" y="2059944"/>
                    <a:pt x="5819877" y="2063321"/>
                  </a:cubicBezTo>
                  <a:cubicBezTo>
                    <a:pt x="5815397" y="2054843"/>
                    <a:pt x="5810917" y="2046297"/>
                    <a:pt x="5806437" y="2037888"/>
                  </a:cubicBezTo>
                  <a:cubicBezTo>
                    <a:pt x="5812158" y="2038784"/>
                    <a:pt x="5823461" y="2040714"/>
                    <a:pt x="5829182" y="2041679"/>
                  </a:cubicBezTo>
                  <a:cubicBezTo>
                    <a:pt x="5831594" y="2050570"/>
                    <a:pt x="5829182" y="2063804"/>
                    <a:pt x="5840417" y="2067319"/>
                  </a:cubicBezTo>
                </a:path>
              </a:pathLst>
            </a:custGeom>
            <a:grpFill/>
            <a:ln w="689" cap="flat">
              <a:noFill/>
              <a:prstDash val="solid"/>
              <a:miter/>
            </a:ln>
          </p:spPr>
          <p:txBody>
            <a:bodyPr rtlCol="0" anchor="ctr"/>
            <a:lstStyle/>
            <a:p>
              <a:endParaRPr lang="en-US" sz="2400" dirty="0"/>
            </a:p>
          </p:txBody>
        </p:sp>
        <p:sp>
          <p:nvSpPr>
            <p:cNvPr id="132" name="Graphic 8">
              <a:extLst>
                <a:ext uri="{FF2B5EF4-FFF2-40B4-BE49-F238E27FC236}">
                  <a16:creationId xmlns:a16="http://schemas.microsoft.com/office/drawing/2014/main" id="{1C4DE1E4-A461-45DA-B26A-43E83F261350}"/>
                </a:ext>
              </a:extLst>
            </p:cNvPr>
            <p:cNvSpPr/>
            <p:nvPr/>
          </p:nvSpPr>
          <p:spPr>
            <a:xfrm flipV="1">
              <a:off x="3758448" y="1422165"/>
              <a:ext cx="516503" cy="193841"/>
            </a:xfrm>
            <a:custGeom>
              <a:avLst/>
              <a:gdLst>
                <a:gd name="connsiteX0" fmla="*/ 787 w 516503"/>
                <a:gd name="connsiteY0" fmla="*/ 40459 h 193841"/>
                <a:gd name="connsiteX1" fmla="*/ 19603 w 516503"/>
                <a:gd name="connsiteY1" fmla="*/ 38047 h 193841"/>
                <a:gd name="connsiteX2" fmla="*/ 39247 w 516503"/>
                <a:gd name="connsiteY2" fmla="*/ 26054 h 193841"/>
                <a:gd name="connsiteX3" fmla="*/ 45657 w 516503"/>
                <a:gd name="connsiteY3" fmla="*/ 27363 h 193841"/>
                <a:gd name="connsiteX4" fmla="*/ 75019 w 516503"/>
                <a:gd name="connsiteY4" fmla="*/ 32809 h 193841"/>
                <a:gd name="connsiteX5" fmla="*/ 53032 w 516503"/>
                <a:gd name="connsiteY5" fmla="*/ -4962 h 193841"/>
                <a:gd name="connsiteX6" fmla="*/ 43107 w 516503"/>
                <a:gd name="connsiteY6" fmla="*/ -4342 h 193841"/>
                <a:gd name="connsiteX7" fmla="*/ 43038 w 516503"/>
                <a:gd name="connsiteY7" fmla="*/ 21367 h 193841"/>
                <a:gd name="connsiteX8" fmla="*/ 21740 w 516503"/>
                <a:gd name="connsiteY8" fmla="*/ 3447 h 193841"/>
                <a:gd name="connsiteX9" fmla="*/ -3004 w 516503"/>
                <a:gd name="connsiteY9" fmla="*/ 5790 h 193841"/>
                <a:gd name="connsiteX10" fmla="*/ -4934 w 516503"/>
                <a:gd name="connsiteY10" fmla="*/ 8754 h 193841"/>
                <a:gd name="connsiteX11" fmla="*/ 787 w 516503"/>
                <a:gd name="connsiteY11" fmla="*/ 40459 h 193841"/>
                <a:gd name="connsiteX12" fmla="*/ 499870 w 516503"/>
                <a:gd name="connsiteY12" fmla="*/ 187613 h 193841"/>
                <a:gd name="connsiteX13" fmla="*/ 511105 w 516503"/>
                <a:gd name="connsiteY13" fmla="*/ 178033 h 193841"/>
                <a:gd name="connsiteX14" fmla="*/ 499870 w 516503"/>
                <a:gd name="connsiteY14" fmla="*/ 187613 h 193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6503" h="193841">
                  <a:moveTo>
                    <a:pt x="787" y="40459"/>
                  </a:moveTo>
                  <a:cubicBezTo>
                    <a:pt x="5474" y="39839"/>
                    <a:pt x="14916" y="38667"/>
                    <a:pt x="19603" y="38047"/>
                  </a:cubicBezTo>
                  <a:cubicBezTo>
                    <a:pt x="31251" y="41769"/>
                    <a:pt x="40556" y="41217"/>
                    <a:pt x="39247" y="26054"/>
                  </a:cubicBezTo>
                  <a:lnTo>
                    <a:pt x="45657" y="27363"/>
                  </a:lnTo>
                  <a:cubicBezTo>
                    <a:pt x="55375" y="29294"/>
                    <a:pt x="65162" y="31154"/>
                    <a:pt x="75019" y="32809"/>
                  </a:cubicBezTo>
                  <a:cubicBezTo>
                    <a:pt x="70469" y="18817"/>
                    <a:pt x="63784" y="5377"/>
                    <a:pt x="53032" y="-4962"/>
                  </a:cubicBezTo>
                  <a:lnTo>
                    <a:pt x="43107" y="-4342"/>
                  </a:lnTo>
                  <a:cubicBezTo>
                    <a:pt x="43107" y="2068"/>
                    <a:pt x="43038" y="14957"/>
                    <a:pt x="43038" y="21367"/>
                  </a:cubicBezTo>
                  <a:cubicBezTo>
                    <a:pt x="35732" y="15646"/>
                    <a:pt x="28632" y="9581"/>
                    <a:pt x="21740" y="3447"/>
                  </a:cubicBezTo>
                  <a:cubicBezTo>
                    <a:pt x="13400" y="4136"/>
                    <a:pt x="5198" y="4894"/>
                    <a:pt x="-3004" y="5790"/>
                  </a:cubicBezTo>
                  <a:lnTo>
                    <a:pt x="-4934" y="8754"/>
                  </a:lnTo>
                  <a:cubicBezTo>
                    <a:pt x="29" y="18679"/>
                    <a:pt x="1407" y="29500"/>
                    <a:pt x="787" y="40459"/>
                  </a:cubicBezTo>
                  <a:close/>
                  <a:moveTo>
                    <a:pt x="499870" y="187613"/>
                  </a:moveTo>
                  <a:cubicBezTo>
                    <a:pt x="509244" y="190922"/>
                    <a:pt x="512966" y="187751"/>
                    <a:pt x="511105" y="178033"/>
                  </a:cubicBezTo>
                  <a:cubicBezTo>
                    <a:pt x="501524" y="174724"/>
                    <a:pt x="497802" y="177895"/>
                    <a:pt x="499870" y="187613"/>
                  </a:cubicBezTo>
                </a:path>
              </a:pathLst>
            </a:custGeom>
            <a:grpFill/>
            <a:ln w="689" cap="flat">
              <a:noFill/>
              <a:prstDash val="solid"/>
              <a:miter/>
            </a:ln>
          </p:spPr>
          <p:txBody>
            <a:bodyPr rtlCol="0" anchor="ctr"/>
            <a:lstStyle/>
            <a:p>
              <a:endParaRPr lang="en-US" sz="2400" dirty="0"/>
            </a:p>
          </p:txBody>
        </p:sp>
        <p:sp>
          <p:nvSpPr>
            <p:cNvPr id="133" name="Graphic 8">
              <a:extLst>
                <a:ext uri="{FF2B5EF4-FFF2-40B4-BE49-F238E27FC236}">
                  <a16:creationId xmlns:a16="http://schemas.microsoft.com/office/drawing/2014/main" id="{84DA903D-3EDC-49FA-BF16-F60722A7D2F5}"/>
                </a:ext>
              </a:extLst>
            </p:cNvPr>
            <p:cNvSpPr/>
            <p:nvPr/>
          </p:nvSpPr>
          <p:spPr>
            <a:xfrm flipV="1">
              <a:off x="3736530" y="1417159"/>
              <a:ext cx="2592185" cy="2055056"/>
            </a:xfrm>
            <a:custGeom>
              <a:avLst/>
              <a:gdLst>
                <a:gd name="connsiteX0" fmla="*/ 19084 w 2592185"/>
                <a:gd name="connsiteY0" fmla="*/ 33366 h 2055056"/>
                <a:gd name="connsiteX1" fmla="*/ 22461 w 2592185"/>
                <a:gd name="connsiteY1" fmla="*/ 6416 h 2055056"/>
                <a:gd name="connsiteX2" fmla="*/ 19084 w 2592185"/>
                <a:gd name="connsiteY2" fmla="*/ 33366 h 2055056"/>
                <a:gd name="connsiteX3" fmla="*/ 1095 w 2592185"/>
                <a:gd name="connsiteY3" fmla="*/ 42257 h 2055056"/>
                <a:gd name="connsiteX4" fmla="*/ 82288 w 2592185"/>
                <a:gd name="connsiteY4" fmla="*/ 47288 h 2055056"/>
                <a:gd name="connsiteX5" fmla="*/ 84700 w 2592185"/>
                <a:gd name="connsiteY5" fmla="*/ 1316 h 2055056"/>
                <a:gd name="connsiteX6" fmla="*/ 92075 w 2592185"/>
                <a:gd name="connsiteY6" fmla="*/ 29575 h 2055056"/>
                <a:gd name="connsiteX7" fmla="*/ 97865 w 2592185"/>
                <a:gd name="connsiteY7" fmla="*/ 29712 h 2055056"/>
                <a:gd name="connsiteX8" fmla="*/ 98278 w 2592185"/>
                <a:gd name="connsiteY8" fmla="*/ -1097 h 2055056"/>
                <a:gd name="connsiteX9" fmla="*/ 82908 w 2592185"/>
                <a:gd name="connsiteY9" fmla="*/ -752 h 2055056"/>
                <a:gd name="connsiteX10" fmla="*/ 61955 w 2592185"/>
                <a:gd name="connsiteY10" fmla="*/ 25232 h 2055056"/>
                <a:gd name="connsiteX11" fmla="*/ 72363 w 2592185"/>
                <a:gd name="connsiteY11" fmla="*/ 39707 h 2055056"/>
                <a:gd name="connsiteX12" fmla="*/ 46102 w 2592185"/>
                <a:gd name="connsiteY12" fmla="*/ 18478 h 2055056"/>
                <a:gd name="connsiteX13" fmla="*/ 29560 w 2592185"/>
                <a:gd name="connsiteY13" fmla="*/ 10276 h 2055056"/>
                <a:gd name="connsiteX14" fmla="*/ 35005 w 2592185"/>
                <a:gd name="connsiteY14" fmla="*/ 1316 h 2055056"/>
                <a:gd name="connsiteX15" fmla="*/ 59818 w 2592185"/>
                <a:gd name="connsiteY15" fmla="*/ -3440 h 2055056"/>
                <a:gd name="connsiteX16" fmla="*/ 4058 w 2592185"/>
                <a:gd name="connsiteY16" fmla="*/ -2475 h 2055056"/>
                <a:gd name="connsiteX17" fmla="*/ -6211 w 2592185"/>
                <a:gd name="connsiteY17" fmla="*/ 8070 h 2055056"/>
                <a:gd name="connsiteX18" fmla="*/ 1095 w 2592185"/>
                <a:gd name="connsiteY18" fmla="*/ 42257 h 2055056"/>
                <a:gd name="connsiteX19" fmla="*/ 2568192 w 2592185"/>
                <a:gd name="connsiteY19" fmla="*/ 978598 h 2055056"/>
                <a:gd name="connsiteX20" fmla="*/ 2568192 w 2592185"/>
                <a:gd name="connsiteY20" fmla="*/ 978598 h 2055056"/>
                <a:gd name="connsiteX21" fmla="*/ 1701810 w 2592185"/>
                <a:gd name="connsiteY21" fmla="*/ 2001853 h 2055056"/>
                <a:gd name="connsiteX22" fmla="*/ 1711872 w 2592185"/>
                <a:gd name="connsiteY22" fmla="*/ 2001439 h 2055056"/>
                <a:gd name="connsiteX23" fmla="*/ 1752193 w 2592185"/>
                <a:gd name="connsiteY23" fmla="*/ 1998682 h 2055056"/>
                <a:gd name="connsiteX24" fmla="*/ 1751918 w 2592185"/>
                <a:gd name="connsiteY24" fmla="*/ 1994409 h 2055056"/>
                <a:gd name="connsiteX25" fmla="*/ 1731034 w 2592185"/>
                <a:gd name="connsiteY25" fmla="*/ 1993513 h 2055056"/>
                <a:gd name="connsiteX26" fmla="*/ 1742613 w 2592185"/>
                <a:gd name="connsiteY26" fmla="*/ 1978350 h 2055056"/>
                <a:gd name="connsiteX27" fmla="*/ 1735583 w 2592185"/>
                <a:gd name="connsiteY27" fmla="*/ 1971526 h 2055056"/>
                <a:gd name="connsiteX28" fmla="*/ 1730138 w 2592185"/>
                <a:gd name="connsiteY28" fmla="*/ 1957603 h 2055056"/>
                <a:gd name="connsiteX29" fmla="*/ 1701534 w 2592185"/>
                <a:gd name="connsiteY29" fmla="*/ 1964289 h 2055056"/>
                <a:gd name="connsiteX30" fmla="*/ 1695538 w 2592185"/>
                <a:gd name="connsiteY30" fmla="*/ 1963117 h 2055056"/>
                <a:gd name="connsiteX31" fmla="*/ 1692987 w 2592185"/>
                <a:gd name="connsiteY31" fmla="*/ 1984690 h 2055056"/>
                <a:gd name="connsiteX32" fmla="*/ 1720695 w 2592185"/>
                <a:gd name="connsiteY32" fmla="*/ 1973869 h 2055056"/>
                <a:gd name="connsiteX33" fmla="*/ 1701810 w 2592185"/>
                <a:gd name="connsiteY33" fmla="*/ 2001853 h 2055056"/>
                <a:gd name="connsiteX34" fmla="*/ 2543655 w 2592185"/>
                <a:gd name="connsiteY34" fmla="*/ 2044586 h 2055056"/>
                <a:gd name="connsiteX35" fmla="*/ 2569709 w 2592185"/>
                <a:gd name="connsiteY35" fmla="*/ 2051616 h 2055056"/>
                <a:gd name="connsiteX36" fmla="*/ 2585354 w 2592185"/>
                <a:gd name="connsiteY36" fmla="*/ 2007505 h 2055056"/>
                <a:gd name="connsiteX37" fmla="*/ 2555993 w 2592185"/>
                <a:gd name="connsiteY37" fmla="*/ 2011433 h 2055056"/>
                <a:gd name="connsiteX38" fmla="*/ 2541518 w 2592185"/>
                <a:gd name="connsiteY38" fmla="*/ 2025080 h 2055056"/>
                <a:gd name="connsiteX39" fmla="*/ 2543655 w 2592185"/>
                <a:gd name="connsiteY39" fmla="*/ 2044586 h 205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592185" h="2055056">
                  <a:moveTo>
                    <a:pt x="19084" y="33366"/>
                  </a:moveTo>
                  <a:cubicBezTo>
                    <a:pt x="15017" y="25853"/>
                    <a:pt x="11157" y="9518"/>
                    <a:pt x="22461" y="6416"/>
                  </a:cubicBezTo>
                  <a:cubicBezTo>
                    <a:pt x="36728" y="8690"/>
                    <a:pt x="32248" y="37088"/>
                    <a:pt x="19084" y="33366"/>
                  </a:cubicBezTo>
                  <a:close/>
                  <a:moveTo>
                    <a:pt x="1095" y="42257"/>
                  </a:moveTo>
                  <a:cubicBezTo>
                    <a:pt x="28320" y="39638"/>
                    <a:pt x="55407" y="42602"/>
                    <a:pt x="82288" y="47288"/>
                  </a:cubicBezTo>
                  <a:cubicBezTo>
                    <a:pt x="81254" y="31918"/>
                    <a:pt x="81667" y="16479"/>
                    <a:pt x="84700" y="1316"/>
                  </a:cubicBezTo>
                  <a:cubicBezTo>
                    <a:pt x="94625" y="8966"/>
                    <a:pt x="97038" y="18409"/>
                    <a:pt x="92075" y="29575"/>
                  </a:cubicBezTo>
                  <a:lnTo>
                    <a:pt x="97865" y="29712"/>
                  </a:lnTo>
                  <a:cubicBezTo>
                    <a:pt x="97796" y="19512"/>
                    <a:pt x="98002" y="9242"/>
                    <a:pt x="98278" y="-1097"/>
                  </a:cubicBezTo>
                  <a:cubicBezTo>
                    <a:pt x="94419" y="-1028"/>
                    <a:pt x="86768" y="-821"/>
                    <a:pt x="82908" y="-752"/>
                  </a:cubicBezTo>
                  <a:cubicBezTo>
                    <a:pt x="76222" y="8208"/>
                    <a:pt x="69123" y="16755"/>
                    <a:pt x="61955" y="25232"/>
                  </a:cubicBezTo>
                  <a:cubicBezTo>
                    <a:pt x="64574" y="28885"/>
                    <a:pt x="69743" y="36054"/>
                    <a:pt x="72363" y="39707"/>
                  </a:cubicBezTo>
                  <a:cubicBezTo>
                    <a:pt x="62231" y="34468"/>
                    <a:pt x="52443" y="28196"/>
                    <a:pt x="46102" y="18478"/>
                  </a:cubicBezTo>
                  <a:cubicBezTo>
                    <a:pt x="41967" y="16410"/>
                    <a:pt x="33696" y="12343"/>
                    <a:pt x="29560" y="10276"/>
                  </a:cubicBezTo>
                  <a:lnTo>
                    <a:pt x="35005" y="1316"/>
                  </a:lnTo>
                  <a:cubicBezTo>
                    <a:pt x="44586" y="5038"/>
                    <a:pt x="55200" y="9380"/>
                    <a:pt x="59818" y="-3440"/>
                  </a:cubicBezTo>
                  <a:cubicBezTo>
                    <a:pt x="41209" y="-3096"/>
                    <a:pt x="22668" y="-1924"/>
                    <a:pt x="4058" y="-2475"/>
                  </a:cubicBezTo>
                  <a:cubicBezTo>
                    <a:pt x="1508" y="213"/>
                    <a:pt x="-3661" y="5451"/>
                    <a:pt x="-6211" y="8070"/>
                  </a:cubicBezTo>
                  <a:cubicBezTo>
                    <a:pt x="-3523" y="19443"/>
                    <a:pt x="-1111" y="30815"/>
                    <a:pt x="1095" y="42257"/>
                  </a:cubicBezTo>
                  <a:moveTo>
                    <a:pt x="2568192" y="978598"/>
                  </a:moveTo>
                  <a:cubicBezTo>
                    <a:pt x="2571914" y="974876"/>
                    <a:pt x="2571914" y="974876"/>
                    <a:pt x="2568192" y="978598"/>
                  </a:cubicBezTo>
                  <a:moveTo>
                    <a:pt x="1701810" y="2001853"/>
                  </a:moveTo>
                  <a:lnTo>
                    <a:pt x="1711872" y="2001439"/>
                  </a:lnTo>
                  <a:cubicBezTo>
                    <a:pt x="1725244" y="2000750"/>
                    <a:pt x="1738753" y="1999716"/>
                    <a:pt x="1752193" y="1998682"/>
                  </a:cubicBezTo>
                  <a:lnTo>
                    <a:pt x="1751918" y="1994409"/>
                  </a:lnTo>
                  <a:cubicBezTo>
                    <a:pt x="1746679" y="1994202"/>
                    <a:pt x="1736272" y="1993789"/>
                    <a:pt x="1731034" y="1993513"/>
                  </a:cubicBezTo>
                  <a:cubicBezTo>
                    <a:pt x="1733928" y="1989722"/>
                    <a:pt x="1739718" y="1982140"/>
                    <a:pt x="1742613" y="1978350"/>
                  </a:cubicBezTo>
                  <a:lnTo>
                    <a:pt x="1735583" y="1971526"/>
                  </a:lnTo>
                  <a:cubicBezTo>
                    <a:pt x="1734204" y="1968080"/>
                    <a:pt x="1731516" y="1961118"/>
                    <a:pt x="1730138" y="1957603"/>
                  </a:cubicBezTo>
                  <a:cubicBezTo>
                    <a:pt x="1720557" y="1960016"/>
                    <a:pt x="1711115" y="1962566"/>
                    <a:pt x="1701534" y="1964289"/>
                  </a:cubicBezTo>
                  <a:lnTo>
                    <a:pt x="1695538" y="1963117"/>
                  </a:lnTo>
                  <a:cubicBezTo>
                    <a:pt x="1694917" y="1968493"/>
                    <a:pt x="1693607" y="1979314"/>
                    <a:pt x="1692987" y="1984690"/>
                  </a:cubicBezTo>
                  <a:cubicBezTo>
                    <a:pt x="1702154" y="1981176"/>
                    <a:pt x="1711390" y="1977522"/>
                    <a:pt x="1720695" y="1973869"/>
                  </a:cubicBezTo>
                  <a:cubicBezTo>
                    <a:pt x="1713389" y="1982623"/>
                    <a:pt x="1707117" y="1991928"/>
                    <a:pt x="1701810" y="2001853"/>
                  </a:cubicBezTo>
                  <a:moveTo>
                    <a:pt x="2543655" y="2044586"/>
                  </a:moveTo>
                  <a:cubicBezTo>
                    <a:pt x="2552340" y="2046861"/>
                    <a:pt x="2560955" y="2049273"/>
                    <a:pt x="2569709" y="2051616"/>
                  </a:cubicBezTo>
                  <a:cubicBezTo>
                    <a:pt x="2579840" y="2038934"/>
                    <a:pt x="2588387" y="2024391"/>
                    <a:pt x="2585354" y="2007505"/>
                  </a:cubicBezTo>
                  <a:cubicBezTo>
                    <a:pt x="2574740" y="2006540"/>
                    <a:pt x="2564953" y="2007849"/>
                    <a:pt x="2555993" y="2011433"/>
                  </a:cubicBezTo>
                  <a:cubicBezTo>
                    <a:pt x="2550961" y="2015913"/>
                    <a:pt x="2546205" y="2020463"/>
                    <a:pt x="2541518" y="2025080"/>
                  </a:cubicBezTo>
                  <a:cubicBezTo>
                    <a:pt x="2542070" y="2029905"/>
                    <a:pt x="2543103" y="2039692"/>
                    <a:pt x="2543655" y="2044586"/>
                  </a:cubicBezTo>
                </a:path>
              </a:pathLst>
            </a:custGeom>
            <a:grpFill/>
            <a:ln w="689" cap="flat">
              <a:noFill/>
              <a:prstDash val="solid"/>
              <a:miter/>
            </a:ln>
          </p:spPr>
          <p:txBody>
            <a:bodyPr rtlCol="0" anchor="ctr"/>
            <a:lstStyle/>
            <a:p>
              <a:endParaRPr lang="en-US" sz="2400" dirty="0"/>
            </a:p>
          </p:txBody>
        </p:sp>
        <p:sp>
          <p:nvSpPr>
            <p:cNvPr id="134" name="Graphic 8">
              <a:extLst>
                <a:ext uri="{FF2B5EF4-FFF2-40B4-BE49-F238E27FC236}">
                  <a16:creationId xmlns:a16="http://schemas.microsoft.com/office/drawing/2014/main" id="{CDB5B401-20E2-4B98-936D-6B9E4C6025EA}"/>
                </a:ext>
              </a:extLst>
            </p:cNvPr>
            <p:cNvSpPr/>
            <p:nvPr/>
          </p:nvSpPr>
          <p:spPr>
            <a:xfrm flipV="1">
              <a:off x="3241217" y="1435355"/>
              <a:ext cx="4726439" cy="458159"/>
            </a:xfrm>
            <a:custGeom>
              <a:avLst/>
              <a:gdLst>
                <a:gd name="connsiteX0" fmla="*/ 4716977 w 4726439"/>
                <a:gd name="connsiteY0" fmla="*/ -1880 h 458159"/>
                <a:gd name="connsiteX1" fmla="*/ 4716977 w 4726439"/>
                <a:gd name="connsiteY1" fmla="*/ -1880 h 458159"/>
                <a:gd name="connsiteX2" fmla="*/ -4912 w 4726439"/>
                <a:gd name="connsiteY2" fmla="*/ 453436 h 458159"/>
                <a:gd name="connsiteX3" fmla="*/ -4912 w 4726439"/>
                <a:gd name="connsiteY3" fmla="*/ 453436 h 458159"/>
              </a:gdLst>
              <a:ahLst/>
              <a:cxnLst>
                <a:cxn ang="0">
                  <a:pos x="connsiteX0" y="connsiteY0"/>
                </a:cxn>
                <a:cxn ang="0">
                  <a:pos x="connsiteX1" y="connsiteY1"/>
                </a:cxn>
                <a:cxn ang="0">
                  <a:pos x="connsiteX2" y="connsiteY2"/>
                </a:cxn>
                <a:cxn ang="0">
                  <a:pos x="connsiteX3" y="connsiteY3"/>
                </a:cxn>
              </a:cxnLst>
              <a:rect l="l" t="t" r="r" b="b"/>
              <a:pathLst>
                <a:path w="4726439" h="458159">
                  <a:moveTo>
                    <a:pt x="4716977" y="-1880"/>
                  </a:moveTo>
                  <a:cubicBezTo>
                    <a:pt x="4720353" y="-5671"/>
                    <a:pt x="4720353" y="-5671"/>
                    <a:pt x="4716977" y="-1880"/>
                  </a:cubicBezTo>
                  <a:close/>
                  <a:moveTo>
                    <a:pt x="-4912" y="453436"/>
                  </a:moveTo>
                  <a:cubicBezTo>
                    <a:pt x="17833" y="452402"/>
                    <a:pt x="-15113" y="432552"/>
                    <a:pt x="-4912" y="453436"/>
                  </a:cubicBezTo>
                </a:path>
              </a:pathLst>
            </a:custGeom>
            <a:grpFill/>
            <a:ln w="689" cap="flat">
              <a:noFill/>
              <a:prstDash val="solid"/>
              <a:miter/>
            </a:ln>
          </p:spPr>
          <p:txBody>
            <a:bodyPr rtlCol="0" anchor="ctr"/>
            <a:lstStyle/>
            <a:p>
              <a:endParaRPr lang="en-US" sz="2400" dirty="0"/>
            </a:p>
          </p:txBody>
        </p:sp>
        <p:sp>
          <p:nvSpPr>
            <p:cNvPr id="135" name="Graphic 8">
              <a:extLst>
                <a:ext uri="{FF2B5EF4-FFF2-40B4-BE49-F238E27FC236}">
                  <a16:creationId xmlns:a16="http://schemas.microsoft.com/office/drawing/2014/main" id="{E49267E8-48F5-481C-846D-C1E44DB473B8}"/>
                </a:ext>
              </a:extLst>
            </p:cNvPr>
            <p:cNvSpPr/>
            <p:nvPr/>
          </p:nvSpPr>
          <p:spPr>
            <a:xfrm flipV="1">
              <a:off x="3271840" y="1434872"/>
              <a:ext cx="2791" cy="2946"/>
            </a:xfrm>
            <a:custGeom>
              <a:avLst/>
              <a:gdLst>
                <a:gd name="connsiteX0" fmla="*/ -3999 w 2791"/>
                <a:gd name="connsiteY0" fmla="*/ -2152 h 2946"/>
                <a:gd name="connsiteX1" fmla="*/ -3999 w 2791"/>
                <a:gd name="connsiteY1" fmla="*/ -2152 h 2946"/>
                <a:gd name="connsiteX2" fmla="*/ -3999 w 2791"/>
                <a:gd name="connsiteY2" fmla="*/ -2152 h 2946"/>
              </a:gdLst>
              <a:ahLst/>
              <a:cxnLst>
                <a:cxn ang="0">
                  <a:pos x="connsiteX0" y="connsiteY0"/>
                </a:cxn>
                <a:cxn ang="0">
                  <a:pos x="connsiteX1" y="connsiteY1"/>
                </a:cxn>
                <a:cxn ang="0">
                  <a:pos x="connsiteX2" y="connsiteY2"/>
                </a:cxn>
              </a:cxnLst>
              <a:rect l="l" t="t" r="r" b="b"/>
              <a:pathLst>
                <a:path w="2791" h="2946">
                  <a:moveTo>
                    <a:pt x="-3999" y="-2152"/>
                  </a:moveTo>
                  <a:cubicBezTo>
                    <a:pt x="-277" y="-6080"/>
                    <a:pt x="-277" y="-6080"/>
                    <a:pt x="-3999" y="-2152"/>
                  </a:cubicBezTo>
                  <a:lnTo>
                    <a:pt x="-3999" y="-2152"/>
                  </a:lnTo>
                </a:path>
              </a:pathLst>
            </a:custGeom>
            <a:grpFill/>
            <a:ln w="689" cap="flat">
              <a:noFill/>
              <a:prstDash val="solid"/>
              <a:miter/>
            </a:ln>
          </p:spPr>
          <p:txBody>
            <a:bodyPr rtlCol="0" anchor="ctr"/>
            <a:lstStyle/>
            <a:p>
              <a:endParaRPr lang="en-US" sz="2400" dirty="0"/>
            </a:p>
          </p:txBody>
        </p:sp>
        <p:sp>
          <p:nvSpPr>
            <p:cNvPr id="136" name="Graphic 8">
              <a:extLst>
                <a:ext uri="{FF2B5EF4-FFF2-40B4-BE49-F238E27FC236}">
                  <a16:creationId xmlns:a16="http://schemas.microsoft.com/office/drawing/2014/main" id="{C5AF3591-CFFE-4A1D-B158-BCB0ED231277}"/>
                </a:ext>
              </a:extLst>
            </p:cNvPr>
            <p:cNvSpPr/>
            <p:nvPr/>
          </p:nvSpPr>
          <p:spPr>
            <a:xfrm flipV="1">
              <a:off x="1011526" y="1431570"/>
              <a:ext cx="4613486" cy="2087961"/>
            </a:xfrm>
            <a:custGeom>
              <a:avLst/>
              <a:gdLst>
                <a:gd name="connsiteX0" fmla="*/ 4606588 w 4613486"/>
                <a:gd name="connsiteY0" fmla="*/ -598 h 2087961"/>
                <a:gd name="connsiteX1" fmla="*/ 4606588 w 4613486"/>
                <a:gd name="connsiteY1" fmla="*/ -598 h 2087961"/>
                <a:gd name="connsiteX2" fmla="*/ -4056 w 4613486"/>
                <a:gd name="connsiteY2" fmla="*/ 1282089 h 2087961"/>
                <a:gd name="connsiteX3" fmla="*/ 11590 w 4613486"/>
                <a:gd name="connsiteY3" fmla="*/ 1276437 h 2087961"/>
                <a:gd name="connsiteX4" fmla="*/ -4056 w 4613486"/>
                <a:gd name="connsiteY4" fmla="*/ 1282089 h 2087961"/>
                <a:gd name="connsiteX5" fmla="*/ 3319283 w 4613486"/>
                <a:gd name="connsiteY5" fmla="*/ 2082235 h 2087961"/>
                <a:gd name="connsiteX6" fmla="*/ 3319283 w 4613486"/>
                <a:gd name="connsiteY6" fmla="*/ 2082235 h 2087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3486" h="2087961">
                  <a:moveTo>
                    <a:pt x="4606588" y="-598"/>
                  </a:moveTo>
                  <a:cubicBezTo>
                    <a:pt x="4610379" y="-4320"/>
                    <a:pt x="4610379" y="-4320"/>
                    <a:pt x="4606588" y="-598"/>
                  </a:cubicBezTo>
                  <a:close/>
                  <a:moveTo>
                    <a:pt x="-4056" y="1282089"/>
                  </a:moveTo>
                  <a:cubicBezTo>
                    <a:pt x="4698" y="1287465"/>
                    <a:pt x="9867" y="1285536"/>
                    <a:pt x="11590" y="1276437"/>
                  </a:cubicBezTo>
                  <a:cubicBezTo>
                    <a:pt x="2837" y="1271130"/>
                    <a:pt x="-2402" y="1273060"/>
                    <a:pt x="-4056" y="1282089"/>
                  </a:cubicBezTo>
                  <a:moveTo>
                    <a:pt x="3319283" y="2082235"/>
                  </a:moveTo>
                  <a:cubicBezTo>
                    <a:pt x="3339891" y="2093401"/>
                    <a:pt x="3321006" y="2059697"/>
                    <a:pt x="3319283" y="2082235"/>
                  </a:cubicBezTo>
                </a:path>
              </a:pathLst>
            </a:custGeom>
            <a:grpFill/>
            <a:ln w="689" cap="flat">
              <a:noFill/>
              <a:prstDash val="solid"/>
              <a:miter/>
            </a:ln>
          </p:spPr>
          <p:txBody>
            <a:bodyPr rtlCol="0" anchor="ctr"/>
            <a:lstStyle/>
            <a:p>
              <a:endParaRPr lang="en-US" sz="2400" dirty="0"/>
            </a:p>
          </p:txBody>
        </p:sp>
        <p:sp>
          <p:nvSpPr>
            <p:cNvPr id="137" name="Graphic 8">
              <a:extLst>
                <a:ext uri="{FF2B5EF4-FFF2-40B4-BE49-F238E27FC236}">
                  <a16:creationId xmlns:a16="http://schemas.microsoft.com/office/drawing/2014/main" id="{A605CF74-26A0-487E-873B-D1394613CD82}"/>
                </a:ext>
              </a:extLst>
            </p:cNvPr>
            <p:cNvSpPr/>
            <p:nvPr/>
          </p:nvSpPr>
          <p:spPr>
            <a:xfrm flipV="1">
              <a:off x="1976432" y="1440117"/>
              <a:ext cx="6788755" cy="2031544"/>
            </a:xfrm>
            <a:custGeom>
              <a:avLst/>
              <a:gdLst>
                <a:gd name="connsiteX0" fmla="*/ 1481209 w 6788755"/>
                <a:gd name="connsiteY0" fmla="*/ 6018 h 2031544"/>
                <a:gd name="connsiteX1" fmla="*/ 1481209 w 6788755"/>
                <a:gd name="connsiteY1" fmla="*/ 6018 h 2031544"/>
                <a:gd name="connsiteX2" fmla="*/ -5771 w 6788755"/>
                <a:gd name="connsiteY2" fmla="*/ 262487 h 2031544"/>
                <a:gd name="connsiteX3" fmla="*/ 4843 w 6788755"/>
                <a:gd name="connsiteY3" fmla="*/ 251872 h 2031544"/>
                <a:gd name="connsiteX4" fmla="*/ -5771 w 6788755"/>
                <a:gd name="connsiteY4" fmla="*/ 262487 h 2031544"/>
                <a:gd name="connsiteX5" fmla="*/ 544316 w 6788755"/>
                <a:gd name="connsiteY5" fmla="*/ 510891 h 2031544"/>
                <a:gd name="connsiteX6" fmla="*/ 544316 w 6788755"/>
                <a:gd name="connsiteY6" fmla="*/ 510891 h 2031544"/>
                <a:gd name="connsiteX7" fmla="*/ 3299854 w 6788755"/>
                <a:gd name="connsiteY7" fmla="*/ 901969 h 2031544"/>
                <a:gd name="connsiteX8" fmla="*/ 3299854 w 6788755"/>
                <a:gd name="connsiteY8" fmla="*/ 901969 h 2031544"/>
                <a:gd name="connsiteX9" fmla="*/ 6655794 w 6788755"/>
                <a:gd name="connsiteY9" fmla="*/ 1191729 h 2031544"/>
                <a:gd name="connsiteX10" fmla="*/ 6655794 w 6788755"/>
                <a:gd name="connsiteY10" fmla="*/ 1191729 h 2031544"/>
                <a:gd name="connsiteX11" fmla="*/ 6774068 w 6788755"/>
                <a:gd name="connsiteY11" fmla="*/ 1295529 h 2031544"/>
                <a:gd name="connsiteX12" fmla="*/ 6774068 w 6788755"/>
                <a:gd name="connsiteY12" fmla="*/ 1295529 h 2031544"/>
                <a:gd name="connsiteX13" fmla="*/ 4293816 w 6788755"/>
                <a:gd name="connsiteY13" fmla="*/ 1407394 h 2031544"/>
                <a:gd name="connsiteX14" fmla="*/ 4292851 w 6788755"/>
                <a:gd name="connsiteY14" fmla="*/ 1392919 h 2031544"/>
                <a:gd name="connsiteX15" fmla="*/ 4293816 w 6788755"/>
                <a:gd name="connsiteY15" fmla="*/ 1407394 h 2031544"/>
                <a:gd name="connsiteX16" fmla="*/ 3776054 w 6788755"/>
                <a:gd name="connsiteY16" fmla="*/ 1570676 h 2031544"/>
                <a:gd name="connsiteX17" fmla="*/ 3776054 w 6788755"/>
                <a:gd name="connsiteY17" fmla="*/ 1570676 h 2031544"/>
                <a:gd name="connsiteX18" fmla="*/ 1034784 w 6788755"/>
                <a:gd name="connsiteY18" fmla="*/ 2025372 h 2031544"/>
                <a:gd name="connsiteX19" fmla="*/ 1041332 w 6788755"/>
                <a:gd name="connsiteY19" fmla="*/ 2011794 h 2031544"/>
                <a:gd name="connsiteX20" fmla="*/ 1034784 w 6788755"/>
                <a:gd name="connsiteY20" fmla="*/ 2025372 h 203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88755" h="2031544">
                  <a:moveTo>
                    <a:pt x="1481209" y="6018"/>
                  </a:moveTo>
                  <a:cubicBezTo>
                    <a:pt x="1503885" y="4915"/>
                    <a:pt x="1470250" y="-14659"/>
                    <a:pt x="1481209" y="6018"/>
                  </a:cubicBezTo>
                  <a:close/>
                  <a:moveTo>
                    <a:pt x="-5771" y="262487"/>
                  </a:moveTo>
                  <a:cubicBezTo>
                    <a:pt x="3947" y="264899"/>
                    <a:pt x="7531" y="261315"/>
                    <a:pt x="4843" y="251872"/>
                  </a:cubicBezTo>
                  <a:cubicBezTo>
                    <a:pt x="-4875" y="249598"/>
                    <a:pt x="-8459" y="253113"/>
                    <a:pt x="-5771" y="262487"/>
                  </a:cubicBezTo>
                  <a:moveTo>
                    <a:pt x="544316" y="510891"/>
                  </a:moveTo>
                  <a:cubicBezTo>
                    <a:pt x="565407" y="520816"/>
                    <a:pt x="544730" y="488215"/>
                    <a:pt x="544316" y="510891"/>
                  </a:cubicBezTo>
                  <a:moveTo>
                    <a:pt x="3299854" y="901969"/>
                  </a:moveTo>
                  <a:cubicBezTo>
                    <a:pt x="3322599" y="901280"/>
                    <a:pt x="3289584" y="881154"/>
                    <a:pt x="3299854" y="901969"/>
                  </a:cubicBezTo>
                  <a:moveTo>
                    <a:pt x="6655794" y="1191729"/>
                  </a:moveTo>
                  <a:cubicBezTo>
                    <a:pt x="6678539" y="1190557"/>
                    <a:pt x="6644697" y="1170844"/>
                    <a:pt x="6655794" y="1191729"/>
                  </a:cubicBezTo>
                  <a:moveTo>
                    <a:pt x="6774068" y="1295529"/>
                  </a:moveTo>
                  <a:cubicBezTo>
                    <a:pt x="6796813" y="1294357"/>
                    <a:pt x="6762972" y="1274989"/>
                    <a:pt x="6774068" y="1295529"/>
                  </a:cubicBezTo>
                  <a:moveTo>
                    <a:pt x="4293816" y="1407394"/>
                  </a:moveTo>
                  <a:cubicBezTo>
                    <a:pt x="4302225" y="1402776"/>
                    <a:pt x="4301949" y="1397951"/>
                    <a:pt x="4292851" y="1392919"/>
                  </a:cubicBezTo>
                  <a:cubicBezTo>
                    <a:pt x="4284304" y="1397606"/>
                    <a:pt x="4284580" y="1402431"/>
                    <a:pt x="4293816" y="1407394"/>
                  </a:cubicBezTo>
                  <a:moveTo>
                    <a:pt x="3776054" y="1570676"/>
                  </a:moveTo>
                  <a:cubicBezTo>
                    <a:pt x="3798799" y="1569367"/>
                    <a:pt x="3765302" y="1550068"/>
                    <a:pt x="3776054" y="1570676"/>
                  </a:cubicBezTo>
                  <a:moveTo>
                    <a:pt x="1034784" y="2025372"/>
                  </a:moveTo>
                  <a:cubicBezTo>
                    <a:pt x="1044089" y="2034952"/>
                    <a:pt x="1048431" y="2016825"/>
                    <a:pt x="1041332" y="2011794"/>
                  </a:cubicBezTo>
                  <a:cubicBezTo>
                    <a:pt x="1032509" y="2001179"/>
                    <a:pt x="1027133" y="2020547"/>
                    <a:pt x="1034784" y="2025372"/>
                  </a:cubicBezTo>
                </a:path>
              </a:pathLst>
            </a:custGeom>
            <a:grpFill/>
            <a:ln w="689" cap="flat">
              <a:noFill/>
              <a:prstDash val="solid"/>
              <a:miter/>
            </a:ln>
          </p:spPr>
          <p:txBody>
            <a:bodyPr rtlCol="0" anchor="ctr"/>
            <a:lstStyle/>
            <a:p>
              <a:endParaRPr lang="en-US" sz="2400" dirty="0"/>
            </a:p>
          </p:txBody>
        </p:sp>
        <p:sp>
          <p:nvSpPr>
            <p:cNvPr id="138" name="Graphic 8">
              <a:extLst>
                <a:ext uri="{FF2B5EF4-FFF2-40B4-BE49-F238E27FC236}">
                  <a16:creationId xmlns:a16="http://schemas.microsoft.com/office/drawing/2014/main" id="{9B620C9C-28F9-4EB0-95D0-42D099D00493}"/>
                </a:ext>
              </a:extLst>
            </p:cNvPr>
            <p:cNvSpPr/>
            <p:nvPr/>
          </p:nvSpPr>
          <p:spPr>
            <a:xfrm flipV="1">
              <a:off x="422428" y="1440380"/>
              <a:ext cx="8362019" cy="1848612"/>
            </a:xfrm>
            <a:custGeom>
              <a:avLst/>
              <a:gdLst>
                <a:gd name="connsiteX0" fmla="*/ 7806934 w 8362019"/>
                <a:gd name="connsiteY0" fmla="*/ 16533 h 1848612"/>
                <a:gd name="connsiteX1" fmla="*/ 7817272 w 8362019"/>
                <a:gd name="connsiteY1" fmla="*/ -1456 h 1848612"/>
                <a:gd name="connsiteX2" fmla="*/ 7806934 w 8362019"/>
                <a:gd name="connsiteY2" fmla="*/ 16533 h 1848612"/>
                <a:gd name="connsiteX3" fmla="*/ 4158960 w 8362019"/>
                <a:gd name="connsiteY3" fmla="*/ 312358 h 1848612"/>
                <a:gd name="connsiteX4" fmla="*/ 4158960 w 8362019"/>
                <a:gd name="connsiteY4" fmla="*/ 312358 h 1848612"/>
                <a:gd name="connsiteX5" fmla="*/ -1265 w 8362019"/>
                <a:gd name="connsiteY5" fmla="*/ 318285 h 1848612"/>
                <a:gd name="connsiteX6" fmla="*/ 7771 w 8362019"/>
                <a:gd name="connsiteY6" fmla="*/ 366394 h 1848612"/>
                <a:gd name="connsiteX7" fmla="*/ 9421 w 8362019"/>
                <a:gd name="connsiteY7" fmla="*/ 342960 h 1848612"/>
                <a:gd name="connsiteX8" fmla="*/ 9489 w 8362019"/>
                <a:gd name="connsiteY8" fmla="*/ 337515 h 1848612"/>
                <a:gd name="connsiteX9" fmla="*/ 24655 w 8362019"/>
                <a:gd name="connsiteY9" fmla="*/ 329520 h 1848612"/>
                <a:gd name="connsiteX10" fmla="*/ 36028 w 8362019"/>
                <a:gd name="connsiteY10" fmla="*/ 320008 h 1848612"/>
                <a:gd name="connsiteX11" fmla="*/ 25344 w 8362019"/>
                <a:gd name="connsiteY11" fmla="*/ 323730 h 1848612"/>
                <a:gd name="connsiteX12" fmla="*/ 32993 w 8362019"/>
                <a:gd name="connsiteY12" fmla="*/ 297677 h 1848612"/>
                <a:gd name="connsiteX13" fmla="*/ 37064 w 8362019"/>
                <a:gd name="connsiteY13" fmla="*/ 296987 h 1848612"/>
                <a:gd name="connsiteX14" fmla="*/ 37680 w 8362019"/>
                <a:gd name="connsiteY14" fmla="*/ 269004 h 1848612"/>
                <a:gd name="connsiteX15" fmla="*/ 32441 w 8362019"/>
                <a:gd name="connsiteY15" fmla="*/ 270383 h 1848612"/>
                <a:gd name="connsiteX16" fmla="*/ 13072 w 8362019"/>
                <a:gd name="connsiteY16" fmla="*/ 306223 h 1848612"/>
                <a:gd name="connsiteX17" fmla="*/ 14112 w 8362019"/>
                <a:gd name="connsiteY17" fmla="*/ 321800 h 1848612"/>
                <a:gd name="connsiteX18" fmla="*/ 4320 w 8362019"/>
                <a:gd name="connsiteY18" fmla="*/ 299538 h 1848612"/>
                <a:gd name="connsiteX19" fmla="*/ -436 w 8362019"/>
                <a:gd name="connsiteY19" fmla="*/ 288992 h 1848612"/>
                <a:gd name="connsiteX20" fmla="*/ -5672 w 8362019"/>
                <a:gd name="connsiteY20" fmla="*/ 299124 h 1848612"/>
                <a:gd name="connsiteX21" fmla="*/ -1469 w 8362019"/>
                <a:gd name="connsiteY21" fmla="*/ 316769 h 1848612"/>
                <a:gd name="connsiteX22" fmla="*/ -1265 w 8362019"/>
                <a:gd name="connsiteY22" fmla="*/ 318285 h 1848612"/>
                <a:gd name="connsiteX23" fmla="*/ 851198 w 8362019"/>
                <a:gd name="connsiteY23" fmla="*/ 1153100 h 1848612"/>
                <a:gd name="connsiteX24" fmla="*/ 851198 w 8362019"/>
                <a:gd name="connsiteY24" fmla="*/ 1153100 h 1848612"/>
                <a:gd name="connsiteX25" fmla="*/ 8287132 w 8362019"/>
                <a:gd name="connsiteY25" fmla="*/ 1560307 h 1848612"/>
                <a:gd name="connsiteX26" fmla="*/ 8287132 w 8362019"/>
                <a:gd name="connsiteY26" fmla="*/ 1560307 h 1848612"/>
                <a:gd name="connsiteX27" fmla="*/ 8345166 w 8362019"/>
                <a:gd name="connsiteY27" fmla="*/ 1633436 h 1848612"/>
                <a:gd name="connsiteX28" fmla="*/ 8355780 w 8362019"/>
                <a:gd name="connsiteY28" fmla="*/ 1654803 h 1848612"/>
                <a:gd name="connsiteX29" fmla="*/ 8336206 w 8362019"/>
                <a:gd name="connsiteY29" fmla="*/ 1616756 h 1848612"/>
                <a:gd name="connsiteX30" fmla="*/ 8345166 w 8362019"/>
                <a:gd name="connsiteY30" fmla="*/ 1633436 h 1848612"/>
                <a:gd name="connsiteX31" fmla="*/ 2747660 w 8362019"/>
                <a:gd name="connsiteY31" fmla="*/ 1843656 h 1848612"/>
                <a:gd name="connsiteX32" fmla="*/ 2756413 w 8362019"/>
                <a:gd name="connsiteY32" fmla="*/ 1834075 h 1848612"/>
                <a:gd name="connsiteX33" fmla="*/ 2747660 w 8362019"/>
                <a:gd name="connsiteY33" fmla="*/ 1843656 h 184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362019" h="1848612">
                  <a:moveTo>
                    <a:pt x="7806934" y="16533"/>
                  </a:moveTo>
                  <a:cubicBezTo>
                    <a:pt x="7817410" y="24804"/>
                    <a:pt x="7825613" y="5229"/>
                    <a:pt x="7817272" y="-1456"/>
                  </a:cubicBezTo>
                  <a:cubicBezTo>
                    <a:pt x="7806451" y="-10072"/>
                    <a:pt x="7798111" y="9985"/>
                    <a:pt x="7806934" y="16533"/>
                  </a:cubicBezTo>
                  <a:close/>
                  <a:moveTo>
                    <a:pt x="4158960" y="312358"/>
                  </a:moveTo>
                  <a:cubicBezTo>
                    <a:pt x="4181705" y="311462"/>
                    <a:pt x="4148759" y="291542"/>
                    <a:pt x="4158960" y="312358"/>
                  </a:cubicBezTo>
                  <a:moveTo>
                    <a:pt x="-1265" y="318285"/>
                  </a:moveTo>
                  <a:cubicBezTo>
                    <a:pt x="-3330" y="335034"/>
                    <a:pt x="-158" y="351507"/>
                    <a:pt x="7771" y="366394"/>
                  </a:cubicBezTo>
                  <a:cubicBezTo>
                    <a:pt x="8180" y="360536"/>
                    <a:pt x="9010" y="348819"/>
                    <a:pt x="9421" y="342960"/>
                  </a:cubicBezTo>
                  <a:lnTo>
                    <a:pt x="9489" y="337515"/>
                  </a:lnTo>
                  <a:cubicBezTo>
                    <a:pt x="13282" y="335516"/>
                    <a:pt x="20864" y="331519"/>
                    <a:pt x="24655" y="329520"/>
                  </a:cubicBezTo>
                  <a:cubicBezTo>
                    <a:pt x="27482" y="327176"/>
                    <a:pt x="33203" y="322421"/>
                    <a:pt x="36028" y="320008"/>
                  </a:cubicBezTo>
                  <a:cubicBezTo>
                    <a:pt x="33340" y="320973"/>
                    <a:pt x="28034" y="322765"/>
                    <a:pt x="25344" y="323730"/>
                  </a:cubicBezTo>
                  <a:cubicBezTo>
                    <a:pt x="27824" y="315046"/>
                    <a:pt x="30443" y="306361"/>
                    <a:pt x="32993" y="297677"/>
                  </a:cubicBezTo>
                  <a:lnTo>
                    <a:pt x="37064" y="296987"/>
                  </a:lnTo>
                  <a:cubicBezTo>
                    <a:pt x="37196" y="289957"/>
                    <a:pt x="37543" y="275965"/>
                    <a:pt x="37680" y="269004"/>
                  </a:cubicBezTo>
                  <a:lnTo>
                    <a:pt x="32441" y="270383"/>
                  </a:lnTo>
                  <a:cubicBezTo>
                    <a:pt x="27272" y="282996"/>
                    <a:pt x="22450" y="296023"/>
                    <a:pt x="13072" y="306223"/>
                  </a:cubicBezTo>
                  <a:cubicBezTo>
                    <a:pt x="13349" y="310152"/>
                    <a:pt x="13835" y="317872"/>
                    <a:pt x="14112" y="321800"/>
                  </a:cubicBezTo>
                  <a:cubicBezTo>
                    <a:pt x="10870" y="314356"/>
                    <a:pt x="7629" y="306981"/>
                    <a:pt x="4320" y="299538"/>
                  </a:cubicBezTo>
                  <a:lnTo>
                    <a:pt x="-436" y="288992"/>
                  </a:lnTo>
                  <a:lnTo>
                    <a:pt x="-5672" y="299124"/>
                  </a:lnTo>
                  <a:cubicBezTo>
                    <a:pt x="-4638" y="303535"/>
                    <a:pt x="-2567" y="312358"/>
                    <a:pt x="-1469" y="316769"/>
                  </a:cubicBezTo>
                  <a:lnTo>
                    <a:pt x="-1265" y="318285"/>
                  </a:lnTo>
                  <a:moveTo>
                    <a:pt x="851198" y="1153100"/>
                  </a:moveTo>
                  <a:cubicBezTo>
                    <a:pt x="873875" y="1151101"/>
                    <a:pt x="839826" y="1132905"/>
                    <a:pt x="851198" y="1153100"/>
                  </a:cubicBezTo>
                  <a:moveTo>
                    <a:pt x="8287132" y="1560307"/>
                  </a:moveTo>
                  <a:cubicBezTo>
                    <a:pt x="8309877" y="1558170"/>
                    <a:pt x="8275552" y="1540181"/>
                    <a:pt x="8287132" y="1560307"/>
                  </a:cubicBezTo>
                  <a:moveTo>
                    <a:pt x="8345166" y="1633436"/>
                  </a:moveTo>
                  <a:cubicBezTo>
                    <a:pt x="8344132" y="1643085"/>
                    <a:pt x="8342478" y="1653769"/>
                    <a:pt x="8355780" y="1654803"/>
                  </a:cubicBezTo>
                  <a:cubicBezTo>
                    <a:pt x="8356607" y="1639157"/>
                    <a:pt x="8359502" y="1614550"/>
                    <a:pt x="8336206" y="1616756"/>
                  </a:cubicBezTo>
                  <a:cubicBezTo>
                    <a:pt x="8339032" y="1622339"/>
                    <a:pt x="8342065" y="1627922"/>
                    <a:pt x="8345166" y="1633436"/>
                  </a:cubicBezTo>
                  <a:moveTo>
                    <a:pt x="2747660" y="1843656"/>
                  </a:moveTo>
                  <a:cubicBezTo>
                    <a:pt x="2757378" y="1847171"/>
                    <a:pt x="2760273" y="1844001"/>
                    <a:pt x="2756413" y="1834075"/>
                  </a:cubicBezTo>
                  <a:cubicBezTo>
                    <a:pt x="2746695" y="1830560"/>
                    <a:pt x="2743800" y="1833800"/>
                    <a:pt x="2747660" y="1843656"/>
                  </a:cubicBezTo>
                </a:path>
              </a:pathLst>
            </a:custGeom>
            <a:grpFill/>
            <a:ln w="689" cap="flat">
              <a:noFill/>
              <a:prstDash val="solid"/>
              <a:miter/>
            </a:ln>
          </p:spPr>
          <p:txBody>
            <a:bodyPr rtlCol="0" anchor="ctr"/>
            <a:lstStyle/>
            <a:p>
              <a:endParaRPr lang="en-US" sz="2400" dirty="0"/>
            </a:p>
          </p:txBody>
        </p:sp>
        <p:sp>
          <p:nvSpPr>
            <p:cNvPr id="139" name="Graphic 8">
              <a:extLst>
                <a:ext uri="{FF2B5EF4-FFF2-40B4-BE49-F238E27FC236}">
                  <a16:creationId xmlns:a16="http://schemas.microsoft.com/office/drawing/2014/main" id="{EA306F42-7444-49BD-BE1C-E4E4F703E742}"/>
                </a:ext>
              </a:extLst>
            </p:cNvPr>
            <p:cNvSpPr/>
            <p:nvPr/>
          </p:nvSpPr>
          <p:spPr>
            <a:xfrm flipV="1">
              <a:off x="1221413" y="1441420"/>
              <a:ext cx="7454815" cy="1889361"/>
            </a:xfrm>
            <a:custGeom>
              <a:avLst/>
              <a:gdLst>
                <a:gd name="connsiteX0" fmla="*/ 7440636 w 7454815"/>
                <a:gd name="connsiteY0" fmla="*/ 31270 h 1889361"/>
                <a:gd name="connsiteX1" fmla="*/ 7440636 w 7454815"/>
                <a:gd name="connsiteY1" fmla="*/ 31270 h 1889361"/>
                <a:gd name="connsiteX2" fmla="*/ 7051902 w 7454815"/>
                <a:gd name="connsiteY2" fmla="*/ 34717 h 1889361"/>
                <a:gd name="connsiteX3" fmla="*/ 7080919 w 7454815"/>
                <a:gd name="connsiteY3" fmla="*/ -3537 h 1889361"/>
                <a:gd name="connsiteX4" fmla="*/ 7051902 w 7454815"/>
                <a:gd name="connsiteY4" fmla="*/ 34717 h 1889361"/>
                <a:gd name="connsiteX5" fmla="*/ -3843 w 7454815"/>
                <a:gd name="connsiteY5" fmla="*/ 203444 h 1889361"/>
                <a:gd name="connsiteX6" fmla="*/ -3843 w 7454815"/>
                <a:gd name="connsiteY6" fmla="*/ 203444 h 1889361"/>
                <a:gd name="connsiteX7" fmla="*/ 5270200 w 7454815"/>
                <a:gd name="connsiteY7" fmla="*/ 457294 h 1889361"/>
                <a:gd name="connsiteX8" fmla="*/ 5274198 w 7454815"/>
                <a:gd name="connsiteY8" fmla="*/ 441923 h 1889361"/>
                <a:gd name="connsiteX9" fmla="*/ 5270200 w 7454815"/>
                <a:gd name="connsiteY9" fmla="*/ 457294 h 1889361"/>
                <a:gd name="connsiteX10" fmla="*/ 5117807 w 7454815"/>
                <a:gd name="connsiteY10" fmla="*/ 486724 h 1889361"/>
                <a:gd name="connsiteX11" fmla="*/ 5117807 w 7454815"/>
                <a:gd name="connsiteY11" fmla="*/ 486724 h 1889361"/>
                <a:gd name="connsiteX12" fmla="*/ 3120027 w 7454815"/>
                <a:gd name="connsiteY12" fmla="*/ 542140 h 1889361"/>
                <a:gd name="connsiteX13" fmla="*/ 3120027 w 7454815"/>
                <a:gd name="connsiteY13" fmla="*/ 542140 h 1889361"/>
                <a:gd name="connsiteX14" fmla="*/ 7051695 w 7454815"/>
                <a:gd name="connsiteY14" fmla="*/ 595832 h 1889361"/>
                <a:gd name="connsiteX15" fmla="*/ 7063136 w 7454815"/>
                <a:gd name="connsiteY15" fmla="*/ 591283 h 1889361"/>
                <a:gd name="connsiteX16" fmla="*/ 7065410 w 7454815"/>
                <a:gd name="connsiteY16" fmla="*/ 579704 h 1889361"/>
                <a:gd name="connsiteX17" fmla="*/ 7050247 w 7454815"/>
                <a:gd name="connsiteY17" fmla="*/ 591076 h 1889361"/>
                <a:gd name="connsiteX18" fmla="*/ 7051695 w 7454815"/>
                <a:gd name="connsiteY18" fmla="*/ 595832 h 1889361"/>
                <a:gd name="connsiteX19" fmla="*/ 2670983 w 7454815"/>
                <a:gd name="connsiteY19" fmla="*/ 589422 h 1889361"/>
                <a:gd name="connsiteX20" fmla="*/ 2670983 w 7454815"/>
                <a:gd name="connsiteY20" fmla="*/ 589422 h 1889361"/>
                <a:gd name="connsiteX21" fmla="*/ 1546961 w 7454815"/>
                <a:gd name="connsiteY21" fmla="*/ 1106564 h 1889361"/>
                <a:gd name="connsiteX22" fmla="*/ 1546961 w 7454815"/>
                <a:gd name="connsiteY22" fmla="*/ 1106564 h 1889361"/>
                <a:gd name="connsiteX23" fmla="*/ 3856280 w 7454815"/>
                <a:gd name="connsiteY23" fmla="*/ 1161221 h 1889361"/>
                <a:gd name="connsiteX24" fmla="*/ 3856280 w 7454815"/>
                <a:gd name="connsiteY24" fmla="*/ 1161221 h 1889361"/>
                <a:gd name="connsiteX25" fmla="*/ 1476106 w 7454815"/>
                <a:gd name="connsiteY25" fmla="*/ 1312993 h 1889361"/>
                <a:gd name="connsiteX26" fmla="*/ 1497610 w 7454815"/>
                <a:gd name="connsiteY26" fmla="*/ 1323469 h 1889361"/>
                <a:gd name="connsiteX27" fmla="*/ 1489753 w 7454815"/>
                <a:gd name="connsiteY27" fmla="*/ 1310098 h 1889361"/>
                <a:gd name="connsiteX28" fmla="*/ 1476106 w 7454815"/>
                <a:gd name="connsiteY28" fmla="*/ 1312993 h 1889361"/>
                <a:gd name="connsiteX29" fmla="*/ 4483839 w 7454815"/>
                <a:gd name="connsiteY29" fmla="*/ 1415622 h 1889361"/>
                <a:gd name="connsiteX30" fmla="*/ 4491696 w 7454815"/>
                <a:gd name="connsiteY30" fmla="*/ 1400665 h 1889361"/>
                <a:gd name="connsiteX31" fmla="*/ 4483839 w 7454815"/>
                <a:gd name="connsiteY31" fmla="*/ 1415622 h 1889361"/>
                <a:gd name="connsiteX32" fmla="*/ 397436 w 7454815"/>
                <a:gd name="connsiteY32" fmla="*/ 1600753 h 1889361"/>
                <a:gd name="connsiteX33" fmla="*/ 411221 w 7454815"/>
                <a:gd name="connsiteY33" fmla="*/ 1594688 h 1889361"/>
                <a:gd name="connsiteX34" fmla="*/ 397436 w 7454815"/>
                <a:gd name="connsiteY34" fmla="*/ 1600753 h 1889361"/>
                <a:gd name="connsiteX35" fmla="*/ 399297 w 7454815"/>
                <a:gd name="connsiteY35" fmla="*/ 1620397 h 1889361"/>
                <a:gd name="connsiteX36" fmla="*/ 489174 w 7454815"/>
                <a:gd name="connsiteY36" fmla="*/ 1626600 h 1889361"/>
                <a:gd name="connsiteX37" fmla="*/ 476561 w 7454815"/>
                <a:gd name="connsiteY37" fmla="*/ 1591173 h 1889361"/>
                <a:gd name="connsiteX38" fmla="*/ 467050 w 7454815"/>
                <a:gd name="connsiteY38" fmla="*/ 1601856 h 1889361"/>
                <a:gd name="connsiteX39" fmla="*/ 467739 w 7454815"/>
                <a:gd name="connsiteY39" fmla="*/ 1589105 h 1889361"/>
                <a:gd name="connsiteX40" fmla="*/ 439686 w 7454815"/>
                <a:gd name="connsiteY40" fmla="*/ 1603372 h 1889361"/>
                <a:gd name="connsiteX41" fmla="*/ 436929 w 7454815"/>
                <a:gd name="connsiteY41" fmla="*/ 1587795 h 1889361"/>
                <a:gd name="connsiteX42" fmla="*/ 425695 w 7454815"/>
                <a:gd name="connsiteY42" fmla="*/ 1572494 h 1889361"/>
                <a:gd name="connsiteX43" fmla="*/ 413219 w 7454815"/>
                <a:gd name="connsiteY43" fmla="*/ 1579179 h 1889361"/>
                <a:gd name="connsiteX44" fmla="*/ 346776 w 7454815"/>
                <a:gd name="connsiteY44" fmla="*/ 1571391 h 1889361"/>
                <a:gd name="connsiteX45" fmla="*/ 342158 w 7454815"/>
                <a:gd name="connsiteY45" fmla="*/ 1580972 h 1889361"/>
                <a:gd name="connsiteX46" fmla="*/ 331682 w 7454815"/>
                <a:gd name="connsiteY46" fmla="*/ 1580007 h 1889361"/>
                <a:gd name="connsiteX47" fmla="*/ 296254 w 7454815"/>
                <a:gd name="connsiteY47" fmla="*/ 1566428 h 1889361"/>
                <a:gd name="connsiteX48" fmla="*/ 275370 w 7454815"/>
                <a:gd name="connsiteY48" fmla="*/ 1589381 h 1889361"/>
                <a:gd name="connsiteX49" fmla="*/ 272613 w 7454815"/>
                <a:gd name="connsiteY49" fmla="*/ 1592344 h 1889361"/>
                <a:gd name="connsiteX50" fmla="*/ 247525 w 7454815"/>
                <a:gd name="connsiteY50" fmla="*/ 1597583 h 1889361"/>
                <a:gd name="connsiteX51" fmla="*/ 251178 w 7454815"/>
                <a:gd name="connsiteY51" fmla="*/ 1610540 h 1889361"/>
                <a:gd name="connsiteX52" fmla="*/ 301493 w 7454815"/>
                <a:gd name="connsiteY52" fmla="*/ 1616054 h 1889361"/>
                <a:gd name="connsiteX53" fmla="*/ 307007 w 7454815"/>
                <a:gd name="connsiteY53" fmla="*/ 1600891 h 1889361"/>
                <a:gd name="connsiteX54" fmla="*/ 293704 w 7454815"/>
                <a:gd name="connsiteY54" fmla="*/ 1592758 h 1889361"/>
                <a:gd name="connsiteX55" fmla="*/ 312727 w 7454815"/>
                <a:gd name="connsiteY55" fmla="*/ 1570219 h 1889361"/>
                <a:gd name="connsiteX56" fmla="*/ 315484 w 7454815"/>
                <a:gd name="connsiteY56" fmla="*/ 1590828 h 1889361"/>
                <a:gd name="connsiteX57" fmla="*/ 331682 w 7454815"/>
                <a:gd name="connsiteY57" fmla="*/ 1602201 h 1889361"/>
                <a:gd name="connsiteX58" fmla="*/ 343950 w 7454815"/>
                <a:gd name="connsiteY58" fmla="*/ 1604613 h 1889361"/>
                <a:gd name="connsiteX59" fmla="*/ 341951 w 7454815"/>
                <a:gd name="connsiteY59" fmla="*/ 1590207 h 1889361"/>
                <a:gd name="connsiteX60" fmla="*/ 358907 w 7454815"/>
                <a:gd name="connsiteY60" fmla="*/ 1610196 h 1889361"/>
                <a:gd name="connsiteX61" fmla="*/ 372071 w 7454815"/>
                <a:gd name="connsiteY61" fmla="*/ 1578697 h 1889361"/>
                <a:gd name="connsiteX62" fmla="*/ 385305 w 7454815"/>
                <a:gd name="connsiteY62" fmla="*/ 1584418 h 1889361"/>
                <a:gd name="connsiteX63" fmla="*/ 399297 w 7454815"/>
                <a:gd name="connsiteY63" fmla="*/ 1620397 h 1889361"/>
                <a:gd name="connsiteX64" fmla="*/ 2161492 w 7454815"/>
                <a:gd name="connsiteY64" fmla="*/ 1885825 h 1889361"/>
                <a:gd name="connsiteX65" fmla="*/ 2160114 w 7454815"/>
                <a:gd name="connsiteY65" fmla="*/ 1871420 h 1889361"/>
                <a:gd name="connsiteX66" fmla="*/ 2161492 w 7454815"/>
                <a:gd name="connsiteY66" fmla="*/ 1885825 h 188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7454815" h="1889361">
                  <a:moveTo>
                    <a:pt x="7440636" y="31270"/>
                  </a:moveTo>
                  <a:cubicBezTo>
                    <a:pt x="7463312" y="29892"/>
                    <a:pt x="7429884" y="10662"/>
                    <a:pt x="7440636" y="31270"/>
                  </a:cubicBezTo>
                  <a:close/>
                  <a:moveTo>
                    <a:pt x="7051902" y="34717"/>
                  </a:moveTo>
                  <a:cubicBezTo>
                    <a:pt x="7064928" y="25136"/>
                    <a:pt x="7086088" y="16796"/>
                    <a:pt x="7080919" y="-3537"/>
                  </a:cubicBezTo>
                  <a:cubicBezTo>
                    <a:pt x="7065686" y="4321"/>
                    <a:pt x="7056382" y="18588"/>
                    <a:pt x="7051902" y="34717"/>
                  </a:cubicBezTo>
                  <a:moveTo>
                    <a:pt x="-3843" y="203444"/>
                  </a:moveTo>
                  <a:cubicBezTo>
                    <a:pt x="18833" y="202066"/>
                    <a:pt x="-14803" y="182836"/>
                    <a:pt x="-3843" y="203444"/>
                  </a:cubicBezTo>
                  <a:moveTo>
                    <a:pt x="5270200" y="457294"/>
                  </a:moveTo>
                  <a:cubicBezTo>
                    <a:pt x="5279098" y="455364"/>
                    <a:pt x="5280401" y="450263"/>
                    <a:pt x="5274198" y="441923"/>
                  </a:cubicBezTo>
                  <a:cubicBezTo>
                    <a:pt x="5265099" y="443922"/>
                    <a:pt x="5263790" y="449091"/>
                    <a:pt x="5270200" y="457294"/>
                  </a:cubicBezTo>
                  <a:moveTo>
                    <a:pt x="5117807" y="486724"/>
                  </a:moveTo>
                  <a:cubicBezTo>
                    <a:pt x="5138278" y="497752"/>
                    <a:pt x="5119393" y="464048"/>
                    <a:pt x="5117807" y="486724"/>
                  </a:cubicBezTo>
                  <a:moveTo>
                    <a:pt x="3120027" y="542140"/>
                  </a:moveTo>
                  <a:cubicBezTo>
                    <a:pt x="3140911" y="552272"/>
                    <a:pt x="3120579" y="519326"/>
                    <a:pt x="3120027" y="542140"/>
                  </a:cubicBezTo>
                  <a:moveTo>
                    <a:pt x="7051695" y="595832"/>
                  </a:moveTo>
                  <a:cubicBezTo>
                    <a:pt x="7054521" y="594660"/>
                    <a:pt x="7060241" y="592455"/>
                    <a:pt x="7063136" y="591283"/>
                  </a:cubicBezTo>
                  <a:cubicBezTo>
                    <a:pt x="7063687" y="588388"/>
                    <a:pt x="7064859" y="582598"/>
                    <a:pt x="7065410" y="579704"/>
                  </a:cubicBezTo>
                  <a:cubicBezTo>
                    <a:pt x="7061620" y="582530"/>
                    <a:pt x="7054038" y="588250"/>
                    <a:pt x="7050247" y="591076"/>
                  </a:cubicBezTo>
                  <a:lnTo>
                    <a:pt x="7051695" y="595832"/>
                  </a:lnTo>
                  <a:moveTo>
                    <a:pt x="2670983" y="589422"/>
                  </a:moveTo>
                  <a:cubicBezTo>
                    <a:pt x="2693729" y="588388"/>
                    <a:pt x="2660507" y="568676"/>
                    <a:pt x="2670983" y="589422"/>
                  </a:cubicBezTo>
                  <a:moveTo>
                    <a:pt x="1546961" y="1106564"/>
                  </a:moveTo>
                  <a:cubicBezTo>
                    <a:pt x="1569706" y="1105461"/>
                    <a:pt x="1536415" y="1085817"/>
                    <a:pt x="1546961" y="1106564"/>
                  </a:cubicBezTo>
                  <a:moveTo>
                    <a:pt x="3856280" y="1161221"/>
                  </a:moveTo>
                  <a:cubicBezTo>
                    <a:pt x="3878956" y="1159980"/>
                    <a:pt x="3845597" y="1140474"/>
                    <a:pt x="3856280" y="1161221"/>
                  </a:cubicBezTo>
                  <a:moveTo>
                    <a:pt x="1476106" y="1312993"/>
                  </a:moveTo>
                  <a:cubicBezTo>
                    <a:pt x="1473349" y="1325744"/>
                    <a:pt x="1490305" y="1336289"/>
                    <a:pt x="1497610" y="1323469"/>
                  </a:cubicBezTo>
                  <a:cubicBezTo>
                    <a:pt x="1495612" y="1320092"/>
                    <a:pt x="1491683" y="1313406"/>
                    <a:pt x="1489753" y="1310098"/>
                  </a:cubicBezTo>
                  <a:cubicBezTo>
                    <a:pt x="1486307" y="1310856"/>
                    <a:pt x="1479483" y="1312235"/>
                    <a:pt x="1476106" y="1312993"/>
                  </a:cubicBezTo>
                  <a:moveTo>
                    <a:pt x="4483839" y="1415622"/>
                  </a:moveTo>
                  <a:cubicBezTo>
                    <a:pt x="4492661" y="1421756"/>
                    <a:pt x="4499071" y="1405696"/>
                    <a:pt x="4491696" y="1400665"/>
                  </a:cubicBezTo>
                  <a:cubicBezTo>
                    <a:pt x="4482529" y="1393704"/>
                    <a:pt x="4476740" y="1410521"/>
                    <a:pt x="4483839" y="1415622"/>
                  </a:cubicBezTo>
                  <a:moveTo>
                    <a:pt x="397436" y="1600753"/>
                  </a:moveTo>
                  <a:cubicBezTo>
                    <a:pt x="388338" y="1590828"/>
                    <a:pt x="406465" y="1586899"/>
                    <a:pt x="411221" y="1594688"/>
                  </a:cubicBezTo>
                  <a:cubicBezTo>
                    <a:pt x="420870" y="1603855"/>
                    <a:pt x="401847" y="1608266"/>
                    <a:pt x="397436" y="1600753"/>
                  </a:cubicBezTo>
                  <a:moveTo>
                    <a:pt x="399297" y="1620397"/>
                  </a:moveTo>
                  <a:cubicBezTo>
                    <a:pt x="429210" y="1623636"/>
                    <a:pt x="459399" y="1621844"/>
                    <a:pt x="489174" y="1626600"/>
                  </a:cubicBezTo>
                  <a:cubicBezTo>
                    <a:pt x="485039" y="1614745"/>
                    <a:pt x="480834" y="1602958"/>
                    <a:pt x="476561" y="1591173"/>
                  </a:cubicBezTo>
                  <a:cubicBezTo>
                    <a:pt x="474218" y="1593861"/>
                    <a:pt x="469462" y="1599237"/>
                    <a:pt x="467050" y="1601856"/>
                  </a:cubicBezTo>
                  <a:lnTo>
                    <a:pt x="467739" y="1589105"/>
                  </a:lnTo>
                  <a:cubicBezTo>
                    <a:pt x="457882" y="1590139"/>
                    <a:pt x="448784" y="1615434"/>
                    <a:pt x="439686" y="1603372"/>
                  </a:cubicBezTo>
                  <a:cubicBezTo>
                    <a:pt x="438997" y="1599444"/>
                    <a:pt x="437619" y="1591655"/>
                    <a:pt x="436929" y="1587795"/>
                  </a:cubicBezTo>
                  <a:cubicBezTo>
                    <a:pt x="430519" y="1584831"/>
                    <a:pt x="426798" y="1579731"/>
                    <a:pt x="425695" y="1572494"/>
                  </a:cubicBezTo>
                  <a:cubicBezTo>
                    <a:pt x="422593" y="1574148"/>
                    <a:pt x="416321" y="1577456"/>
                    <a:pt x="413219" y="1579179"/>
                  </a:cubicBezTo>
                  <a:cubicBezTo>
                    <a:pt x="393300" y="1567256"/>
                    <a:pt x="368901" y="1568910"/>
                    <a:pt x="346776" y="1571391"/>
                  </a:cubicBezTo>
                  <a:cubicBezTo>
                    <a:pt x="345673" y="1573804"/>
                    <a:pt x="343330" y="1578628"/>
                    <a:pt x="342158" y="1580972"/>
                  </a:cubicBezTo>
                  <a:cubicBezTo>
                    <a:pt x="339539" y="1580765"/>
                    <a:pt x="334301" y="1580282"/>
                    <a:pt x="331682" y="1580007"/>
                  </a:cubicBezTo>
                  <a:cubicBezTo>
                    <a:pt x="330165" y="1561811"/>
                    <a:pt x="309074" y="1566291"/>
                    <a:pt x="296254" y="1566428"/>
                  </a:cubicBezTo>
                  <a:cubicBezTo>
                    <a:pt x="288810" y="1573597"/>
                    <a:pt x="282194" y="1581592"/>
                    <a:pt x="275370" y="1589381"/>
                  </a:cubicBezTo>
                  <a:cubicBezTo>
                    <a:pt x="274681" y="1590070"/>
                    <a:pt x="273302" y="1591586"/>
                    <a:pt x="272613" y="1592344"/>
                  </a:cubicBezTo>
                  <a:cubicBezTo>
                    <a:pt x="266686" y="1603096"/>
                    <a:pt x="257656" y="1603510"/>
                    <a:pt x="247525" y="1597583"/>
                  </a:cubicBezTo>
                  <a:cubicBezTo>
                    <a:pt x="248421" y="1600822"/>
                    <a:pt x="250213" y="1607301"/>
                    <a:pt x="251178" y="1610540"/>
                  </a:cubicBezTo>
                  <a:cubicBezTo>
                    <a:pt x="268064" y="1611229"/>
                    <a:pt x="284882" y="1613091"/>
                    <a:pt x="301493" y="1616054"/>
                  </a:cubicBezTo>
                  <a:cubicBezTo>
                    <a:pt x="302871" y="1612263"/>
                    <a:pt x="305628" y="1604682"/>
                    <a:pt x="307007" y="1600891"/>
                  </a:cubicBezTo>
                  <a:cubicBezTo>
                    <a:pt x="302595" y="1598134"/>
                    <a:pt x="298184" y="1595308"/>
                    <a:pt x="293704" y="1592758"/>
                  </a:cubicBezTo>
                  <a:cubicBezTo>
                    <a:pt x="304318" y="1589312"/>
                    <a:pt x="308936" y="1579800"/>
                    <a:pt x="312727" y="1570219"/>
                  </a:cubicBezTo>
                  <a:cubicBezTo>
                    <a:pt x="313554" y="1577112"/>
                    <a:pt x="314519" y="1584004"/>
                    <a:pt x="315484" y="1590828"/>
                  </a:cubicBezTo>
                  <a:cubicBezTo>
                    <a:pt x="319551" y="1593654"/>
                    <a:pt x="327684" y="1599375"/>
                    <a:pt x="331682" y="1602201"/>
                  </a:cubicBezTo>
                  <a:lnTo>
                    <a:pt x="343950" y="1604613"/>
                  </a:lnTo>
                  <a:lnTo>
                    <a:pt x="341951" y="1590207"/>
                  </a:lnTo>
                  <a:cubicBezTo>
                    <a:pt x="347327" y="1597100"/>
                    <a:pt x="352221" y="1604544"/>
                    <a:pt x="358907" y="1610196"/>
                  </a:cubicBezTo>
                  <a:cubicBezTo>
                    <a:pt x="376689" y="1608266"/>
                    <a:pt x="372898" y="1590483"/>
                    <a:pt x="372071" y="1578697"/>
                  </a:cubicBezTo>
                  <a:cubicBezTo>
                    <a:pt x="376414" y="1580696"/>
                    <a:pt x="380894" y="1582557"/>
                    <a:pt x="385305" y="1584418"/>
                  </a:cubicBezTo>
                  <a:cubicBezTo>
                    <a:pt x="360561" y="1592964"/>
                    <a:pt x="391370" y="1610540"/>
                    <a:pt x="399297" y="1620397"/>
                  </a:cubicBezTo>
                  <a:moveTo>
                    <a:pt x="2161492" y="1885825"/>
                  </a:moveTo>
                  <a:cubicBezTo>
                    <a:pt x="2169901" y="1881069"/>
                    <a:pt x="2169419" y="1876314"/>
                    <a:pt x="2160114" y="1871420"/>
                  </a:cubicBezTo>
                  <a:cubicBezTo>
                    <a:pt x="2151705" y="1876176"/>
                    <a:pt x="2152188" y="1881001"/>
                    <a:pt x="2161492" y="1885825"/>
                  </a:cubicBezTo>
                </a:path>
              </a:pathLst>
            </a:custGeom>
            <a:grpFill/>
            <a:ln w="689" cap="flat">
              <a:noFill/>
              <a:prstDash val="solid"/>
              <a:miter/>
            </a:ln>
          </p:spPr>
          <p:txBody>
            <a:bodyPr rtlCol="0" anchor="ctr"/>
            <a:lstStyle/>
            <a:p>
              <a:endParaRPr lang="en-US" sz="2400" dirty="0"/>
            </a:p>
          </p:txBody>
        </p:sp>
        <p:sp>
          <p:nvSpPr>
            <p:cNvPr id="140" name="Graphic 8">
              <a:extLst>
                <a:ext uri="{FF2B5EF4-FFF2-40B4-BE49-F238E27FC236}">
                  <a16:creationId xmlns:a16="http://schemas.microsoft.com/office/drawing/2014/main" id="{180A5B26-B203-455D-8115-2F1AED7DC313}"/>
                </a:ext>
              </a:extLst>
            </p:cNvPr>
            <p:cNvSpPr/>
            <p:nvPr/>
          </p:nvSpPr>
          <p:spPr>
            <a:xfrm flipV="1">
              <a:off x="1093615" y="1441972"/>
              <a:ext cx="7795473" cy="2297946"/>
            </a:xfrm>
            <a:custGeom>
              <a:avLst/>
              <a:gdLst>
                <a:gd name="connsiteX0" fmla="*/ 794400 w 7795473"/>
                <a:gd name="connsiteY0" fmla="*/ -305 h 2297946"/>
                <a:gd name="connsiteX1" fmla="*/ 794400 w 7795473"/>
                <a:gd name="connsiteY1" fmla="*/ -305 h 2297946"/>
                <a:gd name="connsiteX2" fmla="*/ -6160 w 7795473"/>
                <a:gd name="connsiteY2" fmla="*/ 5692 h 2297946"/>
                <a:gd name="connsiteX3" fmla="*/ -6160 w 7795473"/>
                <a:gd name="connsiteY3" fmla="*/ 5692 h 2297946"/>
                <a:gd name="connsiteX4" fmla="*/ 1056589 w 7795473"/>
                <a:gd name="connsiteY4" fmla="*/ 88953 h 2297946"/>
                <a:gd name="connsiteX5" fmla="*/ 1060794 w 7795473"/>
                <a:gd name="connsiteY5" fmla="*/ 41739 h 2297946"/>
                <a:gd name="connsiteX6" fmla="*/ 1051144 w 7795473"/>
                <a:gd name="connsiteY6" fmla="*/ 37535 h 2297946"/>
                <a:gd name="connsiteX7" fmla="*/ 1056589 w 7795473"/>
                <a:gd name="connsiteY7" fmla="*/ 88953 h 2297946"/>
                <a:gd name="connsiteX8" fmla="*/ 387262 w 7795473"/>
                <a:gd name="connsiteY8" fmla="*/ 543166 h 2297946"/>
                <a:gd name="connsiteX9" fmla="*/ 387193 w 7795473"/>
                <a:gd name="connsiteY9" fmla="*/ 520559 h 2297946"/>
                <a:gd name="connsiteX10" fmla="*/ 387262 w 7795473"/>
                <a:gd name="connsiteY10" fmla="*/ 543166 h 2297946"/>
                <a:gd name="connsiteX11" fmla="*/ 6025021 w 7795473"/>
                <a:gd name="connsiteY11" fmla="*/ 826584 h 2297946"/>
                <a:gd name="connsiteX12" fmla="*/ 6025021 w 7795473"/>
                <a:gd name="connsiteY12" fmla="*/ 826584 h 2297946"/>
                <a:gd name="connsiteX13" fmla="*/ 7286065 w 7795473"/>
                <a:gd name="connsiteY13" fmla="*/ 936243 h 2297946"/>
                <a:gd name="connsiteX14" fmla="*/ 7286065 w 7795473"/>
                <a:gd name="connsiteY14" fmla="*/ 936243 h 2297946"/>
                <a:gd name="connsiteX15" fmla="*/ 7781289 w 7795473"/>
                <a:gd name="connsiteY15" fmla="*/ 949821 h 2297946"/>
                <a:gd name="connsiteX16" fmla="*/ 7781289 w 7795473"/>
                <a:gd name="connsiteY16" fmla="*/ 949821 h 2297946"/>
                <a:gd name="connsiteX17" fmla="*/ 7244297 w 7795473"/>
                <a:gd name="connsiteY17" fmla="*/ 1344070 h 2297946"/>
                <a:gd name="connsiteX18" fmla="*/ 7245331 w 7795473"/>
                <a:gd name="connsiteY18" fmla="*/ 1326218 h 2297946"/>
                <a:gd name="connsiteX19" fmla="*/ 7244297 w 7795473"/>
                <a:gd name="connsiteY19" fmla="*/ 1344070 h 2297946"/>
                <a:gd name="connsiteX20" fmla="*/ 282704 w 7795473"/>
                <a:gd name="connsiteY20" fmla="*/ 1350273 h 2297946"/>
                <a:gd name="connsiteX21" fmla="*/ 292077 w 7795473"/>
                <a:gd name="connsiteY21" fmla="*/ 1341313 h 2297946"/>
                <a:gd name="connsiteX22" fmla="*/ 282704 w 7795473"/>
                <a:gd name="connsiteY22" fmla="*/ 1350273 h 2297946"/>
                <a:gd name="connsiteX23" fmla="*/ 654897 w 7795473"/>
                <a:gd name="connsiteY23" fmla="*/ 1508386 h 2297946"/>
                <a:gd name="connsiteX24" fmla="*/ 654897 w 7795473"/>
                <a:gd name="connsiteY24" fmla="*/ 1508386 h 2297946"/>
                <a:gd name="connsiteX25" fmla="*/ 3631200 w 7795473"/>
                <a:gd name="connsiteY25" fmla="*/ 2205008 h 2297946"/>
                <a:gd name="connsiteX26" fmla="*/ 3631200 w 7795473"/>
                <a:gd name="connsiteY26" fmla="*/ 2205008 h 2297946"/>
                <a:gd name="connsiteX27" fmla="*/ 2640753 w 7795473"/>
                <a:gd name="connsiteY27" fmla="*/ 2294747 h 2297946"/>
                <a:gd name="connsiteX28" fmla="*/ 2640753 w 7795473"/>
                <a:gd name="connsiteY28" fmla="*/ 2294747 h 2297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795473" h="2297946">
                  <a:moveTo>
                    <a:pt x="794400" y="-305"/>
                  </a:moveTo>
                  <a:cubicBezTo>
                    <a:pt x="797708" y="-4165"/>
                    <a:pt x="797708" y="-4165"/>
                    <a:pt x="794400" y="-305"/>
                  </a:cubicBezTo>
                  <a:close/>
                  <a:moveTo>
                    <a:pt x="-6160" y="5692"/>
                  </a:moveTo>
                  <a:cubicBezTo>
                    <a:pt x="-2507" y="2176"/>
                    <a:pt x="-2507" y="2176"/>
                    <a:pt x="-6160" y="5692"/>
                  </a:cubicBezTo>
                  <a:moveTo>
                    <a:pt x="1056589" y="88953"/>
                  </a:moveTo>
                  <a:cubicBezTo>
                    <a:pt x="1065274" y="74272"/>
                    <a:pt x="1065825" y="57799"/>
                    <a:pt x="1060794" y="41739"/>
                  </a:cubicBezTo>
                  <a:lnTo>
                    <a:pt x="1051144" y="37535"/>
                  </a:lnTo>
                  <a:cubicBezTo>
                    <a:pt x="1042667" y="54766"/>
                    <a:pt x="1049628" y="72617"/>
                    <a:pt x="1056589" y="88953"/>
                  </a:cubicBezTo>
                  <a:moveTo>
                    <a:pt x="387262" y="543166"/>
                  </a:moveTo>
                  <a:cubicBezTo>
                    <a:pt x="397463" y="544406"/>
                    <a:pt x="397256" y="520007"/>
                    <a:pt x="387193" y="520559"/>
                  </a:cubicBezTo>
                  <a:cubicBezTo>
                    <a:pt x="382162" y="528071"/>
                    <a:pt x="382231" y="535653"/>
                    <a:pt x="387262" y="543166"/>
                  </a:cubicBezTo>
                  <a:moveTo>
                    <a:pt x="6025021" y="826584"/>
                  </a:moveTo>
                  <a:cubicBezTo>
                    <a:pt x="6028398" y="822862"/>
                    <a:pt x="6028398" y="822862"/>
                    <a:pt x="6025021" y="826584"/>
                  </a:cubicBezTo>
                  <a:moveTo>
                    <a:pt x="7286065" y="936243"/>
                  </a:moveTo>
                  <a:cubicBezTo>
                    <a:pt x="7289305" y="932383"/>
                    <a:pt x="7289305" y="932383"/>
                    <a:pt x="7286065" y="936243"/>
                  </a:cubicBezTo>
                  <a:moveTo>
                    <a:pt x="7781289" y="949821"/>
                  </a:moveTo>
                  <a:cubicBezTo>
                    <a:pt x="7803827" y="948511"/>
                    <a:pt x="7770606" y="929075"/>
                    <a:pt x="7781289" y="949821"/>
                  </a:cubicBezTo>
                  <a:moveTo>
                    <a:pt x="7244297" y="1344070"/>
                  </a:moveTo>
                  <a:cubicBezTo>
                    <a:pt x="7253671" y="1344001"/>
                    <a:pt x="7255187" y="1326632"/>
                    <a:pt x="7245331" y="1326218"/>
                  </a:cubicBezTo>
                  <a:cubicBezTo>
                    <a:pt x="7236509" y="1327321"/>
                    <a:pt x="7234372" y="1343174"/>
                    <a:pt x="7244297" y="1344070"/>
                  </a:cubicBezTo>
                  <a:moveTo>
                    <a:pt x="282704" y="1350273"/>
                  </a:moveTo>
                  <a:cubicBezTo>
                    <a:pt x="292284" y="1354271"/>
                    <a:pt x="295455" y="1351238"/>
                    <a:pt x="292077" y="1341313"/>
                  </a:cubicBezTo>
                  <a:cubicBezTo>
                    <a:pt x="282497" y="1337246"/>
                    <a:pt x="279395" y="1340279"/>
                    <a:pt x="282704" y="1350273"/>
                  </a:cubicBezTo>
                  <a:moveTo>
                    <a:pt x="654897" y="1508386"/>
                  </a:moveTo>
                  <a:cubicBezTo>
                    <a:pt x="677504" y="1506939"/>
                    <a:pt x="644144" y="1487709"/>
                    <a:pt x="654897" y="1508386"/>
                  </a:cubicBezTo>
                  <a:moveTo>
                    <a:pt x="3631200" y="2205008"/>
                  </a:moveTo>
                  <a:cubicBezTo>
                    <a:pt x="3654083" y="2204525"/>
                    <a:pt x="3621137" y="2183986"/>
                    <a:pt x="3631200" y="2205008"/>
                  </a:cubicBezTo>
                  <a:moveTo>
                    <a:pt x="2640753" y="2294747"/>
                  </a:moveTo>
                  <a:cubicBezTo>
                    <a:pt x="2644268" y="2291025"/>
                    <a:pt x="2644268" y="2291025"/>
                    <a:pt x="2640753" y="2294747"/>
                  </a:cubicBezTo>
                </a:path>
              </a:pathLst>
            </a:custGeom>
            <a:grpFill/>
            <a:ln w="689" cap="flat">
              <a:noFill/>
              <a:prstDash val="solid"/>
              <a:miter/>
            </a:ln>
          </p:spPr>
          <p:txBody>
            <a:bodyPr rtlCol="0" anchor="ctr"/>
            <a:lstStyle/>
            <a:p>
              <a:endParaRPr lang="en-US" sz="2400" dirty="0"/>
            </a:p>
          </p:txBody>
        </p:sp>
        <p:sp>
          <p:nvSpPr>
            <p:cNvPr id="141" name="Graphic 8">
              <a:extLst>
                <a:ext uri="{FF2B5EF4-FFF2-40B4-BE49-F238E27FC236}">
                  <a16:creationId xmlns:a16="http://schemas.microsoft.com/office/drawing/2014/main" id="{A2F0E02F-F40D-4440-8881-710198A7186D}"/>
                </a:ext>
              </a:extLst>
            </p:cNvPr>
            <p:cNvSpPr/>
            <p:nvPr/>
          </p:nvSpPr>
          <p:spPr>
            <a:xfrm flipV="1">
              <a:off x="1211749" y="1433218"/>
              <a:ext cx="4754836" cy="2381007"/>
            </a:xfrm>
            <a:custGeom>
              <a:avLst/>
              <a:gdLst>
                <a:gd name="connsiteX0" fmla="*/ 124564 w 4754836"/>
                <a:gd name="connsiteY0" fmla="*/ 39456 h 2381007"/>
                <a:gd name="connsiteX1" fmla="*/ 124564 w 4754836"/>
                <a:gd name="connsiteY1" fmla="*/ 39456 h 2381007"/>
                <a:gd name="connsiteX2" fmla="*/ 146689 w 4754836"/>
                <a:gd name="connsiteY2" fmla="*/ 12093 h 2381007"/>
                <a:gd name="connsiteX3" fmla="*/ 161715 w 4754836"/>
                <a:gd name="connsiteY3" fmla="*/ 23052 h 2381007"/>
                <a:gd name="connsiteX4" fmla="*/ 153444 w 4754836"/>
                <a:gd name="connsiteY4" fmla="*/ 53861 h 2381007"/>
                <a:gd name="connsiteX5" fmla="*/ 146689 w 4754836"/>
                <a:gd name="connsiteY5" fmla="*/ 12093 h 2381007"/>
                <a:gd name="connsiteX6" fmla="*/ 62601 w 4754836"/>
                <a:gd name="connsiteY6" fmla="*/ 47451 h 2381007"/>
                <a:gd name="connsiteX7" fmla="*/ 62601 w 4754836"/>
                <a:gd name="connsiteY7" fmla="*/ 47451 h 2381007"/>
                <a:gd name="connsiteX8" fmla="*/ 43233 w 4754836"/>
                <a:gd name="connsiteY8" fmla="*/ 55102 h 2381007"/>
                <a:gd name="connsiteX9" fmla="*/ 61636 w 4754836"/>
                <a:gd name="connsiteY9" fmla="*/ 65785 h 2381007"/>
                <a:gd name="connsiteX10" fmla="*/ 43233 w 4754836"/>
                <a:gd name="connsiteY10" fmla="*/ 55102 h 2381007"/>
                <a:gd name="connsiteX11" fmla="*/ 7117 w 4754836"/>
                <a:gd name="connsiteY11" fmla="*/ 66061 h 2381007"/>
                <a:gd name="connsiteX12" fmla="*/ 7117 w 4754836"/>
                <a:gd name="connsiteY12" fmla="*/ 66061 h 2381007"/>
                <a:gd name="connsiteX13" fmla="*/ 41717 w 4754836"/>
                <a:gd name="connsiteY13" fmla="*/ 87221 h 2381007"/>
                <a:gd name="connsiteX14" fmla="*/ 41717 w 4754836"/>
                <a:gd name="connsiteY14" fmla="*/ 87221 h 2381007"/>
                <a:gd name="connsiteX15" fmla="*/ 70872 w 4754836"/>
                <a:gd name="connsiteY15" fmla="*/ 103900 h 2381007"/>
                <a:gd name="connsiteX16" fmla="*/ 80453 w 4754836"/>
                <a:gd name="connsiteY16" fmla="*/ 67164 h 2381007"/>
                <a:gd name="connsiteX17" fmla="*/ 77075 w 4754836"/>
                <a:gd name="connsiteY17" fmla="*/ 94940 h 2381007"/>
                <a:gd name="connsiteX18" fmla="*/ 89275 w 4754836"/>
                <a:gd name="connsiteY18" fmla="*/ 92873 h 2381007"/>
                <a:gd name="connsiteX19" fmla="*/ 70872 w 4754836"/>
                <a:gd name="connsiteY19" fmla="*/ 103900 h 2381007"/>
                <a:gd name="connsiteX20" fmla="*/ 13251 w 4754836"/>
                <a:gd name="connsiteY20" fmla="*/ 118788 h 2381007"/>
                <a:gd name="connsiteX21" fmla="*/ 83554 w 4754836"/>
                <a:gd name="connsiteY21" fmla="*/ 123544 h 2381007"/>
                <a:gd name="connsiteX22" fmla="*/ 116983 w 4754836"/>
                <a:gd name="connsiteY22" fmla="*/ 99834 h 2381007"/>
                <a:gd name="connsiteX23" fmla="*/ 88517 w 4754836"/>
                <a:gd name="connsiteY23" fmla="*/ 123475 h 2381007"/>
                <a:gd name="connsiteX24" fmla="*/ 116707 w 4754836"/>
                <a:gd name="connsiteY24" fmla="*/ 119684 h 2381007"/>
                <a:gd name="connsiteX25" fmla="*/ 149377 w 4754836"/>
                <a:gd name="connsiteY25" fmla="*/ 116789 h 2381007"/>
                <a:gd name="connsiteX26" fmla="*/ 132077 w 4754836"/>
                <a:gd name="connsiteY26" fmla="*/ 88048 h 2381007"/>
                <a:gd name="connsiteX27" fmla="*/ 144070 w 4754836"/>
                <a:gd name="connsiteY27" fmla="*/ 82672 h 2381007"/>
                <a:gd name="connsiteX28" fmla="*/ 117396 w 4754836"/>
                <a:gd name="connsiteY28" fmla="*/ 67439 h 2381007"/>
                <a:gd name="connsiteX29" fmla="*/ 104576 w 4754836"/>
                <a:gd name="connsiteY29" fmla="*/ 91012 h 2381007"/>
                <a:gd name="connsiteX30" fmla="*/ 107471 w 4754836"/>
                <a:gd name="connsiteY30" fmla="*/ 65165 h 2381007"/>
                <a:gd name="connsiteX31" fmla="*/ 86449 w 4754836"/>
                <a:gd name="connsiteY31" fmla="*/ 56274 h 2381007"/>
                <a:gd name="connsiteX32" fmla="*/ 98511 w 4754836"/>
                <a:gd name="connsiteY32" fmla="*/ 29117 h 2381007"/>
                <a:gd name="connsiteX33" fmla="*/ 116431 w 4754836"/>
                <a:gd name="connsiteY33" fmla="*/ 55929 h 2381007"/>
                <a:gd name="connsiteX34" fmla="*/ 156477 w 4754836"/>
                <a:gd name="connsiteY34" fmla="*/ 59720 h 2381007"/>
                <a:gd name="connsiteX35" fmla="*/ 173639 w 4754836"/>
                <a:gd name="connsiteY35" fmla="*/ 24499 h 2381007"/>
                <a:gd name="connsiteX36" fmla="*/ 218784 w 4754836"/>
                <a:gd name="connsiteY36" fmla="*/ 18158 h 2381007"/>
                <a:gd name="connsiteX37" fmla="*/ 215407 w 4754836"/>
                <a:gd name="connsiteY37" fmla="*/ 36699 h 2381007"/>
                <a:gd name="connsiteX38" fmla="*/ 223678 w 4754836"/>
                <a:gd name="connsiteY38" fmla="*/ 20708 h 2381007"/>
                <a:gd name="connsiteX39" fmla="*/ 227193 w 4754836"/>
                <a:gd name="connsiteY39" fmla="*/ 13747 h 2381007"/>
                <a:gd name="connsiteX40" fmla="*/ 112847 w 4754836"/>
                <a:gd name="connsiteY40" fmla="*/ 927 h 2381007"/>
                <a:gd name="connsiteX41" fmla="*/ 108091 w 4754836"/>
                <a:gd name="connsiteY41" fmla="*/ 20226 h 2381007"/>
                <a:gd name="connsiteX42" fmla="*/ 108781 w 4754836"/>
                <a:gd name="connsiteY42" fmla="*/ -1554 h 2381007"/>
                <a:gd name="connsiteX43" fmla="*/ 97408 w 4754836"/>
                <a:gd name="connsiteY43" fmla="*/ 3477 h 2381007"/>
                <a:gd name="connsiteX44" fmla="*/ 92583 w 4754836"/>
                <a:gd name="connsiteY44" fmla="*/ 19537 h 2381007"/>
                <a:gd name="connsiteX45" fmla="*/ 91412 w 4754836"/>
                <a:gd name="connsiteY45" fmla="*/ 307 h 2381007"/>
                <a:gd name="connsiteX46" fmla="*/ 10701 w 4754836"/>
                <a:gd name="connsiteY46" fmla="*/ -2864 h 2381007"/>
                <a:gd name="connsiteX47" fmla="*/ 16215 w 4754836"/>
                <a:gd name="connsiteY47" fmla="*/ 6648 h 2381007"/>
                <a:gd name="connsiteX48" fmla="*/ 21867 w 4754836"/>
                <a:gd name="connsiteY48" fmla="*/ 14781 h 2381007"/>
                <a:gd name="connsiteX49" fmla="*/ 23383 w 4754836"/>
                <a:gd name="connsiteY49" fmla="*/ 16987 h 2381007"/>
                <a:gd name="connsiteX50" fmla="*/ 20006 w 4754836"/>
                <a:gd name="connsiteY50" fmla="*/ 27325 h 2381007"/>
                <a:gd name="connsiteX51" fmla="*/ 49023 w 4754836"/>
                <a:gd name="connsiteY51" fmla="*/ 36285 h 2381007"/>
                <a:gd name="connsiteX52" fmla="*/ 33308 w 4754836"/>
                <a:gd name="connsiteY52" fmla="*/ 42764 h 2381007"/>
                <a:gd name="connsiteX53" fmla="*/ 25175 w 4754836"/>
                <a:gd name="connsiteY53" fmla="*/ 68887 h 2381007"/>
                <a:gd name="connsiteX54" fmla="*/ 16697 w 4754836"/>
                <a:gd name="connsiteY54" fmla="*/ 40421 h 2381007"/>
                <a:gd name="connsiteX55" fmla="*/ -1774 w 4754836"/>
                <a:gd name="connsiteY55" fmla="*/ 53654 h 2381007"/>
                <a:gd name="connsiteX56" fmla="*/ -3635 w 4754836"/>
                <a:gd name="connsiteY56" fmla="*/ 73160 h 2381007"/>
                <a:gd name="connsiteX57" fmla="*/ 7048 w 4754836"/>
                <a:gd name="connsiteY57" fmla="*/ 120098 h 2381007"/>
                <a:gd name="connsiteX58" fmla="*/ 9805 w 4754836"/>
                <a:gd name="connsiteY58" fmla="*/ 94320 h 2381007"/>
                <a:gd name="connsiteX59" fmla="*/ 13251 w 4754836"/>
                <a:gd name="connsiteY59" fmla="*/ 118788 h 2381007"/>
                <a:gd name="connsiteX60" fmla="*/ 4716943 w 4754836"/>
                <a:gd name="connsiteY60" fmla="*/ 2347949 h 2381007"/>
                <a:gd name="connsiteX61" fmla="*/ 4716943 w 4754836"/>
                <a:gd name="connsiteY61" fmla="*/ 2347949 h 2381007"/>
                <a:gd name="connsiteX62" fmla="*/ 4641195 w 4754836"/>
                <a:gd name="connsiteY62" fmla="*/ 2354841 h 2381007"/>
                <a:gd name="connsiteX63" fmla="*/ 4652775 w 4754836"/>
                <a:gd name="connsiteY63" fmla="*/ 2343882 h 2381007"/>
                <a:gd name="connsiteX64" fmla="*/ 4641195 w 4754836"/>
                <a:gd name="connsiteY64" fmla="*/ 2354841 h 2381007"/>
                <a:gd name="connsiteX65" fmla="*/ 4628237 w 4754836"/>
                <a:gd name="connsiteY65" fmla="*/ 2368695 h 2381007"/>
                <a:gd name="connsiteX66" fmla="*/ 4660218 w 4754836"/>
                <a:gd name="connsiteY66" fmla="*/ 2353531 h 2381007"/>
                <a:gd name="connsiteX67" fmla="*/ 4678690 w 4754836"/>
                <a:gd name="connsiteY67" fmla="*/ 2367385 h 2381007"/>
                <a:gd name="connsiteX68" fmla="*/ 4702056 w 4754836"/>
                <a:gd name="connsiteY68" fmla="*/ 2358011 h 2381007"/>
                <a:gd name="connsiteX69" fmla="*/ 4713773 w 4754836"/>
                <a:gd name="connsiteY69" fmla="*/ 2377862 h 2381007"/>
                <a:gd name="connsiteX70" fmla="*/ 4716047 w 4754836"/>
                <a:gd name="connsiteY70" fmla="*/ 2358011 h 2381007"/>
                <a:gd name="connsiteX71" fmla="*/ 4731073 w 4754836"/>
                <a:gd name="connsiteY71" fmla="*/ 2376897 h 2381007"/>
                <a:gd name="connsiteX72" fmla="*/ 4742307 w 4754836"/>
                <a:gd name="connsiteY72" fmla="*/ 2367110 h 2381007"/>
                <a:gd name="connsiteX73" fmla="*/ 4750440 w 4754836"/>
                <a:gd name="connsiteY73" fmla="*/ 2359872 h 2381007"/>
                <a:gd name="connsiteX74" fmla="*/ 4732658 w 4754836"/>
                <a:gd name="connsiteY74" fmla="*/ 2344778 h 2381007"/>
                <a:gd name="connsiteX75" fmla="*/ 4724525 w 4754836"/>
                <a:gd name="connsiteY75" fmla="*/ 2326168 h 2381007"/>
                <a:gd name="connsiteX76" fmla="*/ 4654843 w 4754836"/>
                <a:gd name="connsiteY76" fmla="*/ 2326995 h 2381007"/>
                <a:gd name="connsiteX77" fmla="*/ 4627962 w 4754836"/>
                <a:gd name="connsiteY77" fmla="*/ 2340712 h 2381007"/>
                <a:gd name="connsiteX78" fmla="*/ 4627962 w 4754836"/>
                <a:gd name="connsiteY78" fmla="*/ 2352429 h 2381007"/>
                <a:gd name="connsiteX79" fmla="*/ 4628237 w 4754836"/>
                <a:gd name="connsiteY79" fmla="*/ 2368695 h 238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754836" h="2381007">
                  <a:moveTo>
                    <a:pt x="124564" y="39456"/>
                  </a:moveTo>
                  <a:cubicBezTo>
                    <a:pt x="114157" y="18710"/>
                    <a:pt x="147310" y="38560"/>
                    <a:pt x="124564" y="39456"/>
                  </a:cubicBezTo>
                  <a:close/>
                  <a:moveTo>
                    <a:pt x="146689" y="12093"/>
                  </a:moveTo>
                  <a:cubicBezTo>
                    <a:pt x="151652" y="15815"/>
                    <a:pt x="156683" y="19399"/>
                    <a:pt x="161715" y="23052"/>
                  </a:cubicBezTo>
                  <a:cubicBezTo>
                    <a:pt x="159647" y="30772"/>
                    <a:pt x="155512" y="46142"/>
                    <a:pt x="153444" y="53861"/>
                  </a:cubicBezTo>
                  <a:cubicBezTo>
                    <a:pt x="148757" y="40421"/>
                    <a:pt x="147861" y="26222"/>
                    <a:pt x="146689" y="12093"/>
                  </a:cubicBezTo>
                  <a:moveTo>
                    <a:pt x="62601" y="47451"/>
                  </a:moveTo>
                  <a:cubicBezTo>
                    <a:pt x="52194" y="26567"/>
                    <a:pt x="85277" y="46693"/>
                    <a:pt x="62601" y="47451"/>
                  </a:cubicBezTo>
                  <a:moveTo>
                    <a:pt x="43233" y="55102"/>
                  </a:moveTo>
                  <a:cubicBezTo>
                    <a:pt x="47920" y="41799"/>
                    <a:pt x="68529" y="55378"/>
                    <a:pt x="61636" y="65785"/>
                  </a:cubicBezTo>
                  <a:cubicBezTo>
                    <a:pt x="54606" y="68680"/>
                    <a:pt x="43923" y="62959"/>
                    <a:pt x="43233" y="55102"/>
                  </a:cubicBezTo>
                  <a:moveTo>
                    <a:pt x="7117" y="66061"/>
                  </a:moveTo>
                  <a:cubicBezTo>
                    <a:pt x="-2946" y="45728"/>
                    <a:pt x="30413" y="64407"/>
                    <a:pt x="7117" y="66061"/>
                  </a:cubicBezTo>
                  <a:moveTo>
                    <a:pt x="41717" y="87221"/>
                  </a:moveTo>
                  <a:cubicBezTo>
                    <a:pt x="31034" y="66337"/>
                    <a:pt x="64324" y="86049"/>
                    <a:pt x="41717" y="87221"/>
                  </a:cubicBezTo>
                  <a:moveTo>
                    <a:pt x="70872" y="103900"/>
                  </a:moveTo>
                  <a:cubicBezTo>
                    <a:pt x="73767" y="91632"/>
                    <a:pt x="76800" y="79363"/>
                    <a:pt x="80453" y="67164"/>
                  </a:cubicBezTo>
                  <a:cubicBezTo>
                    <a:pt x="79488" y="76537"/>
                    <a:pt x="78385" y="85773"/>
                    <a:pt x="77075" y="94940"/>
                  </a:cubicBezTo>
                  <a:lnTo>
                    <a:pt x="89275" y="92873"/>
                  </a:lnTo>
                  <a:cubicBezTo>
                    <a:pt x="83141" y="96663"/>
                    <a:pt x="77006" y="100385"/>
                    <a:pt x="70872" y="103900"/>
                  </a:cubicBezTo>
                  <a:moveTo>
                    <a:pt x="13251" y="118788"/>
                  </a:moveTo>
                  <a:cubicBezTo>
                    <a:pt x="36686" y="120718"/>
                    <a:pt x="60120" y="122303"/>
                    <a:pt x="83554" y="123544"/>
                  </a:cubicBezTo>
                  <a:cubicBezTo>
                    <a:pt x="85829" y="107485"/>
                    <a:pt x="101199" y="96801"/>
                    <a:pt x="116983" y="99834"/>
                  </a:cubicBezTo>
                  <a:cubicBezTo>
                    <a:pt x="107058" y="107209"/>
                    <a:pt x="95409" y="112792"/>
                    <a:pt x="88517" y="123475"/>
                  </a:cubicBezTo>
                  <a:cubicBezTo>
                    <a:pt x="95547" y="122510"/>
                    <a:pt x="109677" y="120649"/>
                    <a:pt x="116707" y="119684"/>
                  </a:cubicBezTo>
                  <a:cubicBezTo>
                    <a:pt x="127115" y="130505"/>
                    <a:pt x="140555" y="127128"/>
                    <a:pt x="149377" y="116789"/>
                  </a:cubicBezTo>
                  <a:cubicBezTo>
                    <a:pt x="143657" y="107278"/>
                    <a:pt x="137936" y="97628"/>
                    <a:pt x="132077" y="88048"/>
                  </a:cubicBezTo>
                  <a:cubicBezTo>
                    <a:pt x="135110" y="86738"/>
                    <a:pt x="141106" y="83981"/>
                    <a:pt x="144070" y="82672"/>
                  </a:cubicBezTo>
                  <a:cubicBezTo>
                    <a:pt x="135179" y="77640"/>
                    <a:pt x="126288" y="72540"/>
                    <a:pt x="117396" y="67439"/>
                  </a:cubicBezTo>
                  <a:cubicBezTo>
                    <a:pt x="113123" y="75366"/>
                    <a:pt x="108919" y="83223"/>
                    <a:pt x="104576" y="91012"/>
                  </a:cubicBezTo>
                  <a:cubicBezTo>
                    <a:pt x="105334" y="84602"/>
                    <a:pt x="106713" y="71644"/>
                    <a:pt x="107471" y="65165"/>
                  </a:cubicBezTo>
                  <a:cubicBezTo>
                    <a:pt x="100441" y="62339"/>
                    <a:pt x="93479" y="59237"/>
                    <a:pt x="86449" y="56274"/>
                  </a:cubicBezTo>
                  <a:cubicBezTo>
                    <a:pt x="90516" y="47313"/>
                    <a:pt x="94582" y="38284"/>
                    <a:pt x="98511" y="29117"/>
                  </a:cubicBezTo>
                  <a:cubicBezTo>
                    <a:pt x="104094" y="38353"/>
                    <a:pt x="110090" y="47313"/>
                    <a:pt x="116431" y="55929"/>
                  </a:cubicBezTo>
                  <a:cubicBezTo>
                    <a:pt x="129803" y="56963"/>
                    <a:pt x="143105" y="58203"/>
                    <a:pt x="156477" y="59720"/>
                  </a:cubicBezTo>
                  <a:cubicBezTo>
                    <a:pt x="166195" y="50001"/>
                    <a:pt x="177567" y="40007"/>
                    <a:pt x="173639" y="24499"/>
                  </a:cubicBezTo>
                  <a:cubicBezTo>
                    <a:pt x="187768" y="17124"/>
                    <a:pt x="203070" y="14230"/>
                    <a:pt x="218784" y="18158"/>
                  </a:cubicBezTo>
                  <a:cubicBezTo>
                    <a:pt x="217888" y="22776"/>
                    <a:pt x="216234" y="32081"/>
                    <a:pt x="215407" y="36699"/>
                  </a:cubicBezTo>
                  <a:cubicBezTo>
                    <a:pt x="218095" y="31392"/>
                    <a:pt x="220852" y="26085"/>
                    <a:pt x="223678" y="20708"/>
                  </a:cubicBezTo>
                  <a:lnTo>
                    <a:pt x="227193" y="13747"/>
                  </a:lnTo>
                  <a:cubicBezTo>
                    <a:pt x="189974" y="4511"/>
                    <a:pt x="150825" y="5959"/>
                    <a:pt x="112847" y="927"/>
                  </a:cubicBezTo>
                  <a:cubicBezTo>
                    <a:pt x="111607" y="5752"/>
                    <a:pt x="109263" y="15401"/>
                    <a:pt x="108091" y="20226"/>
                  </a:cubicBezTo>
                  <a:cubicBezTo>
                    <a:pt x="108229" y="14781"/>
                    <a:pt x="108574" y="3891"/>
                    <a:pt x="108781" y="-1554"/>
                  </a:cubicBezTo>
                  <a:lnTo>
                    <a:pt x="97408" y="3477"/>
                  </a:lnTo>
                  <a:cubicBezTo>
                    <a:pt x="96236" y="7475"/>
                    <a:pt x="93755" y="15539"/>
                    <a:pt x="92583" y="19537"/>
                  </a:cubicBezTo>
                  <a:cubicBezTo>
                    <a:pt x="92170" y="13196"/>
                    <a:pt x="91756" y="6786"/>
                    <a:pt x="91412" y="307"/>
                  </a:cubicBezTo>
                  <a:cubicBezTo>
                    <a:pt x="64531" y="-1278"/>
                    <a:pt x="37650" y="-4035"/>
                    <a:pt x="10701" y="-2864"/>
                  </a:cubicBezTo>
                  <a:lnTo>
                    <a:pt x="16215" y="6648"/>
                  </a:lnTo>
                  <a:cubicBezTo>
                    <a:pt x="17593" y="8647"/>
                    <a:pt x="20488" y="12713"/>
                    <a:pt x="21867" y="14781"/>
                  </a:cubicBezTo>
                  <a:cubicBezTo>
                    <a:pt x="22280" y="15332"/>
                    <a:pt x="23038" y="16435"/>
                    <a:pt x="23383" y="16987"/>
                  </a:cubicBezTo>
                  <a:cubicBezTo>
                    <a:pt x="22556" y="19537"/>
                    <a:pt x="20833" y="24706"/>
                    <a:pt x="20006" y="27325"/>
                  </a:cubicBezTo>
                  <a:cubicBezTo>
                    <a:pt x="20833" y="44074"/>
                    <a:pt x="38547" y="35389"/>
                    <a:pt x="49023" y="36285"/>
                  </a:cubicBezTo>
                  <a:cubicBezTo>
                    <a:pt x="45094" y="37940"/>
                    <a:pt x="37237" y="41110"/>
                    <a:pt x="33308" y="42764"/>
                  </a:cubicBezTo>
                  <a:cubicBezTo>
                    <a:pt x="30482" y="51449"/>
                    <a:pt x="27794" y="60271"/>
                    <a:pt x="25175" y="68887"/>
                  </a:cubicBezTo>
                  <a:cubicBezTo>
                    <a:pt x="22418" y="59375"/>
                    <a:pt x="19523" y="50001"/>
                    <a:pt x="16697" y="40421"/>
                  </a:cubicBezTo>
                  <a:cubicBezTo>
                    <a:pt x="12079" y="43729"/>
                    <a:pt x="2844" y="50346"/>
                    <a:pt x="-1774" y="53654"/>
                  </a:cubicBezTo>
                  <a:cubicBezTo>
                    <a:pt x="-2395" y="60202"/>
                    <a:pt x="-3015" y="66750"/>
                    <a:pt x="-3635" y="73160"/>
                  </a:cubicBezTo>
                  <a:cubicBezTo>
                    <a:pt x="983" y="88186"/>
                    <a:pt x="-13629" y="116858"/>
                    <a:pt x="7048" y="120098"/>
                  </a:cubicBezTo>
                  <a:cubicBezTo>
                    <a:pt x="7737" y="113619"/>
                    <a:pt x="9116" y="100730"/>
                    <a:pt x="9805" y="94320"/>
                  </a:cubicBezTo>
                  <a:cubicBezTo>
                    <a:pt x="11114" y="102453"/>
                    <a:pt x="12286" y="110655"/>
                    <a:pt x="13251" y="118788"/>
                  </a:cubicBezTo>
                  <a:moveTo>
                    <a:pt x="4716943" y="2347949"/>
                  </a:moveTo>
                  <a:cubicBezTo>
                    <a:pt x="4720390" y="2344226"/>
                    <a:pt x="4720390" y="2344226"/>
                    <a:pt x="4716943" y="2347949"/>
                  </a:cubicBezTo>
                  <a:moveTo>
                    <a:pt x="4641195" y="2354841"/>
                  </a:moveTo>
                  <a:cubicBezTo>
                    <a:pt x="4637473" y="2343882"/>
                    <a:pt x="4641402" y="2340229"/>
                    <a:pt x="4652775" y="2343882"/>
                  </a:cubicBezTo>
                  <a:cubicBezTo>
                    <a:pt x="4656496" y="2355117"/>
                    <a:pt x="4652567" y="2358770"/>
                    <a:pt x="4641195" y="2354841"/>
                  </a:cubicBezTo>
                  <a:moveTo>
                    <a:pt x="4628237" y="2368695"/>
                  </a:moveTo>
                  <a:cubicBezTo>
                    <a:pt x="4641058" y="2366489"/>
                    <a:pt x="4670006" y="2378482"/>
                    <a:pt x="4660218" y="2353531"/>
                  </a:cubicBezTo>
                  <a:cubicBezTo>
                    <a:pt x="4666284" y="2358149"/>
                    <a:pt x="4672418" y="2362767"/>
                    <a:pt x="4678690" y="2367385"/>
                  </a:cubicBezTo>
                  <a:cubicBezTo>
                    <a:pt x="4685376" y="2362009"/>
                    <a:pt x="4693578" y="2359459"/>
                    <a:pt x="4702056" y="2358011"/>
                  </a:cubicBezTo>
                  <a:cubicBezTo>
                    <a:pt x="4704950" y="2362974"/>
                    <a:pt x="4710878" y="2372899"/>
                    <a:pt x="4713773" y="2377862"/>
                  </a:cubicBezTo>
                  <a:cubicBezTo>
                    <a:pt x="4714324" y="2372899"/>
                    <a:pt x="4715496" y="2362974"/>
                    <a:pt x="4716047" y="2358011"/>
                  </a:cubicBezTo>
                  <a:cubicBezTo>
                    <a:pt x="4720390" y="2364835"/>
                    <a:pt x="4725283" y="2371176"/>
                    <a:pt x="4731073" y="2376897"/>
                  </a:cubicBezTo>
                  <a:lnTo>
                    <a:pt x="4742307" y="2367110"/>
                  </a:lnTo>
                  <a:cubicBezTo>
                    <a:pt x="4744307" y="2365317"/>
                    <a:pt x="4748442" y="2361734"/>
                    <a:pt x="4750440" y="2359872"/>
                  </a:cubicBezTo>
                  <a:cubicBezTo>
                    <a:pt x="4744513" y="2354841"/>
                    <a:pt x="4738517" y="2349809"/>
                    <a:pt x="4732658" y="2344778"/>
                  </a:cubicBezTo>
                  <a:cubicBezTo>
                    <a:pt x="4729832" y="2338575"/>
                    <a:pt x="4727144" y="2332441"/>
                    <a:pt x="4724525" y="2326168"/>
                  </a:cubicBezTo>
                  <a:cubicBezTo>
                    <a:pt x="4701297" y="2324721"/>
                    <a:pt x="4677863" y="2322722"/>
                    <a:pt x="4654843" y="2326995"/>
                  </a:cubicBezTo>
                  <a:cubicBezTo>
                    <a:pt x="4640782" y="2315830"/>
                    <a:pt x="4626928" y="2322446"/>
                    <a:pt x="4627962" y="2340712"/>
                  </a:cubicBezTo>
                  <a:cubicBezTo>
                    <a:pt x="4627962" y="2343675"/>
                    <a:pt x="4627962" y="2349534"/>
                    <a:pt x="4627962" y="2352429"/>
                  </a:cubicBezTo>
                  <a:cubicBezTo>
                    <a:pt x="4628031" y="2356495"/>
                    <a:pt x="4628169" y="2364628"/>
                    <a:pt x="4628237" y="2368695"/>
                  </a:cubicBezTo>
                </a:path>
              </a:pathLst>
            </a:custGeom>
            <a:grpFill/>
            <a:ln w="689" cap="flat">
              <a:noFill/>
              <a:prstDash val="solid"/>
              <a:miter/>
            </a:ln>
          </p:spPr>
          <p:txBody>
            <a:bodyPr rtlCol="0" anchor="ctr"/>
            <a:lstStyle/>
            <a:p>
              <a:endParaRPr lang="en-US" sz="2400" dirty="0"/>
            </a:p>
          </p:txBody>
        </p:sp>
        <p:sp>
          <p:nvSpPr>
            <p:cNvPr id="142" name="Graphic 8">
              <a:extLst>
                <a:ext uri="{FF2B5EF4-FFF2-40B4-BE49-F238E27FC236}">
                  <a16:creationId xmlns:a16="http://schemas.microsoft.com/office/drawing/2014/main" id="{78F6597D-F31E-4804-A15A-08F9F6EE464C}"/>
                </a:ext>
              </a:extLst>
            </p:cNvPr>
            <p:cNvSpPr/>
            <p:nvPr/>
          </p:nvSpPr>
          <p:spPr>
            <a:xfrm flipV="1">
              <a:off x="3217114" y="1446934"/>
              <a:ext cx="57276" cy="82502"/>
            </a:xfrm>
            <a:custGeom>
              <a:avLst/>
              <a:gdLst>
                <a:gd name="connsiteX0" fmla="*/ 15886 w 57276"/>
                <a:gd name="connsiteY0" fmla="*/ 35928 h 82502"/>
                <a:gd name="connsiteX1" fmla="*/ 26913 w 57276"/>
                <a:gd name="connsiteY1" fmla="*/ 22350 h 82502"/>
                <a:gd name="connsiteX2" fmla="*/ 15886 w 57276"/>
                <a:gd name="connsiteY2" fmla="*/ 35928 h 82502"/>
                <a:gd name="connsiteX3" fmla="*/ -2104 w 57276"/>
                <a:gd name="connsiteY3" fmla="*/ 75835 h 82502"/>
                <a:gd name="connsiteX4" fmla="*/ 5616 w 57276"/>
                <a:gd name="connsiteY4" fmla="*/ 56881 h 82502"/>
                <a:gd name="connsiteX5" fmla="*/ 31325 w 57276"/>
                <a:gd name="connsiteY5" fmla="*/ 65152 h 82502"/>
                <a:gd name="connsiteX6" fmla="*/ 48625 w 57276"/>
                <a:gd name="connsiteY6" fmla="*/ 62809 h 82502"/>
                <a:gd name="connsiteX7" fmla="*/ 53312 w 57276"/>
                <a:gd name="connsiteY7" fmla="*/ 77490 h 82502"/>
                <a:gd name="connsiteX8" fmla="*/ 52898 w 57276"/>
                <a:gd name="connsiteY8" fmla="*/ 51505 h 82502"/>
                <a:gd name="connsiteX9" fmla="*/ 47867 w 57276"/>
                <a:gd name="connsiteY9" fmla="*/ 55847 h 82502"/>
                <a:gd name="connsiteX10" fmla="*/ 31187 w 57276"/>
                <a:gd name="connsiteY10" fmla="*/ 38685 h 82502"/>
                <a:gd name="connsiteX11" fmla="*/ 37184 w 57276"/>
                <a:gd name="connsiteY11" fmla="*/ -4186 h 82502"/>
                <a:gd name="connsiteX12" fmla="*/ 2652 w 57276"/>
                <a:gd name="connsiteY12" fmla="*/ -5013 h 82502"/>
                <a:gd name="connsiteX13" fmla="*/ -3965 w 57276"/>
                <a:gd name="connsiteY13" fmla="*/ 45716 h 82502"/>
                <a:gd name="connsiteX14" fmla="*/ -2104 w 57276"/>
                <a:gd name="connsiteY14" fmla="*/ 75835 h 82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276" h="82502">
                  <a:moveTo>
                    <a:pt x="15886" y="35928"/>
                  </a:moveTo>
                  <a:cubicBezTo>
                    <a:pt x="12302" y="24556"/>
                    <a:pt x="15955" y="20007"/>
                    <a:pt x="26913" y="22350"/>
                  </a:cubicBezTo>
                  <a:cubicBezTo>
                    <a:pt x="30222" y="33929"/>
                    <a:pt x="26500" y="38479"/>
                    <a:pt x="15886" y="35928"/>
                  </a:cubicBezTo>
                  <a:close/>
                  <a:moveTo>
                    <a:pt x="-2104" y="75835"/>
                  </a:moveTo>
                  <a:cubicBezTo>
                    <a:pt x="446" y="69564"/>
                    <a:pt x="2997" y="63222"/>
                    <a:pt x="5616" y="56881"/>
                  </a:cubicBezTo>
                  <a:cubicBezTo>
                    <a:pt x="14300" y="59225"/>
                    <a:pt x="22847" y="61982"/>
                    <a:pt x="31325" y="65152"/>
                  </a:cubicBezTo>
                  <a:cubicBezTo>
                    <a:pt x="36908" y="63222"/>
                    <a:pt x="42697" y="62464"/>
                    <a:pt x="48625" y="62809"/>
                  </a:cubicBezTo>
                  <a:cubicBezTo>
                    <a:pt x="49797" y="66462"/>
                    <a:pt x="52140" y="73837"/>
                    <a:pt x="53312" y="77490"/>
                  </a:cubicBezTo>
                  <a:cubicBezTo>
                    <a:pt x="52967" y="68874"/>
                    <a:pt x="52829" y="60190"/>
                    <a:pt x="52898" y="51505"/>
                  </a:cubicBezTo>
                  <a:cubicBezTo>
                    <a:pt x="51658" y="52608"/>
                    <a:pt x="49107" y="54745"/>
                    <a:pt x="47867" y="55847"/>
                  </a:cubicBezTo>
                  <a:cubicBezTo>
                    <a:pt x="40354" y="52470"/>
                    <a:pt x="36632" y="44406"/>
                    <a:pt x="31187" y="38685"/>
                  </a:cubicBezTo>
                  <a:cubicBezTo>
                    <a:pt x="31394" y="24211"/>
                    <a:pt x="32359" y="9668"/>
                    <a:pt x="37184" y="-4186"/>
                  </a:cubicBezTo>
                  <a:cubicBezTo>
                    <a:pt x="25673" y="-2394"/>
                    <a:pt x="14094" y="-3703"/>
                    <a:pt x="2652" y="-5013"/>
                  </a:cubicBezTo>
                  <a:cubicBezTo>
                    <a:pt x="7063" y="11598"/>
                    <a:pt x="12922" y="34205"/>
                    <a:pt x="-3965" y="45716"/>
                  </a:cubicBezTo>
                  <a:cubicBezTo>
                    <a:pt x="-3482" y="55779"/>
                    <a:pt x="-2793" y="65841"/>
                    <a:pt x="-2104" y="75835"/>
                  </a:cubicBezTo>
                </a:path>
              </a:pathLst>
            </a:custGeom>
            <a:grpFill/>
            <a:ln w="689" cap="flat">
              <a:noFill/>
              <a:prstDash val="solid"/>
              <a:miter/>
            </a:ln>
          </p:spPr>
          <p:txBody>
            <a:bodyPr rtlCol="0" anchor="ctr"/>
            <a:lstStyle/>
            <a:p>
              <a:endParaRPr lang="en-US" sz="2400" dirty="0"/>
            </a:p>
          </p:txBody>
        </p:sp>
        <p:sp>
          <p:nvSpPr>
            <p:cNvPr id="143" name="Graphic 8">
              <a:extLst>
                <a:ext uri="{FF2B5EF4-FFF2-40B4-BE49-F238E27FC236}">
                  <a16:creationId xmlns:a16="http://schemas.microsoft.com/office/drawing/2014/main" id="{5017482B-B12F-487A-B464-14B13DBA9080}"/>
                </a:ext>
              </a:extLst>
            </p:cNvPr>
            <p:cNvSpPr/>
            <p:nvPr/>
          </p:nvSpPr>
          <p:spPr>
            <a:xfrm flipV="1">
              <a:off x="579850" y="1443488"/>
              <a:ext cx="8137172" cy="2172210"/>
            </a:xfrm>
            <a:custGeom>
              <a:avLst/>
              <a:gdLst>
                <a:gd name="connsiteX0" fmla="*/ 349717 w 8137172"/>
                <a:gd name="connsiteY0" fmla="*/ 10190 h 2172210"/>
                <a:gd name="connsiteX1" fmla="*/ 366327 w 8137172"/>
                <a:gd name="connsiteY1" fmla="*/ 334 h 2172210"/>
                <a:gd name="connsiteX2" fmla="*/ 349717 w 8137172"/>
                <a:gd name="connsiteY2" fmla="*/ 10190 h 2172210"/>
                <a:gd name="connsiteX3" fmla="*/ 8092295 w 8137172"/>
                <a:gd name="connsiteY3" fmla="*/ 526849 h 2172210"/>
                <a:gd name="connsiteX4" fmla="*/ 8131444 w 8137172"/>
                <a:gd name="connsiteY4" fmla="*/ 553109 h 2172210"/>
                <a:gd name="connsiteX5" fmla="*/ 8089745 w 8137172"/>
                <a:gd name="connsiteY5" fmla="*/ 509342 h 2172210"/>
                <a:gd name="connsiteX6" fmla="*/ 8092295 w 8137172"/>
                <a:gd name="connsiteY6" fmla="*/ 526849 h 2172210"/>
                <a:gd name="connsiteX7" fmla="*/ 1363115 w 8137172"/>
                <a:gd name="connsiteY7" fmla="*/ 668351 h 2172210"/>
                <a:gd name="connsiteX8" fmla="*/ 1366079 w 8137172"/>
                <a:gd name="connsiteY8" fmla="*/ 635819 h 2172210"/>
                <a:gd name="connsiteX9" fmla="*/ 1350433 w 8137172"/>
                <a:gd name="connsiteY9" fmla="*/ 653395 h 2172210"/>
                <a:gd name="connsiteX10" fmla="*/ 1363115 w 8137172"/>
                <a:gd name="connsiteY10" fmla="*/ 668351 h 2172210"/>
                <a:gd name="connsiteX11" fmla="*/ -5039 w 8137172"/>
                <a:gd name="connsiteY11" fmla="*/ 1016765 h 2172210"/>
                <a:gd name="connsiteX12" fmla="*/ 16950 w 8137172"/>
                <a:gd name="connsiteY12" fmla="*/ 1010976 h 2172210"/>
                <a:gd name="connsiteX13" fmla="*/ 1853 w 8137172"/>
                <a:gd name="connsiteY13" fmla="*/ 995054 h 2172210"/>
                <a:gd name="connsiteX14" fmla="*/ 17292 w 8137172"/>
                <a:gd name="connsiteY14" fmla="*/ 999879 h 2172210"/>
                <a:gd name="connsiteX15" fmla="*/ 17566 w 8137172"/>
                <a:gd name="connsiteY15" fmla="*/ 983544 h 2172210"/>
                <a:gd name="connsiteX16" fmla="*/ 17429 w 8137172"/>
                <a:gd name="connsiteY16" fmla="*/ 976100 h 2172210"/>
                <a:gd name="connsiteX17" fmla="*/ 48582 w 8137172"/>
                <a:gd name="connsiteY17" fmla="*/ 974790 h 2172210"/>
                <a:gd name="connsiteX18" fmla="*/ 49622 w 8137172"/>
                <a:gd name="connsiteY18" fmla="*/ 943981 h 2172210"/>
                <a:gd name="connsiteX19" fmla="*/ 36593 w 8137172"/>
                <a:gd name="connsiteY19" fmla="*/ 950115 h 2172210"/>
                <a:gd name="connsiteX20" fmla="*/ 31836 w 8137172"/>
                <a:gd name="connsiteY20" fmla="*/ 960040 h 2172210"/>
                <a:gd name="connsiteX21" fmla="*/ 41006 w 8137172"/>
                <a:gd name="connsiteY21" fmla="*/ 917100 h 2172210"/>
                <a:gd name="connsiteX22" fmla="*/ 30667 w 8137172"/>
                <a:gd name="connsiteY22" fmla="*/ 922477 h 2172210"/>
                <a:gd name="connsiteX23" fmla="*/ 19566 w 8137172"/>
                <a:gd name="connsiteY23" fmla="*/ 928749 h 2172210"/>
                <a:gd name="connsiteX24" fmla="*/ 27426 w 8137172"/>
                <a:gd name="connsiteY24" fmla="*/ 965417 h 2172210"/>
                <a:gd name="connsiteX25" fmla="*/ 12470 w 8137172"/>
                <a:gd name="connsiteY25" fmla="*/ 953286 h 2172210"/>
                <a:gd name="connsiteX26" fmla="*/ 4543 w 8137172"/>
                <a:gd name="connsiteY26" fmla="*/ 984509 h 2172210"/>
                <a:gd name="connsiteX27" fmla="*/ -696 w 8137172"/>
                <a:gd name="connsiteY27" fmla="*/ 989954 h 2172210"/>
                <a:gd name="connsiteX28" fmla="*/ -5039 w 8137172"/>
                <a:gd name="connsiteY28" fmla="*/ 1016765 h 2172210"/>
                <a:gd name="connsiteX29" fmla="*/ 15019 w 8137172"/>
                <a:gd name="connsiteY29" fmla="*/ 1166470 h 2172210"/>
                <a:gd name="connsiteX30" fmla="*/ 34937 w 8137172"/>
                <a:gd name="connsiteY30" fmla="*/ 1163713 h 2172210"/>
                <a:gd name="connsiteX31" fmla="*/ 23912 w 8137172"/>
                <a:gd name="connsiteY31" fmla="*/ 1113605 h 2172210"/>
                <a:gd name="connsiteX32" fmla="*/ 28667 w 8137172"/>
                <a:gd name="connsiteY32" fmla="*/ 1097752 h 2172210"/>
                <a:gd name="connsiteX33" fmla="*/ -5728 w 8137172"/>
                <a:gd name="connsiteY33" fmla="*/ 1106367 h 2172210"/>
                <a:gd name="connsiteX34" fmla="*/ 17224 w 8137172"/>
                <a:gd name="connsiteY34" fmla="*/ 1105265 h 2172210"/>
                <a:gd name="connsiteX35" fmla="*/ 32800 w 8137172"/>
                <a:gd name="connsiteY35" fmla="*/ 1134282 h 2172210"/>
                <a:gd name="connsiteX36" fmla="*/ 15364 w 8137172"/>
                <a:gd name="connsiteY36" fmla="*/ 1147722 h 2172210"/>
                <a:gd name="connsiteX37" fmla="*/ 15019 w 8137172"/>
                <a:gd name="connsiteY37" fmla="*/ 1166470 h 2172210"/>
                <a:gd name="connsiteX38" fmla="*/ 361158 w 8137172"/>
                <a:gd name="connsiteY38" fmla="*/ 1858404 h 2172210"/>
                <a:gd name="connsiteX39" fmla="*/ 377493 w 8137172"/>
                <a:gd name="connsiteY39" fmla="*/ 1847721 h 2172210"/>
                <a:gd name="connsiteX40" fmla="*/ 361158 w 8137172"/>
                <a:gd name="connsiteY40" fmla="*/ 1858404 h 2172210"/>
                <a:gd name="connsiteX41" fmla="*/ 8043565 w 8137172"/>
                <a:gd name="connsiteY41" fmla="*/ 1776590 h 2172210"/>
                <a:gd name="connsiteX42" fmla="*/ 8045633 w 8137172"/>
                <a:gd name="connsiteY42" fmla="*/ 1753914 h 2172210"/>
                <a:gd name="connsiteX43" fmla="*/ 8043565 w 8137172"/>
                <a:gd name="connsiteY43" fmla="*/ 1776590 h 2172210"/>
                <a:gd name="connsiteX44" fmla="*/ 8026610 w 8137172"/>
                <a:gd name="connsiteY44" fmla="*/ 1840001 h 2172210"/>
                <a:gd name="connsiteX45" fmla="*/ 8026610 w 8137172"/>
                <a:gd name="connsiteY45" fmla="*/ 1840001 h 2172210"/>
                <a:gd name="connsiteX46" fmla="*/ 8027023 w 8137172"/>
                <a:gd name="connsiteY46" fmla="*/ 1872051 h 2172210"/>
                <a:gd name="connsiteX47" fmla="*/ 8031297 w 8137172"/>
                <a:gd name="connsiteY47" fmla="*/ 1856129 h 2172210"/>
                <a:gd name="connsiteX48" fmla="*/ 8027023 w 8137172"/>
                <a:gd name="connsiteY48" fmla="*/ 1872051 h 2172210"/>
                <a:gd name="connsiteX49" fmla="*/ 8015927 w 8137172"/>
                <a:gd name="connsiteY49" fmla="*/ 1936013 h 2172210"/>
                <a:gd name="connsiteX50" fmla="*/ 8027644 w 8137172"/>
                <a:gd name="connsiteY50" fmla="*/ 1934910 h 2172210"/>
                <a:gd name="connsiteX51" fmla="*/ 8027782 w 8137172"/>
                <a:gd name="connsiteY51" fmla="*/ 1928776 h 2172210"/>
                <a:gd name="connsiteX52" fmla="*/ 8035088 w 8137172"/>
                <a:gd name="connsiteY52" fmla="*/ 1895485 h 2172210"/>
                <a:gd name="connsiteX53" fmla="*/ 8034192 w 8137172"/>
                <a:gd name="connsiteY53" fmla="*/ 1912992 h 2172210"/>
                <a:gd name="connsiteX54" fmla="*/ 8069343 w 8137172"/>
                <a:gd name="connsiteY54" fmla="*/ 1906996 h 2172210"/>
                <a:gd name="connsiteX55" fmla="*/ 8063416 w 8137172"/>
                <a:gd name="connsiteY55" fmla="*/ 1896313 h 2172210"/>
                <a:gd name="connsiteX56" fmla="*/ 8054801 w 8137172"/>
                <a:gd name="connsiteY56" fmla="*/ 1892935 h 2172210"/>
                <a:gd name="connsiteX57" fmla="*/ 8065621 w 8137172"/>
                <a:gd name="connsiteY57" fmla="*/ 1891074 h 2172210"/>
                <a:gd name="connsiteX58" fmla="*/ 8065829 w 8137172"/>
                <a:gd name="connsiteY58" fmla="*/ 1839656 h 2172210"/>
                <a:gd name="connsiteX59" fmla="*/ 8072307 w 8137172"/>
                <a:gd name="connsiteY59" fmla="*/ 1790237 h 2172210"/>
                <a:gd name="connsiteX60" fmla="*/ 8059143 w 8137172"/>
                <a:gd name="connsiteY60" fmla="*/ 1819324 h 2172210"/>
                <a:gd name="connsiteX61" fmla="*/ 8056730 w 8137172"/>
                <a:gd name="connsiteY61" fmla="*/ 1819944 h 2172210"/>
                <a:gd name="connsiteX62" fmla="*/ 8040671 w 8137172"/>
                <a:gd name="connsiteY62" fmla="*/ 1794511 h 2172210"/>
                <a:gd name="connsiteX63" fmla="*/ 8072100 w 8137172"/>
                <a:gd name="connsiteY63" fmla="*/ 1788928 h 2172210"/>
                <a:gd name="connsiteX64" fmla="*/ 8068516 w 8137172"/>
                <a:gd name="connsiteY64" fmla="*/ 1738751 h 2172210"/>
                <a:gd name="connsiteX65" fmla="*/ 8066449 w 8137172"/>
                <a:gd name="connsiteY65" fmla="*/ 1758463 h 2172210"/>
                <a:gd name="connsiteX66" fmla="*/ 8062038 w 8137172"/>
                <a:gd name="connsiteY66" fmla="*/ 1757774 h 2172210"/>
                <a:gd name="connsiteX67" fmla="*/ 8062864 w 8137172"/>
                <a:gd name="connsiteY67" fmla="*/ 1733099 h 2172210"/>
                <a:gd name="connsiteX68" fmla="*/ 8055765 w 8137172"/>
                <a:gd name="connsiteY68" fmla="*/ 1729032 h 2172210"/>
                <a:gd name="connsiteX69" fmla="*/ 8033503 w 8137172"/>
                <a:gd name="connsiteY69" fmla="*/ 1742335 h 2172210"/>
                <a:gd name="connsiteX70" fmla="*/ 8034950 w 8137172"/>
                <a:gd name="connsiteY70" fmla="*/ 1720141 h 2172210"/>
                <a:gd name="connsiteX71" fmla="*/ 8030056 w 8137172"/>
                <a:gd name="connsiteY71" fmla="*/ 1686713 h 2172210"/>
                <a:gd name="connsiteX72" fmla="*/ 8023026 w 8137172"/>
                <a:gd name="connsiteY72" fmla="*/ 1779416 h 2172210"/>
                <a:gd name="connsiteX73" fmla="*/ 8015927 w 8137172"/>
                <a:gd name="connsiteY73" fmla="*/ 1936013 h 2172210"/>
                <a:gd name="connsiteX74" fmla="*/ 3092779 w 8137172"/>
                <a:gd name="connsiteY74" fmla="*/ 2022582 h 2172210"/>
                <a:gd name="connsiteX75" fmla="*/ 3117385 w 8137172"/>
                <a:gd name="connsiteY75" fmla="*/ 2023754 h 2172210"/>
                <a:gd name="connsiteX76" fmla="*/ 3092779 w 8137172"/>
                <a:gd name="connsiteY76" fmla="*/ 2022582 h 2172210"/>
                <a:gd name="connsiteX77" fmla="*/ 3029575 w 8137172"/>
                <a:gd name="connsiteY77" fmla="*/ 2031060 h 2172210"/>
                <a:gd name="connsiteX78" fmla="*/ 3148884 w 8137172"/>
                <a:gd name="connsiteY78" fmla="*/ 2037539 h 2172210"/>
                <a:gd name="connsiteX79" fmla="*/ 3143783 w 8137172"/>
                <a:gd name="connsiteY79" fmla="*/ 2031474 h 2172210"/>
                <a:gd name="connsiteX80" fmla="*/ 3116144 w 8137172"/>
                <a:gd name="connsiteY80" fmla="*/ 1991980 h 2172210"/>
                <a:gd name="connsiteX81" fmla="*/ 3101877 w 8137172"/>
                <a:gd name="connsiteY81" fmla="*/ 1995702 h 2172210"/>
                <a:gd name="connsiteX82" fmla="*/ 3095674 w 8137172"/>
                <a:gd name="connsiteY82" fmla="*/ 1987086 h 2172210"/>
                <a:gd name="connsiteX83" fmla="*/ 3047151 w 8137172"/>
                <a:gd name="connsiteY83" fmla="*/ 1989154 h 2172210"/>
                <a:gd name="connsiteX84" fmla="*/ 3017238 w 8137172"/>
                <a:gd name="connsiteY84" fmla="*/ 1980883 h 2172210"/>
                <a:gd name="connsiteX85" fmla="*/ 3029575 w 8137172"/>
                <a:gd name="connsiteY85" fmla="*/ 2031060 h 2172210"/>
                <a:gd name="connsiteX86" fmla="*/ 4993031 w 8137172"/>
                <a:gd name="connsiteY86" fmla="*/ 2155331 h 2172210"/>
                <a:gd name="connsiteX87" fmla="*/ 5005782 w 8137172"/>
                <a:gd name="connsiteY87" fmla="*/ 2139410 h 2172210"/>
                <a:gd name="connsiteX88" fmla="*/ 5029078 w 8137172"/>
                <a:gd name="connsiteY88" fmla="*/ 2156503 h 2172210"/>
                <a:gd name="connsiteX89" fmla="*/ 5032663 w 8137172"/>
                <a:gd name="connsiteY89" fmla="*/ 2125073 h 2172210"/>
                <a:gd name="connsiteX90" fmla="*/ 5026597 w 8137172"/>
                <a:gd name="connsiteY90" fmla="*/ 2120386 h 2172210"/>
                <a:gd name="connsiteX91" fmla="*/ 5014811 w 8137172"/>
                <a:gd name="connsiteY91" fmla="*/ 2119215 h 2172210"/>
                <a:gd name="connsiteX92" fmla="*/ 5011709 w 8137172"/>
                <a:gd name="connsiteY92" fmla="*/ 2138514 h 2172210"/>
                <a:gd name="connsiteX93" fmla="*/ 5001440 w 8137172"/>
                <a:gd name="connsiteY93" fmla="*/ 2124729 h 2172210"/>
                <a:gd name="connsiteX94" fmla="*/ 4993031 w 8137172"/>
                <a:gd name="connsiteY94" fmla="*/ 2155331 h 2172210"/>
                <a:gd name="connsiteX95" fmla="*/ 5682828 w 8137172"/>
                <a:gd name="connsiteY95" fmla="*/ 2163740 h 2172210"/>
                <a:gd name="connsiteX96" fmla="*/ 5682828 w 8137172"/>
                <a:gd name="connsiteY96" fmla="*/ 2163740 h 2172210"/>
                <a:gd name="connsiteX97" fmla="*/ 5161000 w 8137172"/>
                <a:gd name="connsiteY97" fmla="*/ 2128795 h 2172210"/>
                <a:gd name="connsiteX98" fmla="*/ 5161000 w 8137172"/>
                <a:gd name="connsiteY98" fmla="*/ 2128795 h 2172210"/>
                <a:gd name="connsiteX99" fmla="*/ 5119163 w 8137172"/>
                <a:gd name="connsiteY99" fmla="*/ 2135826 h 2172210"/>
                <a:gd name="connsiteX100" fmla="*/ 5119163 w 8137172"/>
                <a:gd name="connsiteY100" fmla="*/ 2135826 h 2172210"/>
                <a:gd name="connsiteX101" fmla="*/ 5096763 w 8137172"/>
                <a:gd name="connsiteY101" fmla="*/ 2141753 h 2172210"/>
                <a:gd name="connsiteX102" fmla="*/ 5096763 w 8137172"/>
                <a:gd name="connsiteY102" fmla="*/ 2141753 h 2172210"/>
                <a:gd name="connsiteX103" fmla="*/ 5173337 w 8137172"/>
                <a:gd name="connsiteY103" fmla="*/ 2148852 h 2172210"/>
                <a:gd name="connsiteX104" fmla="*/ 5173337 w 8137172"/>
                <a:gd name="connsiteY104" fmla="*/ 2148852 h 2172210"/>
                <a:gd name="connsiteX105" fmla="*/ 5139082 w 8137172"/>
                <a:gd name="connsiteY105" fmla="*/ 2147267 h 2172210"/>
                <a:gd name="connsiteX106" fmla="*/ 5156382 w 8137172"/>
                <a:gd name="connsiteY106" fmla="*/ 2138720 h 2172210"/>
                <a:gd name="connsiteX107" fmla="*/ 5139082 w 8137172"/>
                <a:gd name="connsiteY107" fmla="*/ 2147267 h 2172210"/>
                <a:gd name="connsiteX108" fmla="*/ 5084563 w 8137172"/>
                <a:gd name="connsiteY108" fmla="*/ 2157813 h 2172210"/>
                <a:gd name="connsiteX109" fmla="*/ 5236748 w 8137172"/>
                <a:gd name="connsiteY109" fmla="*/ 2168910 h 2172210"/>
                <a:gd name="connsiteX110" fmla="*/ 5258529 w 8137172"/>
                <a:gd name="connsiteY110" fmla="*/ 2153746 h 2172210"/>
                <a:gd name="connsiteX111" fmla="*/ 5258529 w 8137172"/>
                <a:gd name="connsiteY111" fmla="*/ 2142029 h 2172210"/>
                <a:gd name="connsiteX112" fmla="*/ 5258391 w 8137172"/>
                <a:gd name="connsiteY112" fmla="*/ 2121420 h 2172210"/>
                <a:gd name="connsiteX113" fmla="*/ 5225031 w 8137172"/>
                <a:gd name="connsiteY113" fmla="*/ 2120042 h 2172210"/>
                <a:gd name="connsiteX114" fmla="*/ 5214692 w 8137172"/>
                <a:gd name="connsiteY114" fmla="*/ 2129554 h 2172210"/>
                <a:gd name="connsiteX115" fmla="*/ 5172510 w 8137172"/>
                <a:gd name="connsiteY115" fmla="*/ 2117905 h 2172210"/>
                <a:gd name="connsiteX116" fmla="*/ 5109451 w 8137172"/>
                <a:gd name="connsiteY116" fmla="*/ 2112460 h 2172210"/>
                <a:gd name="connsiteX117" fmla="*/ 5095246 w 8137172"/>
                <a:gd name="connsiteY117" fmla="*/ 2113218 h 2172210"/>
                <a:gd name="connsiteX118" fmla="*/ 5074638 w 8137172"/>
                <a:gd name="connsiteY118" fmla="*/ 2110737 h 2172210"/>
                <a:gd name="connsiteX119" fmla="*/ 5079118 w 8137172"/>
                <a:gd name="connsiteY119" fmla="*/ 2137893 h 2172210"/>
                <a:gd name="connsiteX120" fmla="*/ 5084563 w 8137172"/>
                <a:gd name="connsiteY120" fmla="*/ 2157813 h 2172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8137172" h="2172210">
                  <a:moveTo>
                    <a:pt x="349717" y="10190"/>
                  </a:moveTo>
                  <a:cubicBezTo>
                    <a:pt x="355989" y="17083"/>
                    <a:pt x="371910" y="9983"/>
                    <a:pt x="366327" y="334"/>
                  </a:cubicBezTo>
                  <a:cubicBezTo>
                    <a:pt x="360331" y="-8557"/>
                    <a:pt x="341859" y="472"/>
                    <a:pt x="349717" y="10190"/>
                  </a:cubicBezTo>
                  <a:close/>
                  <a:moveTo>
                    <a:pt x="8092295" y="526849"/>
                  </a:moveTo>
                  <a:cubicBezTo>
                    <a:pt x="8098705" y="543805"/>
                    <a:pt x="8113317" y="552558"/>
                    <a:pt x="8131444" y="553109"/>
                  </a:cubicBezTo>
                  <a:cubicBezTo>
                    <a:pt x="8122691" y="533948"/>
                    <a:pt x="8112215" y="514029"/>
                    <a:pt x="8089745" y="509342"/>
                  </a:cubicBezTo>
                  <a:cubicBezTo>
                    <a:pt x="8090228" y="515270"/>
                    <a:pt x="8091399" y="520991"/>
                    <a:pt x="8092295" y="526849"/>
                  </a:cubicBezTo>
                  <a:moveTo>
                    <a:pt x="1363115" y="668351"/>
                  </a:moveTo>
                  <a:cubicBezTo>
                    <a:pt x="1379382" y="668489"/>
                    <a:pt x="1370973" y="644159"/>
                    <a:pt x="1366079" y="635819"/>
                  </a:cubicBezTo>
                  <a:cubicBezTo>
                    <a:pt x="1354638" y="628995"/>
                    <a:pt x="1352570" y="646433"/>
                    <a:pt x="1350433" y="653395"/>
                  </a:cubicBezTo>
                  <a:cubicBezTo>
                    <a:pt x="1353604" y="657117"/>
                    <a:pt x="1359945" y="664561"/>
                    <a:pt x="1363115" y="668351"/>
                  </a:cubicBezTo>
                  <a:moveTo>
                    <a:pt x="-5039" y="1016765"/>
                  </a:moveTo>
                  <a:cubicBezTo>
                    <a:pt x="475" y="1015318"/>
                    <a:pt x="11503" y="1012423"/>
                    <a:pt x="16950" y="1010976"/>
                  </a:cubicBezTo>
                  <a:cubicBezTo>
                    <a:pt x="11573" y="1006013"/>
                    <a:pt x="6267" y="1000982"/>
                    <a:pt x="1853" y="995054"/>
                  </a:cubicBezTo>
                  <a:cubicBezTo>
                    <a:pt x="5715" y="996295"/>
                    <a:pt x="13436" y="998638"/>
                    <a:pt x="17292" y="999879"/>
                  </a:cubicBezTo>
                  <a:cubicBezTo>
                    <a:pt x="17361" y="995812"/>
                    <a:pt x="17499" y="987610"/>
                    <a:pt x="17566" y="983544"/>
                  </a:cubicBezTo>
                  <a:lnTo>
                    <a:pt x="17429" y="976100"/>
                  </a:lnTo>
                  <a:cubicBezTo>
                    <a:pt x="27837" y="975755"/>
                    <a:pt x="38176" y="975548"/>
                    <a:pt x="48582" y="974790"/>
                  </a:cubicBezTo>
                  <a:cubicBezTo>
                    <a:pt x="48859" y="967071"/>
                    <a:pt x="49344" y="951701"/>
                    <a:pt x="49622" y="943981"/>
                  </a:cubicBezTo>
                  <a:cubicBezTo>
                    <a:pt x="46380" y="945497"/>
                    <a:pt x="39835" y="948599"/>
                    <a:pt x="36593" y="950115"/>
                  </a:cubicBezTo>
                  <a:cubicBezTo>
                    <a:pt x="35422" y="952597"/>
                    <a:pt x="33007" y="957559"/>
                    <a:pt x="31836" y="960040"/>
                  </a:cubicBezTo>
                  <a:cubicBezTo>
                    <a:pt x="29838" y="944257"/>
                    <a:pt x="44727" y="933160"/>
                    <a:pt x="41006" y="917100"/>
                  </a:cubicBezTo>
                  <a:lnTo>
                    <a:pt x="30667" y="922477"/>
                  </a:lnTo>
                  <a:cubicBezTo>
                    <a:pt x="27837" y="924062"/>
                    <a:pt x="22326" y="927163"/>
                    <a:pt x="19566" y="928749"/>
                  </a:cubicBezTo>
                  <a:cubicBezTo>
                    <a:pt x="22326" y="940948"/>
                    <a:pt x="24874" y="953286"/>
                    <a:pt x="27426" y="965417"/>
                  </a:cubicBezTo>
                  <a:cubicBezTo>
                    <a:pt x="23702" y="962384"/>
                    <a:pt x="16190" y="956318"/>
                    <a:pt x="12470" y="953286"/>
                  </a:cubicBezTo>
                  <a:cubicBezTo>
                    <a:pt x="9917" y="963624"/>
                    <a:pt x="13226" y="976858"/>
                    <a:pt x="4543" y="984509"/>
                  </a:cubicBezTo>
                  <a:lnTo>
                    <a:pt x="-696" y="989954"/>
                  </a:lnTo>
                  <a:cubicBezTo>
                    <a:pt x="-2212" y="998914"/>
                    <a:pt x="-3663" y="1007805"/>
                    <a:pt x="-5039" y="1016765"/>
                  </a:cubicBezTo>
                  <a:moveTo>
                    <a:pt x="15019" y="1166470"/>
                  </a:moveTo>
                  <a:cubicBezTo>
                    <a:pt x="19981" y="1165780"/>
                    <a:pt x="29975" y="1164402"/>
                    <a:pt x="34937" y="1163713"/>
                  </a:cubicBezTo>
                  <a:cubicBezTo>
                    <a:pt x="27353" y="1147309"/>
                    <a:pt x="56099" y="1106161"/>
                    <a:pt x="23912" y="1113605"/>
                  </a:cubicBezTo>
                  <a:cubicBezTo>
                    <a:pt x="25083" y="1109676"/>
                    <a:pt x="27426" y="1101681"/>
                    <a:pt x="28667" y="1097752"/>
                  </a:cubicBezTo>
                  <a:cubicBezTo>
                    <a:pt x="16742" y="1098648"/>
                    <a:pt x="4058" y="1098234"/>
                    <a:pt x="-5728" y="1106367"/>
                  </a:cubicBezTo>
                  <a:cubicBezTo>
                    <a:pt x="1991" y="1106229"/>
                    <a:pt x="9575" y="1105816"/>
                    <a:pt x="17224" y="1105265"/>
                  </a:cubicBezTo>
                  <a:cubicBezTo>
                    <a:pt x="22461" y="1114914"/>
                    <a:pt x="27630" y="1124633"/>
                    <a:pt x="32800" y="1134282"/>
                  </a:cubicBezTo>
                  <a:cubicBezTo>
                    <a:pt x="26666" y="1138417"/>
                    <a:pt x="20808" y="1142898"/>
                    <a:pt x="15364" y="1147722"/>
                  </a:cubicBezTo>
                  <a:cubicBezTo>
                    <a:pt x="15296" y="1152409"/>
                    <a:pt x="15086" y="1161783"/>
                    <a:pt x="15019" y="1166470"/>
                  </a:cubicBezTo>
                  <a:moveTo>
                    <a:pt x="361158" y="1858404"/>
                  </a:moveTo>
                  <a:cubicBezTo>
                    <a:pt x="370049" y="1861092"/>
                    <a:pt x="402513" y="1853235"/>
                    <a:pt x="377493" y="1847721"/>
                  </a:cubicBezTo>
                  <a:cubicBezTo>
                    <a:pt x="369084" y="1839036"/>
                    <a:pt x="353714" y="1846894"/>
                    <a:pt x="361158" y="1858404"/>
                  </a:cubicBezTo>
                  <a:moveTo>
                    <a:pt x="8043565" y="1776590"/>
                  </a:moveTo>
                  <a:cubicBezTo>
                    <a:pt x="8038051" y="1771421"/>
                    <a:pt x="8035570" y="1754741"/>
                    <a:pt x="8045633" y="1753914"/>
                  </a:cubicBezTo>
                  <a:cubicBezTo>
                    <a:pt x="8052595" y="1758050"/>
                    <a:pt x="8056937" y="1784034"/>
                    <a:pt x="8043565" y="1776590"/>
                  </a:cubicBezTo>
                  <a:moveTo>
                    <a:pt x="8026610" y="1840001"/>
                  </a:moveTo>
                  <a:cubicBezTo>
                    <a:pt x="8014686" y="1819875"/>
                    <a:pt x="8049011" y="1837589"/>
                    <a:pt x="8026610" y="1840001"/>
                  </a:cubicBezTo>
                  <a:moveTo>
                    <a:pt x="8027023" y="1872051"/>
                  </a:moveTo>
                  <a:cubicBezTo>
                    <a:pt x="8020890" y="1863297"/>
                    <a:pt x="8022337" y="1857990"/>
                    <a:pt x="8031297" y="1856129"/>
                  </a:cubicBezTo>
                  <a:cubicBezTo>
                    <a:pt x="8037087" y="1864883"/>
                    <a:pt x="8035639" y="1870190"/>
                    <a:pt x="8027023" y="1872051"/>
                  </a:cubicBezTo>
                  <a:moveTo>
                    <a:pt x="8015927" y="1936013"/>
                  </a:moveTo>
                  <a:cubicBezTo>
                    <a:pt x="8018891" y="1935737"/>
                    <a:pt x="8024749" y="1935186"/>
                    <a:pt x="8027644" y="1934910"/>
                  </a:cubicBezTo>
                  <a:lnTo>
                    <a:pt x="8027782" y="1928776"/>
                  </a:lnTo>
                  <a:cubicBezTo>
                    <a:pt x="8027231" y="1917197"/>
                    <a:pt x="8030884" y="1906169"/>
                    <a:pt x="8035088" y="1895485"/>
                  </a:cubicBezTo>
                  <a:cubicBezTo>
                    <a:pt x="8034813" y="1899897"/>
                    <a:pt x="8034399" y="1908650"/>
                    <a:pt x="8034192" y="1912992"/>
                  </a:cubicBezTo>
                  <a:cubicBezTo>
                    <a:pt x="8045840" y="1911062"/>
                    <a:pt x="8057558" y="1909064"/>
                    <a:pt x="8069343" y="1906996"/>
                  </a:cubicBezTo>
                  <a:lnTo>
                    <a:pt x="8063416" y="1896313"/>
                  </a:lnTo>
                  <a:lnTo>
                    <a:pt x="8054801" y="1892935"/>
                  </a:lnTo>
                  <a:cubicBezTo>
                    <a:pt x="8057488" y="1892453"/>
                    <a:pt x="8062864" y="1891557"/>
                    <a:pt x="8065621" y="1891074"/>
                  </a:cubicBezTo>
                  <a:cubicBezTo>
                    <a:pt x="8062038" y="1874050"/>
                    <a:pt x="8064657" y="1856750"/>
                    <a:pt x="8065829" y="1839656"/>
                  </a:cubicBezTo>
                  <a:cubicBezTo>
                    <a:pt x="8072928" y="1824217"/>
                    <a:pt x="8070653" y="1806779"/>
                    <a:pt x="8072307" y="1790237"/>
                  </a:cubicBezTo>
                  <a:cubicBezTo>
                    <a:pt x="8056799" y="1794717"/>
                    <a:pt x="8052388" y="1804367"/>
                    <a:pt x="8059143" y="1819324"/>
                  </a:cubicBezTo>
                  <a:lnTo>
                    <a:pt x="8056730" y="1819944"/>
                  </a:lnTo>
                  <a:cubicBezTo>
                    <a:pt x="8052319" y="1810846"/>
                    <a:pt x="8047150" y="1802162"/>
                    <a:pt x="8040671" y="1794511"/>
                  </a:cubicBezTo>
                  <a:cubicBezTo>
                    <a:pt x="8050596" y="1808296"/>
                    <a:pt x="8060315" y="1787894"/>
                    <a:pt x="8072100" y="1788928"/>
                  </a:cubicBezTo>
                  <a:cubicBezTo>
                    <a:pt x="8070722" y="1772662"/>
                    <a:pt x="8082233" y="1750950"/>
                    <a:pt x="8068516" y="1738751"/>
                  </a:cubicBezTo>
                  <a:cubicBezTo>
                    <a:pt x="8068034" y="1743645"/>
                    <a:pt x="8067000" y="1753501"/>
                    <a:pt x="8066449" y="1758463"/>
                  </a:cubicBezTo>
                  <a:lnTo>
                    <a:pt x="8062038" y="1757774"/>
                  </a:lnTo>
                  <a:cubicBezTo>
                    <a:pt x="8062589" y="1749572"/>
                    <a:pt x="8062796" y="1741370"/>
                    <a:pt x="8062864" y="1733099"/>
                  </a:cubicBezTo>
                  <a:lnTo>
                    <a:pt x="8055765" y="1729032"/>
                  </a:lnTo>
                  <a:cubicBezTo>
                    <a:pt x="8048183" y="1733375"/>
                    <a:pt x="8040740" y="1737786"/>
                    <a:pt x="8033503" y="1742335"/>
                  </a:cubicBezTo>
                  <a:cubicBezTo>
                    <a:pt x="8033916" y="1734960"/>
                    <a:pt x="8034330" y="1727585"/>
                    <a:pt x="8034950" y="1720141"/>
                  </a:cubicBezTo>
                  <a:cubicBezTo>
                    <a:pt x="8036466" y="1708700"/>
                    <a:pt x="8033089" y="1697603"/>
                    <a:pt x="8030056" y="1686713"/>
                  </a:cubicBezTo>
                  <a:cubicBezTo>
                    <a:pt x="8024198" y="1717315"/>
                    <a:pt x="8025645" y="1748607"/>
                    <a:pt x="8023026" y="1779416"/>
                  </a:cubicBezTo>
                  <a:cubicBezTo>
                    <a:pt x="8019924" y="1831592"/>
                    <a:pt x="8014066" y="1883699"/>
                    <a:pt x="8015927" y="1936013"/>
                  </a:cubicBezTo>
                  <a:moveTo>
                    <a:pt x="3092779" y="2022582"/>
                  </a:moveTo>
                  <a:cubicBezTo>
                    <a:pt x="3084577" y="2001767"/>
                    <a:pt x="3122899" y="2006247"/>
                    <a:pt x="3117385" y="2023754"/>
                  </a:cubicBezTo>
                  <a:cubicBezTo>
                    <a:pt x="3109390" y="2024926"/>
                    <a:pt x="3100705" y="2023341"/>
                    <a:pt x="3092779" y="2022582"/>
                  </a:cubicBezTo>
                  <a:moveTo>
                    <a:pt x="3029575" y="2031060"/>
                  </a:moveTo>
                  <a:cubicBezTo>
                    <a:pt x="3069551" y="2028096"/>
                    <a:pt x="3108907" y="2037332"/>
                    <a:pt x="3148884" y="2037539"/>
                  </a:cubicBezTo>
                  <a:lnTo>
                    <a:pt x="3143783" y="2031474"/>
                  </a:lnTo>
                  <a:cubicBezTo>
                    <a:pt x="3133169" y="2019412"/>
                    <a:pt x="3124415" y="2005765"/>
                    <a:pt x="3116144" y="1991980"/>
                  </a:cubicBezTo>
                  <a:cubicBezTo>
                    <a:pt x="3111320" y="1993220"/>
                    <a:pt x="3106564" y="1994461"/>
                    <a:pt x="3101877" y="1995702"/>
                  </a:cubicBezTo>
                  <a:cubicBezTo>
                    <a:pt x="3100361" y="1993496"/>
                    <a:pt x="3097259" y="1989223"/>
                    <a:pt x="3095674" y="1987086"/>
                  </a:cubicBezTo>
                  <a:cubicBezTo>
                    <a:pt x="3079614" y="1983502"/>
                    <a:pt x="3063210" y="1987775"/>
                    <a:pt x="3047151" y="1989154"/>
                  </a:cubicBezTo>
                  <a:cubicBezTo>
                    <a:pt x="3038397" y="1982744"/>
                    <a:pt x="3027507" y="1982261"/>
                    <a:pt x="3017238" y="1980883"/>
                  </a:cubicBezTo>
                  <a:cubicBezTo>
                    <a:pt x="3023165" y="1997149"/>
                    <a:pt x="3025646" y="2014311"/>
                    <a:pt x="3029575" y="2031060"/>
                  </a:cubicBezTo>
                  <a:moveTo>
                    <a:pt x="4993031" y="2155331"/>
                  </a:moveTo>
                  <a:cubicBezTo>
                    <a:pt x="4996201" y="2151402"/>
                    <a:pt x="5002611" y="2143407"/>
                    <a:pt x="5005782" y="2139410"/>
                  </a:cubicBezTo>
                  <a:cubicBezTo>
                    <a:pt x="5013432" y="2145199"/>
                    <a:pt x="5021221" y="2150920"/>
                    <a:pt x="5029078" y="2156503"/>
                  </a:cubicBezTo>
                  <a:cubicBezTo>
                    <a:pt x="5032180" y="2146922"/>
                    <a:pt x="5044655" y="2133551"/>
                    <a:pt x="5032663" y="2125073"/>
                  </a:cubicBezTo>
                  <a:cubicBezTo>
                    <a:pt x="5031146" y="2123902"/>
                    <a:pt x="5028114" y="2121558"/>
                    <a:pt x="5026597" y="2120386"/>
                  </a:cubicBezTo>
                  <a:cubicBezTo>
                    <a:pt x="5023633" y="2120111"/>
                    <a:pt x="5017775" y="2119559"/>
                    <a:pt x="5014811" y="2119215"/>
                  </a:cubicBezTo>
                  <a:cubicBezTo>
                    <a:pt x="5014053" y="2124040"/>
                    <a:pt x="5012467" y="2133689"/>
                    <a:pt x="5011709" y="2138514"/>
                  </a:cubicBezTo>
                  <a:cubicBezTo>
                    <a:pt x="5009159" y="2135068"/>
                    <a:pt x="5003990" y="2128175"/>
                    <a:pt x="5001440" y="2124729"/>
                  </a:cubicBezTo>
                  <a:cubicBezTo>
                    <a:pt x="4994892" y="2133620"/>
                    <a:pt x="4994616" y="2144993"/>
                    <a:pt x="4993031" y="2155331"/>
                  </a:cubicBezTo>
                  <a:moveTo>
                    <a:pt x="5682828" y="2163740"/>
                  </a:moveTo>
                  <a:cubicBezTo>
                    <a:pt x="5705091" y="2162499"/>
                    <a:pt x="5672696" y="2142511"/>
                    <a:pt x="5682828" y="2163740"/>
                  </a:cubicBezTo>
                  <a:moveTo>
                    <a:pt x="5161000" y="2128795"/>
                  </a:moveTo>
                  <a:cubicBezTo>
                    <a:pt x="5164515" y="2125349"/>
                    <a:pt x="5164515" y="2125349"/>
                    <a:pt x="5161000" y="2128795"/>
                  </a:cubicBezTo>
                  <a:moveTo>
                    <a:pt x="5119163" y="2135826"/>
                  </a:moveTo>
                  <a:cubicBezTo>
                    <a:pt x="5122678" y="2131966"/>
                    <a:pt x="5122678" y="2131966"/>
                    <a:pt x="5119163" y="2135826"/>
                  </a:cubicBezTo>
                  <a:moveTo>
                    <a:pt x="5096763" y="2141753"/>
                  </a:moveTo>
                  <a:cubicBezTo>
                    <a:pt x="5085114" y="2120869"/>
                    <a:pt x="5119232" y="2140375"/>
                    <a:pt x="5096763" y="2141753"/>
                  </a:cubicBezTo>
                  <a:moveTo>
                    <a:pt x="5173337" y="2148852"/>
                  </a:moveTo>
                  <a:cubicBezTo>
                    <a:pt x="5163343" y="2127761"/>
                    <a:pt x="5195876" y="2148163"/>
                    <a:pt x="5173337" y="2148852"/>
                  </a:cubicBezTo>
                  <a:moveTo>
                    <a:pt x="5139082" y="2147267"/>
                  </a:moveTo>
                  <a:cubicBezTo>
                    <a:pt x="5134947" y="2138100"/>
                    <a:pt x="5150730" y="2132035"/>
                    <a:pt x="5156382" y="2138720"/>
                  </a:cubicBezTo>
                  <a:cubicBezTo>
                    <a:pt x="5159967" y="2147681"/>
                    <a:pt x="5144596" y="2153195"/>
                    <a:pt x="5139082" y="2147267"/>
                  </a:cubicBezTo>
                  <a:moveTo>
                    <a:pt x="5084563" y="2157813"/>
                  </a:moveTo>
                  <a:cubicBezTo>
                    <a:pt x="5135084" y="2164085"/>
                    <a:pt x="5186020" y="2164429"/>
                    <a:pt x="5236748" y="2168910"/>
                  </a:cubicBezTo>
                  <a:cubicBezTo>
                    <a:pt x="5239850" y="2158571"/>
                    <a:pt x="5247087" y="2153539"/>
                    <a:pt x="5258529" y="2153746"/>
                  </a:cubicBezTo>
                  <a:cubicBezTo>
                    <a:pt x="5258529" y="2150851"/>
                    <a:pt x="5258529" y="2144993"/>
                    <a:pt x="5258529" y="2142029"/>
                  </a:cubicBezTo>
                  <a:cubicBezTo>
                    <a:pt x="5258529" y="2136928"/>
                    <a:pt x="5258459" y="2126590"/>
                    <a:pt x="5258391" y="2121420"/>
                  </a:cubicBezTo>
                  <a:cubicBezTo>
                    <a:pt x="5247225" y="2121145"/>
                    <a:pt x="5236128" y="2120662"/>
                    <a:pt x="5225031" y="2120042"/>
                  </a:cubicBezTo>
                  <a:cubicBezTo>
                    <a:pt x="5222481" y="2122385"/>
                    <a:pt x="5217243" y="2127210"/>
                    <a:pt x="5214692" y="2129554"/>
                  </a:cubicBezTo>
                  <a:cubicBezTo>
                    <a:pt x="5205939" y="2113218"/>
                    <a:pt x="5187192" y="2120524"/>
                    <a:pt x="5172510" y="2117905"/>
                  </a:cubicBezTo>
                  <a:cubicBezTo>
                    <a:pt x="5151558" y="2114735"/>
                    <a:pt x="5130536" y="2113149"/>
                    <a:pt x="5109451" y="2112460"/>
                  </a:cubicBezTo>
                  <a:cubicBezTo>
                    <a:pt x="5106136" y="2127968"/>
                    <a:pt x="5100829" y="2124315"/>
                    <a:pt x="5095246" y="2113218"/>
                  </a:cubicBezTo>
                  <a:cubicBezTo>
                    <a:pt x="5090077" y="2112598"/>
                    <a:pt x="5079807" y="2111358"/>
                    <a:pt x="5074638" y="2110737"/>
                  </a:cubicBezTo>
                  <a:cubicBezTo>
                    <a:pt x="5076843" y="2119697"/>
                    <a:pt x="5079738" y="2128589"/>
                    <a:pt x="5079118" y="2137893"/>
                  </a:cubicBezTo>
                  <a:cubicBezTo>
                    <a:pt x="5080772" y="2144579"/>
                    <a:pt x="5082633" y="2151196"/>
                    <a:pt x="5084563" y="2157813"/>
                  </a:cubicBezTo>
                </a:path>
              </a:pathLst>
            </a:custGeom>
            <a:grpFill/>
            <a:ln w="689" cap="flat">
              <a:noFill/>
              <a:prstDash val="solid"/>
              <a:miter/>
            </a:ln>
          </p:spPr>
          <p:txBody>
            <a:bodyPr rtlCol="0" anchor="ctr"/>
            <a:lstStyle/>
            <a:p>
              <a:endParaRPr lang="en-US" sz="2400" dirty="0"/>
            </a:p>
          </p:txBody>
        </p:sp>
        <p:sp>
          <p:nvSpPr>
            <p:cNvPr id="144" name="Graphic 8">
              <a:extLst>
                <a:ext uri="{FF2B5EF4-FFF2-40B4-BE49-F238E27FC236}">
                  <a16:creationId xmlns:a16="http://schemas.microsoft.com/office/drawing/2014/main" id="{D9E7BA48-FEF2-4358-BC50-535E5E70D993}"/>
                </a:ext>
              </a:extLst>
            </p:cNvPr>
            <p:cNvSpPr/>
            <p:nvPr/>
          </p:nvSpPr>
          <p:spPr>
            <a:xfrm flipV="1">
              <a:off x="425185" y="1456928"/>
              <a:ext cx="7515815" cy="2059881"/>
            </a:xfrm>
            <a:custGeom>
              <a:avLst/>
              <a:gdLst>
                <a:gd name="connsiteX0" fmla="*/ 116231 w 7515815"/>
                <a:gd name="connsiteY0" fmla="*/ -3371 h 2059881"/>
                <a:gd name="connsiteX1" fmla="*/ 116578 w 7515815"/>
                <a:gd name="connsiteY1" fmla="*/ 20064 h 2059881"/>
                <a:gd name="connsiteX2" fmla="*/ 116231 w 7515815"/>
                <a:gd name="connsiteY2" fmla="*/ -3371 h 2059881"/>
                <a:gd name="connsiteX3" fmla="*/ 5899353 w 7515815"/>
                <a:gd name="connsiteY3" fmla="*/ 225390 h 2059881"/>
                <a:gd name="connsiteX4" fmla="*/ 5912724 w 7515815"/>
                <a:gd name="connsiteY4" fmla="*/ 232420 h 2059881"/>
                <a:gd name="connsiteX5" fmla="*/ 5914861 w 7515815"/>
                <a:gd name="connsiteY5" fmla="*/ 225321 h 2059881"/>
                <a:gd name="connsiteX6" fmla="*/ 5911346 w 7515815"/>
                <a:gd name="connsiteY6" fmla="*/ 211950 h 2059881"/>
                <a:gd name="connsiteX7" fmla="*/ 5933608 w 7515815"/>
                <a:gd name="connsiteY7" fmla="*/ 219187 h 2059881"/>
                <a:gd name="connsiteX8" fmla="*/ 5934160 w 7515815"/>
                <a:gd name="connsiteY8" fmla="*/ 205057 h 2059881"/>
                <a:gd name="connsiteX9" fmla="*/ 5895700 w 7515815"/>
                <a:gd name="connsiteY9" fmla="*/ 197613 h 2059881"/>
                <a:gd name="connsiteX10" fmla="*/ 5899353 w 7515815"/>
                <a:gd name="connsiteY10" fmla="*/ 225390 h 2059881"/>
                <a:gd name="connsiteX11" fmla="*/ 3550746 w 7515815"/>
                <a:gd name="connsiteY11" fmla="*/ 463180 h 2059881"/>
                <a:gd name="connsiteX12" fmla="*/ 3555226 w 7515815"/>
                <a:gd name="connsiteY12" fmla="*/ 447120 h 2059881"/>
                <a:gd name="connsiteX13" fmla="*/ 3550746 w 7515815"/>
                <a:gd name="connsiteY13" fmla="*/ 463180 h 2059881"/>
                <a:gd name="connsiteX14" fmla="*/ 63022 w 7515815"/>
                <a:gd name="connsiteY14" fmla="*/ 465385 h 2059881"/>
                <a:gd name="connsiteX15" fmla="*/ 63022 w 7515815"/>
                <a:gd name="connsiteY15" fmla="*/ 465385 h 2059881"/>
                <a:gd name="connsiteX16" fmla="*/ -5143 w 7515815"/>
                <a:gd name="connsiteY16" fmla="*/ 748114 h 2059881"/>
                <a:gd name="connsiteX17" fmla="*/ -5143 w 7515815"/>
                <a:gd name="connsiteY17" fmla="*/ 748114 h 2059881"/>
                <a:gd name="connsiteX18" fmla="*/ 7507778 w 7515815"/>
                <a:gd name="connsiteY18" fmla="*/ 1293308 h 2059881"/>
                <a:gd name="connsiteX19" fmla="*/ 7507778 w 7515815"/>
                <a:gd name="connsiteY19" fmla="*/ 1293308 h 2059881"/>
                <a:gd name="connsiteX20" fmla="*/ 5454376 w 7515815"/>
                <a:gd name="connsiteY20" fmla="*/ 1319224 h 2059881"/>
                <a:gd name="connsiteX21" fmla="*/ 5461406 w 7515815"/>
                <a:gd name="connsiteY21" fmla="*/ 1295100 h 2059881"/>
                <a:gd name="connsiteX22" fmla="*/ 5454376 w 7515815"/>
                <a:gd name="connsiteY22" fmla="*/ 1319224 h 2059881"/>
                <a:gd name="connsiteX23" fmla="*/ 2304176 w 7515815"/>
                <a:gd name="connsiteY23" fmla="*/ 2056511 h 2059881"/>
                <a:gd name="connsiteX24" fmla="*/ 2304176 w 7515815"/>
                <a:gd name="connsiteY24" fmla="*/ 2056511 h 205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515815" h="2059881">
                  <a:moveTo>
                    <a:pt x="116231" y="-3371"/>
                  </a:moveTo>
                  <a:cubicBezTo>
                    <a:pt x="104307" y="-2337"/>
                    <a:pt x="106240" y="17927"/>
                    <a:pt x="116578" y="20064"/>
                  </a:cubicBezTo>
                  <a:cubicBezTo>
                    <a:pt x="127741" y="18340"/>
                    <a:pt x="127332" y="-1510"/>
                    <a:pt x="116231" y="-3371"/>
                  </a:cubicBezTo>
                  <a:close/>
                  <a:moveTo>
                    <a:pt x="5899353" y="225390"/>
                  </a:moveTo>
                  <a:cubicBezTo>
                    <a:pt x="5902662" y="227113"/>
                    <a:pt x="5909347" y="230697"/>
                    <a:pt x="5912724" y="232420"/>
                  </a:cubicBezTo>
                  <a:lnTo>
                    <a:pt x="5914861" y="225321"/>
                  </a:lnTo>
                  <a:cubicBezTo>
                    <a:pt x="5914034" y="222013"/>
                    <a:pt x="5912242" y="215327"/>
                    <a:pt x="5911346" y="211950"/>
                  </a:cubicBezTo>
                  <a:cubicBezTo>
                    <a:pt x="5918652" y="214500"/>
                    <a:pt x="5926096" y="216912"/>
                    <a:pt x="5933608" y="219187"/>
                  </a:cubicBezTo>
                  <a:cubicBezTo>
                    <a:pt x="5933746" y="215603"/>
                    <a:pt x="5934022" y="208572"/>
                    <a:pt x="5934160" y="205057"/>
                  </a:cubicBezTo>
                  <a:cubicBezTo>
                    <a:pt x="5924097" y="195201"/>
                    <a:pt x="5908244" y="199957"/>
                    <a:pt x="5895700" y="197613"/>
                  </a:cubicBezTo>
                  <a:cubicBezTo>
                    <a:pt x="5896872" y="206918"/>
                    <a:pt x="5898043" y="216223"/>
                    <a:pt x="5899353" y="225390"/>
                  </a:cubicBezTo>
                  <a:moveTo>
                    <a:pt x="3550746" y="463180"/>
                  </a:moveTo>
                  <a:cubicBezTo>
                    <a:pt x="3559362" y="461388"/>
                    <a:pt x="3560878" y="456012"/>
                    <a:pt x="3555226" y="447120"/>
                  </a:cubicBezTo>
                  <a:cubicBezTo>
                    <a:pt x="3546335" y="448981"/>
                    <a:pt x="3544819" y="454289"/>
                    <a:pt x="3550746" y="463180"/>
                  </a:cubicBezTo>
                  <a:moveTo>
                    <a:pt x="63022" y="465385"/>
                  </a:moveTo>
                  <a:cubicBezTo>
                    <a:pt x="66676" y="461319"/>
                    <a:pt x="66676" y="461319"/>
                    <a:pt x="63022" y="465385"/>
                  </a:cubicBezTo>
                  <a:moveTo>
                    <a:pt x="-5143" y="748114"/>
                  </a:moveTo>
                  <a:cubicBezTo>
                    <a:pt x="-1350" y="744186"/>
                    <a:pt x="-1350" y="744186"/>
                    <a:pt x="-5143" y="748114"/>
                  </a:cubicBezTo>
                  <a:moveTo>
                    <a:pt x="7507778" y="1293308"/>
                  </a:moveTo>
                  <a:cubicBezTo>
                    <a:pt x="7511638" y="1289586"/>
                    <a:pt x="7511638" y="1289586"/>
                    <a:pt x="7507778" y="1293308"/>
                  </a:cubicBezTo>
                  <a:moveTo>
                    <a:pt x="5454376" y="1319224"/>
                  </a:moveTo>
                  <a:cubicBezTo>
                    <a:pt x="5465679" y="1323428"/>
                    <a:pt x="5472503" y="1296754"/>
                    <a:pt x="5461406" y="1295100"/>
                  </a:cubicBezTo>
                  <a:cubicBezTo>
                    <a:pt x="5455616" y="1300959"/>
                    <a:pt x="5450102" y="1311297"/>
                    <a:pt x="5454376" y="1319224"/>
                  </a:cubicBezTo>
                  <a:moveTo>
                    <a:pt x="2304176" y="2056511"/>
                  </a:moveTo>
                  <a:cubicBezTo>
                    <a:pt x="2307829" y="2052444"/>
                    <a:pt x="2307829" y="2052444"/>
                    <a:pt x="2304176" y="2056511"/>
                  </a:cubicBezTo>
                </a:path>
              </a:pathLst>
            </a:custGeom>
            <a:grpFill/>
            <a:ln w="689" cap="flat">
              <a:noFill/>
              <a:prstDash val="solid"/>
              <a:miter/>
            </a:ln>
          </p:spPr>
          <p:txBody>
            <a:bodyPr rtlCol="0" anchor="ctr"/>
            <a:lstStyle/>
            <a:p>
              <a:endParaRPr lang="en-US" sz="2400" dirty="0"/>
            </a:p>
          </p:txBody>
        </p:sp>
        <p:sp>
          <p:nvSpPr>
            <p:cNvPr id="145" name="Graphic 8">
              <a:extLst>
                <a:ext uri="{FF2B5EF4-FFF2-40B4-BE49-F238E27FC236}">
                  <a16:creationId xmlns:a16="http://schemas.microsoft.com/office/drawing/2014/main" id="{0456ED6B-23BD-411A-B931-41A48FF78D26}"/>
                </a:ext>
              </a:extLst>
            </p:cNvPr>
            <p:cNvSpPr/>
            <p:nvPr/>
          </p:nvSpPr>
          <p:spPr>
            <a:xfrm flipV="1">
              <a:off x="507757" y="1455481"/>
              <a:ext cx="2491434" cy="2181739"/>
            </a:xfrm>
            <a:custGeom>
              <a:avLst/>
              <a:gdLst>
                <a:gd name="connsiteX0" fmla="*/ -2088 w 2491434"/>
                <a:gd name="connsiteY0" fmla="*/ -792 h 2181739"/>
                <a:gd name="connsiteX1" fmla="*/ -2088 w 2491434"/>
                <a:gd name="connsiteY1" fmla="*/ -792 h 2181739"/>
                <a:gd name="connsiteX2" fmla="*/ 2486710 w 2491434"/>
                <a:gd name="connsiteY2" fmla="*/ 2178467 h 2181739"/>
                <a:gd name="connsiteX3" fmla="*/ 2486710 w 2491434"/>
                <a:gd name="connsiteY3" fmla="*/ 2178467 h 2181739"/>
              </a:gdLst>
              <a:ahLst/>
              <a:cxnLst>
                <a:cxn ang="0">
                  <a:pos x="connsiteX0" y="connsiteY0"/>
                </a:cxn>
                <a:cxn ang="0">
                  <a:pos x="connsiteX1" y="connsiteY1"/>
                </a:cxn>
                <a:cxn ang="0">
                  <a:pos x="connsiteX2" y="connsiteY2"/>
                </a:cxn>
                <a:cxn ang="0">
                  <a:pos x="connsiteX3" y="connsiteY3"/>
                </a:cxn>
              </a:cxnLst>
              <a:rect l="l" t="t" r="r" b="b"/>
              <a:pathLst>
                <a:path w="2491434" h="2181739">
                  <a:moveTo>
                    <a:pt x="-2088" y="-792"/>
                  </a:moveTo>
                  <a:cubicBezTo>
                    <a:pt x="1700" y="-4100"/>
                    <a:pt x="1700" y="-4100"/>
                    <a:pt x="-2088" y="-792"/>
                  </a:cubicBezTo>
                  <a:close/>
                  <a:moveTo>
                    <a:pt x="2486710" y="2178467"/>
                  </a:moveTo>
                  <a:cubicBezTo>
                    <a:pt x="2490225" y="2174952"/>
                    <a:pt x="2490225" y="2174952"/>
                    <a:pt x="2486710" y="2178467"/>
                  </a:cubicBezTo>
                </a:path>
              </a:pathLst>
            </a:custGeom>
            <a:grpFill/>
            <a:ln w="689" cap="flat">
              <a:noFill/>
              <a:prstDash val="solid"/>
              <a:miter/>
            </a:ln>
          </p:spPr>
          <p:txBody>
            <a:bodyPr rtlCol="0" anchor="ctr"/>
            <a:lstStyle/>
            <a:p>
              <a:endParaRPr lang="en-US" sz="2400" dirty="0"/>
            </a:p>
          </p:txBody>
        </p:sp>
        <p:sp>
          <p:nvSpPr>
            <p:cNvPr id="146" name="Graphic 8">
              <a:extLst>
                <a:ext uri="{FF2B5EF4-FFF2-40B4-BE49-F238E27FC236}">
                  <a16:creationId xmlns:a16="http://schemas.microsoft.com/office/drawing/2014/main" id="{FB46955E-6728-43DA-9AEA-0D6FA8EF931C}"/>
                </a:ext>
              </a:extLst>
            </p:cNvPr>
            <p:cNvSpPr/>
            <p:nvPr/>
          </p:nvSpPr>
          <p:spPr>
            <a:xfrm flipV="1">
              <a:off x="3988765" y="1454034"/>
              <a:ext cx="4172725" cy="1190603"/>
            </a:xfrm>
            <a:custGeom>
              <a:avLst/>
              <a:gdLst>
                <a:gd name="connsiteX0" fmla="*/ 4112200 w 4172725"/>
                <a:gd name="connsiteY0" fmla="*/ 68556 h 1190603"/>
                <a:gd name="connsiteX1" fmla="*/ 4127915 w 4172725"/>
                <a:gd name="connsiteY1" fmla="*/ 63800 h 1190603"/>
                <a:gd name="connsiteX2" fmla="*/ 4165203 w 4172725"/>
                <a:gd name="connsiteY2" fmla="*/ 14106 h 1190603"/>
                <a:gd name="connsiteX3" fmla="*/ 4141011 w 4172725"/>
                <a:gd name="connsiteY3" fmla="*/ 23962 h 1190603"/>
                <a:gd name="connsiteX4" fmla="*/ 4142045 w 4172725"/>
                <a:gd name="connsiteY4" fmla="*/ 5008 h 1190603"/>
                <a:gd name="connsiteX5" fmla="*/ 4132808 w 4172725"/>
                <a:gd name="connsiteY5" fmla="*/ 6111 h 1190603"/>
                <a:gd name="connsiteX6" fmla="*/ 4127364 w 4172725"/>
                <a:gd name="connsiteY6" fmla="*/ 14588 h 1190603"/>
                <a:gd name="connsiteX7" fmla="*/ 4129983 w 4172725"/>
                <a:gd name="connsiteY7" fmla="*/ 31406 h 1190603"/>
                <a:gd name="connsiteX8" fmla="*/ 4130603 w 4172725"/>
                <a:gd name="connsiteY8" fmla="*/ 35197 h 1190603"/>
                <a:gd name="connsiteX9" fmla="*/ 4126330 w 4172725"/>
                <a:gd name="connsiteY9" fmla="*/ 31406 h 1190603"/>
                <a:gd name="connsiteX10" fmla="*/ 4118472 w 4172725"/>
                <a:gd name="connsiteY10" fmla="*/ -4090 h 1190603"/>
                <a:gd name="connsiteX11" fmla="*/ 4102896 w 4172725"/>
                <a:gd name="connsiteY11" fmla="*/ 1079 h 1190603"/>
                <a:gd name="connsiteX12" fmla="*/ 4073258 w 4172725"/>
                <a:gd name="connsiteY12" fmla="*/ 2389 h 1190603"/>
                <a:gd name="connsiteX13" fmla="*/ 4070225 w 4172725"/>
                <a:gd name="connsiteY13" fmla="*/ 31544 h 1190603"/>
                <a:gd name="connsiteX14" fmla="*/ 4079323 w 4172725"/>
                <a:gd name="connsiteY14" fmla="*/ 20171 h 1190603"/>
                <a:gd name="connsiteX15" fmla="*/ 4112200 w 4172725"/>
                <a:gd name="connsiteY15" fmla="*/ 17759 h 1190603"/>
                <a:gd name="connsiteX16" fmla="*/ 4107031 w 4172725"/>
                <a:gd name="connsiteY16" fmla="*/ 36162 h 1190603"/>
                <a:gd name="connsiteX17" fmla="*/ 4118886 w 4172725"/>
                <a:gd name="connsiteY17" fmla="*/ 47948 h 1190603"/>
                <a:gd name="connsiteX18" fmla="*/ 4112200 w 4172725"/>
                <a:gd name="connsiteY18" fmla="*/ 68556 h 1190603"/>
                <a:gd name="connsiteX19" fmla="*/ 5395 w 4172725"/>
                <a:gd name="connsiteY19" fmla="*/ 1180448 h 1190603"/>
                <a:gd name="connsiteX20" fmla="*/ 34482 w 4172725"/>
                <a:gd name="connsiteY20" fmla="*/ 1186514 h 1190603"/>
                <a:gd name="connsiteX21" fmla="*/ 40134 w 4172725"/>
                <a:gd name="connsiteY21" fmla="*/ 1152672 h 1190603"/>
                <a:gd name="connsiteX22" fmla="*/ -7493 w 4172725"/>
                <a:gd name="connsiteY22" fmla="*/ 1149501 h 1190603"/>
                <a:gd name="connsiteX23" fmla="*/ 5395 w 4172725"/>
                <a:gd name="connsiteY23" fmla="*/ 1180448 h 119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72725" h="1190603">
                  <a:moveTo>
                    <a:pt x="4112200" y="68556"/>
                  </a:moveTo>
                  <a:cubicBezTo>
                    <a:pt x="4116129" y="67385"/>
                    <a:pt x="4123986" y="65041"/>
                    <a:pt x="4127915" y="63800"/>
                  </a:cubicBezTo>
                  <a:cubicBezTo>
                    <a:pt x="4137633" y="45329"/>
                    <a:pt x="4150798" y="29200"/>
                    <a:pt x="4165203" y="14106"/>
                  </a:cubicBezTo>
                  <a:cubicBezTo>
                    <a:pt x="4157001" y="17414"/>
                    <a:pt x="4148937" y="20723"/>
                    <a:pt x="4141011" y="23962"/>
                  </a:cubicBezTo>
                  <a:cubicBezTo>
                    <a:pt x="4141217" y="19206"/>
                    <a:pt x="4141769" y="9764"/>
                    <a:pt x="4142045" y="5008"/>
                  </a:cubicBezTo>
                  <a:lnTo>
                    <a:pt x="4132808" y="6111"/>
                  </a:lnTo>
                  <a:cubicBezTo>
                    <a:pt x="4131430" y="8247"/>
                    <a:pt x="4128742" y="12452"/>
                    <a:pt x="4127364" y="14588"/>
                  </a:cubicBezTo>
                  <a:cubicBezTo>
                    <a:pt x="4128053" y="18793"/>
                    <a:pt x="4129362" y="27201"/>
                    <a:pt x="4129983" y="31406"/>
                  </a:cubicBezTo>
                  <a:lnTo>
                    <a:pt x="4130603" y="35197"/>
                  </a:lnTo>
                  <a:cubicBezTo>
                    <a:pt x="4129570" y="34232"/>
                    <a:pt x="4127432" y="32371"/>
                    <a:pt x="4126330" y="31406"/>
                  </a:cubicBezTo>
                  <a:cubicBezTo>
                    <a:pt x="4122746" y="19827"/>
                    <a:pt x="4120471" y="7903"/>
                    <a:pt x="4118472" y="-4090"/>
                  </a:cubicBezTo>
                  <a:cubicBezTo>
                    <a:pt x="4114543" y="-2781"/>
                    <a:pt x="4106824" y="-230"/>
                    <a:pt x="4102896" y="1079"/>
                  </a:cubicBezTo>
                  <a:cubicBezTo>
                    <a:pt x="4093177" y="3974"/>
                    <a:pt x="4082976" y="2182"/>
                    <a:pt x="4073258" y="2389"/>
                  </a:cubicBezTo>
                  <a:cubicBezTo>
                    <a:pt x="4072224" y="12176"/>
                    <a:pt x="4071190" y="21825"/>
                    <a:pt x="4070225" y="31544"/>
                  </a:cubicBezTo>
                  <a:cubicBezTo>
                    <a:pt x="4072499" y="28649"/>
                    <a:pt x="4077049" y="22997"/>
                    <a:pt x="4079323" y="20171"/>
                  </a:cubicBezTo>
                  <a:cubicBezTo>
                    <a:pt x="4089386" y="33336"/>
                    <a:pt x="4101448" y="22170"/>
                    <a:pt x="4112200" y="17759"/>
                  </a:cubicBezTo>
                  <a:cubicBezTo>
                    <a:pt x="4110891" y="22377"/>
                    <a:pt x="4108272" y="31613"/>
                    <a:pt x="4107031" y="36162"/>
                  </a:cubicBezTo>
                  <a:cubicBezTo>
                    <a:pt x="4109995" y="39125"/>
                    <a:pt x="4115922" y="45053"/>
                    <a:pt x="4118886" y="47948"/>
                  </a:cubicBezTo>
                  <a:cubicBezTo>
                    <a:pt x="4117232" y="53117"/>
                    <a:pt x="4113924" y="63387"/>
                    <a:pt x="4112200" y="68556"/>
                  </a:cubicBezTo>
                  <a:close/>
                  <a:moveTo>
                    <a:pt x="5395" y="1180448"/>
                  </a:moveTo>
                  <a:cubicBezTo>
                    <a:pt x="15183" y="1181620"/>
                    <a:pt x="24901" y="1183964"/>
                    <a:pt x="34482" y="1186514"/>
                  </a:cubicBezTo>
                  <a:cubicBezTo>
                    <a:pt x="35929" y="1175210"/>
                    <a:pt x="37445" y="1163838"/>
                    <a:pt x="40134" y="1152672"/>
                  </a:cubicBezTo>
                  <a:cubicBezTo>
                    <a:pt x="24212" y="1151776"/>
                    <a:pt x="8290" y="1150673"/>
                    <a:pt x="-7493" y="1149501"/>
                  </a:cubicBezTo>
                  <a:cubicBezTo>
                    <a:pt x="-8045" y="1161425"/>
                    <a:pt x="-601" y="1170868"/>
                    <a:pt x="5395" y="1180448"/>
                  </a:cubicBezTo>
                </a:path>
              </a:pathLst>
            </a:custGeom>
            <a:grpFill/>
            <a:ln w="689" cap="flat">
              <a:noFill/>
              <a:prstDash val="solid"/>
              <a:miter/>
            </a:ln>
          </p:spPr>
          <p:txBody>
            <a:bodyPr rtlCol="0" anchor="ctr"/>
            <a:lstStyle/>
            <a:p>
              <a:endParaRPr lang="en-US" sz="2400" dirty="0"/>
            </a:p>
          </p:txBody>
        </p:sp>
        <p:sp>
          <p:nvSpPr>
            <p:cNvPr id="147" name="Graphic 8">
              <a:extLst>
                <a:ext uri="{FF2B5EF4-FFF2-40B4-BE49-F238E27FC236}">
                  <a16:creationId xmlns:a16="http://schemas.microsoft.com/office/drawing/2014/main" id="{C9550AC3-F070-44E2-B1CB-457A052F2253}"/>
                </a:ext>
              </a:extLst>
            </p:cNvPr>
            <p:cNvSpPr/>
            <p:nvPr/>
          </p:nvSpPr>
          <p:spPr>
            <a:xfrm flipV="1">
              <a:off x="1885909" y="1455550"/>
              <a:ext cx="6943615" cy="1919275"/>
            </a:xfrm>
            <a:custGeom>
              <a:avLst/>
              <a:gdLst>
                <a:gd name="connsiteX0" fmla="*/ 5596946 w 6943615"/>
                <a:gd name="connsiteY0" fmla="*/ -801 h 1919275"/>
                <a:gd name="connsiteX1" fmla="*/ 5596946 w 6943615"/>
                <a:gd name="connsiteY1" fmla="*/ -801 h 1919275"/>
                <a:gd name="connsiteX2" fmla="*/ 1867710 w 6943615"/>
                <a:gd name="connsiteY2" fmla="*/ 1038514 h 1919275"/>
                <a:gd name="connsiteX3" fmla="*/ 1880116 w 6943615"/>
                <a:gd name="connsiteY3" fmla="*/ 1022248 h 1919275"/>
                <a:gd name="connsiteX4" fmla="*/ 1867710 w 6943615"/>
                <a:gd name="connsiteY4" fmla="*/ 1038514 h 1919275"/>
                <a:gd name="connsiteX5" fmla="*/ 2455844 w 6943615"/>
                <a:gd name="connsiteY5" fmla="*/ 1164990 h 1919275"/>
                <a:gd name="connsiteX6" fmla="*/ 2462047 w 6943615"/>
                <a:gd name="connsiteY6" fmla="*/ 1139282 h 1919275"/>
                <a:gd name="connsiteX7" fmla="*/ 2455844 w 6943615"/>
                <a:gd name="connsiteY7" fmla="*/ 1164990 h 1919275"/>
                <a:gd name="connsiteX8" fmla="*/ 6934566 w 6943615"/>
                <a:gd name="connsiteY8" fmla="*/ 1398094 h 1919275"/>
                <a:gd name="connsiteX9" fmla="*/ 6934566 w 6943615"/>
                <a:gd name="connsiteY9" fmla="*/ 1398094 h 1919275"/>
                <a:gd name="connsiteX10" fmla="*/ 1227400 w 6943615"/>
                <a:gd name="connsiteY10" fmla="*/ 1425250 h 1919275"/>
                <a:gd name="connsiteX11" fmla="*/ 1254074 w 6943615"/>
                <a:gd name="connsiteY11" fmla="*/ 1423251 h 1919275"/>
                <a:gd name="connsiteX12" fmla="*/ 1227400 w 6943615"/>
                <a:gd name="connsiteY12" fmla="*/ 1425250 h 1919275"/>
                <a:gd name="connsiteX13" fmla="*/ -5868 w 6943615"/>
                <a:gd name="connsiteY13" fmla="*/ 1798821 h 1919275"/>
                <a:gd name="connsiteX14" fmla="*/ 5160 w 6943615"/>
                <a:gd name="connsiteY14" fmla="*/ 1788896 h 1919275"/>
                <a:gd name="connsiteX15" fmla="*/ -5868 w 6943615"/>
                <a:gd name="connsiteY15" fmla="*/ 1798821 h 1919275"/>
                <a:gd name="connsiteX16" fmla="*/ 849142 w 6943615"/>
                <a:gd name="connsiteY16" fmla="*/ 1832456 h 1919275"/>
                <a:gd name="connsiteX17" fmla="*/ 848384 w 6943615"/>
                <a:gd name="connsiteY17" fmla="*/ 1816052 h 1919275"/>
                <a:gd name="connsiteX18" fmla="*/ 849142 w 6943615"/>
                <a:gd name="connsiteY18" fmla="*/ 1832456 h 1919275"/>
                <a:gd name="connsiteX19" fmla="*/ 2179318 w 6943615"/>
                <a:gd name="connsiteY19" fmla="*/ 1915786 h 1919275"/>
                <a:gd name="connsiteX20" fmla="*/ 2179318 w 6943615"/>
                <a:gd name="connsiteY20" fmla="*/ 1915786 h 191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943615" h="1919275">
                  <a:moveTo>
                    <a:pt x="5596946" y="-801"/>
                  </a:moveTo>
                  <a:cubicBezTo>
                    <a:pt x="5600668" y="-4385"/>
                    <a:pt x="5600668" y="-4385"/>
                    <a:pt x="5596946" y="-801"/>
                  </a:cubicBezTo>
                  <a:close/>
                  <a:moveTo>
                    <a:pt x="1867710" y="1038514"/>
                  </a:moveTo>
                  <a:cubicBezTo>
                    <a:pt x="1875912" y="1042443"/>
                    <a:pt x="1885079" y="1029278"/>
                    <a:pt x="1880116" y="1022248"/>
                  </a:cubicBezTo>
                  <a:cubicBezTo>
                    <a:pt x="1871777" y="1018250"/>
                    <a:pt x="1862610" y="1031552"/>
                    <a:pt x="1867710" y="1038514"/>
                  </a:cubicBezTo>
                  <a:moveTo>
                    <a:pt x="2455844" y="1164990"/>
                  </a:moveTo>
                  <a:cubicBezTo>
                    <a:pt x="2478934" y="1174984"/>
                    <a:pt x="2460737" y="1150103"/>
                    <a:pt x="2462047" y="1139282"/>
                  </a:cubicBezTo>
                  <a:cubicBezTo>
                    <a:pt x="2449848" y="1135697"/>
                    <a:pt x="2448469" y="1158856"/>
                    <a:pt x="2455844" y="1164990"/>
                  </a:cubicBezTo>
                  <a:moveTo>
                    <a:pt x="6934566" y="1398094"/>
                  </a:moveTo>
                  <a:cubicBezTo>
                    <a:pt x="6937805" y="1394096"/>
                    <a:pt x="6937805" y="1394096"/>
                    <a:pt x="6934566" y="1398094"/>
                  </a:cubicBezTo>
                  <a:moveTo>
                    <a:pt x="1227400" y="1425250"/>
                  </a:moveTo>
                  <a:cubicBezTo>
                    <a:pt x="1235533" y="1428903"/>
                    <a:pt x="1246079" y="1426490"/>
                    <a:pt x="1254074" y="1423251"/>
                  </a:cubicBezTo>
                  <a:cubicBezTo>
                    <a:pt x="1259312" y="1407329"/>
                    <a:pt x="1219267" y="1409122"/>
                    <a:pt x="1227400" y="1425250"/>
                  </a:cubicBezTo>
                  <a:moveTo>
                    <a:pt x="-5868" y="1798821"/>
                  </a:moveTo>
                  <a:cubicBezTo>
                    <a:pt x="3988" y="1801647"/>
                    <a:pt x="7641" y="1798339"/>
                    <a:pt x="5160" y="1788896"/>
                  </a:cubicBezTo>
                  <a:cubicBezTo>
                    <a:pt x="-4696" y="1786139"/>
                    <a:pt x="-8349" y="1789447"/>
                    <a:pt x="-5868" y="1798821"/>
                  </a:cubicBezTo>
                  <a:moveTo>
                    <a:pt x="849142" y="1832456"/>
                  </a:moveTo>
                  <a:cubicBezTo>
                    <a:pt x="859756" y="1833353"/>
                    <a:pt x="857757" y="1815777"/>
                    <a:pt x="848384" y="1816052"/>
                  </a:cubicBezTo>
                  <a:cubicBezTo>
                    <a:pt x="837494" y="1815914"/>
                    <a:pt x="839355" y="1832250"/>
                    <a:pt x="849142" y="1832456"/>
                  </a:cubicBezTo>
                  <a:moveTo>
                    <a:pt x="2179318" y="1915786"/>
                  </a:moveTo>
                  <a:cubicBezTo>
                    <a:pt x="2182971" y="1912202"/>
                    <a:pt x="2182971" y="1912202"/>
                    <a:pt x="2179318" y="1915786"/>
                  </a:cubicBezTo>
                </a:path>
              </a:pathLst>
            </a:custGeom>
            <a:grpFill/>
            <a:ln w="689" cap="flat">
              <a:noFill/>
              <a:prstDash val="solid"/>
              <a:miter/>
            </a:ln>
          </p:spPr>
          <p:txBody>
            <a:bodyPr rtlCol="0" anchor="ctr"/>
            <a:lstStyle/>
            <a:p>
              <a:endParaRPr lang="en-US" sz="2400" dirty="0"/>
            </a:p>
          </p:txBody>
        </p:sp>
        <p:sp>
          <p:nvSpPr>
            <p:cNvPr id="148" name="Graphic 8">
              <a:extLst>
                <a:ext uri="{FF2B5EF4-FFF2-40B4-BE49-F238E27FC236}">
                  <a16:creationId xmlns:a16="http://schemas.microsoft.com/office/drawing/2014/main" id="{AD9BAA06-8B64-4EB8-8FDA-EEA8EAE88AE3}"/>
                </a:ext>
              </a:extLst>
            </p:cNvPr>
            <p:cNvSpPr/>
            <p:nvPr/>
          </p:nvSpPr>
          <p:spPr>
            <a:xfrm flipV="1">
              <a:off x="2358520" y="1454712"/>
              <a:ext cx="3996473" cy="2023533"/>
            </a:xfrm>
            <a:custGeom>
              <a:avLst/>
              <a:gdLst>
                <a:gd name="connsiteX0" fmla="*/ 3988269 w 3996473"/>
                <a:gd name="connsiteY0" fmla="*/ -406 h 2023533"/>
                <a:gd name="connsiteX1" fmla="*/ 3988269 w 3996473"/>
                <a:gd name="connsiteY1" fmla="*/ -406 h 2023533"/>
                <a:gd name="connsiteX2" fmla="*/ -5362 w 3996473"/>
                <a:gd name="connsiteY2" fmla="*/ 1811209 h 2023533"/>
                <a:gd name="connsiteX3" fmla="*/ 63494 w 3996473"/>
                <a:gd name="connsiteY3" fmla="*/ 1817688 h 2023533"/>
                <a:gd name="connsiteX4" fmla="*/ 56877 w 3996473"/>
                <a:gd name="connsiteY4" fmla="*/ 1807073 h 2023533"/>
                <a:gd name="connsiteX5" fmla="*/ 51157 w 3996473"/>
                <a:gd name="connsiteY5" fmla="*/ 1799078 h 2023533"/>
                <a:gd name="connsiteX6" fmla="*/ 47641 w 3996473"/>
                <a:gd name="connsiteY6" fmla="*/ 1814862 h 2023533"/>
                <a:gd name="connsiteX7" fmla="*/ 42748 w 3996473"/>
                <a:gd name="connsiteY7" fmla="*/ 1796597 h 2023533"/>
                <a:gd name="connsiteX8" fmla="*/ 20072 w 3996473"/>
                <a:gd name="connsiteY8" fmla="*/ 1811898 h 2023533"/>
                <a:gd name="connsiteX9" fmla="*/ 3736 w 3996473"/>
                <a:gd name="connsiteY9" fmla="*/ 1810313 h 2023533"/>
                <a:gd name="connsiteX10" fmla="*/ -5362 w 3996473"/>
                <a:gd name="connsiteY10" fmla="*/ 1811209 h 2023533"/>
                <a:gd name="connsiteX11" fmla="*/ 467806 w 3996473"/>
                <a:gd name="connsiteY11" fmla="*/ 1831886 h 2023533"/>
                <a:gd name="connsiteX12" fmla="*/ 471528 w 3996473"/>
                <a:gd name="connsiteY12" fmla="*/ 1834850 h 2023533"/>
                <a:gd name="connsiteX13" fmla="*/ 492136 w 3996473"/>
                <a:gd name="connsiteY13" fmla="*/ 1807831 h 2023533"/>
                <a:gd name="connsiteX14" fmla="*/ 466841 w 3996473"/>
                <a:gd name="connsiteY14" fmla="*/ 1792530 h 2023533"/>
                <a:gd name="connsiteX15" fmla="*/ 467806 w 3996473"/>
                <a:gd name="connsiteY15" fmla="*/ 1831886 h 2023533"/>
                <a:gd name="connsiteX16" fmla="*/ 3493459 w 3996473"/>
                <a:gd name="connsiteY16" fmla="*/ 2018603 h 2023533"/>
                <a:gd name="connsiteX17" fmla="*/ 3505039 w 3996473"/>
                <a:gd name="connsiteY17" fmla="*/ 2007644 h 2023533"/>
                <a:gd name="connsiteX18" fmla="*/ 3493459 w 3996473"/>
                <a:gd name="connsiteY18" fmla="*/ 2018603 h 2023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96473" h="2023533">
                  <a:moveTo>
                    <a:pt x="3988269" y="-406"/>
                  </a:moveTo>
                  <a:cubicBezTo>
                    <a:pt x="3992060" y="-4404"/>
                    <a:pt x="3992060" y="-4404"/>
                    <a:pt x="3988269" y="-406"/>
                  </a:cubicBezTo>
                  <a:close/>
                  <a:moveTo>
                    <a:pt x="-5362" y="1811209"/>
                  </a:moveTo>
                  <a:cubicBezTo>
                    <a:pt x="16005" y="1821203"/>
                    <a:pt x="40542" y="1821616"/>
                    <a:pt x="63494" y="1817688"/>
                  </a:cubicBezTo>
                  <a:cubicBezTo>
                    <a:pt x="61840" y="1815068"/>
                    <a:pt x="58531" y="1809761"/>
                    <a:pt x="56877" y="1807073"/>
                  </a:cubicBezTo>
                  <a:lnTo>
                    <a:pt x="51157" y="1799078"/>
                  </a:lnTo>
                  <a:cubicBezTo>
                    <a:pt x="50261" y="1803007"/>
                    <a:pt x="48537" y="1810933"/>
                    <a:pt x="47641" y="1814862"/>
                  </a:cubicBezTo>
                  <a:cubicBezTo>
                    <a:pt x="46401" y="1810313"/>
                    <a:pt x="43920" y="1801146"/>
                    <a:pt x="42748" y="1796597"/>
                  </a:cubicBezTo>
                  <a:cubicBezTo>
                    <a:pt x="34684" y="1801008"/>
                    <a:pt x="27309" y="1806453"/>
                    <a:pt x="20072" y="1811898"/>
                  </a:cubicBezTo>
                  <a:cubicBezTo>
                    <a:pt x="14558" y="1811278"/>
                    <a:pt x="9113" y="1810795"/>
                    <a:pt x="3736" y="1810313"/>
                  </a:cubicBezTo>
                  <a:cubicBezTo>
                    <a:pt x="1462" y="1810519"/>
                    <a:pt x="-3087" y="1810933"/>
                    <a:pt x="-5362" y="1811209"/>
                  </a:cubicBezTo>
                  <a:moveTo>
                    <a:pt x="467806" y="1831886"/>
                  </a:moveTo>
                  <a:cubicBezTo>
                    <a:pt x="468771" y="1832644"/>
                    <a:pt x="470632" y="1834092"/>
                    <a:pt x="471528" y="1834850"/>
                  </a:cubicBezTo>
                  <a:cubicBezTo>
                    <a:pt x="478558" y="1825959"/>
                    <a:pt x="485244" y="1816860"/>
                    <a:pt x="492136" y="1807831"/>
                  </a:cubicBezTo>
                  <a:cubicBezTo>
                    <a:pt x="483727" y="1802662"/>
                    <a:pt x="475319" y="1797562"/>
                    <a:pt x="466841" y="1792530"/>
                  </a:cubicBezTo>
                  <a:cubicBezTo>
                    <a:pt x="466703" y="1805695"/>
                    <a:pt x="468771" y="1818790"/>
                    <a:pt x="467806" y="1831886"/>
                  </a:cubicBezTo>
                  <a:moveTo>
                    <a:pt x="3493459" y="2018603"/>
                  </a:moveTo>
                  <a:cubicBezTo>
                    <a:pt x="3504831" y="2022531"/>
                    <a:pt x="3508760" y="2018879"/>
                    <a:pt x="3505039" y="2007644"/>
                  </a:cubicBezTo>
                  <a:cubicBezTo>
                    <a:pt x="3493666" y="2003991"/>
                    <a:pt x="3489737" y="2007644"/>
                    <a:pt x="3493459" y="2018603"/>
                  </a:cubicBezTo>
                </a:path>
              </a:pathLst>
            </a:custGeom>
            <a:grpFill/>
            <a:ln w="689" cap="flat">
              <a:noFill/>
              <a:prstDash val="solid"/>
              <a:miter/>
            </a:ln>
          </p:spPr>
          <p:txBody>
            <a:bodyPr rtlCol="0" anchor="ctr"/>
            <a:lstStyle/>
            <a:p>
              <a:endParaRPr lang="en-US" sz="2400" dirty="0"/>
            </a:p>
          </p:txBody>
        </p:sp>
        <p:sp>
          <p:nvSpPr>
            <p:cNvPr id="149" name="Graphic 8">
              <a:extLst>
                <a:ext uri="{FF2B5EF4-FFF2-40B4-BE49-F238E27FC236}">
                  <a16:creationId xmlns:a16="http://schemas.microsoft.com/office/drawing/2014/main" id="{F1461C84-C94D-4992-8AFA-40FD5CBCD309}"/>
                </a:ext>
              </a:extLst>
            </p:cNvPr>
            <p:cNvSpPr/>
            <p:nvPr/>
          </p:nvSpPr>
          <p:spPr>
            <a:xfrm flipV="1">
              <a:off x="3140529" y="1461477"/>
              <a:ext cx="3311648" cy="768871"/>
            </a:xfrm>
            <a:custGeom>
              <a:avLst/>
              <a:gdLst>
                <a:gd name="connsiteX0" fmla="*/ 3303098 w 3311648"/>
                <a:gd name="connsiteY0" fmla="*/ -1788 h 768871"/>
                <a:gd name="connsiteX1" fmla="*/ 3303098 w 3311648"/>
                <a:gd name="connsiteY1" fmla="*/ -1788 h 768871"/>
                <a:gd name="connsiteX2" fmla="*/ 850 w 3311648"/>
                <a:gd name="connsiteY2" fmla="*/ 764447 h 768871"/>
                <a:gd name="connsiteX3" fmla="*/ 506 w 3311648"/>
                <a:gd name="connsiteY3" fmla="*/ 749904 h 768871"/>
                <a:gd name="connsiteX4" fmla="*/ 850 w 3311648"/>
                <a:gd name="connsiteY4" fmla="*/ 764447 h 7688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1648" h="768871">
                  <a:moveTo>
                    <a:pt x="3303098" y="-1788"/>
                  </a:moveTo>
                  <a:cubicBezTo>
                    <a:pt x="3306613" y="-5304"/>
                    <a:pt x="3306613" y="-5304"/>
                    <a:pt x="3303098" y="-1788"/>
                  </a:cubicBezTo>
                  <a:close/>
                  <a:moveTo>
                    <a:pt x="850" y="764447"/>
                  </a:moveTo>
                  <a:cubicBezTo>
                    <a:pt x="9534" y="760173"/>
                    <a:pt x="9397" y="755349"/>
                    <a:pt x="506" y="749904"/>
                  </a:cubicBezTo>
                  <a:cubicBezTo>
                    <a:pt x="-8179" y="754177"/>
                    <a:pt x="-8041" y="759002"/>
                    <a:pt x="850" y="764447"/>
                  </a:cubicBezTo>
                </a:path>
              </a:pathLst>
            </a:custGeom>
            <a:grpFill/>
            <a:ln w="689" cap="flat">
              <a:noFill/>
              <a:prstDash val="solid"/>
              <a:miter/>
            </a:ln>
          </p:spPr>
          <p:txBody>
            <a:bodyPr rtlCol="0" anchor="ctr"/>
            <a:lstStyle/>
            <a:p>
              <a:endParaRPr lang="en-US" sz="2400" dirty="0"/>
            </a:p>
          </p:txBody>
        </p:sp>
        <p:sp>
          <p:nvSpPr>
            <p:cNvPr id="150" name="Graphic 8">
              <a:extLst>
                <a:ext uri="{FF2B5EF4-FFF2-40B4-BE49-F238E27FC236}">
                  <a16:creationId xmlns:a16="http://schemas.microsoft.com/office/drawing/2014/main" id="{3A726D06-BF1A-4231-A326-08FB01FD0848}"/>
                </a:ext>
              </a:extLst>
            </p:cNvPr>
            <p:cNvSpPr/>
            <p:nvPr/>
          </p:nvSpPr>
          <p:spPr>
            <a:xfrm flipV="1">
              <a:off x="1901894" y="1455963"/>
              <a:ext cx="3754599" cy="268599"/>
            </a:xfrm>
            <a:custGeom>
              <a:avLst/>
              <a:gdLst>
                <a:gd name="connsiteX0" fmla="*/ 290431 w 3754599"/>
                <a:gd name="connsiteY0" fmla="*/ 37544 h 268599"/>
                <a:gd name="connsiteX1" fmla="*/ 290431 w 3754599"/>
                <a:gd name="connsiteY1" fmla="*/ 37544 h 268599"/>
                <a:gd name="connsiteX2" fmla="*/ 275681 w 3754599"/>
                <a:gd name="connsiteY2" fmla="*/ 48778 h 268599"/>
                <a:gd name="connsiteX3" fmla="*/ 308007 w 3754599"/>
                <a:gd name="connsiteY3" fmla="*/ 44781 h 268599"/>
                <a:gd name="connsiteX4" fmla="*/ 312418 w 3754599"/>
                <a:gd name="connsiteY4" fmla="*/ 12524 h 268599"/>
                <a:gd name="connsiteX5" fmla="*/ 296772 w 3754599"/>
                <a:gd name="connsiteY5" fmla="*/ 13972 h 268599"/>
                <a:gd name="connsiteX6" fmla="*/ 307662 w 3754599"/>
                <a:gd name="connsiteY6" fmla="*/ 3150 h 268599"/>
                <a:gd name="connsiteX7" fmla="*/ 256244 w 3754599"/>
                <a:gd name="connsiteY7" fmla="*/ 6734 h 268599"/>
                <a:gd name="connsiteX8" fmla="*/ 211099 w 3754599"/>
                <a:gd name="connsiteY8" fmla="*/ -4845 h 268599"/>
                <a:gd name="connsiteX9" fmla="*/ 197176 w 3754599"/>
                <a:gd name="connsiteY9" fmla="*/ 16177 h 268599"/>
                <a:gd name="connsiteX10" fmla="*/ 187802 w 3754599"/>
                <a:gd name="connsiteY10" fmla="*/ 33201 h 268599"/>
                <a:gd name="connsiteX11" fmla="*/ 206067 w 3754599"/>
                <a:gd name="connsiteY11" fmla="*/ 38991 h 268599"/>
                <a:gd name="connsiteX12" fmla="*/ 239496 w 3754599"/>
                <a:gd name="connsiteY12" fmla="*/ 27343 h 268599"/>
                <a:gd name="connsiteX13" fmla="*/ 231225 w 3754599"/>
                <a:gd name="connsiteY13" fmla="*/ 45745 h 268599"/>
                <a:gd name="connsiteX14" fmla="*/ 268030 w 3754599"/>
                <a:gd name="connsiteY14" fmla="*/ 47538 h 268599"/>
                <a:gd name="connsiteX15" fmla="*/ 272855 w 3754599"/>
                <a:gd name="connsiteY15" fmla="*/ 27825 h 268599"/>
                <a:gd name="connsiteX16" fmla="*/ 275681 w 3754599"/>
                <a:gd name="connsiteY16" fmla="*/ 48778 h 268599"/>
                <a:gd name="connsiteX17" fmla="*/ -1327 w 3754599"/>
                <a:gd name="connsiteY17" fmla="*/ 126456 h 268599"/>
                <a:gd name="connsiteX18" fmla="*/ 21901 w 3754599"/>
                <a:gd name="connsiteY18" fmla="*/ 116256 h 268599"/>
                <a:gd name="connsiteX19" fmla="*/ 30654 w 3754599"/>
                <a:gd name="connsiteY19" fmla="*/ 120460 h 268599"/>
                <a:gd name="connsiteX20" fmla="*/ 63945 w 3754599"/>
                <a:gd name="connsiteY20" fmla="*/ 103160 h 268599"/>
                <a:gd name="connsiteX21" fmla="*/ 5910 w 3754599"/>
                <a:gd name="connsiteY21" fmla="*/ 101919 h 268599"/>
                <a:gd name="connsiteX22" fmla="*/ -4635 w 3754599"/>
                <a:gd name="connsiteY22" fmla="*/ 111637 h 268599"/>
                <a:gd name="connsiteX23" fmla="*/ -2637 w 3754599"/>
                <a:gd name="connsiteY23" fmla="*/ 123010 h 268599"/>
                <a:gd name="connsiteX24" fmla="*/ -1327 w 3754599"/>
                <a:gd name="connsiteY24" fmla="*/ 126456 h 268599"/>
                <a:gd name="connsiteX25" fmla="*/ 3718673 w 3754599"/>
                <a:gd name="connsiteY25" fmla="*/ 252864 h 268599"/>
                <a:gd name="connsiteX26" fmla="*/ 3735835 w 3754599"/>
                <a:gd name="connsiteY26" fmla="*/ 263754 h 268599"/>
                <a:gd name="connsiteX27" fmla="*/ 3749965 w 3754599"/>
                <a:gd name="connsiteY27" fmla="*/ 217712 h 268599"/>
                <a:gd name="connsiteX28" fmla="*/ 3739833 w 3754599"/>
                <a:gd name="connsiteY28" fmla="*/ 217092 h 268599"/>
                <a:gd name="connsiteX29" fmla="*/ 3740039 w 3754599"/>
                <a:gd name="connsiteY29" fmla="*/ 229843 h 268599"/>
                <a:gd name="connsiteX30" fmla="*/ 3718673 w 3754599"/>
                <a:gd name="connsiteY30" fmla="*/ 252864 h 26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54599" h="268599">
                  <a:moveTo>
                    <a:pt x="290431" y="37544"/>
                  </a:moveTo>
                  <a:cubicBezTo>
                    <a:pt x="291327" y="14798"/>
                    <a:pt x="311315" y="47400"/>
                    <a:pt x="290431" y="37544"/>
                  </a:cubicBezTo>
                  <a:close/>
                  <a:moveTo>
                    <a:pt x="275681" y="48778"/>
                  </a:moveTo>
                  <a:cubicBezTo>
                    <a:pt x="285813" y="46711"/>
                    <a:pt x="301528" y="54292"/>
                    <a:pt x="308007" y="44781"/>
                  </a:cubicBezTo>
                  <a:cubicBezTo>
                    <a:pt x="309592" y="34028"/>
                    <a:pt x="311108" y="23345"/>
                    <a:pt x="312418" y="12524"/>
                  </a:cubicBezTo>
                  <a:cubicBezTo>
                    <a:pt x="308558" y="12869"/>
                    <a:pt x="300701" y="13558"/>
                    <a:pt x="296772" y="13972"/>
                  </a:cubicBezTo>
                  <a:cubicBezTo>
                    <a:pt x="299460" y="11215"/>
                    <a:pt x="304905" y="5838"/>
                    <a:pt x="307662" y="3150"/>
                  </a:cubicBezTo>
                  <a:cubicBezTo>
                    <a:pt x="290638" y="1910"/>
                    <a:pt x="271615" y="-3536"/>
                    <a:pt x="256244" y="6734"/>
                  </a:cubicBezTo>
                  <a:cubicBezTo>
                    <a:pt x="241081" y="3150"/>
                    <a:pt x="225986" y="-434"/>
                    <a:pt x="211099" y="-4845"/>
                  </a:cubicBezTo>
                  <a:cubicBezTo>
                    <a:pt x="206136" y="1978"/>
                    <a:pt x="201242" y="8871"/>
                    <a:pt x="197176" y="16177"/>
                  </a:cubicBezTo>
                  <a:cubicBezTo>
                    <a:pt x="194832" y="20450"/>
                    <a:pt x="190146" y="28928"/>
                    <a:pt x="187802" y="33201"/>
                  </a:cubicBezTo>
                  <a:cubicBezTo>
                    <a:pt x="192351" y="34649"/>
                    <a:pt x="201518" y="37544"/>
                    <a:pt x="206067" y="38991"/>
                  </a:cubicBezTo>
                  <a:cubicBezTo>
                    <a:pt x="218611" y="40576"/>
                    <a:pt x="228950" y="32857"/>
                    <a:pt x="239496" y="27343"/>
                  </a:cubicBezTo>
                  <a:cubicBezTo>
                    <a:pt x="236670" y="33477"/>
                    <a:pt x="233913" y="39611"/>
                    <a:pt x="231225" y="45745"/>
                  </a:cubicBezTo>
                  <a:cubicBezTo>
                    <a:pt x="243493" y="46228"/>
                    <a:pt x="255762" y="46917"/>
                    <a:pt x="268030" y="47538"/>
                  </a:cubicBezTo>
                  <a:cubicBezTo>
                    <a:pt x="269202" y="42575"/>
                    <a:pt x="271615" y="32788"/>
                    <a:pt x="272855" y="27825"/>
                  </a:cubicBezTo>
                  <a:cubicBezTo>
                    <a:pt x="273544" y="33063"/>
                    <a:pt x="274992" y="43540"/>
                    <a:pt x="275681" y="48778"/>
                  </a:cubicBezTo>
                  <a:moveTo>
                    <a:pt x="-1327" y="126456"/>
                  </a:moveTo>
                  <a:cubicBezTo>
                    <a:pt x="7771" y="126732"/>
                    <a:pt x="15077" y="121701"/>
                    <a:pt x="21901" y="116256"/>
                  </a:cubicBezTo>
                  <a:cubicBezTo>
                    <a:pt x="24106" y="117289"/>
                    <a:pt x="28448" y="119426"/>
                    <a:pt x="30654" y="120460"/>
                  </a:cubicBezTo>
                  <a:cubicBezTo>
                    <a:pt x="42164" y="115497"/>
                    <a:pt x="53813" y="110673"/>
                    <a:pt x="63945" y="103160"/>
                  </a:cubicBezTo>
                  <a:cubicBezTo>
                    <a:pt x="44784" y="100748"/>
                    <a:pt x="25140" y="98335"/>
                    <a:pt x="5910" y="101919"/>
                  </a:cubicBezTo>
                  <a:cubicBezTo>
                    <a:pt x="3291" y="104331"/>
                    <a:pt x="-1947" y="109225"/>
                    <a:pt x="-4635" y="111637"/>
                  </a:cubicBezTo>
                  <a:lnTo>
                    <a:pt x="-2637" y="123010"/>
                  </a:lnTo>
                  <a:lnTo>
                    <a:pt x="-1327" y="126456"/>
                  </a:lnTo>
                  <a:moveTo>
                    <a:pt x="3718673" y="252864"/>
                  </a:moveTo>
                  <a:cubicBezTo>
                    <a:pt x="3722946" y="255552"/>
                    <a:pt x="3731562" y="261066"/>
                    <a:pt x="3735835" y="263754"/>
                  </a:cubicBezTo>
                  <a:cubicBezTo>
                    <a:pt x="3742728" y="249280"/>
                    <a:pt x="3749000" y="233979"/>
                    <a:pt x="3749965" y="217712"/>
                  </a:cubicBezTo>
                  <a:lnTo>
                    <a:pt x="3739833" y="217092"/>
                  </a:lnTo>
                  <a:cubicBezTo>
                    <a:pt x="3739902" y="220263"/>
                    <a:pt x="3739971" y="226673"/>
                    <a:pt x="3740039" y="229843"/>
                  </a:cubicBezTo>
                  <a:cubicBezTo>
                    <a:pt x="3721912" y="221366"/>
                    <a:pt x="3722877" y="241629"/>
                    <a:pt x="3718673" y="252864"/>
                  </a:cubicBezTo>
                </a:path>
              </a:pathLst>
            </a:custGeom>
            <a:grpFill/>
            <a:ln w="689" cap="flat">
              <a:noFill/>
              <a:prstDash val="solid"/>
              <a:miter/>
            </a:ln>
          </p:spPr>
          <p:txBody>
            <a:bodyPr rtlCol="0" anchor="ctr"/>
            <a:lstStyle/>
            <a:p>
              <a:endParaRPr lang="en-US" sz="2400" dirty="0"/>
            </a:p>
          </p:txBody>
        </p:sp>
        <p:sp>
          <p:nvSpPr>
            <p:cNvPr id="151" name="Graphic 8">
              <a:extLst>
                <a:ext uri="{FF2B5EF4-FFF2-40B4-BE49-F238E27FC236}">
                  <a16:creationId xmlns:a16="http://schemas.microsoft.com/office/drawing/2014/main" id="{BC39E93A-4BA9-4ACC-9504-9648A971BD29}"/>
                </a:ext>
              </a:extLst>
            </p:cNvPr>
            <p:cNvSpPr/>
            <p:nvPr/>
          </p:nvSpPr>
          <p:spPr>
            <a:xfrm flipV="1">
              <a:off x="5933088" y="1463131"/>
              <a:ext cx="1425016" cy="587789"/>
            </a:xfrm>
            <a:custGeom>
              <a:avLst/>
              <a:gdLst>
                <a:gd name="connsiteX0" fmla="*/ 1388311 w 1425016"/>
                <a:gd name="connsiteY0" fmla="*/ 16106 h 587789"/>
                <a:gd name="connsiteX1" fmla="*/ 1409195 w 1425016"/>
                <a:gd name="connsiteY1" fmla="*/ 29133 h 587789"/>
                <a:gd name="connsiteX2" fmla="*/ 1416777 w 1425016"/>
                <a:gd name="connsiteY2" fmla="*/ 14797 h 587789"/>
                <a:gd name="connsiteX3" fmla="*/ 1407541 w 1425016"/>
                <a:gd name="connsiteY3" fmla="*/ -4571 h 587789"/>
                <a:gd name="connsiteX4" fmla="*/ 1388311 w 1425016"/>
                <a:gd name="connsiteY4" fmla="*/ 16106 h 587789"/>
                <a:gd name="connsiteX5" fmla="*/ -8240 w 1425016"/>
                <a:gd name="connsiteY5" fmla="*/ 583218 h 587789"/>
                <a:gd name="connsiteX6" fmla="*/ -8240 w 1425016"/>
                <a:gd name="connsiteY6" fmla="*/ 583218 h 58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5016" h="587789">
                  <a:moveTo>
                    <a:pt x="1388311" y="16106"/>
                  </a:moveTo>
                  <a:cubicBezTo>
                    <a:pt x="1382797" y="29478"/>
                    <a:pt x="1399270" y="37266"/>
                    <a:pt x="1409195" y="29133"/>
                  </a:cubicBezTo>
                  <a:cubicBezTo>
                    <a:pt x="1411056" y="25549"/>
                    <a:pt x="1414847" y="18381"/>
                    <a:pt x="1416777" y="14797"/>
                  </a:cubicBezTo>
                  <a:cubicBezTo>
                    <a:pt x="1414433" y="9972"/>
                    <a:pt x="1409885" y="254"/>
                    <a:pt x="1407541" y="-4571"/>
                  </a:cubicBezTo>
                  <a:cubicBezTo>
                    <a:pt x="1400993" y="2322"/>
                    <a:pt x="1394583" y="9145"/>
                    <a:pt x="1388311" y="16106"/>
                  </a:cubicBezTo>
                  <a:close/>
                  <a:moveTo>
                    <a:pt x="-8240" y="583218"/>
                  </a:moveTo>
                  <a:cubicBezTo>
                    <a:pt x="-4793" y="579496"/>
                    <a:pt x="-4793" y="579496"/>
                    <a:pt x="-8240" y="583218"/>
                  </a:cubicBezTo>
                </a:path>
              </a:pathLst>
            </a:custGeom>
            <a:grpFill/>
            <a:ln w="689" cap="flat">
              <a:noFill/>
              <a:prstDash val="solid"/>
              <a:miter/>
            </a:ln>
          </p:spPr>
          <p:txBody>
            <a:bodyPr rtlCol="0" anchor="ctr"/>
            <a:lstStyle/>
            <a:p>
              <a:endParaRPr lang="en-US" sz="2400" dirty="0"/>
            </a:p>
          </p:txBody>
        </p:sp>
        <p:sp>
          <p:nvSpPr>
            <p:cNvPr id="152" name="Graphic 8">
              <a:extLst>
                <a:ext uri="{FF2B5EF4-FFF2-40B4-BE49-F238E27FC236}">
                  <a16:creationId xmlns:a16="http://schemas.microsoft.com/office/drawing/2014/main" id="{E6FBE291-D2D3-45EA-9BAE-F74D79C5F7FF}"/>
                </a:ext>
              </a:extLst>
            </p:cNvPr>
            <p:cNvSpPr/>
            <p:nvPr/>
          </p:nvSpPr>
          <p:spPr>
            <a:xfrm flipV="1">
              <a:off x="554555" y="1462511"/>
              <a:ext cx="8162015" cy="2247515"/>
            </a:xfrm>
            <a:custGeom>
              <a:avLst/>
              <a:gdLst>
                <a:gd name="connsiteX0" fmla="*/ 988457 w 8162015"/>
                <a:gd name="connsiteY0" fmla="*/ 5085 h 2247515"/>
                <a:gd name="connsiteX1" fmla="*/ 988457 w 8162015"/>
                <a:gd name="connsiteY1" fmla="*/ 5085 h 2247515"/>
                <a:gd name="connsiteX2" fmla="*/ 2414369 w 8162015"/>
                <a:gd name="connsiteY2" fmla="*/ 99443 h 2247515"/>
                <a:gd name="connsiteX3" fmla="*/ 2414369 w 8162015"/>
                <a:gd name="connsiteY3" fmla="*/ 99443 h 2247515"/>
                <a:gd name="connsiteX4" fmla="*/ 60800 w 8162015"/>
                <a:gd name="connsiteY4" fmla="*/ 948801 h 2247515"/>
                <a:gd name="connsiteX5" fmla="*/ 64661 w 8162015"/>
                <a:gd name="connsiteY5" fmla="*/ 954728 h 2247515"/>
                <a:gd name="connsiteX6" fmla="*/ 84305 w 8162015"/>
                <a:gd name="connsiteY6" fmla="*/ 954108 h 2247515"/>
                <a:gd name="connsiteX7" fmla="*/ 77339 w 8162015"/>
                <a:gd name="connsiteY7" fmla="*/ 915028 h 2247515"/>
                <a:gd name="connsiteX8" fmla="*/ 85198 w 8162015"/>
                <a:gd name="connsiteY8" fmla="*/ 872639 h 2247515"/>
                <a:gd name="connsiteX9" fmla="*/ 69486 w 8162015"/>
                <a:gd name="connsiteY9" fmla="*/ 899451 h 2247515"/>
                <a:gd name="connsiteX10" fmla="*/ 54182 w 8162015"/>
                <a:gd name="connsiteY10" fmla="*/ 889181 h 2247515"/>
                <a:gd name="connsiteX11" fmla="*/ 61422 w 8162015"/>
                <a:gd name="connsiteY11" fmla="*/ 933017 h 2247515"/>
                <a:gd name="connsiteX12" fmla="*/ 61215 w 8162015"/>
                <a:gd name="connsiteY12" fmla="*/ 938944 h 2247515"/>
                <a:gd name="connsiteX13" fmla="*/ 60800 w 8162015"/>
                <a:gd name="connsiteY13" fmla="*/ 948801 h 2247515"/>
                <a:gd name="connsiteX14" fmla="*/ 18344 w 8162015"/>
                <a:gd name="connsiteY14" fmla="*/ 1484138 h 2247515"/>
                <a:gd name="connsiteX15" fmla="*/ 26338 w 8162015"/>
                <a:gd name="connsiteY15" fmla="*/ 1474420 h 2247515"/>
                <a:gd name="connsiteX16" fmla="*/ 34676 w 8162015"/>
                <a:gd name="connsiteY16" fmla="*/ 1491927 h 2247515"/>
                <a:gd name="connsiteX17" fmla="*/ 34194 w 8162015"/>
                <a:gd name="connsiteY17" fmla="*/ 1463806 h 2247515"/>
                <a:gd name="connsiteX18" fmla="*/ 47223 w 8162015"/>
                <a:gd name="connsiteY18" fmla="*/ 1487033 h 2247515"/>
                <a:gd name="connsiteX19" fmla="*/ 48946 w 8162015"/>
                <a:gd name="connsiteY19" fmla="*/ 1450848 h 2247515"/>
                <a:gd name="connsiteX20" fmla="*/ 44877 w 8162015"/>
                <a:gd name="connsiteY20" fmla="*/ 1454914 h 2247515"/>
                <a:gd name="connsiteX21" fmla="*/ 33438 w 8162015"/>
                <a:gd name="connsiteY21" fmla="*/ 1438166 h 2247515"/>
                <a:gd name="connsiteX22" fmla="*/ 34746 w 8162015"/>
                <a:gd name="connsiteY22" fmla="*/ 1427000 h 2247515"/>
                <a:gd name="connsiteX23" fmla="*/ 11656 w 8162015"/>
                <a:gd name="connsiteY23" fmla="*/ 1432583 h 2247515"/>
                <a:gd name="connsiteX24" fmla="*/ 1870 w 8162015"/>
                <a:gd name="connsiteY24" fmla="*/ 1456913 h 2247515"/>
                <a:gd name="connsiteX25" fmla="*/ -5712 w 8162015"/>
                <a:gd name="connsiteY25" fmla="*/ 1477108 h 2247515"/>
                <a:gd name="connsiteX26" fmla="*/ 18344 w 8162015"/>
                <a:gd name="connsiteY26" fmla="*/ 1484138 h 2247515"/>
                <a:gd name="connsiteX27" fmla="*/ 8080180 w 8162015"/>
                <a:gd name="connsiteY27" fmla="*/ 1581804 h 2247515"/>
                <a:gd name="connsiteX28" fmla="*/ 8080180 w 8162015"/>
                <a:gd name="connsiteY28" fmla="*/ 1581804 h 2247515"/>
                <a:gd name="connsiteX29" fmla="*/ 1125134 w 8162015"/>
                <a:gd name="connsiteY29" fmla="*/ 2174143 h 2247515"/>
                <a:gd name="connsiteX30" fmla="*/ 1125134 w 8162015"/>
                <a:gd name="connsiteY30" fmla="*/ 2174143 h 2247515"/>
                <a:gd name="connsiteX31" fmla="*/ 8148209 w 8162015"/>
                <a:gd name="connsiteY31" fmla="*/ 2244308 h 2247515"/>
                <a:gd name="connsiteX32" fmla="*/ 8148209 w 8162015"/>
                <a:gd name="connsiteY32" fmla="*/ 2244308 h 224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62015" h="2247515">
                  <a:moveTo>
                    <a:pt x="988457" y="5085"/>
                  </a:moveTo>
                  <a:cubicBezTo>
                    <a:pt x="1009823" y="14458"/>
                    <a:pt x="988112" y="-17592"/>
                    <a:pt x="988457" y="5085"/>
                  </a:cubicBezTo>
                  <a:close/>
                  <a:moveTo>
                    <a:pt x="2414369" y="99443"/>
                  </a:moveTo>
                  <a:cubicBezTo>
                    <a:pt x="2437115" y="97444"/>
                    <a:pt x="2402928" y="79248"/>
                    <a:pt x="2414369" y="99443"/>
                  </a:cubicBezTo>
                  <a:moveTo>
                    <a:pt x="60800" y="948801"/>
                  </a:moveTo>
                  <a:cubicBezTo>
                    <a:pt x="61764" y="950248"/>
                    <a:pt x="63694" y="953212"/>
                    <a:pt x="64661" y="954728"/>
                  </a:cubicBezTo>
                  <a:cubicBezTo>
                    <a:pt x="69553" y="954521"/>
                    <a:pt x="79410" y="954246"/>
                    <a:pt x="84305" y="954108"/>
                  </a:cubicBezTo>
                  <a:cubicBezTo>
                    <a:pt x="82030" y="941081"/>
                    <a:pt x="79547" y="928054"/>
                    <a:pt x="77339" y="915028"/>
                  </a:cubicBezTo>
                  <a:cubicBezTo>
                    <a:pt x="87955" y="903310"/>
                    <a:pt x="85061" y="887113"/>
                    <a:pt x="85198" y="872639"/>
                  </a:cubicBezTo>
                  <a:cubicBezTo>
                    <a:pt x="80029" y="881668"/>
                    <a:pt x="74792" y="890628"/>
                    <a:pt x="69486" y="899451"/>
                  </a:cubicBezTo>
                  <a:cubicBezTo>
                    <a:pt x="65692" y="896900"/>
                    <a:pt x="57976" y="891731"/>
                    <a:pt x="54182" y="889181"/>
                  </a:cubicBezTo>
                  <a:cubicBezTo>
                    <a:pt x="50324" y="904551"/>
                    <a:pt x="51703" y="920128"/>
                    <a:pt x="61422" y="933017"/>
                  </a:cubicBezTo>
                  <a:lnTo>
                    <a:pt x="61215" y="938944"/>
                  </a:lnTo>
                  <a:cubicBezTo>
                    <a:pt x="61074" y="941426"/>
                    <a:pt x="60937" y="946319"/>
                    <a:pt x="60800" y="948801"/>
                  </a:cubicBezTo>
                  <a:moveTo>
                    <a:pt x="18344" y="1484138"/>
                  </a:moveTo>
                  <a:cubicBezTo>
                    <a:pt x="20345" y="1481726"/>
                    <a:pt x="24338" y="1476832"/>
                    <a:pt x="26338" y="1474420"/>
                  </a:cubicBezTo>
                  <a:cubicBezTo>
                    <a:pt x="28408" y="1478831"/>
                    <a:pt x="32611" y="1487585"/>
                    <a:pt x="34676" y="1491927"/>
                  </a:cubicBezTo>
                  <a:cubicBezTo>
                    <a:pt x="34538" y="1484896"/>
                    <a:pt x="34334" y="1470836"/>
                    <a:pt x="34194" y="1463806"/>
                  </a:cubicBezTo>
                  <a:cubicBezTo>
                    <a:pt x="40397" y="1470422"/>
                    <a:pt x="44740" y="1478142"/>
                    <a:pt x="47223" y="1487033"/>
                  </a:cubicBezTo>
                  <a:cubicBezTo>
                    <a:pt x="47772" y="1474971"/>
                    <a:pt x="48601" y="1462909"/>
                    <a:pt x="48946" y="1450848"/>
                  </a:cubicBezTo>
                  <a:lnTo>
                    <a:pt x="44877" y="1454914"/>
                  </a:lnTo>
                  <a:cubicBezTo>
                    <a:pt x="33715" y="1467183"/>
                    <a:pt x="22892" y="1446988"/>
                    <a:pt x="33438" y="1438166"/>
                  </a:cubicBezTo>
                  <a:cubicBezTo>
                    <a:pt x="33782" y="1435409"/>
                    <a:pt x="34472" y="1429826"/>
                    <a:pt x="34746" y="1427000"/>
                  </a:cubicBezTo>
                  <a:cubicBezTo>
                    <a:pt x="27095" y="1428861"/>
                    <a:pt x="19378" y="1430722"/>
                    <a:pt x="11656" y="1432583"/>
                  </a:cubicBezTo>
                  <a:cubicBezTo>
                    <a:pt x="8899" y="1440854"/>
                    <a:pt x="5453" y="1448987"/>
                    <a:pt x="1870" y="1456913"/>
                  </a:cubicBezTo>
                  <a:cubicBezTo>
                    <a:pt x="-1095" y="1463530"/>
                    <a:pt x="-3370" y="1470422"/>
                    <a:pt x="-5712" y="1477108"/>
                  </a:cubicBezTo>
                  <a:cubicBezTo>
                    <a:pt x="2284" y="1479451"/>
                    <a:pt x="10278" y="1481795"/>
                    <a:pt x="18344" y="1484138"/>
                  </a:cubicBezTo>
                  <a:moveTo>
                    <a:pt x="8080180" y="1581804"/>
                  </a:moveTo>
                  <a:cubicBezTo>
                    <a:pt x="8102857" y="1580357"/>
                    <a:pt x="8069221" y="1561334"/>
                    <a:pt x="8080180" y="1581804"/>
                  </a:cubicBezTo>
                  <a:moveTo>
                    <a:pt x="1125134" y="2174143"/>
                  </a:moveTo>
                  <a:cubicBezTo>
                    <a:pt x="1147948" y="2172833"/>
                    <a:pt x="1114175" y="2153672"/>
                    <a:pt x="1125134" y="2174143"/>
                  </a:cubicBezTo>
                  <a:moveTo>
                    <a:pt x="8148209" y="2244308"/>
                  </a:moveTo>
                  <a:cubicBezTo>
                    <a:pt x="8170885" y="2243550"/>
                    <a:pt x="8137594" y="2223493"/>
                    <a:pt x="8148209" y="2244308"/>
                  </a:cubicBezTo>
                </a:path>
              </a:pathLst>
            </a:custGeom>
            <a:grpFill/>
            <a:ln w="689" cap="flat">
              <a:noFill/>
              <a:prstDash val="solid"/>
              <a:miter/>
            </a:ln>
          </p:spPr>
          <p:txBody>
            <a:bodyPr rtlCol="0" anchor="ctr"/>
            <a:lstStyle/>
            <a:p>
              <a:endParaRPr lang="en-US" sz="2400" dirty="0"/>
            </a:p>
          </p:txBody>
        </p:sp>
        <p:sp>
          <p:nvSpPr>
            <p:cNvPr id="153" name="Graphic 8">
              <a:extLst>
                <a:ext uri="{FF2B5EF4-FFF2-40B4-BE49-F238E27FC236}">
                  <a16:creationId xmlns:a16="http://schemas.microsoft.com/office/drawing/2014/main" id="{7311C355-ED8C-4EDB-9E7A-A0AFAC3E5AEA}"/>
                </a:ext>
              </a:extLst>
            </p:cNvPr>
            <p:cNvSpPr/>
            <p:nvPr/>
          </p:nvSpPr>
          <p:spPr>
            <a:xfrm flipV="1">
              <a:off x="1636121" y="1469611"/>
              <a:ext cx="5185508" cy="753472"/>
            </a:xfrm>
            <a:custGeom>
              <a:avLst/>
              <a:gdLst>
                <a:gd name="connsiteX0" fmla="*/ 5172211 w 5185508"/>
                <a:gd name="connsiteY0" fmla="*/ 5076 h 753472"/>
                <a:gd name="connsiteX1" fmla="*/ 5172211 w 5185508"/>
                <a:gd name="connsiteY1" fmla="*/ 5076 h 753472"/>
                <a:gd name="connsiteX2" fmla="*/ -5201 w 5185508"/>
                <a:gd name="connsiteY2" fmla="*/ 656138 h 753472"/>
                <a:gd name="connsiteX3" fmla="*/ 15890 w 5185508"/>
                <a:gd name="connsiteY3" fmla="*/ 682743 h 753472"/>
                <a:gd name="connsiteX4" fmla="*/ 17200 w 5185508"/>
                <a:gd name="connsiteY4" fmla="*/ 661238 h 753472"/>
                <a:gd name="connsiteX5" fmla="*/ -5201 w 5185508"/>
                <a:gd name="connsiteY5" fmla="*/ 656138 h 753472"/>
                <a:gd name="connsiteX6" fmla="*/ 1291892 w 5185508"/>
                <a:gd name="connsiteY6" fmla="*/ 749048 h 753472"/>
                <a:gd name="connsiteX7" fmla="*/ 1291892 w 5185508"/>
                <a:gd name="connsiteY7" fmla="*/ 749048 h 75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5508" h="753472">
                  <a:moveTo>
                    <a:pt x="5172211" y="5076"/>
                  </a:moveTo>
                  <a:cubicBezTo>
                    <a:pt x="5194818" y="4111"/>
                    <a:pt x="5161803" y="-15808"/>
                    <a:pt x="5172211" y="5076"/>
                  </a:cubicBezTo>
                  <a:close/>
                  <a:moveTo>
                    <a:pt x="-5201" y="656138"/>
                  </a:moveTo>
                  <a:cubicBezTo>
                    <a:pt x="38" y="665512"/>
                    <a:pt x="1071" y="685224"/>
                    <a:pt x="15890" y="682743"/>
                  </a:cubicBezTo>
                  <a:cubicBezTo>
                    <a:pt x="16235" y="677367"/>
                    <a:pt x="16924" y="666615"/>
                    <a:pt x="17200" y="661238"/>
                  </a:cubicBezTo>
                  <a:cubicBezTo>
                    <a:pt x="9756" y="659515"/>
                    <a:pt x="2243" y="657792"/>
                    <a:pt x="-5201" y="656138"/>
                  </a:cubicBezTo>
                  <a:moveTo>
                    <a:pt x="1291892" y="749048"/>
                  </a:moveTo>
                  <a:cubicBezTo>
                    <a:pt x="1314568" y="748359"/>
                    <a:pt x="1281691" y="728095"/>
                    <a:pt x="1291892" y="749048"/>
                  </a:cubicBezTo>
                </a:path>
              </a:pathLst>
            </a:custGeom>
            <a:grpFill/>
            <a:ln w="689" cap="flat">
              <a:noFill/>
              <a:prstDash val="solid"/>
              <a:miter/>
            </a:ln>
          </p:spPr>
          <p:txBody>
            <a:bodyPr rtlCol="0" anchor="ctr"/>
            <a:lstStyle/>
            <a:p>
              <a:endParaRPr lang="en-US" sz="2400" dirty="0"/>
            </a:p>
          </p:txBody>
        </p:sp>
        <p:sp>
          <p:nvSpPr>
            <p:cNvPr id="154" name="Graphic 8">
              <a:extLst>
                <a:ext uri="{FF2B5EF4-FFF2-40B4-BE49-F238E27FC236}">
                  <a16:creationId xmlns:a16="http://schemas.microsoft.com/office/drawing/2014/main" id="{E2ABF451-8A2C-49FD-9A37-E2A6F5A864DC}"/>
                </a:ext>
              </a:extLst>
            </p:cNvPr>
            <p:cNvSpPr/>
            <p:nvPr/>
          </p:nvSpPr>
          <p:spPr>
            <a:xfrm flipV="1">
              <a:off x="5500724" y="1467405"/>
              <a:ext cx="40596" cy="44022"/>
            </a:xfrm>
            <a:custGeom>
              <a:avLst/>
              <a:gdLst>
                <a:gd name="connsiteX0" fmla="*/ 5374 w 40596"/>
                <a:gd name="connsiteY0" fmla="*/ 39011 h 44022"/>
                <a:gd name="connsiteX1" fmla="*/ 15644 w 40596"/>
                <a:gd name="connsiteY1" fmla="*/ 37564 h 44022"/>
                <a:gd name="connsiteX2" fmla="*/ 24604 w 40596"/>
                <a:gd name="connsiteY2" fmla="*/ 25020 h 44022"/>
                <a:gd name="connsiteX3" fmla="*/ 33771 w 40596"/>
                <a:gd name="connsiteY3" fmla="*/ 9788 h 44022"/>
                <a:gd name="connsiteX4" fmla="*/ 22536 w 40596"/>
                <a:gd name="connsiteY4" fmla="*/ 207 h 44022"/>
                <a:gd name="connsiteX5" fmla="*/ -6826 w 40596"/>
                <a:gd name="connsiteY5" fmla="*/ -3102 h 44022"/>
                <a:gd name="connsiteX6" fmla="*/ 4202 w 40596"/>
                <a:gd name="connsiteY6" fmla="*/ 6066 h 44022"/>
                <a:gd name="connsiteX7" fmla="*/ 6615 w 40596"/>
                <a:gd name="connsiteY7" fmla="*/ 7306 h 44022"/>
                <a:gd name="connsiteX8" fmla="*/ 5374 w 40596"/>
                <a:gd name="connsiteY8" fmla="*/ 39011 h 44022"/>
                <a:gd name="connsiteX9" fmla="*/ 5374 w 40596"/>
                <a:gd name="connsiteY9" fmla="*/ 39011 h 4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96" h="44022">
                  <a:moveTo>
                    <a:pt x="5374" y="39011"/>
                  </a:moveTo>
                  <a:cubicBezTo>
                    <a:pt x="7924" y="38667"/>
                    <a:pt x="13094" y="37909"/>
                    <a:pt x="15644" y="37564"/>
                  </a:cubicBezTo>
                  <a:cubicBezTo>
                    <a:pt x="17918" y="34393"/>
                    <a:pt x="22398" y="28122"/>
                    <a:pt x="24604" y="25020"/>
                  </a:cubicBezTo>
                  <a:cubicBezTo>
                    <a:pt x="26879" y="21160"/>
                    <a:pt x="31496" y="13578"/>
                    <a:pt x="33771" y="9788"/>
                  </a:cubicBezTo>
                  <a:cubicBezTo>
                    <a:pt x="31014" y="7375"/>
                    <a:pt x="25362" y="2619"/>
                    <a:pt x="22536" y="207"/>
                  </a:cubicBezTo>
                  <a:cubicBezTo>
                    <a:pt x="13920" y="-5376"/>
                    <a:pt x="4133" y="-6479"/>
                    <a:pt x="-6826" y="-3102"/>
                  </a:cubicBezTo>
                  <a:cubicBezTo>
                    <a:pt x="-4069" y="-827"/>
                    <a:pt x="1445" y="3791"/>
                    <a:pt x="4202" y="6066"/>
                  </a:cubicBezTo>
                  <a:lnTo>
                    <a:pt x="6615" y="7306"/>
                  </a:lnTo>
                  <a:cubicBezTo>
                    <a:pt x="6132" y="17920"/>
                    <a:pt x="5719" y="28466"/>
                    <a:pt x="5374" y="39011"/>
                  </a:cubicBezTo>
                  <a:lnTo>
                    <a:pt x="5374" y="39011"/>
                  </a:lnTo>
                </a:path>
              </a:pathLst>
            </a:custGeom>
            <a:grpFill/>
            <a:ln w="689" cap="flat">
              <a:noFill/>
              <a:prstDash val="solid"/>
              <a:miter/>
            </a:ln>
          </p:spPr>
          <p:txBody>
            <a:bodyPr rtlCol="0" anchor="ctr"/>
            <a:lstStyle/>
            <a:p>
              <a:endParaRPr lang="en-US" sz="2400" dirty="0"/>
            </a:p>
          </p:txBody>
        </p:sp>
        <p:sp>
          <p:nvSpPr>
            <p:cNvPr id="155" name="Graphic 8">
              <a:extLst>
                <a:ext uri="{FF2B5EF4-FFF2-40B4-BE49-F238E27FC236}">
                  <a16:creationId xmlns:a16="http://schemas.microsoft.com/office/drawing/2014/main" id="{BCC81341-E099-45AA-9DDE-E289E5FBC8E1}"/>
                </a:ext>
              </a:extLst>
            </p:cNvPr>
            <p:cNvSpPr/>
            <p:nvPr/>
          </p:nvSpPr>
          <p:spPr>
            <a:xfrm flipV="1">
              <a:off x="5523194" y="1468852"/>
              <a:ext cx="8960" cy="12544"/>
            </a:xfrm>
            <a:custGeom>
              <a:avLst/>
              <a:gdLst>
                <a:gd name="connsiteX0" fmla="*/ -6834 w 8960"/>
                <a:gd name="connsiteY0" fmla="*/ 7510 h 12544"/>
                <a:gd name="connsiteX1" fmla="*/ 2126 w 8960"/>
                <a:gd name="connsiteY1" fmla="*/ -5034 h 12544"/>
                <a:gd name="connsiteX2" fmla="*/ -6834 w 8960"/>
                <a:gd name="connsiteY2" fmla="*/ 7510 h 12544"/>
                <a:gd name="connsiteX3" fmla="*/ -6834 w 8960"/>
                <a:gd name="connsiteY3" fmla="*/ 7510 h 12544"/>
              </a:gdLst>
              <a:ahLst/>
              <a:cxnLst>
                <a:cxn ang="0">
                  <a:pos x="connsiteX0" y="connsiteY0"/>
                </a:cxn>
                <a:cxn ang="0">
                  <a:pos x="connsiteX1" y="connsiteY1"/>
                </a:cxn>
                <a:cxn ang="0">
                  <a:pos x="connsiteX2" y="connsiteY2"/>
                </a:cxn>
                <a:cxn ang="0">
                  <a:pos x="connsiteX3" y="connsiteY3"/>
                </a:cxn>
              </a:cxnLst>
              <a:rect l="l" t="t" r="r" b="b"/>
              <a:pathLst>
                <a:path w="8960" h="12544">
                  <a:moveTo>
                    <a:pt x="-6834" y="7510"/>
                  </a:moveTo>
                  <a:cubicBezTo>
                    <a:pt x="-4559" y="4339"/>
                    <a:pt x="-79" y="-1933"/>
                    <a:pt x="2126" y="-5034"/>
                  </a:cubicBezTo>
                  <a:cubicBezTo>
                    <a:pt x="-79" y="-1933"/>
                    <a:pt x="-4559" y="4339"/>
                    <a:pt x="-6834" y="7510"/>
                  </a:cubicBezTo>
                  <a:lnTo>
                    <a:pt x="-6834" y="7510"/>
                  </a:lnTo>
                </a:path>
              </a:pathLst>
            </a:custGeom>
            <a:grpFill/>
            <a:ln w="689" cap="flat">
              <a:noFill/>
              <a:prstDash val="solid"/>
              <a:miter/>
            </a:ln>
          </p:spPr>
          <p:txBody>
            <a:bodyPr rtlCol="0" anchor="ctr"/>
            <a:lstStyle/>
            <a:p>
              <a:endParaRPr lang="en-US" sz="2400" dirty="0"/>
            </a:p>
          </p:txBody>
        </p:sp>
        <p:sp>
          <p:nvSpPr>
            <p:cNvPr id="156" name="Graphic 8">
              <a:extLst>
                <a:ext uri="{FF2B5EF4-FFF2-40B4-BE49-F238E27FC236}">
                  <a16:creationId xmlns:a16="http://schemas.microsoft.com/office/drawing/2014/main" id="{EFAE6B3A-122B-4D16-BB5A-C4E1D4520923}"/>
                </a:ext>
              </a:extLst>
            </p:cNvPr>
            <p:cNvSpPr/>
            <p:nvPr/>
          </p:nvSpPr>
          <p:spPr>
            <a:xfrm flipV="1">
              <a:off x="5679841" y="1470644"/>
              <a:ext cx="10348" cy="9595"/>
            </a:xfrm>
            <a:custGeom>
              <a:avLst/>
              <a:gdLst>
                <a:gd name="connsiteX0" fmla="*/ -4532 w 10348"/>
                <a:gd name="connsiteY0" fmla="*/ 4562 h 9595"/>
                <a:gd name="connsiteX1" fmla="*/ -4532 w 10348"/>
                <a:gd name="connsiteY1" fmla="*/ 4562 h 9595"/>
                <a:gd name="connsiteX2" fmla="*/ -4532 w 10348"/>
                <a:gd name="connsiteY2" fmla="*/ 4562 h 9595"/>
              </a:gdLst>
              <a:ahLst/>
              <a:cxnLst>
                <a:cxn ang="0">
                  <a:pos x="connsiteX0" y="connsiteY0"/>
                </a:cxn>
                <a:cxn ang="0">
                  <a:pos x="connsiteX1" y="connsiteY1"/>
                </a:cxn>
                <a:cxn ang="0">
                  <a:pos x="connsiteX2" y="connsiteY2"/>
                </a:cxn>
              </a:cxnLst>
              <a:rect l="l" t="t" r="r" b="b"/>
              <a:pathLst>
                <a:path w="10348" h="9595">
                  <a:moveTo>
                    <a:pt x="-4532" y="4562"/>
                  </a:moveTo>
                  <a:cubicBezTo>
                    <a:pt x="17937" y="3183"/>
                    <a:pt x="-16181" y="-16322"/>
                    <a:pt x="-4532" y="4562"/>
                  </a:cubicBezTo>
                  <a:lnTo>
                    <a:pt x="-4532" y="4562"/>
                  </a:lnTo>
                </a:path>
              </a:pathLst>
            </a:custGeom>
            <a:grpFill/>
            <a:ln w="689" cap="flat">
              <a:noFill/>
              <a:prstDash val="solid"/>
              <a:miter/>
            </a:ln>
          </p:spPr>
          <p:txBody>
            <a:bodyPr rtlCol="0" anchor="ctr"/>
            <a:lstStyle/>
            <a:p>
              <a:endParaRPr lang="en-US" sz="2400" dirty="0"/>
            </a:p>
          </p:txBody>
        </p:sp>
        <p:sp>
          <p:nvSpPr>
            <p:cNvPr id="157" name="Graphic 8">
              <a:extLst>
                <a:ext uri="{FF2B5EF4-FFF2-40B4-BE49-F238E27FC236}">
                  <a16:creationId xmlns:a16="http://schemas.microsoft.com/office/drawing/2014/main" id="{262337CD-464C-44F2-A533-91F27655A87F}"/>
                </a:ext>
              </a:extLst>
            </p:cNvPr>
            <p:cNvSpPr/>
            <p:nvPr/>
          </p:nvSpPr>
          <p:spPr>
            <a:xfrm flipV="1">
              <a:off x="2457202" y="1475042"/>
              <a:ext cx="11812" cy="12627"/>
            </a:xfrm>
            <a:custGeom>
              <a:avLst/>
              <a:gdLst>
                <a:gd name="connsiteX0" fmla="*/ -1792 w 11812"/>
                <a:gd name="connsiteY0" fmla="*/ 5591 h 12627"/>
                <a:gd name="connsiteX1" fmla="*/ 7720 w 11812"/>
                <a:gd name="connsiteY1" fmla="*/ -3025 h 12627"/>
                <a:gd name="connsiteX2" fmla="*/ -1792 w 11812"/>
                <a:gd name="connsiteY2" fmla="*/ 5591 h 12627"/>
                <a:gd name="connsiteX3" fmla="*/ -1792 w 11812"/>
                <a:gd name="connsiteY3" fmla="*/ 5591 h 12627"/>
              </a:gdLst>
              <a:ahLst/>
              <a:cxnLst>
                <a:cxn ang="0">
                  <a:pos x="connsiteX0" y="connsiteY0"/>
                </a:cxn>
                <a:cxn ang="0">
                  <a:pos x="connsiteX1" y="connsiteY1"/>
                </a:cxn>
                <a:cxn ang="0">
                  <a:pos x="connsiteX2" y="connsiteY2"/>
                </a:cxn>
                <a:cxn ang="0">
                  <a:pos x="connsiteX3" y="connsiteY3"/>
                </a:cxn>
              </a:cxnLst>
              <a:rect l="l" t="t" r="r" b="b"/>
              <a:pathLst>
                <a:path w="11812" h="12627">
                  <a:moveTo>
                    <a:pt x="-1792" y="5591"/>
                  </a:moveTo>
                  <a:cubicBezTo>
                    <a:pt x="7582" y="10002"/>
                    <a:pt x="10753" y="7176"/>
                    <a:pt x="7720" y="-3025"/>
                  </a:cubicBezTo>
                  <a:cubicBezTo>
                    <a:pt x="-1792" y="-7436"/>
                    <a:pt x="-4962" y="-4541"/>
                    <a:pt x="-1792" y="5591"/>
                  </a:cubicBezTo>
                  <a:lnTo>
                    <a:pt x="-1792" y="5591"/>
                  </a:lnTo>
                </a:path>
              </a:pathLst>
            </a:custGeom>
            <a:grpFill/>
            <a:ln w="689" cap="flat">
              <a:noFill/>
              <a:prstDash val="solid"/>
              <a:miter/>
            </a:ln>
          </p:spPr>
          <p:txBody>
            <a:bodyPr rtlCol="0" anchor="ctr"/>
            <a:lstStyle/>
            <a:p>
              <a:endParaRPr lang="en-US" sz="2400" dirty="0"/>
            </a:p>
          </p:txBody>
        </p:sp>
        <p:sp>
          <p:nvSpPr>
            <p:cNvPr id="158" name="Graphic 8">
              <a:extLst>
                <a:ext uri="{FF2B5EF4-FFF2-40B4-BE49-F238E27FC236}">
                  <a16:creationId xmlns:a16="http://schemas.microsoft.com/office/drawing/2014/main" id="{F0AF34F8-A820-405F-9449-D070BAE51BED}"/>
                </a:ext>
              </a:extLst>
            </p:cNvPr>
            <p:cNvSpPr/>
            <p:nvPr/>
          </p:nvSpPr>
          <p:spPr>
            <a:xfrm flipV="1">
              <a:off x="996230" y="1470018"/>
              <a:ext cx="1765912" cy="116050"/>
            </a:xfrm>
            <a:custGeom>
              <a:avLst/>
              <a:gdLst>
                <a:gd name="connsiteX0" fmla="*/ -459 w 1765912"/>
                <a:gd name="connsiteY0" fmla="*/ 7711 h 116050"/>
                <a:gd name="connsiteX1" fmla="*/ 10155 w 1765912"/>
                <a:gd name="connsiteY1" fmla="*/ -3524 h 116050"/>
                <a:gd name="connsiteX2" fmla="*/ -459 w 1765912"/>
                <a:gd name="connsiteY2" fmla="*/ 7711 h 116050"/>
                <a:gd name="connsiteX3" fmla="*/ 1732581 w 1765912"/>
                <a:gd name="connsiteY3" fmla="*/ 63471 h 116050"/>
                <a:gd name="connsiteX4" fmla="*/ 1748021 w 1765912"/>
                <a:gd name="connsiteY4" fmla="*/ 111098 h 116050"/>
                <a:gd name="connsiteX5" fmla="*/ 1762150 w 1765912"/>
                <a:gd name="connsiteY5" fmla="*/ 93660 h 116050"/>
                <a:gd name="connsiteX6" fmla="*/ 1763666 w 1765912"/>
                <a:gd name="connsiteY6" fmla="*/ 46998 h 116050"/>
                <a:gd name="connsiteX7" fmla="*/ 1735132 w 1765912"/>
                <a:gd name="connsiteY7" fmla="*/ 62230 h 116050"/>
                <a:gd name="connsiteX8" fmla="*/ 1728859 w 1765912"/>
                <a:gd name="connsiteY8" fmla="*/ 24046 h 116050"/>
                <a:gd name="connsiteX9" fmla="*/ 1709699 w 1765912"/>
                <a:gd name="connsiteY9" fmla="*/ 42518 h 116050"/>
                <a:gd name="connsiteX10" fmla="*/ 1714179 w 1765912"/>
                <a:gd name="connsiteY10" fmla="*/ 63471 h 116050"/>
                <a:gd name="connsiteX11" fmla="*/ 1732581 w 1765912"/>
                <a:gd name="connsiteY11" fmla="*/ 63471 h 116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5912" h="116050">
                  <a:moveTo>
                    <a:pt x="-459" y="7711"/>
                  </a:moveTo>
                  <a:cubicBezTo>
                    <a:pt x="10706" y="11640"/>
                    <a:pt x="14222" y="7918"/>
                    <a:pt x="10155" y="-3524"/>
                  </a:cubicBezTo>
                  <a:cubicBezTo>
                    <a:pt x="-1217" y="-7315"/>
                    <a:pt x="-4802" y="-3524"/>
                    <a:pt x="-459" y="7711"/>
                  </a:cubicBezTo>
                  <a:close/>
                  <a:moveTo>
                    <a:pt x="1732581" y="63471"/>
                  </a:moveTo>
                  <a:cubicBezTo>
                    <a:pt x="1737820" y="79255"/>
                    <a:pt x="1740577" y="96072"/>
                    <a:pt x="1748021" y="111098"/>
                  </a:cubicBezTo>
                  <a:cubicBezTo>
                    <a:pt x="1761323" y="111305"/>
                    <a:pt x="1766010" y="105515"/>
                    <a:pt x="1762150" y="93660"/>
                  </a:cubicBezTo>
                  <a:cubicBezTo>
                    <a:pt x="1756498" y="78359"/>
                    <a:pt x="1762770" y="62506"/>
                    <a:pt x="1763666" y="46998"/>
                  </a:cubicBezTo>
                  <a:cubicBezTo>
                    <a:pt x="1754017" y="51961"/>
                    <a:pt x="1744574" y="57061"/>
                    <a:pt x="1735132" y="62230"/>
                  </a:cubicBezTo>
                  <a:cubicBezTo>
                    <a:pt x="1732030" y="49686"/>
                    <a:pt x="1729687" y="37004"/>
                    <a:pt x="1728859" y="24046"/>
                  </a:cubicBezTo>
                  <a:cubicBezTo>
                    <a:pt x="1722450" y="30249"/>
                    <a:pt x="1716108" y="36453"/>
                    <a:pt x="1709699" y="42518"/>
                  </a:cubicBezTo>
                  <a:cubicBezTo>
                    <a:pt x="1710801" y="47756"/>
                    <a:pt x="1713076" y="58233"/>
                    <a:pt x="1714179" y="63471"/>
                  </a:cubicBezTo>
                  <a:cubicBezTo>
                    <a:pt x="1718797" y="63471"/>
                    <a:pt x="1727964" y="63471"/>
                    <a:pt x="1732581" y="63471"/>
                  </a:cubicBezTo>
                </a:path>
              </a:pathLst>
            </a:custGeom>
            <a:grpFill/>
            <a:ln w="689" cap="flat">
              <a:noFill/>
              <a:prstDash val="solid"/>
              <a:miter/>
            </a:ln>
          </p:spPr>
          <p:txBody>
            <a:bodyPr rtlCol="0" anchor="ctr"/>
            <a:lstStyle/>
            <a:p>
              <a:endParaRPr lang="en-US" sz="2400" dirty="0"/>
            </a:p>
          </p:txBody>
        </p:sp>
        <p:sp>
          <p:nvSpPr>
            <p:cNvPr id="159" name="Graphic 8">
              <a:extLst>
                <a:ext uri="{FF2B5EF4-FFF2-40B4-BE49-F238E27FC236}">
                  <a16:creationId xmlns:a16="http://schemas.microsoft.com/office/drawing/2014/main" id="{9C7B19AF-0E84-47B4-8CA3-2CCC12E65C38}"/>
                </a:ext>
              </a:extLst>
            </p:cNvPr>
            <p:cNvSpPr/>
            <p:nvPr/>
          </p:nvSpPr>
          <p:spPr>
            <a:xfrm flipV="1">
              <a:off x="808501" y="1476227"/>
              <a:ext cx="7226204" cy="2271504"/>
            </a:xfrm>
            <a:custGeom>
              <a:avLst/>
              <a:gdLst>
                <a:gd name="connsiteX0" fmla="*/ -3541 w 7226204"/>
                <a:gd name="connsiteY0" fmla="*/ 14367 h 2271504"/>
                <a:gd name="connsiteX1" fmla="*/ 7556 w 7226204"/>
                <a:gd name="connsiteY1" fmla="*/ -2451 h 2271504"/>
                <a:gd name="connsiteX2" fmla="*/ -3541 w 7226204"/>
                <a:gd name="connsiteY2" fmla="*/ 14367 h 2271504"/>
                <a:gd name="connsiteX3" fmla="*/ 1031707 w 7226204"/>
                <a:gd name="connsiteY3" fmla="*/ 930651 h 2271504"/>
                <a:gd name="connsiteX4" fmla="*/ 1031707 w 7226204"/>
                <a:gd name="connsiteY4" fmla="*/ 930651 h 2271504"/>
                <a:gd name="connsiteX5" fmla="*/ 7212661 w 7226204"/>
                <a:gd name="connsiteY5" fmla="*/ 1186568 h 2271504"/>
                <a:gd name="connsiteX6" fmla="*/ 7212661 w 7226204"/>
                <a:gd name="connsiteY6" fmla="*/ 1186568 h 2271504"/>
                <a:gd name="connsiteX7" fmla="*/ 782820 w 7226204"/>
                <a:gd name="connsiteY7" fmla="*/ 1481289 h 2271504"/>
                <a:gd name="connsiteX8" fmla="*/ 800189 w 7226204"/>
                <a:gd name="connsiteY8" fmla="*/ 1453375 h 2271504"/>
                <a:gd name="connsiteX9" fmla="*/ 782820 w 7226204"/>
                <a:gd name="connsiteY9" fmla="*/ 1481289 h 2271504"/>
                <a:gd name="connsiteX10" fmla="*/ 1966945 w 7226204"/>
                <a:gd name="connsiteY10" fmla="*/ 2268340 h 2271504"/>
                <a:gd name="connsiteX11" fmla="*/ 1966945 w 7226204"/>
                <a:gd name="connsiteY11" fmla="*/ 2268340 h 2271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6204" h="2271504">
                  <a:moveTo>
                    <a:pt x="-3541" y="14367"/>
                  </a:moveTo>
                  <a:cubicBezTo>
                    <a:pt x="4937" y="18227"/>
                    <a:pt x="12381" y="4097"/>
                    <a:pt x="7556" y="-2451"/>
                  </a:cubicBezTo>
                  <a:cubicBezTo>
                    <a:pt x="-1060" y="-6517"/>
                    <a:pt x="-9262" y="7819"/>
                    <a:pt x="-3541" y="14367"/>
                  </a:cubicBezTo>
                  <a:close/>
                  <a:moveTo>
                    <a:pt x="1031707" y="930651"/>
                  </a:moveTo>
                  <a:cubicBezTo>
                    <a:pt x="1035498" y="927342"/>
                    <a:pt x="1035498" y="927342"/>
                    <a:pt x="1031707" y="930651"/>
                  </a:cubicBezTo>
                  <a:moveTo>
                    <a:pt x="7212661" y="1186568"/>
                  </a:moveTo>
                  <a:cubicBezTo>
                    <a:pt x="7235199" y="1185879"/>
                    <a:pt x="7202459" y="1165546"/>
                    <a:pt x="7212661" y="1186568"/>
                  </a:cubicBezTo>
                  <a:moveTo>
                    <a:pt x="782820" y="1481289"/>
                  </a:moveTo>
                  <a:cubicBezTo>
                    <a:pt x="793366" y="1480669"/>
                    <a:pt x="803153" y="1463714"/>
                    <a:pt x="800189" y="1453375"/>
                  </a:cubicBezTo>
                  <a:cubicBezTo>
                    <a:pt x="788817" y="1451996"/>
                    <a:pt x="777099" y="1470951"/>
                    <a:pt x="782820" y="1481289"/>
                  </a:cubicBezTo>
                  <a:moveTo>
                    <a:pt x="1966945" y="2268340"/>
                  </a:moveTo>
                  <a:cubicBezTo>
                    <a:pt x="1989552" y="2266203"/>
                    <a:pt x="1955159" y="2248145"/>
                    <a:pt x="1966945" y="2268340"/>
                  </a:cubicBezTo>
                </a:path>
              </a:pathLst>
            </a:custGeom>
            <a:grpFill/>
            <a:ln w="689" cap="flat">
              <a:noFill/>
              <a:prstDash val="solid"/>
              <a:miter/>
            </a:ln>
          </p:spPr>
          <p:txBody>
            <a:bodyPr rtlCol="0" anchor="ctr"/>
            <a:lstStyle/>
            <a:p>
              <a:endParaRPr lang="en-US" sz="2400" dirty="0"/>
            </a:p>
          </p:txBody>
        </p:sp>
        <p:sp>
          <p:nvSpPr>
            <p:cNvPr id="160" name="Graphic 8">
              <a:extLst>
                <a:ext uri="{FF2B5EF4-FFF2-40B4-BE49-F238E27FC236}">
                  <a16:creationId xmlns:a16="http://schemas.microsoft.com/office/drawing/2014/main" id="{812080C4-3213-4CEF-9C27-00D042EF069A}"/>
                </a:ext>
              </a:extLst>
            </p:cNvPr>
            <p:cNvSpPr/>
            <p:nvPr/>
          </p:nvSpPr>
          <p:spPr>
            <a:xfrm flipV="1">
              <a:off x="1073006" y="1476158"/>
              <a:ext cx="7270751" cy="2284437"/>
            </a:xfrm>
            <a:custGeom>
              <a:avLst/>
              <a:gdLst>
                <a:gd name="connsiteX0" fmla="*/ -5804 w 7270751"/>
                <a:gd name="connsiteY0" fmla="*/ -466 h 2284437"/>
                <a:gd name="connsiteX1" fmla="*/ -5804 w 7270751"/>
                <a:gd name="connsiteY1" fmla="*/ -466 h 2284437"/>
                <a:gd name="connsiteX2" fmla="*/ 3129371 w 7270751"/>
                <a:gd name="connsiteY2" fmla="*/ 338022 h 2284437"/>
                <a:gd name="connsiteX3" fmla="*/ 3139158 w 7270751"/>
                <a:gd name="connsiteY3" fmla="*/ 328580 h 2284437"/>
                <a:gd name="connsiteX4" fmla="*/ 3129371 w 7270751"/>
                <a:gd name="connsiteY4" fmla="*/ 338022 h 2284437"/>
                <a:gd name="connsiteX5" fmla="*/ 2131480 w 7270751"/>
                <a:gd name="connsiteY5" fmla="*/ 626127 h 2284437"/>
                <a:gd name="connsiteX6" fmla="*/ 2131480 w 7270751"/>
                <a:gd name="connsiteY6" fmla="*/ 626127 h 2284437"/>
                <a:gd name="connsiteX7" fmla="*/ 2928938 w 7270751"/>
                <a:gd name="connsiteY7" fmla="*/ 715867 h 2284437"/>
                <a:gd name="connsiteX8" fmla="*/ 2928938 w 7270751"/>
                <a:gd name="connsiteY8" fmla="*/ 715867 h 2284437"/>
                <a:gd name="connsiteX9" fmla="*/ 524778 w 7270751"/>
                <a:gd name="connsiteY9" fmla="*/ 840690 h 2284437"/>
                <a:gd name="connsiteX10" fmla="*/ 524778 w 7270751"/>
                <a:gd name="connsiteY10" fmla="*/ 840690 h 2284437"/>
                <a:gd name="connsiteX11" fmla="*/ 904139 w 7270751"/>
                <a:gd name="connsiteY11" fmla="*/ 861022 h 2284437"/>
                <a:gd name="connsiteX12" fmla="*/ 904139 w 7270751"/>
                <a:gd name="connsiteY12" fmla="*/ 861022 h 2284437"/>
                <a:gd name="connsiteX13" fmla="*/ 4040348 w 7270751"/>
                <a:gd name="connsiteY13" fmla="*/ 1274708 h 2284437"/>
                <a:gd name="connsiteX14" fmla="*/ 4040348 w 7270751"/>
                <a:gd name="connsiteY14" fmla="*/ 1274708 h 2284437"/>
                <a:gd name="connsiteX15" fmla="*/ 7254716 w 7270751"/>
                <a:gd name="connsiteY15" fmla="*/ 1299521 h 2284437"/>
                <a:gd name="connsiteX16" fmla="*/ 7261953 w 7270751"/>
                <a:gd name="connsiteY16" fmla="*/ 1326815 h 2284437"/>
                <a:gd name="connsiteX17" fmla="*/ 7263263 w 7270751"/>
                <a:gd name="connsiteY17" fmla="*/ 1285460 h 2284437"/>
                <a:gd name="connsiteX18" fmla="*/ 7260230 w 7270751"/>
                <a:gd name="connsiteY18" fmla="*/ 1276362 h 2284437"/>
                <a:gd name="connsiteX19" fmla="*/ 7255544 w 7270751"/>
                <a:gd name="connsiteY19" fmla="*/ 1257408 h 2284437"/>
                <a:gd name="connsiteX20" fmla="*/ 7249202 w 7270751"/>
                <a:gd name="connsiteY20" fmla="*/ 1239143 h 2284437"/>
                <a:gd name="connsiteX21" fmla="*/ 7235004 w 7270751"/>
                <a:gd name="connsiteY21" fmla="*/ 1278775 h 2284437"/>
                <a:gd name="connsiteX22" fmla="*/ 7254716 w 7270751"/>
                <a:gd name="connsiteY22" fmla="*/ 1299521 h 2284437"/>
                <a:gd name="connsiteX23" fmla="*/ 70289 w 7270751"/>
                <a:gd name="connsiteY23" fmla="*/ 1494577 h 2284437"/>
                <a:gd name="connsiteX24" fmla="*/ 73666 w 7270751"/>
                <a:gd name="connsiteY24" fmla="*/ 1464113 h 2284437"/>
                <a:gd name="connsiteX25" fmla="*/ 70289 w 7270751"/>
                <a:gd name="connsiteY25" fmla="*/ 1494577 h 2284437"/>
                <a:gd name="connsiteX26" fmla="*/ 1697668 w 7270751"/>
                <a:gd name="connsiteY26" fmla="*/ 1515186 h 2284437"/>
                <a:gd name="connsiteX27" fmla="*/ 1697668 w 7270751"/>
                <a:gd name="connsiteY27" fmla="*/ 1515186 h 2284437"/>
                <a:gd name="connsiteX28" fmla="*/ 6838618 w 7270751"/>
                <a:gd name="connsiteY28" fmla="*/ 1563571 h 2284437"/>
                <a:gd name="connsiteX29" fmla="*/ 6838618 w 7270751"/>
                <a:gd name="connsiteY29" fmla="*/ 1563571 h 2284437"/>
                <a:gd name="connsiteX30" fmla="*/ 2439504 w 7270751"/>
                <a:gd name="connsiteY30" fmla="*/ 2281283 h 2284437"/>
                <a:gd name="connsiteX31" fmla="*/ 2439504 w 7270751"/>
                <a:gd name="connsiteY31" fmla="*/ 2281283 h 2284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7270751" h="2284437">
                  <a:moveTo>
                    <a:pt x="-5804" y="-466"/>
                  </a:moveTo>
                  <a:cubicBezTo>
                    <a:pt x="-2220" y="-4051"/>
                    <a:pt x="-2220" y="-4051"/>
                    <a:pt x="-5804" y="-466"/>
                  </a:cubicBezTo>
                  <a:close/>
                  <a:moveTo>
                    <a:pt x="3129371" y="338022"/>
                  </a:moveTo>
                  <a:cubicBezTo>
                    <a:pt x="3139227" y="341331"/>
                    <a:pt x="3142466" y="338160"/>
                    <a:pt x="3139158" y="328580"/>
                  </a:cubicBezTo>
                  <a:cubicBezTo>
                    <a:pt x="3129302" y="325340"/>
                    <a:pt x="3126062" y="328511"/>
                    <a:pt x="3129371" y="338022"/>
                  </a:cubicBezTo>
                  <a:moveTo>
                    <a:pt x="2131480" y="626127"/>
                  </a:moveTo>
                  <a:cubicBezTo>
                    <a:pt x="2134926" y="622405"/>
                    <a:pt x="2134926" y="622405"/>
                    <a:pt x="2131480" y="626127"/>
                  </a:cubicBezTo>
                  <a:moveTo>
                    <a:pt x="2928938" y="715867"/>
                  </a:moveTo>
                  <a:cubicBezTo>
                    <a:pt x="2951545" y="714833"/>
                    <a:pt x="2917910" y="695121"/>
                    <a:pt x="2928938" y="715867"/>
                  </a:cubicBezTo>
                  <a:moveTo>
                    <a:pt x="524778" y="840690"/>
                  </a:moveTo>
                  <a:cubicBezTo>
                    <a:pt x="528362" y="837037"/>
                    <a:pt x="528362" y="837037"/>
                    <a:pt x="524778" y="840690"/>
                  </a:cubicBezTo>
                  <a:moveTo>
                    <a:pt x="904139" y="861022"/>
                  </a:moveTo>
                  <a:cubicBezTo>
                    <a:pt x="907723" y="857438"/>
                    <a:pt x="907723" y="857438"/>
                    <a:pt x="904139" y="861022"/>
                  </a:cubicBezTo>
                  <a:moveTo>
                    <a:pt x="4040348" y="1274708"/>
                  </a:moveTo>
                  <a:cubicBezTo>
                    <a:pt x="4043725" y="1270917"/>
                    <a:pt x="4043725" y="1270917"/>
                    <a:pt x="4040348" y="1274708"/>
                  </a:cubicBezTo>
                  <a:moveTo>
                    <a:pt x="7254716" y="1299521"/>
                  </a:moveTo>
                  <a:cubicBezTo>
                    <a:pt x="7256646" y="1308757"/>
                    <a:pt x="7258852" y="1317924"/>
                    <a:pt x="7261953" y="1326815"/>
                  </a:cubicBezTo>
                  <a:cubicBezTo>
                    <a:pt x="7263332" y="1313306"/>
                    <a:pt x="7267123" y="1298970"/>
                    <a:pt x="7263263" y="1285460"/>
                  </a:cubicBezTo>
                  <a:cubicBezTo>
                    <a:pt x="7262505" y="1283186"/>
                    <a:pt x="7260988" y="1278637"/>
                    <a:pt x="7260230" y="1276362"/>
                  </a:cubicBezTo>
                  <a:cubicBezTo>
                    <a:pt x="7259059" y="1271606"/>
                    <a:pt x="7256715" y="1262164"/>
                    <a:pt x="7255544" y="1257408"/>
                  </a:cubicBezTo>
                  <a:cubicBezTo>
                    <a:pt x="7253958" y="1252859"/>
                    <a:pt x="7250788" y="1243692"/>
                    <a:pt x="7249202" y="1239143"/>
                  </a:cubicBezTo>
                  <a:cubicBezTo>
                    <a:pt x="7230386" y="1249068"/>
                    <a:pt x="7265951" y="1277258"/>
                    <a:pt x="7235004" y="1278775"/>
                  </a:cubicBezTo>
                  <a:cubicBezTo>
                    <a:pt x="7241207" y="1285943"/>
                    <a:pt x="7247824" y="1292835"/>
                    <a:pt x="7254716" y="1299521"/>
                  </a:cubicBezTo>
                  <a:moveTo>
                    <a:pt x="70289" y="1494577"/>
                  </a:moveTo>
                  <a:cubicBezTo>
                    <a:pt x="79663" y="1490649"/>
                    <a:pt x="78215" y="1472315"/>
                    <a:pt x="73666" y="1464113"/>
                  </a:cubicBezTo>
                  <a:cubicBezTo>
                    <a:pt x="63397" y="1467352"/>
                    <a:pt x="65809" y="1486582"/>
                    <a:pt x="70289" y="1494577"/>
                  </a:cubicBezTo>
                  <a:moveTo>
                    <a:pt x="1697668" y="1515186"/>
                  </a:moveTo>
                  <a:cubicBezTo>
                    <a:pt x="1700977" y="1511326"/>
                    <a:pt x="1700977" y="1511326"/>
                    <a:pt x="1697668" y="1515186"/>
                  </a:cubicBezTo>
                  <a:moveTo>
                    <a:pt x="6838618" y="1563571"/>
                  </a:moveTo>
                  <a:cubicBezTo>
                    <a:pt x="6842203" y="1559987"/>
                    <a:pt x="6842203" y="1559987"/>
                    <a:pt x="6838618" y="1563571"/>
                  </a:cubicBezTo>
                  <a:moveTo>
                    <a:pt x="2439504" y="2281283"/>
                  </a:moveTo>
                  <a:cubicBezTo>
                    <a:pt x="2462456" y="2280938"/>
                    <a:pt x="2429924" y="2260261"/>
                    <a:pt x="2439504" y="2281283"/>
                  </a:cubicBezTo>
                </a:path>
              </a:pathLst>
            </a:custGeom>
            <a:grpFill/>
            <a:ln w="689" cap="flat">
              <a:noFill/>
              <a:prstDash val="solid"/>
              <a:miter/>
            </a:ln>
          </p:spPr>
          <p:txBody>
            <a:bodyPr rtlCol="0" anchor="ctr"/>
            <a:lstStyle/>
            <a:p>
              <a:endParaRPr lang="en-US" sz="2400" dirty="0"/>
            </a:p>
          </p:txBody>
        </p:sp>
        <p:sp>
          <p:nvSpPr>
            <p:cNvPr id="161" name="Graphic 8">
              <a:extLst>
                <a:ext uri="{FF2B5EF4-FFF2-40B4-BE49-F238E27FC236}">
                  <a16:creationId xmlns:a16="http://schemas.microsoft.com/office/drawing/2014/main" id="{E0A6CA93-FE8B-4D81-A166-AC1F0AF2A4FF}"/>
                </a:ext>
              </a:extLst>
            </p:cNvPr>
            <p:cNvSpPr/>
            <p:nvPr/>
          </p:nvSpPr>
          <p:spPr>
            <a:xfrm flipV="1">
              <a:off x="5232952" y="1475125"/>
              <a:ext cx="29499" cy="50176"/>
            </a:xfrm>
            <a:custGeom>
              <a:avLst/>
              <a:gdLst>
                <a:gd name="connsiteX0" fmla="*/ -5724 w 29499"/>
                <a:gd name="connsiteY0" fmla="*/ 39257 h 50176"/>
                <a:gd name="connsiteX1" fmla="*/ 13437 w 29499"/>
                <a:gd name="connsiteY1" fmla="*/ 45184 h 50176"/>
                <a:gd name="connsiteX2" fmla="*/ 23018 w 29499"/>
                <a:gd name="connsiteY2" fmla="*/ -4993 h 50176"/>
                <a:gd name="connsiteX3" fmla="*/ -5241 w 29499"/>
                <a:gd name="connsiteY3" fmla="*/ 4656 h 50176"/>
                <a:gd name="connsiteX4" fmla="*/ -6482 w 29499"/>
                <a:gd name="connsiteY4" fmla="*/ 14168 h 50176"/>
                <a:gd name="connsiteX5" fmla="*/ 12610 w 29499"/>
                <a:gd name="connsiteY5" fmla="*/ 38705 h 50176"/>
                <a:gd name="connsiteX6" fmla="*/ -5724 w 29499"/>
                <a:gd name="connsiteY6" fmla="*/ 39257 h 50176"/>
                <a:gd name="connsiteX7" fmla="*/ -5724 w 29499"/>
                <a:gd name="connsiteY7" fmla="*/ 39257 h 50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499" h="50176">
                  <a:moveTo>
                    <a:pt x="-5724" y="39257"/>
                  </a:moveTo>
                  <a:cubicBezTo>
                    <a:pt x="617" y="41255"/>
                    <a:pt x="7027" y="43254"/>
                    <a:pt x="13437" y="45184"/>
                  </a:cubicBezTo>
                  <a:cubicBezTo>
                    <a:pt x="12265" y="27884"/>
                    <a:pt x="16539" y="11066"/>
                    <a:pt x="23018" y="-4993"/>
                  </a:cubicBezTo>
                  <a:cubicBezTo>
                    <a:pt x="13437" y="-1961"/>
                    <a:pt x="3857" y="796"/>
                    <a:pt x="-5241" y="4656"/>
                  </a:cubicBezTo>
                  <a:cubicBezTo>
                    <a:pt x="-5586" y="7069"/>
                    <a:pt x="-6137" y="11824"/>
                    <a:pt x="-6482" y="14168"/>
                  </a:cubicBezTo>
                  <a:cubicBezTo>
                    <a:pt x="6338" y="16649"/>
                    <a:pt x="10473" y="27195"/>
                    <a:pt x="12610" y="38705"/>
                  </a:cubicBezTo>
                  <a:cubicBezTo>
                    <a:pt x="8061" y="38843"/>
                    <a:pt x="-1106" y="39119"/>
                    <a:pt x="-5724" y="39257"/>
                  </a:cubicBezTo>
                  <a:lnTo>
                    <a:pt x="-5724" y="39257"/>
                  </a:lnTo>
                </a:path>
              </a:pathLst>
            </a:custGeom>
            <a:grpFill/>
            <a:ln w="689" cap="flat">
              <a:noFill/>
              <a:prstDash val="solid"/>
              <a:miter/>
            </a:ln>
          </p:spPr>
          <p:txBody>
            <a:bodyPr rtlCol="0" anchor="ctr"/>
            <a:lstStyle/>
            <a:p>
              <a:endParaRPr lang="en-US" sz="2400" dirty="0"/>
            </a:p>
          </p:txBody>
        </p:sp>
        <p:sp>
          <p:nvSpPr>
            <p:cNvPr id="162" name="Graphic 8">
              <a:extLst>
                <a:ext uri="{FF2B5EF4-FFF2-40B4-BE49-F238E27FC236}">
                  <a16:creationId xmlns:a16="http://schemas.microsoft.com/office/drawing/2014/main" id="{747BA347-6122-4852-9AE7-F8D82C880227}"/>
                </a:ext>
              </a:extLst>
            </p:cNvPr>
            <p:cNvSpPr/>
            <p:nvPr/>
          </p:nvSpPr>
          <p:spPr>
            <a:xfrm flipV="1">
              <a:off x="459175" y="1485325"/>
              <a:ext cx="7934845" cy="1303364"/>
            </a:xfrm>
            <a:custGeom>
              <a:avLst/>
              <a:gdLst>
                <a:gd name="connsiteX0" fmla="*/ 7921216 w 7934845"/>
                <a:gd name="connsiteY0" fmla="*/ 11355 h 1303364"/>
                <a:gd name="connsiteX1" fmla="*/ 7926040 w 7934845"/>
                <a:gd name="connsiteY1" fmla="*/ -3946 h 1303364"/>
                <a:gd name="connsiteX2" fmla="*/ 7921216 w 7934845"/>
                <a:gd name="connsiteY2" fmla="*/ 11355 h 1303364"/>
                <a:gd name="connsiteX3" fmla="*/ 1156 w 7934845"/>
                <a:gd name="connsiteY3" fmla="*/ 404708 h 1303364"/>
                <a:gd name="connsiteX4" fmla="*/ 811 w 7934845"/>
                <a:gd name="connsiteY4" fmla="*/ 385340 h 1303364"/>
                <a:gd name="connsiteX5" fmla="*/ 1156 w 7934845"/>
                <a:gd name="connsiteY5" fmla="*/ 404708 h 1303364"/>
                <a:gd name="connsiteX6" fmla="*/ 1618266 w 7934845"/>
                <a:gd name="connsiteY6" fmla="*/ 1299419 h 1303364"/>
                <a:gd name="connsiteX7" fmla="*/ 1630259 w 7934845"/>
                <a:gd name="connsiteY7" fmla="*/ 1298591 h 1303364"/>
                <a:gd name="connsiteX8" fmla="*/ 1633429 w 7934845"/>
                <a:gd name="connsiteY8" fmla="*/ 1269298 h 1303364"/>
                <a:gd name="connsiteX9" fmla="*/ 1630328 w 7934845"/>
                <a:gd name="connsiteY9" fmla="*/ 1268402 h 1303364"/>
                <a:gd name="connsiteX10" fmla="*/ 1606893 w 7934845"/>
                <a:gd name="connsiteY10" fmla="*/ 1261372 h 1303364"/>
                <a:gd name="connsiteX11" fmla="*/ 1603309 w 7934845"/>
                <a:gd name="connsiteY11" fmla="*/ 1281292 h 1303364"/>
                <a:gd name="connsiteX12" fmla="*/ 1618266 w 7934845"/>
                <a:gd name="connsiteY12" fmla="*/ 1299419 h 130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34845" h="1303364">
                  <a:moveTo>
                    <a:pt x="7921216" y="11355"/>
                  </a:moveTo>
                  <a:cubicBezTo>
                    <a:pt x="7930176" y="9839"/>
                    <a:pt x="7931762" y="4738"/>
                    <a:pt x="7926040" y="-3946"/>
                  </a:cubicBezTo>
                  <a:cubicBezTo>
                    <a:pt x="7916873" y="-2361"/>
                    <a:pt x="7915288" y="2740"/>
                    <a:pt x="7921216" y="11355"/>
                  </a:cubicBezTo>
                  <a:close/>
                  <a:moveTo>
                    <a:pt x="1156" y="404708"/>
                  </a:moveTo>
                  <a:cubicBezTo>
                    <a:pt x="11494" y="404708"/>
                    <a:pt x="9149" y="387270"/>
                    <a:pt x="811" y="385340"/>
                  </a:cubicBezTo>
                  <a:cubicBezTo>
                    <a:pt x="-8839" y="386167"/>
                    <a:pt x="-6221" y="402158"/>
                    <a:pt x="1156" y="404708"/>
                  </a:cubicBezTo>
                  <a:moveTo>
                    <a:pt x="1618266" y="1299419"/>
                  </a:moveTo>
                  <a:cubicBezTo>
                    <a:pt x="1621229" y="1299212"/>
                    <a:pt x="1627295" y="1298798"/>
                    <a:pt x="1630259" y="1298591"/>
                  </a:cubicBezTo>
                  <a:cubicBezTo>
                    <a:pt x="1631361" y="1288873"/>
                    <a:pt x="1632395" y="1279155"/>
                    <a:pt x="1633429" y="1269298"/>
                  </a:cubicBezTo>
                  <a:lnTo>
                    <a:pt x="1630328" y="1268402"/>
                  </a:lnTo>
                  <a:cubicBezTo>
                    <a:pt x="1622539" y="1265990"/>
                    <a:pt x="1614682" y="1263647"/>
                    <a:pt x="1606893" y="1261372"/>
                  </a:cubicBezTo>
                  <a:cubicBezTo>
                    <a:pt x="1605997" y="1266335"/>
                    <a:pt x="1604205" y="1276329"/>
                    <a:pt x="1603309" y="1281292"/>
                  </a:cubicBezTo>
                  <a:cubicBezTo>
                    <a:pt x="1611442" y="1284875"/>
                    <a:pt x="1616405" y="1290941"/>
                    <a:pt x="1618266" y="1299419"/>
                  </a:cubicBezTo>
                </a:path>
              </a:pathLst>
            </a:custGeom>
            <a:grpFill/>
            <a:ln w="689" cap="flat">
              <a:noFill/>
              <a:prstDash val="solid"/>
              <a:miter/>
            </a:ln>
          </p:spPr>
          <p:txBody>
            <a:bodyPr rtlCol="0" anchor="ctr"/>
            <a:lstStyle/>
            <a:p>
              <a:endParaRPr lang="en-US" sz="2400" dirty="0"/>
            </a:p>
          </p:txBody>
        </p:sp>
        <p:sp>
          <p:nvSpPr>
            <p:cNvPr id="163" name="Graphic 8">
              <a:extLst>
                <a:ext uri="{FF2B5EF4-FFF2-40B4-BE49-F238E27FC236}">
                  <a16:creationId xmlns:a16="http://schemas.microsoft.com/office/drawing/2014/main" id="{B5AE899D-A1D9-480F-B912-4E048DE5EA81}"/>
                </a:ext>
              </a:extLst>
            </p:cNvPr>
            <p:cNvSpPr/>
            <p:nvPr/>
          </p:nvSpPr>
          <p:spPr>
            <a:xfrm flipV="1">
              <a:off x="2531792" y="1483257"/>
              <a:ext cx="5170829" cy="1549551"/>
            </a:xfrm>
            <a:custGeom>
              <a:avLst/>
              <a:gdLst>
                <a:gd name="connsiteX0" fmla="*/ 1940187 w 5170829"/>
                <a:gd name="connsiteY0" fmla="*/ 15816 h 1549551"/>
                <a:gd name="connsiteX1" fmla="*/ 1950181 w 5170829"/>
                <a:gd name="connsiteY1" fmla="*/ -1760 h 1549551"/>
                <a:gd name="connsiteX2" fmla="*/ 1940187 w 5170829"/>
                <a:gd name="connsiteY2" fmla="*/ 15816 h 1549551"/>
                <a:gd name="connsiteX3" fmla="*/ 5158760 w 5170829"/>
                <a:gd name="connsiteY3" fmla="*/ 586994 h 1549551"/>
                <a:gd name="connsiteX4" fmla="*/ 5155452 w 5170829"/>
                <a:gd name="connsiteY4" fmla="*/ 569073 h 1549551"/>
                <a:gd name="connsiteX5" fmla="*/ 5158760 w 5170829"/>
                <a:gd name="connsiteY5" fmla="*/ 586994 h 1549551"/>
                <a:gd name="connsiteX6" fmla="*/ 290752 w 5170829"/>
                <a:gd name="connsiteY6" fmla="*/ 1496661 h 1549551"/>
                <a:gd name="connsiteX7" fmla="*/ 290752 w 5170829"/>
                <a:gd name="connsiteY7" fmla="*/ 1496661 h 1549551"/>
                <a:gd name="connsiteX8" fmla="*/ -3970 w 5170829"/>
                <a:gd name="connsiteY8" fmla="*/ 1545804 h 1549551"/>
                <a:gd name="connsiteX9" fmla="*/ -3970 w 5170829"/>
                <a:gd name="connsiteY9" fmla="*/ 1545804 h 1549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70829" h="1549551">
                  <a:moveTo>
                    <a:pt x="1940187" y="15816"/>
                  </a:moveTo>
                  <a:cubicBezTo>
                    <a:pt x="1950939" y="24087"/>
                    <a:pt x="1959554" y="4650"/>
                    <a:pt x="1950181" y="-1760"/>
                  </a:cubicBezTo>
                  <a:cubicBezTo>
                    <a:pt x="1939360" y="-9962"/>
                    <a:pt x="1930744" y="9475"/>
                    <a:pt x="1940187" y="15816"/>
                  </a:cubicBezTo>
                  <a:close/>
                  <a:moveTo>
                    <a:pt x="5158760" y="586994"/>
                  </a:moveTo>
                  <a:cubicBezTo>
                    <a:pt x="5169512" y="586374"/>
                    <a:pt x="5163309" y="569832"/>
                    <a:pt x="5155452" y="569073"/>
                  </a:cubicBezTo>
                  <a:cubicBezTo>
                    <a:pt x="5144354" y="569694"/>
                    <a:pt x="5150558" y="586443"/>
                    <a:pt x="5158760" y="586994"/>
                  </a:cubicBezTo>
                  <a:moveTo>
                    <a:pt x="290752" y="1496661"/>
                  </a:moveTo>
                  <a:cubicBezTo>
                    <a:pt x="313634" y="1496661"/>
                    <a:pt x="281033" y="1475639"/>
                    <a:pt x="290752" y="1496661"/>
                  </a:cubicBezTo>
                  <a:moveTo>
                    <a:pt x="-3970" y="1545804"/>
                  </a:moveTo>
                  <a:cubicBezTo>
                    <a:pt x="18775" y="1544081"/>
                    <a:pt x="-15205" y="1525472"/>
                    <a:pt x="-3970" y="1545804"/>
                  </a:cubicBezTo>
                </a:path>
              </a:pathLst>
            </a:custGeom>
            <a:grpFill/>
            <a:ln w="689" cap="flat">
              <a:noFill/>
              <a:prstDash val="solid"/>
              <a:miter/>
            </a:ln>
          </p:spPr>
          <p:txBody>
            <a:bodyPr rtlCol="0" anchor="ctr"/>
            <a:lstStyle/>
            <a:p>
              <a:endParaRPr lang="en-US" sz="2400" dirty="0"/>
            </a:p>
          </p:txBody>
        </p:sp>
        <p:sp>
          <p:nvSpPr>
            <p:cNvPr id="164" name="Graphic 8">
              <a:extLst>
                <a:ext uri="{FF2B5EF4-FFF2-40B4-BE49-F238E27FC236}">
                  <a16:creationId xmlns:a16="http://schemas.microsoft.com/office/drawing/2014/main" id="{94590A56-EEC0-4E09-A9B3-9D9337F02049}"/>
                </a:ext>
              </a:extLst>
            </p:cNvPr>
            <p:cNvSpPr/>
            <p:nvPr/>
          </p:nvSpPr>
          <p:spPr>
            <a:xfrm flipV="1">
              <a:off x="5746579" y="1483602"/>
              <a:ext cx="767268" cy="1988010"/>
            </a:xfrm>
            <a:custGeom>
              <a:avLst/>
              <a:gdLst>
                <a:gd name="connsiteX0" fmla="*/ 756989 w 767268"/>
                <a:gd name="connsiteY0" fmla="*/ -750 h 1988010"/>
                <a:gd name="connsiteX1" fmla="*/ 756989 w 767268"/>
                <a:gd name="connsiteY1" fmla="*/ -750 h 1988010"/>
                <a:gd name="connsiteX2" fmla="*/ -7592 w 767268"/>
                <a:gd name="connsiteY2" fmla="*/ 1984624 h 1988010"/>
                <a:gd name="connsiteX3" fmla="*/ -7592 w 767268"/>
                <a:gd name="connsiteY3" fmla="*/ 1984624 h 1988010"/>
              </a:gdLst>
              <a:ahLst/>
              <a:cxnLst>
                <a:cxn ang="0">
                  <a:pos x="connsiteX0" y="connsiteY0"/>
                </a:cxn>
                <a:cxn ang="0">
                  <a:pos x="connsiteX1" y="connsiteY1"/>
                </a:cxn>
                <a:cxn ang="0">
                  <a:pos x="connsiteX2" y="connsiteY2"/>
                </a:cxn>
                <a:cxn ang="0">
                  <a:pos x="connsiteX3" y="connsiteY3"/>
                </a:cxn>
              </a:cxnLst>
              <a:rect l="l" t="t" r="r" b="b"/>
              <a:pathLst>
                <a:path w="767268" h="1988010">
                  <a:moveTo>
                    <a:pt x="756989" y="-750"/>
                  </a:moveTo>
                  <a:cubicBezTo>
                    <a:pt x="760573" y="-4265"/>
                    <a:pt x="760573" y="-4265"/>
                    <a:pt x="756989" y="-750"/>
                  </a:cubicBezTo>
                  <a:close/>
                  <a:moveTo>
                    <a:pt x="-7592" y="1984624"/>
                  </a:moveTo>
                  <a:cubicBezTo>
                    <a:pt x="-4077" y="1981178"/>
                    <a:pt x="-4077" y="1981178"/>
                    <a:pt x="-7592" y="1984624"/>
                  </a:cubicBezTo>
                </a:path>
              </a:pathLst>
            </a:custGeom>
            <a:grpFill/>
            <a:ln w="689" cap="flat">
              <a:noFill/>
              <a:prstDash val="solid"/>
              <a:miter/>
            </a:ln>
          </p:spPr>
          <p:txBody>
            <a:bodyPr rtlCol="0" anchor="ctr"/>
            <a:lstStyle/>
            <a:p>
              <a:endParaRPr lang="en-US" sz="2400" dirty="0"/>
            </a:p>
          </p:txBody>
        </p:sp>
        <p:sp>
          <p:nvSpPr>
            <p:cNvPr id="165" name="Graphic 8">
              <a:extLst>
                <a:ext uri="{FF2B5EF4-FFF2-40B4-BE49-F238E27FC236}">
                  <a16:creationId xmlns:a16="http://schemas.microsoft.com/office/drawing/2014/main" id="{17502965-EC01-43AA-855C-11EED50C5F1D}"/>
                </a:ext>
              </a:extLst>
            </p:cNvPr>
            <p:cNvSpPr/>
            <p:nvPr/>
          </p:nvSpPr>
          <p:spPr>
            <a:xfrm flipV="1">
              <a:off x="1622437" y="1487142"/>
              <a:ext cx="7246853" cy="1291558"/>
            </a:xfrm>
            <a:custGeom>
              <a:avLst/>
              <a:gdLst>
                <a:gd name="connsiteX0" fmla="*/ 4359518 w 7246853"/>
                <a:gd name="connsiteY0" fmla="*/ -3052 h 1291558"/>
                <a:gd name="connsiteX1" fmla="*/ 4369995 w 7246853"/>
                <a:gd name="connsiteY1" fmla="*/ 15006 h 1291558"/>
                <a:gd name="connsiteX2" fmla="*/ 4359518 w 7246853"/>
                <a:gd name="connsiteY2" fmla="*/ -3052 h 1291558"/>
                <a:gd name="connsiteX3" fmla="*/ 7232710 w 7246853"/>
                <a:gd name="connsiteY3" fmla="*/ 22795 h 1291558"/>
                <a:gd name="connsiteX4" fmla="*/ 7236708 w 7246853"/>
                <a:gd name="connsiteY4" fmla="*/ 6873 h 1291558"/>
                <a:gd name="connsiteX5" fmla="*/ 7232710 w 7246853"/>
                <a:gd name="connsiteY5" fmla="*/ 22795 h 1291558"/>
                <a:gd name="connsiteX6" fmla="*/ -3962 w 7246853"/>
                <a:gd name="connsiteY6" fmla="*/ 1048255 h 1291558"/>
                <a:gd name="connsiteX7" fmla="*/ 9823 w 7246853"/>
                <a:gd name="connsiteY7" fmla="*/ 1042190 h 1291558"/>
                <a:gd name="connsiteX8" fmla="*/ -3962 w 7246853"/>
                <a:gd name="connsiteY8" fmla="*/ 1048255 h 1291558"/>
                <a:gd name="connsiteX9" fmla="*/ 513386 w 7246853"/>
                <a:gd name="connsiteY9" fmla="*/ 1285218 h 1291558"/>
                <a:gd name="connsiteX10" fmla="*/ 532065 w 7246853"/>
                <a:gd name="connsiteY10" fmla="*/ 1275637 h 1291558"/>
                <a:gd name="connsiteX11" fmla="*/ 513386 w 7246853"/>
                <a:gd name="connsiteY11" fmla="*/ 1285218 h 129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46853" h="1291558">
                  <a:moveTo>
                    <a:pt x="4359518" y="-3052"/>
                  </a:moveTo>
                  <a:cubicBezTo>
                    <a:pt x="4355452" y="3358"/>
                    <a:pt x="4361793" y="17349"/>
                    <a:pt x="4369995" y="15006"/>
                  </a:cubicBezTo>
                  <a:cubicBezTo>
                    <a:pt x="4375509" y="8389"/>
                    <a:pt x="4369099" y="-7946"/>
                    <a:pt x="4359518" y="-3052"/>
                  </a:cubicBezTo>
                  <a:close/>
                  <a:moveTo>
                    <a:pt x="7232710" y="22795"/>
                  </a:moveTo>
                  <a:cubicBezTo>
                    <a:pt x="7241326" y="20934"/>
                    <a:pt x="7242704" y="15695"/>
                    <a:pt x="7236708" y="6873"/>
                  </a:cubicBezTo>
                  <a:cubicBezTo>
                    <a:pt x="7227816" y="8803"/>
                    <a:pt x="7226507" y="14110"/>
                    <a:pt x="7232710" y="22795"/>
                  </a:cubicBezTo>
                  <a:moveTo>
                    <a:pt x="-3962" y="1048255"/>
                  </a:moveTo>
                  <a:cubicBezTo>
                    <a:pt x="449" y="1055768"/>
                    <a:pt x="19472" y="1051357"/>
                    <a:pt x="9823" y="1042190"/>
                  </a:cubicBezTo>
                  <a:cubicBezTo>
                    <a:pt x="5067" y="1034401"/>
                    <a:pt x="-13060" y="1038330"/>
                    <a:pt x="-3962" y="1048255"/>
                  </a:cubicBezTo>
                  <a:moveTo>
                    <a:pt x="513386" y="1285218"/>
                  </a:moveTo>
                  <a:cubicBezTo>
                    <a:pt x="519658" y="1291077"/>
                    <a:pt x="536338" y="1285494"/>
                    <a:pt x="532065" y="1275637"/>
                  </a:cubicBezTo>
                  <a:cubicBezTo>
                    <a:pt x="525862" y="1271571"/>
                    <a:pt x="511387" y="1276878"/>
                    <a:pt x="513386" y="1285218"/>
                  </a:cubicBezTo>
                </a:path>
              </a:pathLst>
            </a:custGeom>
            <a:grpFill/>
            <a:ln w="689" cap="flat">
              <a:noFill/>
              <a:prstDash val="solid"/>
              <a:miter/>
            </a:ln>
          </p:spPr>
          <p:txBody>
            <a:bodyPr rtlCol="0" anchor="ctr"/>
            <a:lstStyle/>
            <a:p>
              <a:endParaRPr lang="en-US" sz="2400" dirty="0"/>
            </a:p>
          </p:txBody>
        </p:sp>
        <p:sp>
          <p:nvSpPr>
            <p:cNvPr id="166" name="Graphic 8">
              <a:extLst>
                <a:ext uri="{FF2B5EF4-FFF2-40B4-BE49-F238E27FC236}">
                  <a16:creationId xmlns:a16="http://schemas.microsoft.com/office/drawing/2014/main" id="{6D16223A-741B-46FB-B881-2FCBF32DE90C}"/>
                </a:ext>
              </a:extLst>
            </p:cNvPr>
            <p:cNvSpPr/>
            <p:nvPr/>
          </p:nvSpPr>
          <p:spPr>
            <a:xfrm flipV="1">
              <a:off x="3235634" y="1487808"/>
              <a:ext cx="13527" cy="14863"/>
            </a:xfrm>
            <a:custGeom>
              <a:avLst/>
              <a:gdLst>
                <a:gd name="connsiteX0" fmla="*/ -2630 w 13527"/>
                <a:gd name="connsiteY0" fmla="*/ 9175 h 14863"/>
                <a:gd name="connsiteX1" fmla="*/ 8398 w 13527"/>
                <a:gd name="connsiteY1" fmla="*/ -4403 h 14863"/>
                <a:gd name="connsiteX2" fmla="*/ -2630 w 13527"/>
                <a:gd name="connsiteY2" fmla="*/ 9175 h 14863"/>
                <a:gd name="connsiteX3" fmla="*/ -2630 w 13527"/>
                <a:gd name="connsiteY3" fmla="*/ 9175 h 14863"/>
              </a:gdLst>
              <a:ahLst/>
              <a:cxnLst>
                <a:cxn ang="0">
                  <a:pos x="connsiteX0" y="connsiteY0"/>
                </a:cxn>
                <a:cxn ang="0">
                  <a:pos x="connsiteX1" y="connsiteY1"/>
                </a:cxn>
                <a:cxn ang="0">
                  <a:pos x="connsiteX2" y="connsiteY2"/>
                </a:cxn>
                <a:cxn ang="0">
                  <a:pos x="connsiteX3" y="connsiteY3"/>
                </a:cxn>
              </a:cxnLst>
              <a:rect l="l" t="t" r="r" b="b"/>
              <a:pathLst>
                <a:path w="13527" h="14863">
                  <a:moveTo>
                    <a:pt x="-2630" y="9175"/>
                  </a:moveTo>
                  <a:cubicBezTo>
                    <a:pt x="7984" y="11725"/>
                    <a:pt x="11706" y="7176"/>
                    <a:pt x="8398" y="-4403"/>
                  </a:cubicBezTo>
                  <a:cubicBezTo>
                    <a:pt x="-2561" y="-6747"/>
                    <a:pt x="-6214" y="-2198"/>
                    <a:pt x="-2630" y="9175"/>
                  </a:cubicBezTo>
                  <a:lnTo>
                    <a:pt x="-2630" y="9175"/>
                  </a:lnTo>
                </a:path>
              </a:pathLst>
            </a:custGeom>
            <a:grpFill/>
            <a:ln w="689" cap="flat">
              <a:noFill/>
              <a:prstDash val="solid"/>
              <a:miter/>
            </a:ln>
          </p:spPr>
          <p:txBody>
            <a:bodyPr rtlCol="0" anchor="ctr"/>
            <a:lstStyle/>
            <a:p>
              <a:endParaRPr lang="en-US" sz="2400" dirty="0"/>
            </a:p>
          </p:txBody>
        </p:sp>
        <p:sp>
          <p:nvSpPr>
            <p:cNvPr id="167" name="Graphic 8">
              <a:extLst>
                <a:ext uri="{FF2B5EF4-FFF2-40B4-BE49-F238E27FC236}">
                  <a16:creationId xmlns:a16="http://schemas.microsoft.com/office/drawing/2014/main" id="{D52CF099-F4A7-4B99-8A67-B6B47B056AB8}"/>
                </a:ext>
              </a:extLst>
            </p:cNvPr>
            <p:cNvSpPr/>
            <p:nvPr/>
          </p:nvSpPr>
          <p:spPr>
            <a:xfrm flipV="1">
              <a:off x="1393230" y="1488082"/>
              <a:ext cx="3805830" cy="2249768"/>
            </a:xfrm>
            <a:custGeom>
              <a:avLst/>
              <a:gdLst>
                <a:gd name="connsiteX0" fmla="*/ -237 w 3805830"/>
                <a:gd name="connsiteY0" fmla="*/ 52872 h 2249768"/>
                <a:gd name="connsiteX1" fmla="*/ 58142 w 3805830"/>
                <a:gd name="connsiteY1" fmla="*/ 56594 h 2249768"/>
                <a:gd name="connsiteX2" fmla="*/ 54144 w 3805830"/>
                <a:gd name="connsiteY2" fmla="*/ 24475 h 2249768"/>
                <a:gd name="connsiteX3" fmla="*/ 39670 w 3805830"/>
                <a:gd name="connsiteY3" fmla="*/ 26198 h 2249768"/>
                <a:gd name="connsiteX4" fmla="*/ 42220 w 3805830"/>
                <a:gd name="connsiteY4" fmla="*/ -3163 h 2249768"/>
                <a:gd name="connsiteX5" fmla="*/ 21061 w 3805830"/>
                <a:gd name="connsiteY5" fmla="*/ -1578 h 2249768"/>
                <a:gd name="connsiteX6" fmla="*/ 22025 w 3805830"/>
                <a:gd name="connsiteY6" fmla="*/ 31643 h 2249768"/>
                <a:gd name="connsiteX7" fmla="*/ 15409 w 3805830"/>
                <a:gd name="connsiteY7" fmla="*/ 33504 h 2249768"/>
                <a:gd name="connsiteX8" fmla="*/ 12376 w 3805830"/>
                <a:gd name="connsiteY8" fmla="*/ 4349 h 2249768"/>
                <a:gd name="connsiteX9" fmla="*/ -4028 w 3805830"/>
                <a:gd name="connsiteY9" fmla="*/ 13378 h 2249768"/>
                <a:gd name="connsiteX10" fmla="*/ -237 w 3805830"/>
                <a:gd name="connsiteY10" fmla="*/ 52872 h 2249768"/>
                <a:gd name="connsiteX11" fmla="*/ 3770147 w 3805830"/>
                <a:gd name="connsiteY11" fmla="*/ 369719 h 2249768"/>
                <a:gd name="connsiteX12" fmla="*/ 3770147 w 3805830"/>
                <a:gd name="connsiteY12" fmla="*/ 369719 h 2249768"/>
                <a:gd name="connsiteX13" fmla="*/ 3754714 w 3805830"/>
                <a:gd name="connsiteY13" fmla="*/ 368202 h 2249768"/>
                <a:gd name="connsiteX14" fmla="*/ 3754714 w 3805830"/>
                <a:gd name="connsiteY14" fmla="*/ 368202 h 2249768"/>
                <a:gd name="connsiteX15" fmla="*/ 3789377 w 3805830"/>
                <a:gd name="connsiteY15" fmla="*/ 398116 h 2249768"/>
                <a:gd name="connsiteX16" fmla="*/ 3793650 w 3805830"/>
                <a:gd name="connsiteY16" fmla="*/ 397909 h 2249768"/>
                <a:gd name="connsiteX17" fmla="*/ 3801783 w 3805830"/>
                <a:gd name="connsiteY17" fmla="*/ 353590 h 2249768"/>
                <a:gd name="connsiteX18" fmla="*/ 3678753 w 3805830"/>
                <a:gd name="connsiteY18" fmla="*/ 343389 h 2249768"/>
                <a:gd name="connsiteX19" fmla="*/ 3669103 w 3805830"/>
                <a:gd name="connsiteY19" fmla="*/ 349800 h 2249768"/>
                <a:gd name="connsiteX20" fmla="*/ 3678132 w 3805830"/>
                <a:gd name="connsiteY20" fmla="*/ 361792 h 2249768"/>
                <a:gd name="connsiteX21" fmla="*/ 3660005 w 3805830"/>
                <a:gd name="connsiteY21" fmla="*/ 362137 h 2249768"/>
                <a:gd name="connsiteX22" fmla="*/ 3669517 w 3805830"/>
                <a:gd name="connsiteY22" fmla="*/ 376404 h 2249768"/>
                <a:gd name="connsiteX23" fmla="*/ 3664072 w 3805830"/>
                <a:gd name="connsiteY23" fmla="*/ 389500 h 2249768"/>
                <a:gd name="connsiteX24" fmla="*/ 3750710 w 3805830"/>
                <a:gd name="connsiteY24" fmla="*/ 390534 h 2249768"/>
                <a:gd name="connsiteX25" fmla="*/ 3776970 w 3805830"/>
                <a:gd name="connsiteY25" fmla="*/ 397840 h 2249768"/>
                <a:gd name="connsiteX26" fmla="*/ 3792065 w 3805830"/>
                <a:gd name="connsiteY26" fmla="*/ 378334 h 2249768"/>
                <a:gd name="connsiteX27" fmla="*/ 3789377 w 3805830"/>
                <a:gd name="connsiteY27" fmla="*/ 398116 h 2249768"/>
                <a:gd name="connsiteX28" fmla="*/ 2854414 w 3805830"/>
                <a:gd name="connsiteY28" fmla="*/ 2191879 h 2249768"/>
                <a:gd name="connsiteX29" fmla="*/ 2867579 w 3805830"/>
                <a:gd name="connsiteY29" fmla="*/ 2189329 h 2249768"/>
                <a:gd name="connsiteX30" fmla="*/ 2853449 w 3805830"/>
                <a:gd name="connsiteY30" fmla="*/ 2150800 h 2249768"/>
                <a:gd name="connsiteX31" fmla="*/ 2821881 w 3805830"/>
                <a:gd name="connsiteY31" fmla="*/ 2154797 h 2249768"/>
                <a:gd name="connsiteX32" fmla="*/ 2824914 w 3805830"/>
                <a:gd name="connsiteY32" fmla="*/ 2143977 h 2249768"/>
                <a:gd name="connsiteX33" fmla="*/ 2820710 w 3805830"/>
                <a:gd name="connsiteY33" fmla="*/ 2142736 h 2249768"/>
                <a:gd name="connsiteX34" fmla="*/ 2810440 w 3805830"/>
                <a:gd name="connsiteY34" fmla="*/ 2172029 h 2249768"/>
                <a:gd name="connsiteX35" fmla="*/ 2808373 w 3805830"/>
                <a:gd name="connsiteY35" fmla="*/ 2176647 h 2249768"/>
                <a:gd name="connsiteX36" fmla="*/ 2821261 w 3805830"/>
                <a:gd name="connsiteY36" fmla="*/ 2186158 h 2249768"/>
                <a:gd name="connsiteX37" fmla="*/ 2823949 w 3805830"/>
                <a:gd name="connsiteY37" fmla="*/ 2160863 h 2249768"/>
                <a:gd name="connsiteX38" fmla="*/ 2849520 w 3805830"/>
                <a:gd name="connsiteY38" fmla="*/ 2162104 h 2249768"/>
                <a:gd name="connsiteX39" fmla="*/ 2854414 w 3805830"/>
                <a:gd name="connsiteY39" fmla="*/ 2191879 h 2249768"/>
                <a:gd name="connsiteX40" fmla="*/ 3699499 w 3805830"/>
                <a:gd name="connsiteY40" fmla="*/ 2210144 h 2249768"/>
                <a:gd name="connsiteX41" fmla="*/ 3699499 w 3805830"/>
                <a:gd name="connsiteY41" fmla="*/ 2210144 h 2249768"/>
                <a:gd name="connsiteX42" fmla="*/ 3680545 w 3805830"/>
                <a:gd name="connsiteY42" fmla="*/ 2244193 h 2249768"/>
                <a:gd name="connsiteX43" fmla="*/ 3726449 w 3805830"/>
                <a:gd name="connsiteY43" fmla="*/ 2246605 h 2249768"/>
                <a:gd name="connsiteX44" fmla="*/ 3771870 w 3805830"/>
                <a:gd name="connsiteY44" fmla="*/ 2231717 h 2249768"/>
                <a:gd name="connsiteX45" fmla="*/ 3755466 w 3805830"/>
                <a:gd name="connsiteY45" fmla="*/ 2229650 h 2249768"/>
                <a:gd name="connsiteX46" fmla="*/ 3770222 w 3805830"/>
                <a:gd name="connsiteY46" fmla="*/ 2217932 h 2249768"/>
                <a:gd name="connsiteX47" fmla="*/ 3746643 w 3805830"/>
                <a:gd name="connsiteY47" fmla="*/ 2200288 h 2249768"/>
                <a:gd name="connsiteX48" fmla="*/ 3729136 w 3805830"/>
                <a:gd name="connsiteY48" fmla="*/ 2197738 h 2249768"/>
                <a:gd name="connsiteX49" fmla="*/ 3733410 w 3805830"/>
                <a:gd name="connsiteY49" fmla="*/ 2220345 h 2249768"/>
                <a:gd name="connsiteX50" fmla="*/ 3724518 w 3805830"/>
                <a:gd name="connsiteY50" fmla="*/ 2206836 h 2249768"/>
                <a:gd name="connsiteX51" fmla="*/ 3713559 w 3805830"/>
                <a:gd name="connsiteY51" fmla="*/ 2220896 h 2249768"/>
                <a:gd name="connsiteX52" fmla="*/ 3719073 w 3805830"/>
                <a:gd name="connsiteY52" fmla="*/ 2199185 h 2249768"/>
                <a:gd name="connsiteX53" fmla="*/ 3688195 w 3805830"/>
                <a:gd name="connsiteY53" fmla="*/ 2199530 h 2249768"/>
                <a:gd name="connsiteX54" fmla="*/ 3708804 w 3805830"/>
                <a:gd name="connsiteY54" fmla="*/ 2230959 h 2249768"/>
                <a:gd name="connsiteX55" fmla="*/ 3680614 w 3805830"/>
                <a:gd name="connsiteY55" fmla="*/ 2228202 h 2249768"/>
                <a:gd name="connsiteX56" fmla="*/ 3680545 w 3805830"/>
                <a:gd name="connsiteY56" fmla="*/ 2244193 h 2249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805830" h="2249768">
                  <a:moveTo>
                    <a:pt x="-237" y="52872"/>
                  </a:moveTo>
                  <a:cubicBezTo>
                    <a:pt x="19200" y="53975"/>
                    <a:pt x="38636" y="55422"/>
                    <a:pt x="58142" y="56594"/>
                  </a:cubicBezTo>
                  <a:cubicBezTo>
                    <a:pt x="56832" y="45911"/>
                    <a:pt x="55454" y="35228"/>
                    <a:pt x="54144" y="24475"/>
                  </a:cubicBezTo>
                  <a:cubicBezTo>
                    <a:pt x="50560" y="24889"/>
                    <a:pt x="43323" y="25785"/>
                    <a:pt x="39670" y="26198"/>
                  </a:cubicBezTo>
                  <a:cubicBezTo>
                    <a:pt x="41118" y="16480"/>
                    <a:pt x="41945" y="6693"/>
                    <a:pt x="42220" y="-3163"/>
                  </a:cubicBezTo>
                  <a:cubicBezTo>
                    <a:pt x="36982" y="-2750"/>
                    <a:pt x="26368" y="-1992"/>
                    <a:pt x="21061" y="-1578"/>
                  </a:cubicBezTo>
                  <a:cubicBezTo>
                    <a:pt x="20027" y="9587"/>
                    <a:pt x="20371" y="20684"/>
                    <a:pt x="22025" y="31643"/>
                  </a:cubicBezTo>
                  <a:cubicBezTo>
                    <a:pt x="20371" y="32126"/>
                    <a:pt x="17063" y="33022"/>
                    <a:pt x="15409" y="33504"/>
                  </a:cubicBezTo>
                  <a:cubicBezTo>
                    <a:pt x="14444" y="23786"/>
                    <a:pt x="13479" y="14068"/>
                    <a:pt x="12376" y="4349"/>
                  </a:cubicBezTo>
                  <a:cubicBezTo>
                    <a:pt x="8309" y="6624"/>
                    <a:pt x="39" y="11173"/>
                    <a:pt x="-4028" y="13378"/>
                  </a:cubicBezTo>
                  <a:cubicBezTo>
                    <a:pt x="452" y="26198"/>
                    <a:pt x="2106" y="39570"/>
                    <a:pt x="-237" y="52872"/>
                  </a:cubicBezTo>
                  <a:close/>
                  <a:moveTo>
                    <a:pt x="3770147" y="369719"/>
                  </a:moveTo>
                  <a:cubicBezTo>
                    <a:pt x="3770284" y="346629"/>
                    <a:pt x="3791169" y="380195"/>
                    <a:pt x="3770147" y="369719"/>
                  </a:cubicBezTo>
                  <a:moveTo>
                    <a:pt x="3754714" y="368202"/>
                  </a:moveTo>
                  <a:cubicBezTo>
                    <a:pt x="3759050" y="364136"/>
                    <a:pt x="3759050" y="364136"/>
                    <a:pt x="3754714" y="368202"/>
                  </a:cubicBezTo>
                  <a:moveTo>
                    <a:pt x="3789377" y="398116"/>
                  </a:moveTo>
                  <a:lnTo>
                    <a:pt x="3793650" y="397909"/>
                  </a:lnTo>
                  <a:cubicBezTo>
                    <a:pt x="3797854" y="383435"/>
                    <a:pt x="3802128" y="368892"/>
                    <a:pt x="3801783" y="353590"/>
                  </a:cubicBezTo>
                  <a:cubicBezTo>
                    <a:pt x="3760497" y="354349"/>
                    <a:pt x="3720107" y="341046"/>
                    <a:pt x="3678753" y="343389"/>
                  </a:cubicBezTo>
                  <a:cubicBezTo>
                    <a:pt x="3676340" y="344975"/>
                    <a:pt x="3671515" y="348214"/>
                    <a:pt x="3669103" y="349800"/>
                  </a:cubicBezTo>
                  <a:cubicBezTo>
                    <a:pt x="3671377" y="352832"/>
                    <a:pt x="3675858" y="358829"/>
                    <a:pt x="3678132" y="361792"/>
                  </a:cubicBezTo>
                  <a:cubicBezTo>
                    <a:pt x="3673583" y="361861"/>
                    <a:pt x="3664554" y="361999"/>
                    <a:pt x="3660005" y="362137"/>
                  </a:cubicBezTo>
                  <a:cubicBezTo>
                    <a:pt x="3662417" y="365721"/>
                    <a:pt x="3667173" y="372820"/>
                    <a:pt x="3669517" y="376404"/>
                  </a:cubicBezTo>
                  <a:cubicBezTo>
                    <a:pt x="3668207" y="379713"/>
                    <a:pt x="3665450" y="386192"/>
                    <a:pt x="3664072" y="389500"/>
                  </a:cubicBezTo>
                  <a:cubicBezTo>
                    <a:pt x="3692882" y="388880"/>
                    <a:pt x="3722520" y="398736"/>
                    <a:pt x="3750710" y="390534"/>
                  </a:cubicBezTo>
                  <a:cubicBezTo>
                    <a:pt x="3759394" y="393153"/>
                    <a:pt x="3768010" y="395565"/>
                    <a:pt x="3776970" y="397840"/>
                  </a:cubicBezTo>
                  <a:cubicBezTo>
                    <a:pt x="3780761" y="392946"/>
                    <a:pt x="3788274" y="383228"/>
                    <a:pt x="3792065" y="378334"/>
                  </a:cubicBezTo>
                  <a:cubicBezTo>
                    <a:pt x="3791375" y="383297"/>
                    <a:pt x="3789997" y="393153"/>
                    <a:pt x="3789377" y="398116"/>
                  </a:cubicBezTo>
                  <a:moveTo>
                    <a:pt x="2854414" y="2191879"/>
                  </a:moveTo>
                  <a:lnTo>
                    <a:pt x="2867579" y="2189329"/>
                  </a:lnTo>
                  <a:cubicBezTo>
                    <a:pt x="2863443" y="2176302"/>
                    <a:pt x="2858688" y="2163413"/>
                    <a:pt x="2853449" y="2150800"/>
                  </a:cubicBezTo>
                  <a:cubicBezTo>
                    <a:pt x="2842835" y="2152040"/>
                    <a:pt x="2832358" y="2153419"/>
                    <a:pt x="2821881" y="2154797"/>
                  </a:cubicBezTo>
                  <a:lnTo>
                    <a:pt x="2824914" y="2143977"/>
                  </a:lnTo>
                  <a:lnTo>
                    <a:pt x="2820710" y="2142736"/>
                  </a:lnTo>
                  <a:cubicBezTo>
                    <a:pt x="2823949" y="2154935"/>
                    <a:pt x="2821399" y="2165274"/>
                    <a:pt x="2810440" y="2172029"/>
                  </a:cubicBezTo>
                  <a:lnTo>
                    <a:pt x="2808373" y="2176647"/>
                  </a:lnTo>
                  <a:lnTo>
                    <a:pt x="2821261" y="2186158"/>
                  </a:lnTo>
                  <a:cubicBezTo>
                    <a:pt x="2821950" y="2179817"/>
                    <a:pt x="2823260" y="2167135"/>
                    <a:pt x="2823949" y="2160863"/>
                  </a:cubicBezTo>
                  <a:cubicBezTo>
                    <a:pt x="2832427" y="2161345"/>
                    <a:pt x="2840905" y="2161759"/>
                    <a:pt x="2849520" y="2162104"/>
                  </a:cubicBezTo>
                  <a:cubicBezTo>
                    <a:pt x="2849176" y="2172373"/>
                    <a:pt x="2850348" y="2182505"/>
                    <a:pt x="2854414" y="2191879"/>
                  </a:cubicBezTo>
                  <a:moveTo>
                    <a:pt x="3699499" y="2210144"/>
                  </a:moveTo>
                  <a:cubicBezTo>
                    <a:pt x="3703290" y="2206215"/>
                    <a:pt x="3703290" y="2206215"/>
                    <a:pt x="3699499" y="2210144"/>
                  </a:cubicBezTo>
                  <a:moveTo>
                    <a:pt x="3680545" y="2244193"/>
                  </a:moveTo>
                  <a:cubicBezTo>
                    <a:pt x="3695846" y="2243021"/>
                    <a:pt x="3711354" y="2242745"/>
                    <a:pt x="3726449" y="2246605"/>
                  </a:cubicBezTo>
                  <a:cubicBezTo>
                    <a:pt x="3742439" y="2245778"/>
                    <a:pt x="3762634" y="2248466"/>
                    <a:pt x="3771870" y="2231717"/>
                  </a:cubicBezTo>
                  <a:cubicBezTo>
                    <a:pt x="3767803" y="2231166"/>
                    <a:pt x="3759601" y="2230201"/>
                    <a:pt x="3755466" y="2229650"/>
                  </a:cubicBezTo>
                  <a:cubicBezTo>
                    <a:pt x="3759188" y="2226755"/>
                    <a:pt x="3766493" y="2220896"/>
                    <a:pt x="3770222" y="2217932"/>
                  </a:cubicBezTo>
                  <a:cubicBezTo>
                    <a:pt x="3762358" y="2211936"/>
                    <a:pt x="3754501" y="2206078"/>
                    <a:pt x="3746643" y="2200288"/>
                  </a:cubicBezTo>
                  <a:cubicBezTo>
                    <a:pt x="3742232" y="2199667"/>
                    <a:pt x="3733479" y="2198358"/>
                    <a:pt x="3729136" y="2197738"/>
                  </a:cubicBezTo>
                  <a:cubicBezTo>
                    <a:pt x="3730170" y="2203389"/>
                    <a:pt x="3732376" y="2214693"/>
                    <a:pt x="3733410" y="2220345"/>
                  </a:cubicBezTo>
                  <a:cubicBezTo>
                    <a:pt x="3731204" y="2216968"/>
                    <a:pt x="3726793" y="2210213"/>
                    <a:pt x="3724518" y="2206836"/>
                  </a:cubicBezTo>
                  <a:cubicBezTo>
                    <a:pt x="3721830" y="2210351"/>
                    <a:pt x="3716316" y="2217381"/>
                    <a:pt x="3713559" y="2220896"/>
                  </a:cubicBezTo>
                  <a:cubicBezTo>
                    <a:pt x="3715352" y="2213659"/>
                    <a:pt x="3717144" y="2206422"/>
                    <a:pt x="3719073" y="2199185"/>
                  </a:cubicBezTo>
                  <a:cubicBezTo>
                    <a:pt x="3708735" y="2199323"/>
                    <a:pt x="3698465" y="2199392"/>
                    <a:pt x="3688195" y="2199530"/>
                  </a:cubicBezTo>
                  <a:cubicBezTo>
                    <a:pt x="3684611" y="2216485"/>
                    <a:pt x="3702532" y="2218760"/>
                    <a:pt x="3708804" y="2230959"/>
                  </a:cubicBezTo>
                  <a:cubicBezTo>
                    <a:pt x="3701704" y="2230270"/>
                    <a:pt x="3687644" y="2228891"/>
                    <a:pt x="3680614" y="2228202"/>
                  </a:cubicBezTo>
                  <a:cubicBezTo>
                    <a:pt x="3680545" y="2232200"/>
                    <a:pt x="3680545" y="2240195"/>
                    <a:pt x="3680545" y="2244193"/>
                  </a:cubicBezTo>
                </a:path>
              </a:pathLst>
            </a:custGeom>
            <a:grpFill/>
            <a:ln w="689" cap="flat">
              <a:noFill/>
              <a:prstDash val="solid"/>
              <a:miter/>
            </a:ln>
          </p:spPr>
          <p:txBody>
            <a:bodyPr rtlCol="0" anchor="ctr"/>
            <a:lstStyle/>
            <a:p>
              <a:endParaRPr lang="en-US" sz="2400" dirty="0"/>
            </a:p>
          </p:txBody>
        </p:sp>
        <p:sp>
          <p:nvSpPr>
            <p:cNvPr id="168" name="Graphic 8">
              <a:extLst>
                <a:ext uri="{FF2B5EF4-FFF2-40B4-BE49-F238E27FC236}">
                  <a16:creationId xmlns:a16="http://schemas.microsoft.com/office/drawing/2014/main" id="{44912997-550E-4F81-A775-F7EB128B9594}"/>
                </a:ext>
              </a:extLst>
            </p:cNvPr>
            <p:cNvSpPr/>
            <p:nvPr/>
          </p:nvSpPr>
          <p:spPr>
            <a:xfrm flipV="1">
              <a:off x="5530086" y="1487324"/>
              <a:ext cx="91187" cy="20369"/>
            </a:xfrm>
            <a:custGeom>
              <a:avLst/>
              <a:gdLst>
                <a:gd name="connsiteX0" fmla="*/ 4341 w 91187"/>
                <a:gd name="connsiteY0" fmla="*/ 6067 h 20369"/>
                <a:gd name="connsiteX1" fmla="*/ 33496 w 91187"/>
                <a:gd name="connsiteY1" fmla="*/ 14545 h 20369"/>
                <a:gd name="connsiteX2" fmla="*/ 51347 w 91187"/>
                <a:gd name="connsiteY2" fmla="*/ 4206 h 20369"/>
                <a:gd name="connsiteX3" fmla="*/ 55482 w 91187"/>
                <a:gd name="connsiteY3" fmla="*/ 8962 h 20369"/>
                <a:gd name="connsiteX4" fmla="*/ 63409 w 91187"/>
                <a:gd name="connsiteY4" fmla="*/ 9513 h 20369"/>
                <a:gd name="connsiteX5" fmla="*/ 75195 w 91187"/>
                <a:gd name="connsiteY5" fmla="*/ 10685 h 20369"/>
                <a:gd name="connsiteX6" fmla="*/ 81261 w 91187"/>
                <a:gd name="connsiteY6" fmla="*/ 15372 h 20369"/>
                <a:gd name="connsiteX7" fmla="*/ 84293 w 91187"/>
                <a:gd name="connsiteY7" fmla="*/ -3582 h 20369"/>
                <a:gd name="connsiteX8" fmla="*/ -6894 w 91187"/>
                <a:gd name="connsiteY8" fmla="*/ -3513 h 20369"/>
                <a:gd name="connsiteX9" fmla="*/ 4341 w 91187"/>
                <a:gd name="connsiteY9" fmla="*/ 6067 h 20369"/>
                <a:gd name="connsiteX10" fmla="*/ 4341 w 91187"/>
                <a:gd name="connsiteY10" fmla="*/ 6067 h 20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87" h="20369">
                  <a:moveTo>
                    <a:pt x="4341" y="6067"/>
                  </a:moveTo>
                  <a:cubicBezTo>
                    <a:pt x="13990" y="8893"/>
                    <a:pt x="23709" y="11719"/>
                    <a:pt x="33496" y="14545"/>
                  </a:cubicBezTo>
                  <a:cubicBezTo>
                    <a:pt x="33909" y="4137"/>
                    <a:pt x="43076" y="-11716"/>
                    <a:pt x="51347" y="4206"/>
                  </a:cubicBezTo>
                  <a:lnTo>
                    <a:pt x="55482" y="8962"/>
                  </a:lnTo>
                  <a:cubicBezTo>
                    <a:pt x="57482" y="9100"/>
                    <a:pt x="61410" y="9375"/>
                    <a:pt x="63409" y="9513"/>
                  </a:cubicBezTo>
                  <a:cubicBezTo>
                    <a:pt x="66373" y="9858"/>
                    <a:pt x="72231" y="10409"/>
                    <a:pt x="75195" y="10685"/>
                  </a:cubicBezTo>
                  <a:cubicBezTo>
                    <a:pt x="76711" y="11857"/>
                    <a:pt x="79744" y="14200"/>
                    <a:pt x="81261" y="15372"/>
                  </a:cubicBezTo>
                  <a:cubicBezTo>
                    <a:pt x="82018" y="10616"/>
                    <a:pt x="83535" y="1173"/>
                    <a:pt x="84293" y="-3582"/>
                  </a:cubicBezTo>
                  <a:cubicBezTo>
                    <a:pt x="53828" y="-6133"/>
                    <a:pt x="23502" y="-4685"/>
                    <a:pt x="-6894" y="-3513"/>
                  </a:cubicBezTo>
                  <a:cubicBezTo>
                    <a:pt x="-4068" y="-1101"/>
                    <a:pt x="1584" y="3655"/>
                    <a:pt x="4341" y="6067"/>
                  </a:cubicBezTo>
                  <a:lnTo>
                    <a:pt x="4341" y="6067"/>
                  </a:lnTo>
                </a:path>
              </a:pathLst>
            </a:custGeom>
            <a:grpFill/>
            <a:ln w="689" cap="flat">
              <a:noFill/>
              <a:prstDash val="solid"/>
              <a:miter/>
            </a:ln>
          </p:spPr>
          <p:txBody>
            <a:bodyPr rtlCol="0" anchor="ctr"/>
            <a:lstStyle/>
            <a:p>
              <a:endParaRPr lang="en-US" sz="2400" dirty="0"/>
            </a:p>
          </p:txBody>
        </p:sp>
        <p:sp>
          <p:nvSpPr>
            <p:cNvPr id="169" name="Graphic 8">
              <a:extLst>
                <a:ext uri="{FF2B5EF4-FFF2-40B4-BE49-F238E27FC236}">
                  <a16:creationId xmlns:a16="http://schemas.microsoft.com/office/drawing/2014/main" id="{250C3E0B-09A0-43E5-8FA1-22BED26F7523}"/>
                </a:ext>
              </a:extLst>
            </p:cNvPr>
            <p:cNvSpPr/>
            <p:nvPr/>
          </p:nvSpPr>
          <p:spPr>
            <a:xfrm flipV="1">
              <a:off x="532897" y="1497801"/>
              <a:ext cx="8018611" cy="2187535"/>
            </a:xfrm>
            <a:custGeom>
              <a:avLst/>
              <a:gdLst>
                <a:gd name="connsiteX0" fmla="*/ -3372 w 8018611"/>
                <a:gd name="connsiteY0" fmla="*/ 6318 h 2187535"/>
                <a:gd name="connsiteX1" fmla="*/ -3372 w 8018611"/>
                <a:gd name="connsiteY1" fmla="*/ 6318 h 2187535"/>
                <a:gd name="connsiteX2" fmla="*/ 3581121 w 8018611"/>
                <a:gd name="connsiteY2" fmla="*/ 104812 h 2187535"/>
                <a:gd name="connsiteX3" fmla="*/ 3581121 w 8018611"/>
                <a:gd name="connsiteY3" fmla="*/ 104812 h 2187535"/>
                <a:gd name="connsiteX4" fmla="*/ 8005049 w 8018611"/>
                <a:gd name="connsiteY4" fmla="*/ 413181 h 2187535"/>
                <a:gd name="connsiteX5" fmla="*/ 8005049 w 8018611"/>
                <a:gd name="connsiteY5" fmla="*/ 413181 h 2187535"/>
                <a:gd name="connsiteX6" fmla="*/ 6433223 w 8018611"/>
                <a:gd name="connsiteY6" fmla="*/ 435030 h 2187535"/>
                <a:gd name="connsiteX7" fmla="*/ 6433223 w 8018611"/>
                <a:gd name="connsiteY7" fmla="*/ 435030 h 2187535"/>
                <a:gd name="connsiteX8" fmla="*/ 6390765 w 8018611"/>
                <a:gd name="connsiteY8" fmla="*/ 455569 h 2187535"/>
                <a:gd name="connsiteX9" fmla="*/ 6409581 w 8018611"/>
                <a:gd name="connsiteY9" fmla="*/ 456258 h 2187535"/>
                <a:gd name="connsiteX10" fmla="*/ 6433153 w 8018611"/>
                <a:gd name="connsiteY10" fmla="*/ 439441 h 2187535"/>
                <a:gd name="connsiteX11" fmla="*/ 6463549 w 8018611"/>
                <a:gd name="connsiteY11" fmla="*/ 459567 h 2187535"/>
                <a:gd name="connsiteX12" fmla="*/ 6460930 w 8018611"/>
                <a:gd name="connsiteY12" fmla="*/ 441577 h 2187535"/>
                <a:gd name="connsiteX13" fmla="*/ 6444732 w 8018611"/>
                <a:gd name="connsiteY13" fmla="*/ 449986 h 2187535"/>
                <a:gd name="connsiteX14" fmla="*/ 6453831 w 8018611"/>
                <a:gd name="connsiteY14" fmla="*/ 410630 h 2187535"/>
                <a:gd name="connsiteX15" fmla="*/ 6443079 w 8018611"/>
                <a:gd name="connsiteY15" fmla="*/ 412836 h 2187535"/>
                <a:gd name="connsiteX16" fmla="*/ 6423297 w 8018611"/>
                <a:gd name="connsiteY16" fmla="*/ 408080 h 2187535"/>
                <a:gd name="connsiteX17" fmla="*/ 6410891 w 8018611"/>
                <a:gd name="connsiteY17" fmla="*/ 434892 h 2187535"/>
                <a:gd name="connsiteX18" fmla="*/ 6399380 w 8018611"/>
                <a:gd name="connsiteY18" fmla="*/ 422623 h 2187535"/>
                <a:gd name="connsiteX19" fmla="*/ 6407376 w 8018611"/>
                <a:gd name="connsiteY19" fmla="*/ 408149 h 2187535"/>
                <a:gd name="connsiteX20" fmla="*/ 6377952 w 8018611"/>
                <a:gd name="connsiteY20" fmla="*/ 405392 h 2187535"/>
                <a:gd name="connsiteX21" fmla="*/ 6375533 w 8018611"/>
                <a:gd name="connsiteY21" fmla="*/ 426138 h 2187535"/>
                <a:gd name="connsiteX22" fmla="*/ 6390765 w 8018611"/>
                <a:gd name="connsiteY22" fmla="*/ 455569 h 2187535"/>
                <a:gd name="connsiteX23" fmla="*/ 4249070 w 8018611"/>
                <a:gd name="connsiteY23" fmla="*/ 923361 h 2187535"/>
                <a:gd name="connsiteX24" fmla="*/ 4249070 w 8018611"/>
                <a:gd name="connsiteY24" fmla="*/ 923361 h 2187535"/>
                <a:gd name="connsiteX25" fmla="*/ 6345274 w 8018611"/>
                <a:gd name="connsiteY25" fmla="*/ 1638936 h 2187535"/>
                <a:gd name="connsiteX26" fmla="*/ 6362092 w 8018611"/>
                <a:gd name="connsiteY26" fmla="*/ 1628528 h 2187535"/>
                <a:gd name="connsiteX27" fmla="*/ 6345274 w 8018611"/>
                <a:gd name="connsiteY27" fmla="*/ 1638936 h 2187535"/>
                <a:gd name="connsiteX28" fmla="*/ 2192497 w 8018611"/>
                <a:gd name="connsiteY28" fmla="*/ 1671193 h 2187535"/>
                <a:gd name="connsiteX29" fmla="*/ 2201319 w 8018611"/>
                <a:gd name="connsiteY29" fmla="*/ 1682083 h 2187535"/>
                <a:gd name="connsiteX30" fmla="*/ 2208074 w 8018611"/>
                <a:gd name="connsiteY30" fmla="*/ 1656788 h 2187535"/>
                <a:gd name="connsiteX31" fmla="*/ 2192497 w 8018611"/>
                <a:gd name="connsiteY31" fmla="*/ 1671193 h 2187535"/>
                <a:gd name="connsiteX32" fmla="*/ 6530888 w 8018611"/>
                <a:gd name="connsiteY32" fmla="*/ 1985007 h 2187535"/>
                <a:gd name="connsiteX33" fmla="*/ 6530888 w 8018611"/>
                <a:gd name="connsiteY33" fmla="*/ 1985007 h 2187535"/>
                <a:gd name="connsiteX34" fmla="*/ 1802935 w 8018611"/>
                <a:gd name="connsiteY34" fmla="*/ 2184337 h 2187535"/>
                <a:gd name="connsiteX35" fmla="*/ 1802935 w 8018611"/>
                <a:gd name="connsiteY35" fmla="*/ 2184337 h 2187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018611" h="2187535">
                  <a:moveTo>
                    <a:pt x="-3372" y="6318"/>
                  </a:moveTo>
                  <a:cubicBezTo>
                    <a:pt x="19236" y="5147"/>
                    <a:pt x="-14195" y="-14497"/>
                    <a:pt x="-3372" y="6318"/>
                  </a:cubicBezTo>
                  <a:close/>
                  <a:moveTo>
                    <a:pt x="3581121" y="104812"/>
                  </a:moveTo>
                  <a:cubicBezTo>
                    <a:pt x="3601868" y="115495"/>
                    <a:pt x="3581879" y="82067"/>
                    <a:pt x="3581121" y="104812"/>
                  </a:cubicBezTo>
                  <a:moveTo>
                    <a:pt x="8005049" y="413181"/>
                  </a:moveTo>
                  <a:cubicBezTo>
                    <a:pt x="8027724" y="411595"/>
                    <a:pt x="7993607" y="392779"/>
                    <a:pt x="8005049" y="413181"/>
                  </a:cubicBezTo>
                  <a:moveTo>
                    <a:pt x="6433223" y="435030"/>
                  </a:moveTo>
                  <a:cubicBezTo>
                    <a:pt x="6436944" y="431308"/>
                    <a:pt x="6436944" y="431308"/>
                    <a:pt x="6433223" y="435030"/>
                  </a:cubicBezTo>
                  <a:moveTo>
                    <a:pt x="6390765" y="455569"/>
                  </a:moveTo>
                  <a:cubicBezTo>
                    <a:pt x="6395459" y="455707"/>
                    <a:pt x="6404894" y="456052"/>
                    <a:pt x="6409581" y="456258"/>
                  </a:cubicBezTo>
                  <a:cubicBezTo>
                    <a:pt x="6416681" y="449711"/>
                    <a:pt x="6424607" y="444197"/>
                    <a:pt x="6433153" y="439441"/>
                  </a:cubicBezTo>
                  <a:cubicBezTo>
                    <a:pt x="6429776" y="460049"/>
                    <a:pt x="6449971" y="457085"/>
                    <a:pt x="6463549" y="459567"/>
                  </a:cubicBezTo>
                  <a:cubicBezTo>
                    <a:pt x="6462860" y="455087"/>
                    <a:pt x="6461619" y="446058"/>
                    <a:pt x="6460930" y="441577"/>
                  </a:cubicBezTo>
                  <a:cubicBezTo>
                    <a:pt x="6456864" y="443645"/>
                    <a:pt x="6448799" y="447850"/>
                    <a:pt x="6444732" y="449986"/>
                  </a:cubicBezTo>
                  <a:cubicBezTo>
                    <a:pt x="6439563" y="436615"/>
                    <a:pt x="6450522" y="423381"/>
                    <a:pt x="6453831" y="410630"/>
                  </a:cubicBezTo>
                  <a:cubicBezTo>
                    <a:pt x="6451143" y="411182"/>
                    <a:pt x="6445766" y="412284"/>
                    <a:pt x="6443079" y="412836"/>
                  </a:cubicBezTo>
                  <a:cubicBezTo>
                    <a:pt x="6438116" y="411664"/>
                    <a:pt x="6428260" y="409252"/>
                    <a:pt x="6423297" y="408080"/>
                  </a:cubicBezTo>
                  <a:cubicBezTo>
                    <a:pt x="6417577" y="416282"/>
                    <a:pt x="6413992" y="425587"/>
                    <a:pt x="6410891" y="434892"/>
                  </a:cubicBezTo>
                  <a:cubicBezTo>
                    <a:pt x="6406549" y="454122"/>
                    <a:pt x="6389041" y="432479"/>
                    <a:pt x="6399380" y="422623"/>
                  </a:cubicBezTo>
                  <a:cubicBezTo>
                    <a:pt x="6401379" y="418970"/>
                    <a:pt x="6405377" y="411802"/>
                    <a:pt x="6407376" y="408149"/>
                  </a:cubicBezTo>
                  <a:cubicBezTo>
                    <a:pt x="6397519" y="407115"/>
                    <a:pt x="6387663" y="406219"/>
                    <a:pt x="6377952" y="405392"/>
                  </a:cubicBezTo>
                  <a:cubicBezTo>
                    <a:pt x="6377324" y="410561"/>
                    <a:pt x="6376152" y="420969"/>
                    <a:pt x="6375533" y="426138"/>
                  </a:cubicBezTo>
                  <a:cubicBezTo>
                    <a:pt x="6376290" y="437718"/>
                    <a:pt x="6383252" y="447298"/>
                    <a:pt x="6390765" y="455569"/>
                  </a:cubicBezTo>
                  <a:moveTo>
                    <a:pt x="4249070" y="923361"/>
                  </a:moveTo>
                  <a:cubicBezTo>
                    <a:pt x="4271608" y="921982"/>
                    <a:pt x="4238118" y="902683"/>
                    <a:pt x="4249070" y="923361"/>
                  </a:cubicBezTo>
                  <a:moveTo>
                    <a:pt x="6345274" y="1638936"/>
                  </a:moveTo>
                  <a:cubicBezTo>
                    <a:pt x="6351478" y="1646380"/>
                    <a:pt x="6368226" y="1637971"/>
                    <a:pt x="6362092" y="1628528"/>
                  </a:cubicBezTo>
                  <a:cubicBezTo>
                    <a:pt x="6355544" y="1620809"/>
                    <a:pt x="6338313" y="1629287"/>
                    <a:pt x="6345274" y="1638936"/>
                  </a:cubicBezTo>
                  <a:moveTo>
                    <a:pt x="2192497" y="1671193"/>
                  </a:moveTo>
                  <a:cubicBezTo>
                    <a:pt x="2194702" y="1673950"/>
                    <a:pt x="2199114" y="1679395"/>
                    <a:pt x="2201319" y="1682083"/>
                  </a:cubicBezTo>
                  <a:cubicBezTo>
                    <a:pt x="2207316" y="1675191"/>
                    <a:pt x="2210142" y="1665886"/>
                    <a:pt x="2208074" y="1656788"/>
                  </a:cubicBezTo>
                  <a:cubicBezTo>
                    <a:pt x="2201733" y="1660372"/>
                    <a:pt x="2196495" y="1665197"/>
                    <a:pt x="2192497" y="1671193"/>
                  </a:cubicBezTo>
                  <a:moveTo>
                    <a:pt x="6530888" y="1985007"/>
                  </a:moveTo>
                  <a:cubicBezTo>
                    <a:pt x="6534334" y="1981216"/>
                    <a:pt x="6534334" y="1981216"/>
                    <a:pt x="6530888" y="1985007"/>
                  </a:cubicBezTo>
                  <a:moveTo>
                    <a:pt x="1802935" y="2184337"/>
                  </a:moveTo>
                  <a:cubicBezTo>
                    <a:pt x="1806795" y="2180890"/>
                    <a:pt x="1806795" y="2180890"/>
                    <a:pt x="1802935" y="2184337"/>
                  </a:cubicBezTo>
                </a:path>
              </a:pathLst>
            </a:custGeom>
            <a:grpFill/>
            <a:ln w="689" cap="flat">
              <a:noFill/>
              <a:prstDash val="solid"/>
              <a:miter/>
            </a:ln>
          </p:spPr>
          <p:txBody>
            <a:bodyPr rtlCol="0" anchor="ctr"/>
            <a:lstStyle/>
            <a:p>
              <a:endParaRPr lang="en-US" sz="2400" dirty="0"/>
            </a:p>
          </p:txBody>
        </p:sp>
        <p:sp>
          <p:nvSpPr>
            <p:cNvPr id="170" name="Graphic 8">
              <a:extLst>
                <a:ext uri="{FF2B5EF4-FFF2-40B4-BE49-F238E27FC236}">
                  <a16:creationId xmlns:a16="http://schemas.microsoft.com/office/drawing/2014/main" id="{AF419D29-5072-43C5-AE03-080E8A45AD5F}"/>
                </a:ext>
              </a:extLst>
            </p:cNvPr>
            <p:cNvSpPr/>
            <p:nvPr/>
          </p:nvSpPr>
          <p:spPr>
            <a:xfrm flipV="1">
              <a:off x="2820984" y="1497249"/>
              <a:ext cx="10221" cy="9514"/>
            </a:xfrm>
            <a:custGeom>
              <a:avLst/>
              <a:gdLst>
                <a:gd name="connsiteX0" fmla="*/ -1281 w 10221"/>
                <a:gd name="connsiteY0" fmla="*/ 4525 h 9514"/>
                <a:gd name="connsiteX1" fmla="*/ -1281 w 10221"/>
                <a:gd name="connsiteY1" fmla="*/ 4525 h 9514"/>
                <a:gd name="connsiteX2" fmla="*/ -1281 w 10221"/>
                <a:gd name="connsiteY2" fmla="*/ 4525 h 9514"/>
              </a:gdLst>
              <a:ahLst/>
              <a:cxnLst>
                <a:cxn ang="0">
                  <a:pos x="connsiteX0" y="connsiteY0"/>
                </a:cxn>
                <a:cxn ang="0">
                  <a:pos x="connsiteX1" y="connsiteY1"/>
                </a:cxn>
                <a:cxn ang="0">
                  <a:pos x="connsiteX2" y="connsiteY2"/>
                </a:cxn>
              </a:cxnLst>
              <a:rect l="l" t="t" r="r" b="b"/>
              <a:pathLst>
                <a:path w="10221" h="9514">
                  <a:moveTo>
                    <a:pt x="-1281" y="4525"/>
                  </a:moveTo>
                  <a:cubicBezTo>
                    <a:pt x="21327" y="3629"/>
                    <a:pt x="-11895" y="-16429"/>
                    <a:pt x="-1281" y="4525"/>
                  </a:cubicBezTo>
                  <a:lnTo>
                    <a:pt x="-1281" y="4525"/>
                  </a:lnTo>
                </a:path>
              </a:pathLst>
            </a:custGeom>
            <a:grpFill/>
            <a:ln w="689" cap="flat">
              <a:noFill/>
              <a:prstDash val="solid"/>
              <a:miter/>
            </a:ln>
          </p:spPr>
          <p:txBody>
            <a:bodyPr rtlCol="0" anchor="ctr"/>
            <a:lstStyle/>
            <a:p>
              <a:endParaRPr lang="en-US" sz="2400" dirty="0"/>
            </a:p>
          </p:txBody>
        </p:sp>
        <p:sp>
          <p:nvSpPr>
            <p:cNvPr id="171" name="Graphic 8">
              <a:extLst>
                <a:ext uri="{FF2B5EF4-FFF2-40B4-BE49-F238E27FC236}">
                  <a16:creationId xmlns:a16="http://schemas.microsoft.com/office/drawing/2014/main" id="{4C2BDF81-F652-482D-A509-A23962759A98}"/>
                </a:ext>
              </a:extLst>
            </p:cNvPr>
            <p:cNvSpPr/>
            <p:nvPr/>
          </p:nvSpPr>
          <p:spPr>
            <a:xfrm flipV="1">
              <a:off x="760326" y="1497387"/>
              <a:ext cx="4894720" cy="2222663"/>
            </a:xfrm>
            <a:custGeom>
              <a:avLst/>
              <a:gdLst>
                <a:gd name="connsiteX0" fmla="*/ 1428031 w 4894720"/>
                <a:gd name="connsiteY0" fmla="*/ 1706 h 2222663"/>
                <a:gd name="connsiteX1" fmla="*/ 1424447 w 4894720"/>
                <a:gd name="connsiteY1" fmla="*/ 6599 h 2222663"/>
                <a:gd name="connsiteX2" fmla="*/ 1428031 w 4894720"/>
                <a:gd name="connsiteY2" fmla="*/ 1706 h 2222663"/>
                <a:gd name="connsiteX3" fmla="*/ -1742 w 4894720"/>
                <a:gd name="connsiteY3" fmla="*/ 97029 h 2222663"/>
                <a:gd name="connsiteX4" fmla="*/ -1742 w 4894720"/>
                <a:gd name="connsiteY4" fmla="*/ 97029 h 2222663"/>
                <a:gd name="connsiteX5" fmla="*/ 2480027 w 4894720"/>
                <a:gd name="connsiteY5" fmla="*/ 1190656 h 2222663"/>
                <a:gd name="connsiteX6" fmla="*/ 2491400 w 4894720"/>
                <a:gd name="connsiteY6" fmla="*/ 1169082 h 2222663"/>
                <a:gd name="connsiteX7" fmla="*/ 2480027 w 4894720"/>
                <a:gd name="connsiteY7" fmla="*/ 1190656 h 2222663"/>
                <a:gd name="connsiteX8" fmla="*/ 3961976 w 4894720"/>
                <a:gd name="connsiteY8" fmla="*/ 1322577 h 2222663"/>
                <a:gd name="connsiteX9" fmla="*/ 3965628 w 4894720"/>
                <a:gd name="connsiteY9" fmla="*/ 1306242 h 2222663"/>
                <a:gd name="connsiteX10" fmla="*/ 3961976 w 4894720"/>
                <a:gd name="connsiteY10" fmla="*/ 1322577 h 2222663"/>
                <a:gd name="connsiteX11" fmla="*/ 4859443 w 4894720"/>
                <a:gd name="connsiteY11" fmla="*/ 1371445 h 2222663"/>
                <a:gd name="connsiteX12" fmla="*/ 4890804 w 4894720"/>
                <a:gd name="connsiteY12" fmla="*/ 1358487 h 2222663"/>
                <a:gd name="connsiteX13" fmla="*/ 4859443 w 4894720"/>
                <a:gd name="connsiteY13" fmla="*/ 1371445 h 2222663"/>
                <a:gd name="connsiteX14" fmla="*/ 2307509 w 4894720"/>
                <a:gd name="connsiteY14" fmla="*/ 1494889 h 2222663"/>
                <a:gd name="connsiteX15" fmla="*/ 2311644 w 4894720"/>
                <a:gd name="connsiteY15" fmla="*/ 1478829 h 2222663"/>
                <a:gd name="connsiteX16" fmla="*/ 2307509 w 4894720"/>
                <a:gd name="connsiteY16" fmla="*/ 1494889 h 2222663"/>
                <a:gd name="connsiteX17" fmla="*/ 1053425 w 4894720"/>
                <a:gd name="connsiteY17" fmla="*/ 2013823 h 2222663"/>
                <a:gd name="connsiteX18" fmla="*/ 1063006 w 4894720"/>
                <a:gd name="connsiteY18" fmla="*/ 1995971 h 2222663"/>
                <a:gd name="connsiteX19" fmla="*/ 1053425 w 4894720"/>
                <a:gd name="connsiteY19" fmla="*/ 2013823 h 2222663"/>
                <a:gd name="connsiteX20" fmla="*/ 2445634 w 4894720"/>
                <a:gd name="connsiteY20" fmla="*/ 2219494 h 2222663"/>
                <a:gd name="connsiteX21" fmla="*/ 2445634 w 4894720"/>
                <a:gd name="connsiteY21" fmla="*/ 2219494 h 222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94720" h="2222663">
                  <a:moveTo>
                    <a:pt x="1428031" y="1706"/>
                  </a:moveTo>
                  <a:cubicBezTo>
                    <a:pt x="1419484" y="-12561"/>
                    <a:pt x="1407284" y="9288"/>
                    <a:pt x="1424447" y="6599"/>
                  </a:cubicBezTo>
                  <a:lnTo>
                    <a:pt x="1428031" y="1706"/>
                  </a:lnTo>
                  <a:close/>
                  <a:moveTo>
                    <a:pt x="-1742" y="97029"/>
                  </a:moveTo>
                  <a:cubicBezTo>
                    <a:pt x="20934" y="96133"/>
                    <a:pt x="-12426" y="76145"/>
                    <a:pt x="-1742" y="97029"/>
                  </a:cubicBezTo>
                  <a:moveTo>
                    <a:pt x="2480027" y="1190656"/>
                  </a:moveTo>
                  <a:cubicBezTo>
                    <a:pt x="2490986" y="1196377"/>
                    <a:pt x="2505323" y="1174321"/>
                    <a:pt x="2491400" y="1169082"/>
                  </a:cubicBezTo>
                  <a:cubicBezTo>
                    <a:pt x="2480372" y="1166394"/>
                    <a:pt x="2473342" y="1182936"/>
                    <a:pt x="2480027" y="1190656"/>
                  </a:cubicBezTo>
                  <a:moveTo>
                    <a:pt x="3961976" y="1322577"/>
                  </a:moveTo>
                  <a:cubicBezTo>
                    <a:pt x="3970522" y="1320096"/>
                    <a:pt x="3971763" y="1314651"/>
                    <a:pt x="3965628" y="1306242"/>
                  </a:cubicBezTo>
                  <a:cubicBezTo>
                    <a:pt x="3956875" y="1308792"/>
                    <a:pt x="3955634" y="1314238"/>
                    <a:pt x="3961976" y="1322577"/>
                  </a:cubicBezTo>
                  <a:moveTo>
                    <a:pt x="4859443" y="1371445"/>
                  </a:moveTo>
                  <a:cubicBezTo>
                    <a:pt x="4870127" y="1372341"/>
                    <a:pt x="4884463" y="1367654"/>
                    <a:pt x="4890804" y="1358487"/>
                  </a:cubicBezTo>
                  <a:cubicBezTo>
                    <a:pt x="4884670" y="1344909"/>
                    <a:pt x="4859581" y="1361244"/>
                    <a:pt x="4859443" y="1371445"/>
                  </a:cubicBezTo>
                  <a:moveTo>
                    <a:pt x="2307509" y="1494889"/>
                  </a:moveTo>
                  <a:cubicBezTo>
                    <a:pt x="2316194" y="1492821"/>
                    <a:pt x="2317572" y="1487445"/>
                    <a:pt x="2311644" y="1478829"/>
                  </a:cubicBezTo>
                  <a:cubicBezTo>
                    <a:pt x="2302822" y="1480966"/>
                    <a:pt x="2301443" y="1486274"/>
                    <a:pt x="2307509" y="1494889"/>
                  </a:cubicBezTo>
                  <a:moveTo>
                    <a:pt x="1053425" y="2013823"/>
                  </a:moveTo>
                  <a:cubicBezTo>
                    <a:pt x="1063282" y="2020991"/>
                    <a:pt x="1069761" y="2002105"/>
                    <a:pt x="1063006" y="1995971"/>
                  </a:cubicBezTo>
                  <a:cubicBezTo>
                    <a:pt x="1053012" y="1989423"/>
                    <a:pt x="1046395" y="2007619"/>
                    <a:pt x="1053425" y="2013823"/>
                  </a:cubicBezTo>
                  <a:moveTo>
                    <a:pt x="2445634" y="2219494"/>
                  </a:moveTo>
                  <a:cubicBezTo>
                    <a:pt x="2449494" y="2216047"/>
                    <a:pt x="2449494" y="2216047"/>
                    <a:pt x="2445634" y="2219494"/>
                  </a:cubicBezTo>
                </a:path>
              </a:pathLst>
            </a:custGeom>
            <a:grpFill/>
            <a:ln w="689" cap="flat">
              <a:noFill/>
              <a:prstDash val="solid"/>
              <a:miter/>
            </a:ln>
          </p:spPr>
          <p:txBody>
            <a:bodyPr rtlCol="0" anchor="ctr"/>
            <a:lstStyle/>
            <a:p>
              <a:endParaRPr lang="en-US" sz="2400" dirty="0"/>
            </a:p>
          </p:txBody>
        </p:sp>
        <p:sp>
          <p:nvSpPr>
            <p:cNvPr id="172" name="Graphic 8">
              <a:extLst>
                <a:ext uri="{FF2B5EF4-FFF2-40B4-BE49-F238E27FC236}">
                  <a16:creationId xmlns:a16="http://schemas.microsoft.com/office/drawing/2014/main" id="{C8813A43-A819-4562-8EB7-A92BE8294EF8}"/>
                </a:ext>
              </a:extLst>
            </p:cNvPr>
            <p:cNvSpPr/>
            <p:nvPr/>
          </p:nvSpPr>
          <p:spPr>
            <a:xfrm flipV="1">
              <a:off x="4791263" y="1494975"/>
              <a:ext cx="223749" cy="376514"/>
            </a:xfrm>
            <a:custGeom>
              <a:avLst/>
              <a:gdLst>
                <a:gd name="connsiteX0" fmla="*/ -3823 w 223749"/>
                <a:gd name="connsiteY0" fmla="*/ 5005 h 376514"/>
                <a:gd name="connsiteX1" fmla="*/ -3823 w 223749"/>
                <a:gd name="connsiteY1" fmla="*/ 5005 h 376514"/>
                <a:gd name="connsiteX2" fmla="*/ 187443 w 223749"/>
                <a:gd name="connsiteY2" fmla="*/ 371822 h 376514"/>
                <a:gd name="connsiteX3" fmla="*/ 217701 w 223749"/>
                <a:gd name="connsiteY3" fmla="*/ 371271 h 376514"/>
                <a:gd name="connsiteX4" fmla="*/ 206949 w 223749"/>
                <a:gd name="connsiteY4" fmla="*/ 357210 h 376514"/>
                <a:gd name="connsiteX5" fmla="*/ 202469 w 223749"/>
                <a:gd name="connsiteY5" fmla="*/ 351214 h 376514"/>
                <a:gd name="connsiteX6" fmla="*/ 207845 w 223749"/>
                <a:gd name="connsiteY6" fmla="*/ 338187 h 376514"/>
                <a:gd name="connsiteX7" fmla="*/ 209016 w 223749"/>
                <a:gd name="connsiteY7" fmla="*/ 322679 h 376514"/>
                <a:gd name="connsiteX8" fmla="*/ 192406 w 223749"/>
                <a:gd name="connsiteY8" fmla="*/ 341909 h 376514"/>
                <a:gd name="connsiteX9" fmla="*/ 187443 w 223749"/>
                <a:gd name="connsiteY9" fmla="*/ 371822 h 37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749" h="376514">
                  <a:moveTo>
                    <a:pt x="-3823" y="5005"/>
                  </a:moveTo>
                  <a:cubicBezTo>
                    <a:pt x="18716" y="2937"/>
                    <a:pt x="-14644" y="-15741"/>
                    <a:pt x="-3823" y="5005"/>
                  </a:cubicBezTo>
                  <a:close/>
                  <a:moveTo>
                    <a:pt x="187443" y="371822"/>
                  </a:moveTo>
                  <a:cubicBezTo>
                    <a:pt x="197437" y="371547"/>
                    <a:pt x="207569" y="371409"/>
                    <a:pt x="217701" y="371271"/>
                  </a:cubicBezTo>
                  <a:cubicBezTo>
                    <a:pt x="215013" y="367756"/>
                    <a:pt x="209637" y="360725"/>
                    <a:pt x="206949" y="357210"/>
                  </a:cubicBezTo>
                  <a:cubicBezTo>
                    <a:pt x="205846" y="355694"/>
                    <a:pt x="203640" y="352730"/>
                    <a:pt x="202469" y="351214"/>
                  </a:cubicBezTo>
                  <a:cubicBezTo>
                    <a:pt x="203847" y="347974"/>
                    <a:pt x="206535" y="341426"/>
                    <a:pt x="207845" y="338187"/>
                  </a:cubicBezTo>
                  <a:cubicBezTo>
                    <a:pt x="208190" y="334327"/>
                    <a:pt x="208741" y="326539"/>
                    <a:pt x="209016" y="322679"/>
                  </a:cubicBezTo>
                  <a:cubicBezTo>
                    <a:pt x="203158" y="328951"/>
                    <a:pt x="197644" y="335292"/>
                    <a:pt x="192406" y="341909"/>
                  </a:cubicBezTo>
                  <a:cubicBezTo>
                    <a:pt x="190682" y="351903"/>
                    <a:pt x="188959" y="361897"/>
                    <a:pt x="187443" y="371822"/>
                  </a:cubicBezTo>
                </a:path>
              </a:pathLst>
            </a:custGeom>
            <a:grpFill/>
            <a:ln w="689" cap="flat">
              <a:noFill/>
              <a:prstDash val="solid"/>
              <a:miter/>
            </a:ln>
          </p:spPr>
          <p:txBody>
            <a:bodyPr rtlCol="0" anchor="ctr"/>
            <a:lstStyle/>
            <a:p>
              <a:endParaRPr lang="en-US" sz="2400" dirty="0"/>
            </a:p>
          </p:txBody>
        </p:sp>
        <p:sp>
          <p:nvSpPr>
            <p:cNvPr id="173" name="Graphic 8">
              <a:extLst>
                <a:ext uri="{FF2B5EF4-FFF2-40B4-BE49-F238E27FC236}">
                  <a16:creationId xmlns:a16="http://schemas.microsoft.com/office/drawing/2014/main" id="{209FA8CF-F2CD-4E63-80E6-32545C73A8CE}"/>
                </a:ext>
              </a:extLst>
            </p:cNvPr>
            <p:cNvSpPr/>
            <p:nvPr/>
          </p:nvSpPr>
          <p:spPr>
            <a:xfrm flipV="1">
              <a:off x="1843997" y="1487531"/>
              <a:ext cx="5546157" cy="1763792"/>
            </a:xfrm>
            <a:custGeom>
              <a:avLst/>
              <a:gdLst>
                <a:gd name="connsiteX0" fmla="*/ 5288067 w 5546157"/>
                <a:gd name="connsiteY0" fmla="*/ 14988 h 1763792"/>
                <a:gd name="connsiteX1" fmla="*/ 5303851 w 5546157"/>
                <a:gd name="connsiteY1" fmla="*/ 6717 h 1763792"/>
                <a:gd name="connsiteX2" fmla="*/ 5288067 w 5546157"/>
                <a:gd name="connsiteY2" fmla="*/ 14988 h 1763792"/>
                <a:gd name="connsiteX3" fmla="*/ 5488775 w 5546157"/>
                <a:gd name="connsiteY3" fmla="*/ 28911 h 1763792"/>
                <a:gd name="connsiteX4" fmla="*/ 5536333 w 5546157"/>
                <a:gd name="connsiteY4" fmla="*/ 42696 h 1763792"/>
                <a:gd name="connsiteX5" fmla="*/ 5540469 w 5546157"/>
                <a:gd name="connsiteY5" fmla="*/ -933 h 1763792"/>
                <a:gd name="connsiteX6" fmla="*/ 5529441 w 5546157"/>
                <a:gd name="connsiteY6" fmla="*/ -37 h 1763792"/>
                <a:gd name="connsiteX7" fmla="*/ 5511589 w 5546157"/>
                <a:gd name="connsiteY7" fmla="*/ 1548 h 1763792"/>
                <a:gd name="connsiteX8" fmla="*/ 5488775 w 5546157"/>
                <a:gd name="connsiteY8" fmla="*/ 28911 h 1763792"/>
                <a:gd name="connsiteX9" fmla="*/ 5301300 w 5546157"/>
                <a:gd name="connsiteY9" fmla="*/ 593955 h 1763792"/>
                <a:gd name="connsiteX10" fmla="*/ 5325148 w 5546157"/>
                <a:gd name="connsiteY10" fmla="*/ 596023 h 1763792"/>
                <a:gd name="connsiteX11" fmla="*/ 5301300 w 5546157"/>
                <a:gd name="connsiteY11" fmla="*/ 593955 h 1763792"/>
                <a:gd name="connsiteX12" fmla="*/ 9061 w 5546157"/>
                <a:gd name="connsiteY12" fmla="*/ 1653740 h 1763792"/>
                <a:gd name="connsiteX13" fmla="*/ 9061 w 5546157"/>
                <a:gd name="connsiteY13" fmla="*/ 1653740 h 1763792"/>
                <a:gd name="connsiteX14" fmla="*/ -5689 w 5546157"/>
                <a:gd name="connsiteY14" fmla="*/ 1720873 h 1763792"/>
                <a:gd name="connsiteX15" fmla="*/ 16712 w 5546157"/>
                <a:gd name="connsiteY15" fmla="*/ 1693579 h 1763792"/>
                <a:gd name="connsiteX16" fmla="*/ 24569 w 5546157"/>
                <a:gd name="connsiteY16" fmla="*/ 1629272 h 1763792"/>
                <a:gd name="connsiteX17" fmla="*/ -1278 w 5546157"/>
                <a:gd name="connsiteY17" fmla="*/ 1646503 h 1763792"/>
                <a:gd name="connsiteX18" fmla="*/ -2725 w 5546157"/>
                <a:gd name="connsiteY18" fmla="*/ 1679656 h 1763792"/>
                <a:gd name="connsiteX19" fmla="*/ 4029 w 5546157"/>
                <a:gd name="connsiteY19" fmla="*/ 1691718 h 1763792"/>
                <a:gd name="connsiteX20" fmla="*/ -5689 w 5546157"/>
                <a:gd name="connsiteY20" fmla="*/ 1720873 h 1763792"/>
                <a:gd name="connsiteX21" fmla="*/ 3497612 w 5546157"/>
                <a:gd name="connsiteY21" fmla="*/ 1727421 h 1763792"/>
                <a:gd name="connsiteX22" fmla="*/ 3498722 w 5546157"/>
                <a:gd name="connsiteY22" fmla="*/ 1760229 h 1763792"/>
                <a:gd name="connsiteX23" fmla="*/ 3524148 w 5546157"/>
                <a:gd name="connsiteY23" fmla="*/ 1742929 h 1763792"/>
                <a:gd name="connsiteX24" fmla="*/ 3534969 w 5546157"/>
                <a:gd name="connsiteY24" fmla="*/ 1738104 h 1763792"/>
                <a:gd name="connsiteX25" fmla="*/ 3497612 w 5546157"/>
                <a:gd name="connsiteY25" fmla="*/ 1727421 h 176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546157" h="1763792">
                  <a:moveTo>
                    <a:pt x="5288067" y="14988"/>
                  </a:moveTo>
                  <a:cubicBezTo>
                    <a:pt x="5291996" y="12920"/>
                    <a:pt x="5299922" y="8785"/>
                    <a:pt x="5303851" y="6717"/>
                  </a:cubicBezTo>
                  <a:cubicBezTo>
                    <a:pt x="5300680" y="-14098"/>
                    <a:pt x="5283931" y="859"/>
                    <a:pt x="5288067" y="14988"/>
                  </a:cubicBezTo>
                  <a:close/>
                  <a:moveTo>
                    <a:pt x="5488775" y="28911"/>
                  </a:moveTo>
                  <a:cubicBezTo>
                    <a:pt x="5494703" y="50691"/>
                    <a:pt x="5519585" y="43937"/>
                    <a:pt x="5536333" y="42696"/>
                  </a:cubicBezTo>
                  <a:cubicBezTo>
                    <a:pt x="5537781" y="28153"/>
                    <a:pt x="5539228" y="13679"/>
                    <a:pt x="5540469" y="-933"/>
                  </a:cubicBezTo>
                  <a:lnTo>
                    <a:pt x="5529441" y="-37"/>
                  </a:lnTo>
                  <a:cubicBezTo>
                    <a:pt x="5524961" y="376"/>
                    <a:pt x="5516069" y="1134"/>
                    <a:pt x="5511589" y="1548"/>
                  </a:cubicBezTo>
                  <a:cubicBezTo>
                    <a:pt x="5511038" y="16918"/>
                    <a:pt x="5508212" y="31599"/>
                    <a:pt x="5488775" y="28911"/>
                  </a:cubicBezTo>
                  <a:moveTo>
                    <a:pt x="5301300" y="593955"/>
                  </a:moveTo>
                  <a:cubicBezTo>
                    <a:pt x="5298405" y="609808"/>
                    <a:pt x="5325011" y="609739"/>
                    <a:pt x="5325148" y="596023"/>
                  </a:cubicBezTo>
                  <a:cubicBezTo>
                    <a:pt x="5320668" y="588855"/>
                    <a:pt x="5304264" y="582514"/>
                    <a:pt x="5301300" y="593955"/>
                  </a:cubicBezTo>
                  <a:moveTo>
                    <a:pt x="9061" y="1653740"/>
                  </a:moveTo>
                  <a:cubicBezTo>
                    <a:pt x="13059" y="1649880"/>
                    <a:pt x="13059" y="1649880"/>
                    <a:pt x="9061" y="1653740"/>
                  </a:cubicBezTo>
                  <a:moveTo>
                    <a:pt x="-5689" y="1720873"/>
                  </a:moveTo>
                  <a:cubicBezTo>
                    <a:pt x="17745" y="1729075"/>
                    <a:pt x="21054" y="1710190"/>
                    <a:pt x="16712" y="1693579"/>
                  </a:cubicBezTo>
                  <a:cubicBezTo>
                    <a:pt x="28567" y="1674349"/>
                    <a:pt x="21812" y="1650570"/>
                    <a:pt x="24569" y="1629272"/>
                  </a:cubicBezTo>
                  <a:cubicBezTo>
                    <a:pt x="14851" y="1633407"/>
                    <a:pt x="6373" y="1639404"/>
                    <a:pt x="-1278" y="1646503"/>
                  </a:cubicBezTo>
                  <a:cubicBezTo>
                    <a:pt x="-1347" y="1657600"/>
                    <a:pt x="-1829" y="1668628"/>
                    <a:pt x="-2725" y="1679656"/>
                  </a:cubicBezTo>
                  <a:cubicBezTo>
                    <a:pt x="-1071" y="1682688"/>
                    <a:pt x="2306" y="1688754"/>
                    <a:pt x="4029" y="1691718"/>
                  </a:cubicBezTo>
                  <a:cubicBezTo>
                    <a:pt x="514" y="1701367"/>
                    <a:pt x="-2725" y="1711154"/>
                    <a:pt x="-5689" y="1720873"/>
                  </a:cubicBezTo>
                  <a:moveTo>
                    <a:pt x="3497612" y="1727421"/>
                  </a:moveTo>
                  <a:cubicBezTo>
                    <a:pt x="3498026" y="1738380"/>
                    <a:pt x="3498370" y="1749339"/>
                    <a:pt x="3498722" y="1760229"/>
                  </a:cubicBezTo>
                  <a:cubicBezTo>
                    <a:pt x="3505814" y="1752854"/>
                    <a:pt x="3514429" y="1746651"/>
                    <a:pt x="3524148" y="1742929"/>
                  </a:cubicBezTo>
                  <a:lnTo>
                    <a:pt x="3534969" y="1738104"/>
                  </a:lnTo>
                  <a:cubicBezTo>
                    <a:pt x="3527732" y="1723009"/>
                    <a:pt x="3510639" y="1728592"/>
                    <a:pt x="3497612" y="1727421"/>
                  </a:cubicBezTo>
                </a:path>
              </a:pathLst>
            </a:custGeom>
            <a:grpFill/>
            <a:ln w="689" cap="flat">
              <a:noFill/>
              <a:prstDash val="solid"/>
              <a:miter/>
            </a:ln>
          </p:spPr>
          <p:txBody>
            <a:bodyPr rtlCol="0" anchor="ctr"/>
            <a:lstStyle/>
            <a:p>
              <a:endParaRPr lang="en-US" sz="2400" dirty="0"/>
            </a:p>
          </p:txBody>
        </p:sp>
        <p:sp>
          <p:nvSpPr>
            <p:cNvPr id="174" name="Graphic 8">
              <a:extLst>
                <a:ext uri="{FF2B5EF4-FFF2-40B4-BE49-F238E27FC236}">
                  <a16:creationId xmlns:a16="http://schemas.microsoft.com/office/drawing/2014/main" id="{5A9865BD-3AAE-4F84-8137-285A7F07D60C}"/>
                </a:ext>
              </a:extLst>
            </p:cNvPr>
            <p:cNvSpPr/>
            <p:nvPr/>
          </p:nvSpPr>
          <p:spPr>
            <a:xfrm flipV="1">
              <a:off x="2241959" y="1504417"/>
              <a:ext cx="497024" cy="171966"/>
            </a:xfrm>
            <a:custGeom>
              <a:avLst/>
              <a:gdLst>
                <a:gd name="connsiteX0" fmla="*/ 435837 w 497024"/>
                <a:gd name="connsiteY0" fmla="*/ 2461 h 171966"/>
                <a:gd name="connsiteX1" fmla="*/ 451207 w 497024"/>
                <a:gd name="connsiteY1" fmla="*/ 24793 h 171966"/>
                <a:gd name="connsiteX2" fmla="*/ 472092 w 497024"/>
                <a:gd name="connsiteY2" fmla="*/ 21484 h 171966"/>
                <a:gd name="connsiteX3" fmla="*/ 494010 w 497024"/>
                <a:gd name="connsiteY3" fmla="*/ 20313 h 171966"/>
                <a:gd name="connsiteX4" fmla="*/ 470713 w 497024"/>
                <a:gd name="connsiteY4" fmla="*/ -4845 h 171966"/>
                <a:gd name="connsiteX5" fmla="*/ 461684 w 497024"/>
                <a:gd name="connsiteY5" fmla="*/ 13351 h 171966"/>
                <a:gd name="connsiteX6" fmla="*/ 435837 w 497024"/>
                <a:gd name="connsiteY6" fmla="*/ 2461 h 171966"/>
                <a:gd name="connsiteX7" fmla="*/ 6368 w 497024"/>
                <a:gd name="connsiteY7" fmla="*/ 167122 h 171966"/>
                <a:gd name="connsiteX8" fmla="*/ 4714 w 497024"/>
                <a:gd name="connsiteY8" fmla="*/ 147754 h 171966"/>
                <a:gd name="connsiteX9" fmla="*/ 6368 w 497024"/>
                <a:gd name="connsiteY9" fmla="*/ 167122 h 17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7024" h="171966">
                  <a:moveTo>
                    <a:pt x="435837" y="2461"/>
                  </a:moveTo>
                  <a:cubicBezTo>
                    <a:pt x="439352" y="10939"/>
                    <a:pt x="444797" y="18314"/>
                    <a:pt x="451207" y="24793"/>
                  </a:cubicBezTo>
                  <a:cubicBezTo>
                    <a:pt x="456446" y="23966"/>
                    <a:pt x="466853" y="22312"/>
                    <a:pt x="472092" y="21484"/>
                  </a:cubicBezTo>
                  <a:cubicBezTo>
                    <a:pt x="477537" y="21209"/>
                    <a:pt x="488496" y="20589"/>
                    <a:pt x="494010" y="20313"/>
                  </a:cubicBezTo>
                  <a:cubicBezTo>
                    <a:pt x="484291" y="13765"/>
                    <a:pt x="474573" y="6872"/>
                    <a:pt x="470713" y="-4845"/>
                  </a:cubicBezTo>
                  <a:cubicBezTo>
                    <a:pt x="467681" y="1221"/>
                    <a:pt x="464717" y="7355"/>
                    <a:pt x="461684" y="13351"/>
                  </a:cubicBezTo>
                  <a:cubicBezTo>
                    <a:pt x="453068" y="9629"/>
                    <a:pt x="444453" y="5976"/>
                    <a:pt x="435837" y="2461"/>
                  </a:cubicBezTo>
                  <a:close/>
                  <a:moveTo>
                    <a:pt x="6368" y="167122"/>
                  </a:moveTo>
                  <a:cubicBezTo>
                    <a:pt x="17327" y="166777"/>
                    <a:pt x="14777" y="147686"/>
                    <a:pt x="4714" y="147754"/>
                  </a:cubicBezTo>
                  <a:cubicBezTo>
                    <a:pt x="-7417" y="148375"/>
                    <a:pt x="-4040" y="166709"/>
                    <a:pt x="6368" y="167122"/>
                  </a:cubicBezTo>
                </a:path>
              </a:pathLst>
            </a:custGeom>
            <a:grpFill/>
            <a:ln w="689" cap="flat">
              <a:noFill/>
              <a:prstDash val="solid"/>
              <a:miter/>
            </a:ln>
          </p:spPr>
          <p:txBody>
            <a:bodyPr rtlCol="0" anchor="ctr"/>
            <a:lstStyle/>
            <a:p>
              <a:endParaRPr lang="en-US" sz="2400" dirty="0"/>
            </a:p>
          </p:txBody>
        </p:sp>
        <p:sp>
          <p:nvSpPr>
            <p:cNvPr id="175" name="Graphic 8">
              <a:extLst>
                <a:ext uri="{FF2B5EF4-FFF2-40B4-BE49-F238E27FC236}">
                  <a16:creationId xmlns:a16="http://schemas.microsoft.com/office/drawing/2014/main" id="{8E5BA9B0-1FE9-4957-BA12-142E2DDF6D36}"/>
                </a:ext>
              </a:extLst>
            </p:cNvPr>
            <p:cNvSpPr/>
            <p:nvPr/>
          </p:nvSpPr>
          <p:spPr>
            <a:xfrm flipV="1">
              <a:off x="2746772" y="1504486"/>
              <a:ext cx="5286169" cy="1442833"/>
            </a:xfrm>
            <a:custGeom>
              <a:avLst/>
              <a:gdLst>
                <a:gd name="connsiteX0" fmla="*/ 1766012 w 5286169"/>
                <a:gd name="connsiteY0" fmla="*/ -1009 h 1442833"/>
                <a:gd name="connsiteX1" fmla="*/ 1766012 w 5286169"/>
                <a:gd name="connsiteY1" fmla="*/ -1009 h 1442833"/>
                <a:gd name="connsiteX2" fmla="*/ 5266831 w 5286169"/>
                <a:gd name="connsiteY2" fmla="*/ 900733 h 1442833"/>
                <a:gd name="connsiteX3" fmla="*/ 5277790 w 5286169"/>
                <a:gd name="connsiteY3" fmla="*/ 884259 h 1442833"/>
                <a:gd name="connsiteX4" fmla="*/ 5266831 w 5286169"/>
                <a:gd name="connsiteY4" fmla="*/ 900733 h 1442833"/>
                <a:gd name="connsiteX5" fmla="*/ -5420 w 5286169"/>
                <a:gd name="connsiteY5" fmla="*/ 957182 h 1442833"/>
                <a:gd name="connsiteX6" fmla="*/ -44 w 5286169"/>
                <a:gd name="connsiteY6" fmla="*/ 958974 h 1442833"/>
                <a:gd name="connsiteX7" fmla="*/ 1886 w 5286169"/>
                <a:gd name="connsiteY7" fmla="*/ 953735 h 1442833"/>
                <a:gd name="connsiteX8" fmla="*/ -6661 w 5286169"/>
                <a:gd name="connsiteY8" fmla="*/ 946085 h 1442833"/>
                <a:gd name="connsiteX9" fmla="*/ -5420 w 5286169"/>
                <a:gd name="connsiteY9" fmla="*/ 957182 h 1442833"/>
                <a:gd name="connsiteX10" fmla="*/ 56750 w 5286169"/>
                <a:gd name="connsiteY10" fmla="*/ 1439034 h 1442833"/>
                <a:gd name="connsiteX11" fmla="*/ 56750 w 5286169"/>
                <a:gd name="connsiteY11" fmla="*/ 1439034 h 1442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6169" h="1442833">
                  <a:moveTo>
                    <a:pt x="1766012" y="-1009"/>
                  </a:moveTo>
                  <a:cubicBezTo>
                    <a:pt x="1769458" y="-4730"/>
                    <a:pt x="1769458" y="-4730"/>
                    <a:pt x="1766012" y="-1009"/>
                  </a:cubicBezTo>
                  <a:close/>
                  <a:moveTo>
                    <a:pt x="5266831" y="900733"/>
                  </a:moveTo>
                  <a:cubicBezTo>
                    <a:pt x="5275171" y="904592"/>
                    <a:pt x="5283097" y="890738"/>
                    <a:pt x="5277790" y="884259"/>
                  </a:cubicBezTo>
                  <a:cubicBezTo>
                    <a:pt x="5269174" y="880055"/>
                    <a:pt x="5260766" y="894322"/>
                    <a:pt x="5266831" y="900733"/>
                  </a:cubicBezTo>
                  <a:moveTo>
                    <a:pt x="-5420" y="957182"/>
                  </a:moveTo>
                  <a:lnTo>
                    <a:pt x="-44" y="958974"/>
                  </a:lnTo>
                  <a:lnTo>
                    <a:pt x="1886" y="953735"/>
                  </a:lnTo>
                  <a:cubicBezTo>
                    <a:pt x="-251" y="951874"/>
                    <a:pt x="-4524" y="948015"/>
                    <a:pt x="-6661" y="946085"/>
                  </a:cubicBezTo>
                  <a:cubicBezTo>
                    <a:pt x="-6385" y="948842"/>
                    <a:pt x="-5696" y="954425"/>
                    <a:pt x="-5420" y="957182"/>
                  </a:cubicBezTo>
                  <a:moveTo>
                    <a:pt x="56750" y="1439034"/>
                  </a:moveTo>
                  <a:cubicBezTo>
                    <a:pt x="60265" y="1435312"/>
                    <a:pt x="60265" y="1435312"/>
                    <a:pt x="56750" y="1439034"/>
                  </a:cubicBezTo>
                </a:path>
              </a:pathLst>
            </a:custGeom>
            <a:grpFill/>
            <a:ln w="689" cap="flat">
              <a:noFill/>
              <a:prstDash val="solid"/>
              <a:miter/>
            </a:ln>
          </p:spPr>
          <p:txBody>
            <a:bodyPr rtlCol="0" anchor="ctr"/>
            <a:lstStyle/>
            <a:p>
              <a:endParaRPr lang="en-US" sz="2400" dirty="0"/>
            </a:p>
          </p:txBody>
        </p:sp>
        <p:sp>
          <p:nvSpPr>
            <p:cNvPr id="176" name="Graphic 8">
              <a:extLst>
                <a:ext uri="{FF2B5EF4-FFF2-40B4-BE49-F238E27FC236}">
                  <a16:creationId xmlns:a16="http://schemas.microsoft.com/office/drawing/2014/main" id="{0E235FAA-6E19-4F67-AF3D-83E4669ECF58}"/>
                </a:ext>
              </a:extLst>
            </p:cNvPr>
            <p:cNvSpPr/>
            <p:nvPr/>
          </p:nvSpPr>
          <p:spPr>
            <a:xfrm flipV="1">
              <a:off x="2177110" y="1511999"/>
              <a:ext cx="3101" cy="2998"/>
            </a:xfrm>
            <a:custGeom>
              <a:avLst/>
              <a:gdLst>
                <a:gd name="connsiteX0" fmla="*/ -2623 w 3101"/>
                <a:gd name="connsiteY0" fmla="*/ -1973 h 2998"/>
                <a:gd name="connsiteX1" fmla="*/ -2623 w 3101"/>
                <a:gd name="connsiteY1" fmla="*/ -1973 h 2998"/>
                <a:gd name="connsiteX2" fmla="*/ -2623 w 3101"/>
                <a:gd name="connsiteY2" fmla="*/ -1973 h 2998"/>
              </a:gdLst>
              <a:ahLst/>
              <a:cxnLst>
                <a:cxn ang="0">
                  <a:pos x="connsiteX0" y="connsiteY0"/>
                </a:cxn>
                <a:cxn ang="0">
                  <a:pos x="connsiteX1" y="connsiteY1"/>
                </a:cxn>
                <a:cxn ang="0">
                  <a:pos x="connsiteX2" y="connsiteY2"/>
                </a:cxn>
              </a:cxnLst>
              <a:rect l="l" t="t" r="r" b="b"/>
              <a:pathLst>
                <a:path w="3101" h="2998">
                  <a:moveTo>
                    <a:pt x="-2623" y="-1973"/>
                  </a:moveTo>
                  <a:cubicBezTo>
                    <a:pt x="1513" y="-5971"/>
                    <a:pt x="1513" y="-5971"/>
                    <a:pt x="-2623" y="-1973"/>
                  </a:cubicBezTo>
                  <a:lnTo>
                    <a:pt x="-2623" y="-1973"/>
                  </a:lnTo>
                </a:path>
              </a:pathLst>
            </a:custGeom>
            <a:grpFill/>
            <a:ln w="689" cap="flat">
              <a:noFill/>
              <a:prstDash val="solid"/>
              <a:miter/>
            </a:ln>
          </p:spPr>
          <p:txBody>
            <a:bodyPr rtlCol="0" anchor="ctr"/>
            <a:lstStyle/>
            <a:p>
              <a:endParaRPr lang="en-US" sz="2400" dirty="0"/>
            </a:p>
          </p:txBody>
        </p:sp>
        <p:sp>
          <p:nvSpPr>
            <p:cNvPr id="177" name="Graphic 8">
              <a:extLst>
                <a:ext uri="{FF2B5EF4-FFF2-40B4-BE49-F238E27FC236}">
                  <a16:creationId xmlns:a16="http://schemas.microsoft.com/office/drawing/2014/main" id="{82C055F0-2E81-4563-A458-89684EF1BD28}"/>
                </a:ext>
              </a:extLst>
            </p:cNvPr>
            <p:cNvSpPr/>
            <p:nvPr/>
          </p:nvSpPr>
          <p:spPr>
            <a:xfrm flipV="1">
              <a:off x="2455089" y="1510138"/>
              <a:ext cx="5457497" cy="1396641"/>
            </a:xfrm>
            <a:custGeom>
              <a:avLst/>
              <a:gdLst>
                <a:gd name="connsiteX0" fmla="*/ 4193652 w 5457497"/>
                <a:gd name="connsiteY0" fmla="*/ 13286 h 1396641"/>
                <a:gd name="connsiteX1" fmla="*/ 4204611 w 5457497"/>
                <a:gd name="connsiteY1" fmla="*/ -2911 h 1396641"/>
                <a:gd name="connsiteX2" fmla="*/ 4193652 w 5457497"/>
                <a:gd name="connsiteY2" fmla="*/ 13286 h 1396641"/>
                <a:gd name="connsiteX3" fmla="*/ 5448356 w 5457497"/>
                <a:gd name="connsiteY3" fmla="*/ 633677 h 1396641"/>
                <a:gd name="connsiteX4" fmla="*/ 5448356 w 5457497"/>
                <a:gd name="connsiteY4" fmla="*/ 633677 h 1396641"/>
                <a:gd name="connsiteX5" fmla="*/ -4271 w 5457497"/>
                <a:gd name="connsiteY5" fmla="*/ 1392813 h 1396641"/>
                <a:gd name="connsiteX6" fmla="*/ -4271 w 5457497"/>
                <a:gd name="connsiteY6" fmla="*/ 1392813 h 1396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57497" h="1396641">
                  <a:moveTo>
                    <a:pt x="4193652" y="13286"/>
                  </a:moveTo>
                  <a:cubicBezTo>
                    <a:pt x="4201923" y="17835"/>
                    <a:pt x="4209919" y="3568"/>
                    <a:pt x="4204611" y="-2911"/>
                  </a:cubicBezTo>
                  <a:cubicBezTo>
                    <a:pt x="4196064" y="-7598"/>
                    <a:pt x="4187931" y="6876"/>
                    <a:pt x="4193652" y="13286"/>
                  </a:cubicBezTo>
                  <a:close/>
                  <a:moveTo>
                    <a:pt x="5448356" y="633677"/>
                  </a:moveTo>
                  <a:cubicBezTo>
                    <a:pt x="5452009" y="630162"/>
                    <a:pt x="5452009" y="630162"/>
                    <a:pt x="5448356" y="633677"/>
                  </a:cubicBezTo>
                  <a:moveTo>
                    <a:pt x="-4271" y="1392813"/>
                  </a:moveTo>
                  <a:cubicBezTo>
                    <a:pt x="18405" y="1392054"/>
                    <a:pt x="-14816" y="1371860"/>
                    <a:pt x="-4271" y="1392813"/>
                  </a:cubicBezTo>
                </a:path>
              </a:pathLst>
            </a:custGeom>
            <a:grpFill/>
            <a:ln w="689" cap="flat">
              <a:noFill/>
              <a:prstDash val="solid"/>
              <a:miter/>
            </a:ln>
          </p:spPr>
          <p:txBody>
            <a:bodyPr rtlCol="0" anchor="ctr"/>
            <a:lstStyle/>
            <a:p>
              <a:endParaRPr lang="en-US" sz="2400" dirty="0"/>
            </a:p>
          </p:txBody>
        </p:sp>
        <p:sp>
          <p:nvSpPr>
            <p:cNvPr id="178" name="Graphic 8">
              <a:extLst>
                <a:ext uri="{FF2B5EF4-FFF2-40B4-BE49-F238E27FC236}">
                  <a16:creationId xmlns:a16="http://schemas.microsoft.com/office/drawing/2014/main" id="{D497F500-9EFA-431F-9E18-D1745A534AB9}"/>
                </a:ext>
              </a:extLst>
            </p:cNvPr>
            <p:cNvSpPr/>
            <p:nvPr/>
          </p:nvSpPr>
          <p:spPr>
            <a:xfrm flipV="1">
              <a:off x="1996734" y="1509801"/>
              <a:ext cx="5358148" cy="1272237"/>
            </a:xfrm>
            <a:custGeom>
              <a:avLst/>
              <a:gdLst>
                <a:gd name="connsiteX0" fmla="*/ -5763 w 5358148"/>
                <a:gd name="connsiteY0" fmla="*/ -1347 h 1272237"/>
                <a:gd name="connsiteX1" fmla="*/ -5763 w 5358148"/>
                <a:gd name="connsiteY1" fmla="*/ -1347 h 1272237"/>
                <a:gd name="connsiteX2" fmla="*/ 5349750 w 5358148"/>
                <a:gd name="connsiteY2" fmla="*/ 667636 h 1272237"/>
                <a:gd name="connsiteX3" fmla="*/ 5349750 w 5358148"/>
                <a:gd name="connsiteY3" fmla="*/ 667636 h 1272237"/>
                <a:gd name="connsiteX4" fmla="*/ 476985 w 5358148"/>
                <a:gd name="connsiteY4" fmla="*/ 1266866 h 1272237"/>
                <a:gd name="connsiteX5" fmla="*/ 485739 w 5358148"/>
                <a:gd name="connsiteY5" fmla="*/ 1257493 h 1272237"/>
                <a:gd name="connsiteX6" fmla="*/ 476985 w 5358148"/>
                <a:gd name="connsiteY6" fmla="*/ 1266866 h 127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8148" h="1272237">
                  <a:moveTo>
                    <a:pt x="-5763" y="-1347"/>
                  </a:moveTo>
                  <a:cubicBezTo>
                    <a:pt x="-2110" y="-4793"/>
                    <a:pt x="-2110" y="-4793"/>
                    <a:pt x="-5763" y="-1347"/>
                  </a:cubicBezTo>
                  <a:close/>
                  <a:moveTo>
                    <a:pt x="5349750" y="667636"/>
                  </a:moveTo>
                  <a:cubicBezTo>
                    <a:pt x="5353264" y="664189"/>
                    <a:pt x="5353264" y="664189"/>
                    <a:pt x="5349750" y="667636"/>
                  </a:cubicBezTo>
                  <a:moveTo>
                    <a:pt x="476985" y="1266866"/>
                  </a:moveTo>
                  <a:cubicBezTo>
                    <a:pt x="486773" y="1270451"/>
                    <a:pt x="489667" y="1267349"/>
                    <a:pt x="485739" y="1257493"/>
                  </a:cubicBezTo>
                  <a:cubicBezTo>
                    <a:pt x="475883" y="1253909"/>
                    <a:pt x="472988" y="1257010"/>
                    <a:pt x="476985" y="1266866"/>
                  </a:cubicBezTo>
                </a:path>
              </a:pathLst>
            </a:custGeom>
            <a:grpFill/>
            <a:ln w="689" cap="flat">
              <a:noFill/>
              <a:prstDash val="solid"/>
              <a:miter/>
            </a:ln>
          </p:spPr>
          <p:txBody>
            <a:bodyPr rtlCol="0" anchor="ctr"/>
            <a:lstStyle/>
            <a:p>
              <a:endParaRPr lang="en-US" sz="2400" dirty="0"/>
            </a:p>
          </p:txBody>
        </p:sp>
        <p:sp>
          <p:nvSpPr>
            <p:cNvPr id="179" name="Graphic 8">
              <a:extLst>
                <a:ext uri="{FF2B5EF4-FFF2-40B4-BE49-F238E27FC236}">
                  <a16:creationId xmlns:a16="http://schemas.microsoft.com/office/drawing/2014/main" id="{2AFD5423-4F92-4BBF-8C72-4676A715A5C4}"/>
                </a:ext>
              </a:extLst>
            </p:cNvPr>
            <p:cNvSpPr/>
            <p:nvPr/>
          </p:nvSpPr>
          <p:spPr>
            <a:xfrm flipV="1">
              <a:off x="4788112" y="1511517"/>
              <a:ext cx="2894" cy="2998"/>
            </a:xfrm>
            <a:custGeom>
              <a:avLst/>
              <a:gdLst>
                <a:gd name="connsiteX0" fmla="*/ -5906 w 2894"/>
                <a:gd name="connsiteY0" fmla="*/ -1974 h 2998"/>
                <a:gd name="connsiteX1" fmla="*/ -5906 w 2894"/>
                <a:gd name="connsiteY1" fmla="*/ -1974 h 2998"/>
                <a:gd name="connsiteX2" fmla="*/ -5906 w 2894"/>
                <a:gd name="connsiteY2" fmla="*/ -1974 h 2998"/>
              </a:gdLst>
              <a:ahLst/>
              <a:cxnLst>
                <a:cxn ang="0">
                  <a:pos x="connsiteX0" y="connsiteY0"/>
                </a:cxn>
                <a:cxn ang="0">
                  <a:pos x="connsiteX1" y="connsiteY1"/>
                </a:cxn>
                <a:cxn ang="0">
                  <a:pos x="connsiteX2" y="connsiteY2"/>
                </a:cxn>
              </a:cxnLst>
              <a:rect l="l" t="t" r="r" b="b"/>
              <a:pathLst>
                <a:path w="2894" h="2998">
                  <a:moveTo>
                    <a:pt x="-5906" y="-1974"/>
                  </a:moveTo>
                  <a:cubicBezTo>
                    <a:pt x="-2046" y="-5972"/>
                    <a:pt x="-2046" y="-5972"/>
                    <a:pt x="-5906" y="-1974"/>
                  </a:cubicBezTo>
                  <a:lnTo>
                    <a:pt x="-5906" y="-1974"/>
                  </a:lnTo>
                </a:path>
              </a:pathLst>
            </a:custGeom>
            <a:grpFill/>
            <a:ln w="689" cap="flat">
              <a:noFill/>
              <a:prstDash val="solid"/>
              <a:miter/>
            </a:ln>
          </p:spPr>
          <p:txBody>
            <a:bodyPr rtlCol="0" anchor="ctr"/>
            <a:lstStyle/>
            <a:p>
              <a:endParaRPr lang="en-US" sz="2400" dirty="0"/>
            </a:p>
          </p:txBody>
        </p:sp>
        <p:sp>
          <p:nvSpPr>
            <p:cNvPr id="180" name="Graphic 8">
              <a:extLst>
                <a:ext uri="{FF2B5EF4-FFF2-40B4-BE49-F238E27FC236}">
                  <a16:creationId xmlns:a16="http://schemas.microsoft.com/office/drawing/2014/main" id="{EAB9AD31-2C13-4815-B754-14A35FC697C4}"/>
                </a:ext>
              </a:extLst>
            </p:cNvPr>
            <p:cNvSpPr/>
            <p:nvPr/>
          </p:nvSpPr>
          <p:spPr>
            <a:xfrm flipV="1">
              <a:off x="571924" y="1524373"/>
              <a:ext cx="8091406" cy="1974791"/>
            </a:xfrm>
            <a:custGeom>
              <a:avLst/>
              <a:gdLst>
                <a:gd name="connsiteX0" fmla="*/ 2900242 w 8091406"/>
                <a:gd name="connsiteY0" fmla="*/ 33476 h 1974791"/>
                <a:gd name="connsiteX1" fmla="*/ 2904929 w 8091406"/>
                <a:gd name="connsiteY1" fmla="*/ 17899 h 1974791"/>
                <a:gd name="connsiteX2" fmla="*/ 2900242 w 8091406"/>
                <a:gd name="connsiteY2" fmla="*/ 33476 h 1974791"/>
                <a:gd name="connsiteX3" fmla="*/ 2886664 w 8091406"/>
                <a:gd name="connsiteY3" fmla="*/ 33614 h 1974791"/>
                <a:gd name="connsiteX4" fmla="*/ 2886664 w 8091406"/>
                <a:gd name="connsiteY4" fmla="*/ 33614 h 1974791"/>
                <a:gd name="connsiteX5" fmla="*/ 2957381 w 8091406"/>
                <a:gd name="connsiteY5" fmla="*/ 55945 h 1974791"/>
                <a:gd name="connsiteX6" fmla="*/ 2985709 w 8091406"/>
                <a:gd name="connsiteY6" fmla="*/ 55601 h 1974791"/>
                <a:gd name="connsiteX7" fmla="*/ 2985226 w 8091406"/>
                <a:gd name="connsiteY7" fmla="*/ 38094 h 1974791"/>
                <a:gd name="connsiteX8" fmla="*/ 3036024 w 8091406"/>
                <a:gd name="connsiteY8" fmla="*/ 38025 h 1974791"/>
                <a:gd name="connsiteX9" fmla="*/ 3035817 w 8091406"/>
                <a:gd name="connsiteY9" fmla="*/ 12040 h 1974791"/>
                <a:gd name="connsiteX10" fmla="*/ 2947593 w 8091406"/>
                <a:gd name="connsiteY10" fmla="*/ 7353 h 1974791"/>
                <a:gd name="connsiteX11" fmla="*/ 2935601 w 8091406"/>
                <a:gd name="connsiteY11" fmla="*/ 35130 h 1974791"/>
                <a:gd name="connsiteX12" fmla="*/ 2943734 w 8091406"/>
                <a:gd name="connsiteY12" fmla="*/ 6457 h 1974791"/>
                <a:gd name="connsiteX13" fmla="*/ 2877221 w 8091406"/>
                <a:gd name="connsiteY13" fmla="*/ 3494 h 1974791"/>
                <a:gd name="connsiteX14" fmla="*/ 2865849 w 8091406"/>
                <a:gd name="connsiteY14" fmla="*/ 20932 h 1974791"/>
                <a:gd name="connsiteX15" fmla="*/ 2853442 w 8091406"/>
                <a:gd name="connsiteY15" fmla="*/ 6320 h 1974791"/>
                <a:gd name="connsiteX16" fmla="*/ 2798303 w 8091406"/>
                <a:gd name="connsiteY16" fmla="*/ -2365 h 1974791"/>
                <a:gd name="connsiteX17" fmla="*/ 2795959 w 8091406"/>
                <a:gd name="connsiteY17" fmla="*/ 1633 h 1974791"/>
                <a:gd name="connsiteX18" fmla="*/ 2835591 w 8091406"/>
                <a:gd name="connsiteY18" fmla="*/ 33269 h 1974791"/>
                <a:gd name="connsiteX19" fmla="*/ 2805333 w 8091406"/>
                <a:gd name="connsiteY19" fmla="*/ 26170 h 1974791"/>
                <a:gd name="connsiteX20" fmla="*/ 2781278 w 8091406"/>
                <a:gd name="connsiteY20" fmla="*/ 14384 h 1974791"/>
                <a:gd name="connsiteX21" fmla="*/ 2787757 w 8091406"/>
                <a:gd name="connsiteY21" fmla="*/ 2115 h 1974791"/>
                <a:gd name="connsiteX22" fmla="*/ 2776385 w 8091406"/>
                <a:gd name="connsiteY22" fmla="*/ -3330 h 1974791"/>
                <a:gd name="connsiteX23" fmla="*/ 2767907 w 8091406"/>
                <a:gd name="connsiteY23" fmla="*/ 34992 h 1974791"/>
                <a:gd name="connsiteX24" fmla="*/ 2751503 w 8091406"/>
                <a:gd name="connsiteY24" fmla="*/ 24240 h 1974791"/>
                <a:gd name="connsiteX25" fmla="*/ 2742543 w 8091406"/>
                <a:gd name="connsiteY25" fmla="*/ 33338 h 1974791"/>
                <a:gd name="connsiteX26" fmla="*/ 2738269 w 8091406"/>
                <a:gd name="connsiteY26" fmla="*/ 39955 h 1974791"/>
                <a:gd name="connsiteX27" fmla="*/ 2782795 w 8091406"/>
                <a:gd name="connsiteY27" fmla="*/ 44228 h 1974791"/>
                <a:gd name="connsiteX28" fmla="*/ 2786792 w 8091406"/>
                <a:gd name="connsiteY28" fmla="*/ 27617 h 1974791"/>
                <a:gd name="connsiteX29" fmla="*/ 2786861 w 8091406"/>
                <a:gd name="connsiteY29" fmla="*/ 44366 h 1974791"/>
                <a:gd name="connsiteX30" fmla="*/ 2806781 w 8091406"/>
                <a:gd name="connsiteY30" fmla="*/ 46503 h 1974791"/>
                <a:gd name="connsiteX31" fmla="*/ 2806849 w 8091406"/>
                <a:gd name="connsiteY31" fmla="*/ 37473 h 1974791"/>
                <a:gd name="connsiteX32" fmla="*/ 2813811 w 8091406"/>
                <a:gd name="connsiteY32" fmla="*/ 46847 h 1974791"/>
                <a:gd name="connsiteX33" fmla="*/ 2957312 w 8091406"/>
                <a:gd name="connsiteY33" fmla="*/ 54911 h 1974791"/>
                <a:gd name="connsiteX34" fmla="*/ 2950764 w 8091406"/>
                <a:gd name="connsiteY34" fmla="*/ 20794 h 1974791"/>
                <a:gd name="connsiteX35" fmla="*/ 2966134 w 8091406"/>
                <a:gd name="connsiteY35" fmla="*/ 18450 h 1974791"/>
                <a:gd name="connsiteX36" fmla="*/ 2957381 w 8091406"/>
                <a:gd name="connsiteY36" fmla="*/ 55945 h 1974791"/>
                <a:gd name="connsiteX37" fmla="*/ 8035816 w 8091406"/>
                <a:gd name="connsiteY37" fmla="*/ 363970 h 1974791"/>
                <a:gd name="connsiteX38" fmla="*/ 8052220 w 8091406"/>
                <a:gd name="connsiteY38" fmla="*/ 363625 h 1974791"/>
                <a:gd name="connsiteX39" fmla="*/ 8035816 w 8091406"/>
                <a:gd name="connsiteY39" fmla="*/ 363970 h 1974791"/>
                <a:gd name="connsiteX40" fmla="*/ 8005834 w 8091406"/>
                <a:gd name="connsiteY40" fmla="*/ 356663 h 1974791"/>
                <a:gd name="connsiteX41" fmla="*/ 8057665 w 8091406"/>
                <a:gd name="connsiteY41" fmla="*/ 403601 h 1974791"/>
                <a:gd name="connsiteX42" fmla="*/ 8059250 w 8091406"/>
                <a:gd name="connsiteY42" fmla="*/ 382648 h 1974791"/>
                <a:gd name="connsiteX43" fmla="*/ 8074414 w 8091406"/>
                <a:gd name="connsiteY43" fmla="*/ 367071 h 1974791"/>
                <a:gd name="connsiteX44" fmla="*/ 8082409 w 8091406"/>
                <a:gd name="connsiteY44" fmla="*/ 384371 h 1974791"/>
                <a:gd name="connsiteX45" fmla="*/ 8080755 w 8091406"/>
                <a:gd name="connsiteY45" fmla="*/ 361902 h 1974791"/>
                <a:gd name="connsiteX46" fmla="*/ 8015138 w 8091406"/>
                <a:gd name="connsiteY46" fmla="*/ 327095 h 1974791"/>
                <a:gd name="connsiteX47" fmla="*/ 8009831 w 8091406"/>
                <a:gd name="connsiteY47" fmla="*/ 344533 h 1974791"/>
                <a:gd name="connsiteX48" fmla="*/ 8018791 w 8091406"/>
                <a:gd name="connsiteY48" fmla="*/ 357284 h 1974791"/>
                <a:gd name="connsiteX49" fmla="*/ 8005834 w 8091406"/>
                <a:gd name="connsiteY49" fmla="*/ 356663 h 1974791"/>
                <a:gd name="connsiteX50" fmla="*/ -5690 w 8091406"/>
                <a:gd name="connsiteY50" fmla="*/ 1034193 h 1974791"/>
                <a:gd name="connsiteX51" fmla="*/ 17126 w 8091406"/>
                <a:gd name="connsiteY51" fmla="*/ 1026749 h 1974791"/>
                <a:gd name="connsiteX52" fmla="*/ 651 w 8091406"/>
                <a:gd name="connsiteY52" fmla="*/ 999868 h 1974791"/>
                <a:gd name="connsiteX53" fmla="*/ -5690 w 8091406"/>
                <a:gd name="connsiteY53" fmla="*/ 1034193 h 1974791"/>
                <a:gd name="connsiteX54" fmla="*/ 974626 w 8091406"/>
                <a:gd name="connsiteY54" fmla="*/ 1782990 h 1974791"/>
                <a:gd name="connsiteX55" fmla="*/ 1038174 w 8091406"/>
                <a:gd name="connsiteY55" fmla="*/ 1790502 h 1974791"/>
                <a:gd name="connsiteX56" fmla="*/ 981587 w 8091406"/>
                <a:gd name="connsiteY56" fmla="*/ 1770790 h 1974791"/>
                <a:gd name="connsiteX57" fmla="*/ 965390 w 8091406"/>
                <a:gd name="connsiteY57" fmla="*/ 1759418 h 1974791"/>
                <a:gd name="connsiteX58" fmla="*/ 962633 w 8091406"/>
                <a:gd name="connsiteY58" fmla="*/ 1738809 h 1974791"/>
                <a:gd name="connsiteX59" fmla="*/ 943610 w 8091406"/>
                <a:gd name="connsiteY59" fmla="*/ 1761347 h 1974791"/>
                <a:gd name="connsiteX60" fmla="*/ 956912 w 8091406"/>
                <a:gd name="connsiteY60" fmla="*/ 1769480 h 1974791"/>
                <a:gd name="connsiteX61" fmla="*/ 974626 w 8091406"/>
                <a:gd name="connsiteY61" fmla="*/ 1782990 h 1974791"/>
                <a:gd name="connsiteX62" fmla="*/ 846771 w 8091406"/>
                <a:gd name="connsiteY62" fmla="*/ 1966881 h 1974791"/>
                <a:gd name="connsiteX63" fmla="*/ 938647 w 8091406"/>
                <a:gd name="connsiteY63" fmla="*/ 1971429 h 1974791"/>
                <a:gd name="connsiteX64" fmla="*/ 940439 w 8091406"/>
                <a:gd name="connsiteY64" fmla="*/ 1950683 h 1974791"/>
                <a:gd name="connsiteX65" fmla="*/ 930721 w 8091406"/>
                <a:gd name="connsiteY65" fmla="*/ 1956197 h 1974791"/>
                <a:gd name="connsiteX66" fmla="*/ 915695 w 8091406"/>
                <a:gd name="connsiteY66" fmla="*/ 1936691 h 1974791"/>
                <a:gd name="connsiteX67" fmla="*/ 924931 w 8091406"/>
                <a:gd name="connsiteY67" fmla="*/ 1936347 h 1974791"/>
                <a:gd name="connsiteX68" fmla="*/ 930928 w 8091406"/>
                <a:gd name="connsiteY68" fmla="*/ 1903125 h 1974791"/>
                <a:gd name="connsiteX69" fmla="*/ 936786 w 8091406"/>
                <a:gd name="connsiteY69" fmla="*/ 1920288 h 1974791"/>
                <a:gd name="connsiteX70" fmla="*/ 950571 w 8091406"/>
                <a:gd name="connsiteY70" fmla="*/ 1903263 h 1974791"/>
                <a:gd name="connsiteX71" fmla="*/ 946781 w 8091406"/>
                <a:gd name="connsiteY71" fmla="*/ 1897680 h 1974791"/>
                <a:gd name="connsiteX72" fmla="*/ 899912 w 8091406"/>
                <a:gd name="connsiteY72" fmla="*/ 1894096 h 1974791"/>
                <a:gd name="connsiteX73" fmla="*/ 895225 w 8091406"/>
                <a:gd name="connsiteY73" fmla="*/ 1896233 h 1974791"/>
                <a:gd name="connsiteX74" fmla="*/ 892468 w 8091406"/>
                <a:gd name="connsiteY74" fmla="*/ 1918633 h 1974791"/>
                <a:gd name="connsiteX75" fmla="*/ 894260 w 8091406"/>
                <a:gd name="connsiteY75" fmla="*/ 1937863 h 1974791"/>
                <a:gd name="connsiteX76" fmla="*/ 884610 w 8091406"/>
                <a:gd name="connsiteY76" fmla="*/ 1944549 h 1974791"/>
                <a:gd name="connsiteX77" fmla="*/ 873169 w 8091406"/>
                <a:gd name="connsiteY77" fmla="*/ 1949236 h 1974791"/>
                <a:gd name="connsiteX78" fmla="*/ 849459 w 8091406"/>
                <a:gd name="connsiteY78" fmla="*/ 1937932 h 1974791"/>
                <a:gd name="connsiteX79" fmla="*/ 833468 w 8091406"/>
                <a:gd name="connsiteY79" fmla="*/ 1945514 h 1974791"/>
                <a:gd name="connsiteX80" fmla="*/ 842429 w 8091406"/>
                <a:gd name="connsiteY80" fmla="*/ 1959781 h 1974791"/>
                <a:gd name="connsiteX81" fmla="*/ 846771 w 8091406"/>
                <a:gd name="connsiteY81" fmla="*/ 1966881 h 197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8091406" h="1974791">
                  <a:moveTo>
                    <a:pt x="2900242" y="33476"/>
                  </a:moveTo>
                  <a:cubicBezTo>
                    <a:pt x="2894383" y="24791"/>
                    <a:pt x="2895969" y="19622"/>
                    <a:pt x="2904929" y="17899"/>
                  </a:cubicBezTo>
                  <a:cubicBezTo>
                    <a:pt x="2910719" y="26652"/>
                    <a:pt x="2909134" y="31822"/>
                    <a:pt x="2900242" y="33476"/>
                  </a:cubicBezTo>
                  <a:close/>
                  <a:moveTo>
                    <a:pt x="2886664" y="33614"/>
                  </a:moveTo>
                  <a:cubicBezTo>
                    <a:pt x="2875705" y="12936"/>
                    <a:pt x="2909340" y="32511"/>
                    <a:pt x="2886664" y="33614"/>
                  </a:cubicBezTo>
                  <a:moveTo>
                    <a:pt x="2957381" y="55945"/>
                  </a:moveTo>
                  <a:cubicBezTo>
                    <a:pt x="2964480" y="55876"/>
                    <a:pt x="2978610" y="55670"/>
                    <a:pt x="2985709" y="55601"/>
                  </a:cubicBezTo>
                  <a:cubicBezTo>
                    <a:pt x="2985916" y="49811"/>
                    <a:pt x="2985916" y="43952"/>
                    <a:pt x="2985226" y="38094"/>
                  </a:cubicBezTo>
                  <a:cubicBezTo>
                    <a:pt x="3001630" y="42160"/>
                    <a:pt x="3019689" y="42505"/>
                    <a:pt x="3036024" y="38025"/>
                  </a:cubicBezTo>
                  <a:cubicBezTo>
                    <a:pt x="3035610" y="29409"/>
                    <a:pt x="3035541" y="20725"/>
                    <a:pt x="3035817" y="12040"/>
                  </a:cubicBezTo>
                  <a:cubicBezTo>
                    <a:pt x="3006386" y="10386"/>
                    <a:pt x="2977024" y="7698"/>
                    <a:pt x="2947593" y="7353"/>
                  </a:cubicBezTo>
                  <a:cubicBezTo>
                    <a:pt x="2943803" y="16727"/>
                    <a:pt x="2939805" y="26032"/>
                    <a:pt x="2935601" y="35130"/>
                  </a:cubicBezTo>
                  <a:cubicBezTo>
                    <a:pt x="2937806" y="25481"/>
                    <a:pt x="2940563" y="15969"/>
                    <a:pt x="2943734" y="6457"/>
                  </a:cubicBezTo>
                  <a:cubicBezTo>
                    <a:pt x="2921540" y="5493"/>
                    <a:pt x="2899415" y="2253"/>
                    <a:pt x="2877221" y="3494"/>
                  </a:cubicBezTo>
                  <a:cubicBezTo>
                    <a:pt x="2874327" y="7836"/>
                    <a:pt x="2868675" y="16589"/>
                    <a:pt x="2865849" y="20932"/>
                  </a:cubicBezTo>
                  <a:cubicBezTo>
                    <a:pt x="2862127" y="15693"/>
                    <a:pt x="2860748" y="7905"/>
                    <a:pt x="2853442" y="6320"/>
                  </a:cubicBezTo>
                  <a:cubicBezTo>
                    <a:pt x="2834833" y="4459"/>
                    <a:pt x="2816568" y="1081"/>
                    <a:pt x="2798303" y="-2365"/>
                  </a:cubicBezTo>
                  <a:lnTo>
                    <a:pt x="2795959" y="1633"/>
                  </a:lnTo>
                  <a:cubicBezTo>
                    <a:pt x="2799199" y="19002"/>
                    <a:pt x="2824839" y="19415"/>
                    <a:pt x="2835591" y="33269"/>
                  </a:cubicBezTo>
                  <a:cubicBezTo>
                    <a:pt x="2825390" y="31408"/>
                    <a:pt x="2814293" y="31822"/>
                    <a:pt x="2805333" y="26170"/>
                  </a:cubicBezTo>
                  <a:cubicBezTo>
                    <a:pt x="2798510" y="18864"/>
                    <a:pt x="2793616" y="6733"/>
                    <a:pt x="2781278" y="14384"/>
                  </a:cubicBezTo>
                  <a:cubicBezTo>
                    <a:pt x="2782864" y="11351"/>
                    <a:pt x="2786172" y="5217"/>
                    <a:pt x="2787757" y="2115"/>
                  </a:cubicBezTo>
                  <a:cubicBezTo>
                    <a:pt x="2784931" y="737"/>
                    <a:pt x="2779211" y="-1951"/>
                    <a:pt x="2776385" y="-3330"/>
                  </a:cubicBezTo>
                  <a:cubicBezTo>
                    <a:pt x="2778659" y="10317"/>
                    <a:pt x="2772663" y="22793"/>
                    <a:pt x="2767907" y="34992"/>
                  </a:cubicBezTo>
                  <a:cubicBezTo>
                    <a:pt x="2763840" y="32304"/>
                    <a:pt x="2755638" y="26928"/>
                    <a:pt x="2751503" y="24240"/>
                  </a:cubicBezTo>
                  <a:cubicBezTo>
                    <a:pt x="2749297" y="26515"/>
                    <a:pt x="2744817" y="31064"/>
                    <a:pt x="2742543" y="33338"/>
                  </a:cubicBezTo>
                  <a:lnTo>
                    <a:pt x="2738269" y="39955"/>
                  </a:lnTo>
                  <a:cubicBezTo>
                    <a:pt x="2753157" y="40230"/>
                    <a:pt x="2768389" y="39266"/>
                    <a:pt x="2782795" y="44228"/>
                  </a:cubicBezTo>
                  <a:cubicBezTo>
                    <a:pt x="2783759" y="40093"/>
                    <a:pt x="2785827" y="31753"/>
                    <a:pt x="2786792" y="27617"/>
                  </a:cubicBezTo>
                  <a:cubicBezTo>
                    <a:pt x="2786792" y="31822"/>
                    <a:pt x="2786861" y="40230"/>
                    <a:pt x="2786861" y="44366"/>
                  </a:cubicBezTo>
                  <a:cubicBezTo>
                    <a:pt x="2791824" y="44917"/>
                    <a:pt x="2801818" y="46020"/>
                    <a:pt x="2806781" y="46503"/>
                  </a:cubicBezTo>
                  <a:lnTo>
                    <a:pt x="2806849" y="37473"/>
                  </a:lnTo>
                  <a:cubicBezTo>
                    <a:pt x="2808572" y="39817"/>
                    <a:pt x="2812088" y="44504"/>
                    <a:pt x="2813811" y="46847"/>
                  </a:cubicBezTo>
                  <a:cubicBezTo>
                    <a:pt x="2861713" y="47606"/>
                    <a:pt x="2909409" y="53326"/>
                    <a:pt x="2957312" y="54911"/>
                  </a:cubicBezTo>
                  <a:cubicBezTo>
                    <a:pt x="2956347" y="43332"/>
                    <a:pt x="2954141" y="31959"/>
                    <a:pt x="2950764" y="20794"/>
                  </a:cubicBezTo>
                  <a:cubicBezTo>
                    <a:pt x="2954624" y="20173"/>
                    <a:pt x="2962343" y="19002"/>
                    <a:pt x="2966134" y="18450"/>
                  </a:cubicBezTo>
                  <a:cubicBezTo>
                    <a:pt x="2963101" y="30926"/>
                    <a:pt x="2960138" y="43470"/>
                    <a:pt x="2957381" y="55945"/>
                  </a:cubicBezTo>
                  <a:moveTo>
                    <a:pt x="8035816" y="363970"/>
                  </a:moveTo>
                  <a:cubicBezTo>
                    <a:pt x="8015621" y="343706"/>
                    <a:pt x="8062766" y="342396"/>
                    <a:pt x="8052220" y="363625"/>
                  </a:cubicBezTo>
                  <a:cubicBezTo>
                    <a:pt x="8048084" y="363694"/>
                    <a:pt x="8039883" y="363832"/>
                    <a:pt x="8035816" y="363970"/>
                  </a:cubicBezTo>
                  <a:moveTo>
                    <a:pt x="8005834" y="356663"/>
                  </a:moveTo>
                  <a:cubicBezTo>
                    <a:pt x="8015690" y="379615"/>
                    <a:pt x="8036643" y="392366"/>
                    <a:pt x="8057665" y="403601"/>
                  </a:cubicBezTo>
                  <a:cubicBezTo>
                    <a:pt x="8058010" y="396709"/>
                    <a:pt x="8058630" y="389678"/>
                    <a:pt x="8059250" y="382648"/>
                  </a:cubicBezTo>
                  <a:cubicBezTo>
                    <a:pt x="8064144" y="377548"/>
                    <a:pt x="8069244" y="372309"/>
                    <a:pt x="8074414" y="367071"/>
                  </a:cubicBezTo>
                  <a:cubicBezTo>
                    <a:pt x="8076413" y="371413"/>
                    <a:pt x="8080410" y="380098"/>
                    <a:pt x="8082409" y="384371"/>
                  </a:cubicBezTo>
                  <a:cubicBezTo>
                    <a:pt x="8083029" y="377410"/>
                    <a:pt x="8090473" y="366382"/>
                    <a:pt x="8080755" y="361902"/>
                  </a:cubicBezTo>
                  <a:cubicBezTo>
                    <a:pt x="8061525" y="345842"/>
                    <a:pt x="8037815" y="336882"/>
                    <a:pt x="8015138" y="327095"/>
                  </a:cubicBezTo>
                  <a:cubicBezTo>
                    <a:pt x="8013829" y="331506"/>
                    <a:pt x="8011141" y="340191"/>
                    <a:pt x="8009831" y="344533"/>
                  </a:cubicBezTo>
                  <a:cubicBezTo>
                    <a:pt x="8012106" y="347703"/>
                    <a:pt x="8016586" y="354044"/>
                    <a:pt x="8018791" y="357284"/>
                  </a:cubicBezTo>
                  <a:lnTo>
                    <a:pt x="8005834" y="356663"/>
                  </a:lnTo>
                  <a:moveTo>
                    <a:pt x="-5690" y="1034193"/>
                  </a:moveTo>
                  <a:cubicBezTo>
                    <a:pt x="1823" y="1031436"/>
                    <a:pt x="9471" y="1029230"/>
                    <a:pt x="17126" y="1026749"/>
                  </a:cubicBezTo>
                  <a:cubicBezTo>
                    <a:pt x="11542" y="1017857"/>
                    <a:pt x="5820" y="1009035"/>
                    <a:pt x="651" y="999868"/>
                  </a:cubicBezTo>
                  <a:cubicBezTo>
                    <a:pt x="-3277" y="1010965"/>
                    <a:pt x="-4723" y="1022613"/>
                    <a:pt x="-5690" y="1034193"/>
                  </a:cubicBezTo>
                  <a:moveTo>
                    <a:pt x="974626" y="1782990"/>
                  </a:moveTo>
                  <a:cubicBezTo>
                    <a:pt x="995786" y="1785471"/>
                    <a:pt x="1017015" y="1787539"/>
                    <a:pt x="1038174" y="1790502"/>
                  </a:cubicBezTo>
                  <a:cubicBezTo>
                    <a:pt x="1019978" y="1782094"/>
                    <a:pt x="998543" y="1781611"/>
                    <a:pt x="981587" y="1770790"/>
                  </a:cubicBezTo>
                  <a:cubicBezTo>
                    <a:pt x="977590" y="1767964"/>
                    <a:pt x="969457" y="1762243"/>
                    <a:pt x="965390" y="1759418"/>
                  </a:cubicBezTo>
                  <a:cubicBezTo>
                    <a:pt x="964425" y="1752594"/>
                    <a:pt x="963460" y="1745701"/>
                    <a:pt x="962633" y="1738809"/>
                  </a:cubicBezTo>
                  <a:cubicBezTo>
                    <a:pt x="958842" y="1748390"/>
                    <a:pt x="954224" y="1757901"/>
                    <a:pt x="943610" y="1761347"/>
                  </a:cubicBezTo>
                  <a:cubicBezTo>
                    <a:pt x="948090" y="1763898"/>
                    <a:pt x="952501" y="1766723"/>
                    <a:pt x="956912" y="1769480"/>
                  </a:cubicBezTo>
                  <a:cubicBezTo>
                    <a:pt x="963047" y="1773685"/>
                    <a:pt x="968905" y="1778234"/>
                    <a:pt x="974626" y="1782990"/>
                  </a:cubicBezTo>
                  <a:moveTo>
                    <a:pt x="846771" y="1966881"/>
                  </a:moveTo>
                  <a:cubicBezTo>
                    <a:pt x="877373" y="1969293"/>
                    <a:pt x="907976" y="1971774"/>
                    <a:pt x="938647" y="1971429"/>
                  </a:cubicBezTo>
                  <a:lnTo>
                    <a:pt x="940439" y="1950683"/>
                  </a:lnTo>
                  <a:lnTo>
                    <a:pt x="930721" y="1956197"/>
                  </a:lnTo>
                  <a:cubicBezTo>
                    <a:pt x="925827" y="1949650"/>
                    <a:pt x="920727" y="1943170"/>
                    <a:pt x="915695" y="1936691"/>
                  </a:cubicBezTo>
                  <a:cubicBezTo>
                    <a:pt x="917970" y="1936622"/>
                    <a:pt x="922588" y="1936416"/>
                    <a:pt x="924931" y="1936347"/>
                  </a:cubicBezTo>
                  <a:cubicBezTo>
                    <a:pt x="925827" y="1925733"/>
                    <a:pt x="918452" y="1909673"/>
                    <a:pt x="930928" y="1903125"/>
                  </a:cubicBezTo>
                  <a:cubicBezTo>
                    <a:pt x="932375" y="1907399"/>
                    <a:pt x="935270" y="1915945"/>
                    <a:pt x="936786" y="1920288"/>
                  </a:cubicBezTo>
                  <a:cubicBezTo>
                    <a:pt x="941749" y="1914980"/>
                    <a:pt x="946022" y="1909053"/>
                    <a:pt x="950571" y="1903263"/>
                  </a:cubicBezTo>
                  <a:lnTo>
                    <a:pt x="946781" y="1897680"/>
                  </a:lnTo>
                  <a:cubicBezTo>
                    <a:pt x="932996" y="1887686"/>
                    <a:pt x="915282" y="1888858"/>
                    <a:pt x="899912" y="1894096"/>
                  </a:cubicBezTo>
                  <a:lnTo>
                    <a:pt x="895225" y="1896233"/>
                  </a:lnTo>
                  <a:cubicBezTo>
                    <a:pt x="894536" y="1901816"/>
                    <a:pt x="893157" y="1913050"/>
                    <a:pt x="892468" y="1918633"/>
                  </a:cubicBezTo>
                  <a:cubicBezTo>
                    <a:pt x="892881" y="1923458"/>
                    <a:pt x="893777" y="1933039"/>
                    <a:pt x="894260" y="1937863"/>
                  </a:cubicBezTo>
                  <a:cubicBezTo>
                    <a:pt x="891848" y="1939517"/>
                    <a:pt x="887023" y="1942895"/>
                    <a:pt x="884610" y="1944549"/>
                  </a:cubicBezTo>
                  <a:cubicBezTo>
                    <a:pt x="881785" y="1945721"/>
                    <a:pt x="875995" y="1948064"/>
                    <a:pt x="873169" y="1949236"/>
                  </a:cubicBezTo>
                  <a:cubicBezTo>
                    <a:pt x="862968" y="1950752"/>
                    <a:pt x="853801" y="1948271"/>
                    <a:pt x="849459" y="1937932"/>
                  </a:cubicBezTo>
                  <a:cubicBezTo>
                    <a:pt x="844083" y="1940482"/>
                    <a:pt x="838776" y="1943033"/>
                    <a:pt x="833468" y="1945514"/>
                  </a:cubicBezTo>
                  <a:cubicBezTo>
                    <a:pt x="836432" y="1950339"/>
                    <a:pt x="839396" y="1955094"/>
                    <a:pt x="842429" y="1959781"/>
                  </a:cubicBezTo>
                  <a:lnTo>
                    <a:pt x="846771" y="1966881"/>
                  </a:lnTo>
                </a:path>
              </a:pathLst>
            </a:custGeom>
            <a:grpFill/>
            <a:ln w="689" cap="flat">
              <a:noFill/>
              <a:prstDash val="solid"/>
              <a:miter/>
            </a:ln>
          </p:spPr>
          <p:txBody>
            <a:bodyPr rtlCol="0" anchor="ctr"/>
            <a:lstStyle/>
            <a:p>
              <a:endParaRPr lang="en-US" sz="2400" dirty="0"/>
            </a:p>
          </p:txBody>
        </p:sp>
        <p:sp>
          <p:nvSpPr>
            <p:cNvPr id="181" name="Graphic 8">
              <a:extLst>
                <a:ext uri="{FF2B5EF4-FFF2-40B4-BE49-F238E27FC236}">
                  <a16:creationId xmlns:a16="http://schemas.microsoft.com/office/drawing/2014/main" id="{529A5D52-1CF5-448A-9FA9-12E0D4CC5755}"/>
                </a:ext>
              </a:extLst>
            </p:cNvPr>
            <p:cNvSpPr/>
            <p:nvPr/>
          </p:nvSpPr>
          <p:spPr>
            <a:xfrm flipV="1">
              <a:off x="2644626" y="1524406"/>
              <a:ext cx="4268967" cy="396006"/>
            </a:xfrm>
            <a:custGeom>
              <a:avLst/>
              <a:gdLst>
                <a:gd name="connsiteX0" fmla="*/ 2241050 w 4268967"/>
                <a:gd name="connsiteY0" fmla="*/ -2043 h 396006"/>
                <a:gd name="connsiteX1" fmla="*/ 2241050 w 4268967"/>
                <a:gd name="connsiteY1" fmla="*/ -2043 h 396006"/>
                <a:gd name="connsiteX2" fmla="*/ 4260542 w 4268967"/>
                <a:gd name="connsiteY2" fmla="*/ 4436 h 396006"/>
                <a:gd name="connsiteX3" fmla="*/ 4260542 w 4268967"/>
                <a:gd name="connsiteY3" fmla="*/ 4436 h 396006"/>
                <a:gd name="connsiteX4" fmla="*/ -5893 w 4268967"/>
                <a:gd name="connsiteY4" fmla="*/ 391378 h 396006"/>
                <a:gd name="connsiteX5" fmla="*/ -5893 w 4268967"/>
                <a:gd name="connsiteY5" fmla="*/ 391378 h 39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68967" h="396006">
                  <a:moveTo>
                    <a:pt x="2241050" y="-2043"/>
                  </a:moveTo>
                  <a:cubicBezTo>
                    <a:pt x="2244841" y="-5489"/>
                    <a:pt x="2244841" y="-5489"/>
                    <a:pt x="2241050" y="-2043"/>
                  </a:cubicBezTo>
                  <a:close/>
                  <a:moveTo>
                    <a:pt x="4260542" y="4436"/>
                  </a:moveTo>
                  <a:cubicBezTo>
                    <a:pt x="4263919" y="576"/>
                    <a:pt x="4263919" y="576"/>
                    <a:pt x="4260542" y="4436"/>
                  </a:cubicBezTo>
                  <a:moveTo>
                    <a:pt x="-5893" y="391378"/>
                  </a:moveTo>
                  <a:cubicBezTo>
                    <a:pt x="-2377" y="387657"/>
                    <a:pt x="-2377" y="387657"/>
                    <a:pt x="-5893" y="391378"/>
                  </a:cubicBezTo>
                </a:path>
              </a:pathLst>
            </a:custGeom>
            <a:grpFill/>
            <a:ln w="689" cap="flat">
              <a:noFill/>
              <a:prstDash val="solid"/>
              <a:miter/>
            </a:ln>
          </p:spPr>
          <p:txBody>
            <a:bodyPr rtlCol="0" anchor="ctr"/>
            <a:lstStyle/>
            <a:p>
              <a:endParaRPr lang="en-US" sz="2400" dirty="0"/>
            </a:p>
          </p:txBody>
        </p:sp>
        <p:sp>
          <p:nvSpPr>
            <p:cNvPr id="182" name="Graphic 8">
              <a:extLst>
                <a:ext uri="{FF2B5EF4-FFF2-40B4-BE49-F238E27FC236}">
                  <a16:creationId xmlns:a16="http://schemas.microsoft.com/office/drawing/2014/main" id="{0B4A3B4C-BF9C-41B6-BDF3-B927FD6FDC10}"/>
                </a:ext>
              </a:extLst>
            </p:cNvPr>
            <p:cNvSpPr/>
            <p:nvPr/>
          </p:nvSpPr>
          <p:spPr>
            <a:xfrm flipV="1">
              <a:off x="4447280" y="1525026"/>
              <a:ext cx="4237210" cy="1721509"/>
            </a:xfrm>
            <a:custGeom>
              <a:avLst/>
              <a:gdLst>
                <a:gd name="connsiteX0" fmla="*/ 2957549 w 4237210"/>
                <a:gd name="connsiteY0" fmla="*/ 3335 h 1721509"/>
                <a:gd name="connsiteX1" fmla="*/ 2985671 w 4237210"/>
                <a:gd name="connsiteY1" fmla="*/ 715 h 1721509"/>
                <a:gd name="connsiteX2" fmla="*/ 2957549 w 4237210"/>
                <a:gd name="connsiteY2" fmla="*/ 3335 h 1721509"/>
                <a:gd name="connsiteX3" fmla="*/ 2433929 w 4237210"/>
                <a:gd name="connsiteY3" fmla="*/ 319354 h 1721509"/>
                <a:gd name="connsiteX4" fmla="*/ 2439857 w 4237210"/>
                <a:gd name="connsiteY4" fmla="*/ 305293 h 1721509"/>
                <a:gd name="connsiteX5" fmla="*/ 2433929 w 4237210"/>
                <a:gd name="connsiteY5" fmla="*/ 319354 h 1721509"/>
                <a:gd name="connsiteX6" fmla="*/ 4226866 w 4237210"/>
                <a:gd name="connsiteY6" fmla="*/ 806444 h 1721509"/>
                <a:gd name="connsiteX7" fmla="*/ 4229071 w 4237210"/>
                <a:gd name="connsiteY7" fmla="*/ 805893 h 1721509"/>
                <a:gd name="connsiteX8" fmla="*/ 4226176 w 4237210"/>
                <a:gd name="connsiteY8" fmla="*/ 804308 h 1721509"/>
                <a:gd name="connsiteX9" fmla="*/ 4226866 w 4237210"/>
                <a:gd name="connsiteY9" fmla="*/ 806444 h 1721509"/>
                <a:gd name="connsiteX10" fmla="*/ 20533 w 4237210"/>
                <a:gd name="connsiteY10" fmla="*/ 1714320 h 1721509"/>
                <a:gd name="connsiteX11" fmla="*/ 61199 w 4237210"/>
                <a:gd name="connsiteY11" fmla="*/ 1717972 h 1721509"/>
                <a:gd name="connsiteX12" fmla="*/ 52583 w 4237210"/>
                <a:gd name="connsiteY12" fmla="*/ 1686819 h 1721509"/>
                <a:gd name="connsiteX13" fmla="*/ 26599 w 4237210"/>
                <a:gd name="connsiteY13" fmla="*/ 1665314 h 1721509"/>
                <a:gd name="connsiteX14" fmla="*/ 1097 w 4237210"/>
                <a:gd name="connsiteY14" fmla="*/ 1678892 h 1721509"/>
                <a:gd name="connsiteX15" fmla="*/ 5853 w 4237210"/>
                <a:gd name="connsiteY15" fmla="*/ 1666141 h 1721509"/>
                <a:gd name="connsiteX16" fmla="*/ -8139 w 4237210"/>
                <a:gd name="connsiteY16" fmla="*/ 1667313 h 1721509"/>
                <a:gd name="connsiteX17" fmla="*/ -1729 w 4237210"/>
                <a:gd name="connsiteY17" fmla="*/ 1688404 h 1721509"/>
                <a:gd name="connsiteX18" fmla="*/ 19430 w 4237210"/>
                <a:gd name="connsiteY18" fmla="*/ 1678754 h 1721509"/>
                <a:gd name="connsiteX19" fmla="*/ 20533 w 4237210"/>
                <a:gd name="connsiteY19" fmla="*/ 1714320 h 172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237210" h="1721509">
                  <a:moveTo>
                    <a:pt x="2957549" y="3335"/>
                  </a:moveTo>
                  <a:cubicBezTo>
                    <a:pt x="2965062" y="6505"/>
                    <a:pt x="2981191" y="7952"/>
                    <a:pt x="2985671" y="715"/>
                  </a:cubicBezTo>
                  <a:cubicBezTo>
                    <a:pt x="2978434" y="-3627"/>
                    <a:pt x="2959342" y="-7142"/>
                    <a:pt x="2957549" y="3335"/>
                  </a:cubicBezTo>
                  <a:close/>
                  <a:moveTo>
                    <a:pt x="2433929" y="319354"/>
                  </a:moveTo>
                  <a:cubicBezTo>
                    <a:pt x="2442820" y="323214"/>
                    <a:pt x="2450885" y="307844"/>
                    <a:pt x="2439857" y="305293"/>
                  </a:cubicBezTo>
                  <a:cubicBezTo>
                    <a:pt x="2430414" y="301158"/>
                    <a:pt x="2422549" y="316735"/>
                    <a:pt x="2433929" y="319354"/>
                  </a:cubicBezTo>
                  <a:moveTo>
                    <a:pt x="4226866" y="806444"/>
                  </a:moveTo>
                  <a:lnTo>
                    <a:pt x="4229071" y="805893"/>
                  </a:lnTo>
                  <a:cubicBezTo>
                    <a:pt x="4228382" y="805479"/>
                    <a:pt x="4226934" y="804721"/>
                    <a:pt x="4226176" y="804308"/>
                  </a:cubicBezTo>
                  <a:lnTo>
                    <a:pt x="4226866" y="806444"/>
                  </a:lnTo>
                  <a:moveTo>
                    <a:pt x="20533" y="1714320"/>
                  </a:moveTo>
                  <a:cubicBezTo>
                    <a:pt x="34043" y="1715353"/>
                    <a:pt x="47552" y="1716594"/>
                    <a:pt x="61199" y="1717972"/>
                  </a:cubicBezTo>
                  <a:cubicBezTo>
                    <a:pt x="57753" y="1707703"/>
                    <a:pt x="54789" y="1697364"/>
                    <a:pt x="52583" y="1686819"/>
                  </a:cubicBezTo>
                  <a:cubicBezTo>
                    <a:pt x="41624" y="1682201"/>
                    <a:pt x="26875" y="1680271"/>
                    <a:pt x="26599" y="1665314"/>
                  </a:cubicBezTo>
                  <a:cubicBezTo>
                    <a:pt x="20120" y="1673585"/>
                    <a:pt x="11642" y="1678134"/>
                    <a:pt x="1097" y="1678892"/>
                  </a:cubicBezTo>
                  <a:lnTo>
                    <a:pt x="5853" y="1666141"/>
                  </a:lnTo>
                  <a:cubicBezTo>
                    <a:pt x="2337" y="1666417"/>
                    <a:pt x="-4624" y="1667037"/>
                    <a:pt x="-8139" y="1667313"/>
                  </a:cubicBezTo>
                  <a:cubicBezTo>
                    <a:pt x="-6072" y="1674343"/>
                    <a:pt x="-3935" y="1681373"/>
                    <a:pt x="-1729" y="1688404"/>
                  </a:cubicBezTo>
                  <a:cubicBezTo>
                    <a:pt x="5301" y="1685164"/>
                    <a:pt x="12331" y="1681994"/>
                    <a:pt x="19430" y="1678754"/>
                  </a:cubicBezTo>
                  <a:cubicBezTo>
                    <a:pt x="19775" y="1690610"/>
                    <a:pt x="20120" y="1702464"/>
                    <a:pt x="20533" y="1714320"/>
                  </a:cubicBezTo>
                </a:path>
              </a:pathLst>
            </a:custGeom>
            <a:grpFill/>
            <a:ln w="689" cap="flat">
              <a:noFill/>
              <a:prstDash val="solid"/>
              <a:miter/>
            </a:ln>
          </p:spPr>
          <p:txBody>
            <a:bodyPr rtlCol="0" anchor="ctr"/>
            <a:lstStyle/>
            <a:p>
              <a:endParaRPr lang="en-US" sz="2400" dirty="0"/>
            </a:p>
          </p:txBody>
        </p:sp>
        <p:sp>
          <p:nvSpPr>
            <p:cNvPr id="183" name="Graphic 8">
              <a:extLst>
                <a:ext uri="{FF2B5EF4-FFF2-40B4-BE49-F238E27FC236}">
                  <a16:creationId xmlns:a16="http://schemas.microsoft.com/office/drawing/2014/main" id="{A7E94CB9-DE09-4EE3-AD0C-D7C6566BB749}"/>
                </a:ext>
              </a:extLst>
            </p:cNvPr>
            <p:cNvSpPr/>
            <p:nvPr/>
          </p:nvSpPr>
          <p:spPr>
            <a:xfrm flipV="1">
              <a:off x="549523" y="1523578"/>
              <a:ext cx="7682890" cy="2279843"/>
            </a:xfrm>
            <a:custGeom>
              <a:avLst/>
              <a:gdLst>
                <a:gd name="connsiteX0" fmla="*/ 895096 w 7682890"/>
                <a:gd name="connsiteY0" fmla="*/ 10590 h 2279843"/>
                <a:gd name="connsiteX1" fmla="*/ 911363 w 7682890"/>
                <a:gd name="connsiteY1" fmla="*/ 4180 h 2279843"/>
                <a:gd name="connsiteX2" fmla="*/ 895096 w 7682890"/>
                <a:gd name="connsiteY2" fmla="*/ 10590 h 2279843"/>
                <a:gd name="connsiteX3" fmla="*/ 801359 w 7682890"/>
                <a:gd name="connsiteY3" fmla="*/ 82134 h 2279843"/>
                <a:gd name="connsiteX4" fmla="*/ 812731 w 7682890"/>
                <a:gd name="connsiteY4" fmla="*/ 118182 h 2279843"/>
                <a:gd name="connsiteX5" fmla="*/ 830445 w 7682890"/>
                <a:gd name="connsiteY5" fmla="*/ 116114 h 2279843"/>
                <a:gd name="connsiteX6" fmla="*/ 833891 w 7682890"/>
                <a:gd name="connsiteY6" fmla="*/ 75931 h 2279843"/>
                <a:gd name="connsiteX7" fmla="*/ 817349 w 7682890"/>
                <a:gd name="connsiteY7" fmla="*/ 63938 h 2279843"/>
                <a:gd name="connsiteX8" fmla="*/ 801359 w 7682890"/>
                <a:gd name="connsiteY8" fmla="*/ 82134 h 2279843"/>
                <a:gd name="connsiteX9" fmla="*/ 4413009 w 7682890"/>
                <a:gd name="connsiteY9" fmla="*/ 434477 h 2279843"/>
                <a:gd name="connsiteX10" fmla="*/ 4438305 w 7682890"/>
                <a:gd name="connsiteY10" fmla="*/ 455085 h 2279843"/>
                <a:gd name="connsiteX11" fmla="*/ 4440717 w 7682890"/>
                <a:gd name="connsiteY11" fmla="*/ 437854 h 2279843"/>
                <a:gd name="connsiteX12" fmla="*/ 4443749 w 7682890"/>
                <a:gd name="connsiteY12" fmla="*/ 417935 h 2279843"/>
                <a:gd name="connsiteX13" fmla="*/ 4421763 w 7682890"/>
                <a:gd name="connsiteY13" fmla="*/ 419796 h 2279843"/>
                <a:gd name="connsiteX14" fmla="*/ 4423348 w 7682890"/>
                <a:gd name="connsiteY14" fmla="*/ 410353 h 2279843"/>
                <a:gd name="connsiteX15" fmla="*/ 4436237 w 7682890"/>
                <a:gd name="connsiteY15" fmla="*/ 411870 h 2279843"/>
                <a:gd name="connsiteX16" fmla="*/ 4434100 w 7682890"/>
                <a:gd name="connsiteY16" fmla="*/ 403943 h 2279843"/>
                <a:gd name="connsiteX17" fmla="*/ 4361385 w 7682890"/>
                <a:gd name="connsiteY17" fmla="*/ 405666 h 2279843"/>
                <a:gd name="connsiteX18" fmla="*/ 4379719 w 7682890"/>
                <a:gd name="connsiteY18" fmla="*/ 413386 h 2279843"/>
                <a:gd name="connsiteX19" fmla="*/ 4373515 w 7682890"/>
                <a:gd name="connsiteY19" fmla="*/ 446676 h 2279843"/>
                <a:gd name="connsiteX20" fmla="*/ 4399362 w 7682890"/>
                <a:gd name="connsiteY20" fmla="*/ 448537 h 2279843"/>
                <a:gd name="connsiteX21" fmla="*/ 4416800 w 7682890"/>
                <a:gd name="connsiteY21" fmla="*/ 408837 h 2279843"/>
                <a:gd name="connsiteX22" fmla="*/ 4413009 w 7682890"/>
                <a:gd name="connsiteY22" fmla="*/ 434477 h 2279843"/>
                <a:gd name="connsiteX23" fmla="*/ 5318334 w 7682890"/>
                <a:gd name="connsiteY23" fmla="*/ 506089 h 2279843"/>
                <a:gd name="connsiteX24" fmla="*/ 5319643 w 7682890"/>
                <a:gd name="connsiteY24" fmla="*/ 502299 h 2279843"/>
                <a:gd name="connsiteX25" fmla="*/ 5324262 w 7682890"/>
                <a:gd name="connsiteY25" fmla="*/ 489272 h 2279843"/>
                <a:gd name="connsiteX26" fmla="*/ 5328673 w 7682890"/>
                <a:gd name="connsiteY26" fmla="*/ 486653 h 2279843"/>
                <a:gd name="connsiteX27" fmla="*/ 5332670 w 7682890"/>
                <a:gd name="connsiteY27" fmla="*/ 484171 h 2279843"/>
                <a:gd name="connsiteX28" fmla="*/ 5316405 w 7682890"/>
                <a:gd name="connsiteY28" fmla="*/ 467285 h 2279843"/>
                <a:gd name="connsiteX29" fmla="*/ 5317645 w 7682890"/>
                <a:gd name="connsiteY29" fmla="*/ 491615 h 2279843"/>
                <a:gd name="connsiteX30" fmla="*/ 5308891 w 7682890"/>
                <a:gd name="connsiteY30" fmla="*/ 478726 h 2279843"/>
                <a:gd name="connsiteX31" fmla="*/ 5264297 w 7682890"/>
                <a:gd name="connsiteY31" fmla="*/ 496647 h 2279843"/>
                <a:gd name="connsiteX32" fmla="*/ 5290558 w 7682890"/>
                <a:gd name="connsiteY32" fmla="*/ 504504 h 2279843"/>
                <a:gd name="connsiteX33" fmla="*/ 5318334 w 7682890"/>
                <a:gd name="connsiteY33" fmla="*/ 506089 h 2279843"/>
                <a:gd name="connsiteX34" fmla="*/ 6501287 w 7682890"/>
                <a:gd name="connsiteY34" fmla="*/ 568122 h 2279843"/>
                <a:gd name="connsiteX35" fmla="*/ 6515555 w 7682890"/>
                <a:gd name="connsiteY35" fmla="*/ 583147 h 2279843"/>
                <a:gd name="connsiteX36" fmla="*/ 6509903 w 7682890"/>
                <a:gd name="connsiteY36" fmla="*/ 564606 h 2279843"/>
                <a:gd name="connsiteX37" fmla="*/ 6502390 w 7682890"/>
                <a:gd name="connsiteY37" fmla="*/ 558197 h 2279843"/>
                <a:gd name="connsiteX38" fmla="*/ 6483505 w 7682890"/>
                <a:gd name="connsiteY38" fmla="*/ 526836 h 2279843"/>
                <a:gd name="connsiteX39" fmla="*/ 6480817 w 7682890"/>
                <a:gd name="connsiteY39" fmla="*/ 549167 h 2279843"/>
                <a:gd name="connsiteX40" fmla="*/ 6454487 w 7682890"/>
                <a:gd name="connsiteY40" fmla="*/ 561712 h 2279843"/>
                <a:gd name="connsiteX41" fmla="*/ 6458348 w 7682890"/>
                <a:gd name="connsiteY41" fmla="*/ 567157 h 2279843"/>
                <a:gd name="connsiteX42" fmla="*/ 6468342 w 7682890"/>
                <a:gd name="connsiteY42" fmla="*/ 561505 h 2279843"/>
                <a:gd name="connsiteX43" fmla="*/ 6477991 w 7682890"/>
                <a:gd name="connsiteY43" fmla="*/ 579494 h 2279843"/>
                <a:gd name="connsiteX44" fmla="*/ 6501287 w 7682890"/>
                <a:gd name="connsiteY44" fmla="*/ 568122 h 2279843"/>
                <a:gd name="connsiteX45" fmla="*/ 7643437 w 7682890"/>
                <a:gd name="connsiteY45" fmla="*/ 638563 h 2279843"/>
                <a:gd name="connsiteX46" fmla="*/ 7677486 w 7682890"/>
                <a:gd name="connsiteY46" fmla="*/ 647385 h 2279843"/>
                <a:gd name="connsiteX47" fmla="*/ 7666252 w 7682890"/>
                <a:gd name="connsiteY47" fmla="*/ 608167 h 2279843"/>
                <a:gd name="connsiteX48" fmla="*/ 7644609 w 7682890"/>
                <a:gd name="connsiteY48" fmla="*/ 633669 h 2279843"/>
                <a:gd name="connsiteX49" fmla="*/ 7665356 w 7682890"/>
                <a:gd name="connsiteY49" fmla="*/ 639734 h 2279843"/>
                <a:gd name="connsiteX50" fmla="*/ 7643437 w 7682890"/>
                <a:gd name="connsiteY50" fmla="*/ 638563 h 2279843"/>
                <a:gd name="connsiteX51" fmla="*/ 7527713 w 7682890"/>
                <a:gd name="connsiteY51" fmla="*/ 1140610 h 2279843"/>
                <a:gd name="connsiteX52" fmla="*/ 7531642 w 7682890"/>
                <a:gd name="connsiteY52" fmla="*/ 1148467 h 2279843"/>
                <a:gd name="connsiteX53" fmla="*/ 7547425 w 7682890"/>
                <a:gd name="connsiteY53" fmla="*/ 1148122 h 2279843"/>
                <a:gd name="connsiteX54" fmla="*/ 7551354 w 7682890"/>
                <a:gd name="connsiteY54" fmla="*/ 1140058 h 2279843"/>
                <a:gd name="connsiteX55" fmla="*/ 7527713 w 7682890"/>
                <a:gd name="connsiteY55" fmla="*/ 1140610 h 2279843"/>
                <a:gd name="connsiteX56" fmla="*/ -5405 w 7682890"/>
                <a:gd name="connsiteY56" fmla="*/ 1706756 h 2279843"/>
                <a:gd name="connsiteX57" fmla="*/ -2714 w 7682890"/>
                <a:gd name="connsiteY57" fmla="*/ 1670640 h 2279843"/>
                <a:gd name="connsiteX58" fmla="*/ -5405 w 7682890"/>
                <a:gd name="connsiteY58" fmla="*/ 1706756 h 2279843"/>
                <a:gd name="connsiteX59" fmla="*/ 256441 w 7682890"/>
                <a:gd name="connsiteY59" fmla="*/ 2027945 h 2279843"/>
                <a:gd name="connsiteX60" fmla="*/ 256441 w 7682890"/>
                <a:gd name="connsiteY60" fmla="*/ 2027945 h 2279843"/>
                <a:gd name="connsiteX61" fmla="*/ 233006 w 7682890"/>
                <a:gd name="connsiteY61" fmla="*/ 2028083 h 2279843"/>
                <a:gd name="connsiteX62" fmla="*/ 233006 w 7682890"/>
                <a:gd name="connsiteY62" fmla="*/ 2028083 h 2279843"/>
                <a:gd name="connsiteX63" fmla="*/ 234592 w 7682890"/>
                <a:gd name="connsiteY63" fmla="*/ 2038146 h 2279843"/>
                <a:gd name="connsiteX64" fmla="*/ 336945 w 7682890"/>
                <a:gd name="connsiteY64" fmla="*/ 2049863 h 2279843"/>
                <a:gd name="connsiteX65" fmla="*/ 341701 w 7682890"/>
                <a:gd name="connsiteY65" fmla="*/ 2018985 h 2279843"/>
                <a:gd name="connsiteX66" fmla="*/ 331086 w 7682890"/>
                <a:gd name="connsiteY66" fmla="*/ 2002581 h 2279843"/>
                <a:gd name="connsiteX67" fmla="*/ 364101 w 7682890"/>
                <a:gd name="connsiteY67" fmla="*/ 2030082 h 2279843"/>
                <a:gd name="connsiteX68" fmla="*/ 338875 w 7682890"/>
                <a:gd name="connsiteY68" fmla="*/ 2046486 h 2279843"/>
                <a:gd name="connsiteX69" fmla="*/ 360793 w 7682890"/>
                <a:gd name="connsiteY69" fmla="*/ 2032356 h 2279843"/>
                <a:gd name="connsiteX70" fmla="*/ 376163 w 7682890"/>
                <a:gd name="connsiteY70" fmla="*/ 2034355 h 2279843"/>
                <a:gd name="connsiteX71" fmla="*/ 386157 w 7682890"/>
                <a:gd name="connsiteY71" fmla="*/ 2008715 h 2279843"/>
                <a:gd name="connsiteX72" fmla="*/ 319782 w 7682890"/>
                <a:gd name="connsiteY72" fmla="*/ 1998101 h 2279843"/>
                <a:gd name="connsiteX73" fmla="*/ 320610 w 7682890"/>
                <a:gd name="connsiteY73" fmla="*/ 2020432 h 2279843"/>
                <a:gd name="connsiteX74" fmla="*/ 303861 w 7682890"/>
                <a:gd name="connsiteY74" fmla="*/ 1998101 h 2279843"/>
                <a:gd name="connsiteX75" fmla="*/ 271949 w 7682890"/>
                <a:gd name="connsiteY75" fmla="*/ 1997274 h 2279843"/>
                <a:gd name="connsiteX76" fmla="*/ 271260 w 7682890"/>
                <a:gd name="connsiteY76" fmla="*/ 2010231 h 2279843"/>
                <a:gd name="connsiteX77" fmla="*/ 246722 w 7682890"/>
                <a:gd name="connsiteY77" fmla="*/ 2009749 h 2279843"/>
                <a:gd name="connsiteX78" fmla="*/ 234798 w 7682890"/>
                <a:gd name="connsiteY78" fmla="*/ 1994034 h 2279843"/>
                <a:gd name="connsiteX79" fmla="*/ 165257 w 7682890"/>
                <a:gd name="connsiteY79" fmla="*/ 1993207 h 2279843"/>
                <a:gd name="connsiteX80" fmla="*/ 109565 w 7682890"/>
                <a:gd name="connsiteY80" fmla="*/ 1972116 h 2279843"/>
                <a:gd name="connsiteX81" fmla="*/ 95707 w 7682890"/>
                <a:gd name="connsiteY81" fmla="*/ 2001203 h 2279843"/>
                <a:gd name="connsiteX82" fmla="*/ 112871 w 7682890"/>
                <a:gd name="connsiteY82" fmla="*/ 1988589 h 2279843"/>
                <a:gd name="connsiteX83" fmla="*/ 119279 w 7682890"/>
                <a:gd name="connsiteY83" fmla="*/ 2008784 h 2279843"/>
                <a:gd name="connsiteX84" fmla="*/ 166975 w 7682890"/>
                <a:gd name="connsiteY84" fmla="*/ 2007681 h 2279843"/>
                <a:gd name="connsiteX85" fmla="*/ 119904 w 7682890"/>
                <a:gd name="connsiteY85" fmla="*/ 2011334 h 2279843"/>
                <a:gd name="connsiteX86" fmla="*/ 90953 w 7682890"/>
                <a:gd name="connsiteY86" fmla="*/ 2003201 h 2279843"/>
                <a:gd name="connsiteX87" fmla="*/ 94399 w 7682890"/>
                <a:gd name="connsiteY87" fmla="*/ 1983282 h 2279843"/>
                <a:gd name="connsiteX88" fmla="*/ 75170 w 7682890"/>
                <a:gd name="connsiteY88" fmla="*/ 1947786 h 2279843"/>
                <a:gd name="connsiteX89" fmla="*/ 80199 w 7682890"/>
                <a:gd name="connsiteY89" fmla="*/ 1973564 h 2279843"/>
                <a:gd name="connsiteX90" fmla="*/ 63173 w 7682890"/>
                <a:gd name="connsiteY90" fmla="*/ 1962880 h 2279843"/>
                <a:gd name="connsiteX91" fmla="*/ 28024 w 7682890"/>
                <a:gd name="connsiteY91" fmla="*/ 1968808 h 2279843"/>
                <a:gd name="connsiteX92" fmla="*/ 158017 w 7682890"/>
                <a:gd name="connsiteY92" fmla="*/ 2028083 h 2279843"/>
                <a:gd name="connsiteX93" fmla="*/ 178005 w 7682890"/>
                <a:gd name="connsiteY93" fmla="*/ 2041730 h 2279843"/>
                <a:gd name="connsiteX94" fmla="*/ 171320 w 7682890"/>
                <a:gd name="connsiteY94" fmla="*/ 2022431 h 2279843"/>
                <a:gd name="connsiteX95" fmla="*/ 184827 w 7682890"/>
                <a:gd name="connsiteY95" fmla="*/ 2025602 h 2279843"/>
                <a:gd name="connsiteX96" fmla="*/ 179106 w 7682890"/>
                <a:gd name="connsiteY96" fmla="*/ 2011817 h 2279843"/>
                <a:gd name="connsiteX97" fmla="*/ 191998 w 7682890"/>
                <a:gd name="connsiteY97" fmla="*/ 1997343 h 2279843"/>
                <a:gd name="connsiteX98" fmla="*/ 215227 w 7682890"/>
                <a:gd name="connsiteY98" fmla="*/ 2025946 h 2279843"/>
                <a:gd name="connsiteX99" fmla="*/ 198268 w 7682890"/>
                <a:gd name="connsiteY99" fmla="*/ 2027394 h 2279843"/>
                <a:gd name="connsiteX100" fmla="*/ 195236 w 7682890"/>
                <a:gd name="connsiteY100" fmla="*/ 2039524 h 2279843"/>
                <a:gd name="connsiteX101" fmla="*/ 234592 w 7682890"/>
                <a:gd name="connsiteY101" fmla="*/ 2038146 h 2279843"/>
                <a:gd name="connsiteX102" fmla="*/ 1706822 w 7682890"/>
                <a:gd name="connsiteY102" fmla="*/ 2099282 h 2279843"/>
                <a:gd name="connsiteX103" fmla="*/ 1729567 w 7682890"/>
                <a:gd name="connsiteY103" fmla="*/ 2087772 h 2279843"/>
                <a:gd name="connsiteX104" fmla="*/ 1707580 w 7682890"/>
                <a:gd name="connsiteY104" fmla="*/ 2087496 h 2279843"/>
                <a:gd name="connsiteX105" fmla="*/ 1706822 w 7682890"/>
                <a:gd name="connsiteY105" fmla="*/ 2099282 h 2279843"/>
                <a:gd name="connsiteX106" fmla="*/ 3970720 w 7682890"/>
                <a:gd name="connsiteY106" fmla="*/ 2276763 h 2279843"/>
                <a:gd name="connsiteX107" fmla="*/ 3996153 w 7682890"/>
                <a:gd name="connsiteY107" fmla="*/ 2275385 h 2279843"/>
                <a:gd name="connsiteX108" fmla="*/ 3976440 w 7682890"/>
                <a:gd name="connsiteY108" fmla="*/ 2259118 h 2279843"/>
                <a:gd name="connsiteX109" fmla="*/ 3979956 w 7682890"/>
                <a:gd name="connsiteY109" fmla="*/ 2241060 h 2279843"/>
                <a:gd name="connsiteX110" fmla="*/ 3990570 w 7682890"/>
                <a:gd name="connsiteY110" fmla="*/ 2230446 h 2279843"/>
                <a:gd name="connsiteX111" fmla="*/ 3972029 w 7682890"/>
                <a:gd name="connsiteY111" fmla="*/ 2230032 h 2279843"/>
                <a:gd name="connsiteX112" fmla="*/ 3970720 w 7682890"/>
                <a:gd name="connsiteY112" fmla="*/ 2276763 h 2279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7682890" h="2279843">
                  <a:moveTo>
                    <a:pt x="895096" y="10590"/>
                  </a:moveTo>
                  <a:cubicBezTo>
                    <a:pt x="899163" y="9005"/>
                    <a:pt x="907296" y="5766"/>
                    <a:pt x="911363" y="4180"/>
                  </a:cubicBezTo>
                  <a:cubicBezTo>
                    <a:pt x="910053" y="-10156"/>
                    <a:pt x="885240" y="-713"/>
                    <a:pt x="895096" y="10590"/>
                  </a:cubicBezTo>
                  <a:close/>
                  <a:moveTo>
                    <a:pt x="801359" y="82134"/>
                  </a:moveTo>
                  <a:cubicBezTo>
                    <a:pt x="807562" y="93369"/>
                    <a:pt x="812180" y="105293"/>
                    <a:pt x="812731" y="118182"/>
                  </a:cubicBezTo>
                  <a:lnTo>
                    <a:pt x="830445" y="116114"/>
                  </a:lnTo>
                  <a:cubicBezTo>
                    <a:pt x="833616" y="103018"/>
                    <a:pt x="840370" y="89440"/>
                    <a:pt x="833891" y="75931"/>
                  </a:cubicBezTo>
                  <a:cubicBezTo>
                    <a:pt x="829756" y="72967"/>
                    <a:pt x="821485" y="66971"/>
                    <a:pt x="817349" y="63938"/>
                  </a:cubicBezTo>
                  <a:cubicBezTo>
                    <a:pt x="811973" y="70003"/>
                    <a:pt x="806666" y="76069"/>
                    <a:pt x="801359" y="82134"/>
                  </a:cubicBezTo>
                  <a:moveTo>
                    <a:pt x="4413009" y="434477"/>
                  </a:moveTo>
                  <a:cubicBezTo>
                    <a:pt x="4421287" y="441507"/>
                    <a:pt x="4429689" y="448468"/>
                    <a:pt x="4438305" y="455085"/>
                  </a:cubicBezTo>
                  <a:cubicBezTo>
                    <a:pt x="4438925" y="450812"/>
                    <a:pt x="4440166" y="442196"/>
                    <a:pt x="4440717" y="437854"/>
                  </a:cubicBezTo>
                  <a:cubicBezTo>
                    <a:pt x="4441475" y="432892"/>
                    <a:pt x="4442992" y="422897"/>
                    <a:pt x="4443749" y="417935"/>
                  </a:cubicBezTo>
                  <a:cubicBezTo>
                    <a:pt x="4438236" y="418417"/>
                    <a:pt x="4427277" y="419313"/>
                    <a:pt x="4421763" y="419796"/>
                  </a:cubicBezTo>
                  <a:lnTo>
                    <a:pt x="4423348" y="410353"/>
                  </a:lnTo>
                  <a:lnTo>
                    <a:pt x="4436237" y="411870"/>
                  </a:lnTo>
                  <a:lnTo>
                    <a:pt x="4434100" y="403943"/>
                  </a:lnTo>
                  <a:cubicBezTo>
                    <a:pt x="4409908" y="407872"/>
                    <a:pt x="4382407" y="389331"/>
                    <a:pt x="4361385" y="405666"/>
                  </a:cubicBezTo>
                  <a:cubicBezTo>
                    <a:pt x="4366003" y="407596"/>
                    <a:pt x="4375169" y="411456"/>
                    <a:pt x="4379719" y="413386"/>
                  </a:cubicBezTo>
                  <a:cubicBezTo>
                    <a:pt x="4373653" y="423311"/>
                    <a:pt x="4371517" y="434408"/>
                    <a:pt x="4373515" y="446676"/>
                  </a:cubicBezTo>
                  <a:cubicBezTo>
                    <a:pt x="4379994" y="447159"/>
                    <a:pt x="4392952" y="448055"/>
                    <a:pt x="4399362" y="448537"/>
                  </a:cubicBezTo>
                  <a:cubicBezTo>
                    <a:pt x="4404462" y="435373"/>
                    <a:pt x="4400120" y="413868"/>
                    <a:pt x="4416800" y="408837"/>
                  </a:cubicBezTo>
                  <a:cubicBezTo>
                    <a:pt x="4415559" y="417521"/>
                    <a:pt x="4414388" y="425999"/>
                    <a:pt x="4413009" y="434477"/>
                  </a:cubicBezTo>
                  <a:moveTo>
                    <a:pt x="5318334" y="506089"/>
                  </a:moveTo>
                  <a:lnTo>
                    <a:pt x="5319643" y="502299"/>
                  </a:lnTo>
                  <a:cubicBezTo>
                    <a:pt x="5320815" y="499059"/>
                    <a:pt x="5323159" y="492511"/>
                    <a:pt x="5324262" y="489272"/>
                  </a:cubicBezTo>
                  <a:lnTo>
                    <a:pt x="5328673" y="486653"/>
                  </a:lnTo>
                  <a:lnTo>
                    <a:pt x="5332670" y="484171"/>
                  </a:lnTo>
                  <a:lnTo>
                    <a:pt x="5316405" y="467285"/>
                  </a:lnTo>
                  <a:cubicBezTo>
                    <a:pt x="5316680" y="473350"/>
                    <a:pt x="5317369" y="485550"/>
                    <a:pt x="5317645" y="491615"/>
                  </a:cubicBezTo>
                  <a:cubicBezTo>
                    <a:pt x="5315439" y="488376"/>
                    <a:pt x="5311097" y="481966"/>
                    <a:pt x="5308891" y="478726"/>
                  </a:cubicBezTo>
                  <a:cubicBezTo>
                    <a:pt x="5294004" y="484447"/>
                    <a:pt x="5268433" y="475280"/>
                    <a:pt x="5264297" y="496647"/>
                  </a:cubicBezTo>
                  <a:cubicBezTo>
                    <a:pt x="5276566" y="492236"/>
                    <a:pt x="5285388" y="494855"/>
                    <a:pt x="5290558" y="504504"/>
                  </a:cubicBezTo>
                  <a:cubicBezTo>
                    <a:pt x="5299793" y="505056"/>
                    <a:pt x="5309029" y="505607"/>
                    <a:pt x="5318334" y="506089"/>
                  </a:cubicBezTo>
                  <a:moveTo>
                    <a:pt x="6501287" y="568122"/>
                  </a:moveTo>
                  <a:cubicBezTo>
                    <a:pt x="6504872" y="571843"/>
                    <a:pt x="6511971" y="579356"/>
                    <a:pt x="6515555" y="583147"/>
                  </a:cubicBezTo>
                  <a:cubicBezTo>
                    <a:pt x="6514107" y="578460"/>
                    <a:pt x="6511350" y="569224"/>
                    <a:pt x="6509903" y="564606"/>
                  </a:cubicBezTo>
                  <a:cubicBezTo>
                    <a:pt x="6508042" y="563021"/>
                    <a:pt x="6504251" y="559782"/>
                    <a:pt x="6502390" y="558197"/>
                  </a:cubicBezTo>
                  <a:cubicBezTo>
                    <a:pt x="6489708" y="552131"/>
                    <a:pt x="6490466" y="537106"/>
                    <a:pt x="6483505" y="526836"/>
                  </a:cubicBezTo>
                  <a:cubicBezTo>
                    <a:pt x="6482816" y="532419"/>
                    <a:pt x="6481506" y="543584"/>
                    <a:pt x="6480817" y="549167"/>
                  </a:cubicBezTo>
                  <a:cubicBezTo>
                    <a:pt x="6472132" y="553647"/>
                    <a:pt x="6463241" y="557852"/>
                    <a:pt x="6454487" y="561712"/>
                  </a:cubicBezTo>
                  <a:lnTo>
                    <a:pt x="6458348" y="567157"/>
                  </a:lnTo>
                  <a:lnTo>
                    <a:pt x="6468342" y="561505"/>
                  </a:lnTo>
                  <a:cubicBezTo>
                    <a:pt x="6470754" y="565985"/>
                    <a:pt x="6475579" y="575014"/>
                    <a:pt x="6477991" y="579494"/>
                  </a:cubicBezTo>
                  <a:cubicBezTo>
                    <a:pt x="6485573" y="575772"/>
                    <a:pt x="6493499" y="571912"/>
                    <a:pt x="6501287" y="568122"/>
                  </a:cubicBezTo>
                  <a:moveTo>
                    <a:pt x="7643437" y="638563"/>
                  </a:moveTo>
                  <a:cubicBezTo>
                    <a:pt x="7640956" y="662479"/>
                    <a:pt x="7665631" y="645317"/>
                    <a:pt x="7677486" y="647385"/>
                  </a:cubicBezTo>
                  <a:cubicBezTo>
                    <a:pt x="7673144" y="634496"/>
                    <a:pt x="7669353" y="621400"/>
                    <a:pt x="7666252" y="608167"/>
                  </a:cubicBezTo>
                  <a:cubicBezTo>
                    <a:pt x="7659083" y="616920"/>
                    <a:pt x="7652053" y="625398"/>
                    <a:pt x="7644609" y="633669"/>
                  </a:cubicBezTo>
                  <a:cubicBezTo>
                    <a:pt x="7652397" y="632773"/>
                    <a:pt x="7661909" y="630016"/>
                    <a:pt x="7665356" y="639734"/>
                  </a:cubicBezTo>
                  <a:cubicBezTo>
                    <a:pt x="7659910" y="639459"/>
                    <a:pt x="7648951" y="638838"/>
                    <a:pt x="7643437" y="638563"/>
                  </a:cubicBezTo>
                  <a:moveTo>
                    <a:pt x="7527713" y="1140610"/>
                  </a:moveTo>
                  <a:cubicBezTo>
                    <a:pt x="7528678" y="1142539"/>
                    <a:pt x="7530677" y="1146468"/>
                    <a:pt x="7531642" y="1148467"/>
                  </a:cubicBezTo>
                  <a:cubicBezTo>
                    <a:pt x="7535570" y="1148329"/>
                    <a:pt x="7543496" y="1148191"/>
                    <a:pt x="7547425" y="1148122"/>
                  </a:cubicBezTo>
                  <a:cubicBezTo>
                    <a:pt x="7548390" y="1146124"/>
                    <a:pt x="7550389" y="1142057"/>
                    <a:pt x="7551354" y="1140058"/>
                  </a:cubicBezTo>
                  <a:cubicBezTo>
                    <a:pt x="7543290" y="1138886"/>
                    <a:pt x="7535433" y="1139093"/>
                    <a:pt x="7527713" y="1140610"/>
                  </a:cubicBezTo>
                  <a:moveTo>
                    <a:pt x="-5405" y="1706756"/>
                  </a:moveTo>
                  <a:cubicBezTo>
                    <a:pt x="14794" y="1702759"/>
                    <a:pt x="11348" y="1680289"/>
                    <a:pt x="-2714" y="1670640"/>
                  </a:cubicBezTo>
                  <a:cubicBezTo>
                    <a:pt x="-3956" y="1682633"/>
                    <a:pt x="-4853" y="1694695"/>
                    <a:pt x="-5405" y="1706756"/>
                  </a:cubicBezTo>
                  <a:moveTo>
                    <a:pt x="256441" y="2027945"/>
                  </a:moveTo>
                  <a:cubicBezTo>
                    <a:pt x="258233" y="2005200"/>
                    <a:pt x="276911" y="2038628"/>
                    <a:pt x="256441" y="2027945"/>
                  </a:cubicBezTo>
                  <a:moveTo>
                    <a:pt x="233006" y="2028083"/>
                  </a:moveTo>
                  <a:cubicBezTo>
                    <a:pt x="233902" y="2004580"/>
                    <a:pt x="253477" y="2039249"/>
                    <a:pt x="233006" y="2028083"/>
                  </a:cubicBezTo>
                  <a:moveTo>
                    <a:pt x="234592" y="2038146"/>
                  </a:moveTo>
                  <a:cubicBezTo>
                    <a:pt x="267607" y="2050277"/>
                    <a:pt x="303585" y="2039593"/>
                    <a:pt x="336945" y="2049863"/>
                  </a:cubicBezTo>
                  <a:cubicBezTo>
                    <a:pt x="321023" y="2038146"/>
                    <a:pt x="336462" y="2028634"/>
                    <a:pt x="341701" y="2018985"/>
                  </a:cubicBezTo>
                  <a:cubicBezTo>
                    <a:pt x="338116" y="2013540"/>
                    <a:pt x="334601" y="2008095"/>
                    <a:pt x="331086" y="2002581"/>
                  </a:cubicBezTo>
                  <a:cubicBezTo>
                    <a:pt x="340391" y="2013609"/>
                    <a:pt x="351143" y="2023396"/>
                    <a:pt x="364101" y="2030082"/>
                  </a:cubicBezTo>
                  <a:cubicBezTo>
                    <a:pt x="352384" y="2028910"/>
                    <a:pt x="345285" y="2038697"/>
                    <a:pt x="338875" y="2046486"/>
                  </a:cubicBezTo>
                  <a:cubicBezTo>
                    <a:pt x="351764" y="2048623"/>
                    <a:pt x="366100" y="2050621"/>
                    <a:pt x="360793" y="2032356"/>
                  </a:cubicBezTo>
                  <a:cubicBezTo>
                    <a:pt x="364652" y="2032839"/>
                    <a:pt x="372303" y="2033873"/>
                    <a:pt x="376163" y="2034355"/>
                  </a:cubicBezTo>
                  <a:cubicBezTo>
                    <a:pt x="379333" y="2025808"/>
                    <a:pt x="382642" y="2017262"/>
                    <a:pt x="386157" y="2008715"/>
                  </a:cubicBezTo>
                  <a:cubicBezTo>
                    <a:pt x="365824" y="1998859"/>
                    <a:pt x="341494" y="2003684"/>
                    <a:pt x="319782" y="1998101"/>
                  </a:cubicBezTo>
                  <a:cubicBezTo>
                    <a:pt x="319989" y="2003684"/>
                    <a:pt x="320403" y="2014849"/>
                    <a:pt x="320610" y="2020432"/>
                  </a:cubicBezTo>
                  <a:cubicBezTo>
                    <a:pt x="316405" y="2014849"/>
                    <a:pt x="308065" y="2003684"/>
                    <a:pt x="303861" y="1998101"/>
                  </a:cubicBezTo>
                  <a:cubicBezTo>
                    <a:pt x="293178" y="1997894"/>
                    <a:pt x="282563" y="1997618"/>
                    <a:pt x="271949" y="1997274"/>
                  </a:cubicBezTo>
                  <a:cubicBezTo>
                    <a:pt x="271742" y="2000513"/>
                    <a:pt x="271466" y="2006992"/>
                    <a:pt x="271260" y="2010231"/>
                  </a:cubicBezTo>
                  <a:cubicBezTo>
                    <a:pt x="265125" y="2010094"/>
                    <a:pt x="252857" y="2009818"/>
                    <a:pt x="246722" y="2009749"/>
                  </a:cubicBezTo>
                  <a:cubicBezTo>
                    <a:pt x="243276" y="2004097"/>
                    <a:pt x="239347" y="1998859"/>
                    <a:pt x="234798" y="1994034"/>
                  </a:cubicBezTo>
                  <a:cubicBezTo>
                    <a:pt x="211781" y="1991139"/>
                    <a:pt x="188204" y="1989003"/>
                    <a:pt x="165257" y="1993207"/>
                  </a:cubicBezTo>
                  <a:cubicBezTo>
                    <a:pt x="146160" y="1987624"/>
                    <a:pt x="127480" y="1980663"/>
                    <a:pt x="109565" y="1972116"/>
                  </a:cubicBezTo>
                  <a:cubicBezTo>
                    <a:pt x="104048" y="1981421"/>
                    <a:pt x="99431" y="1991070"/>
                    <a:pt x="95707" y="2001203"/>
                  </a:cubicBezTo>
                  <a:cubicBezTo>
                    <a:pt x="99983" y="1998032"/>
                    <a:pt x="108599" y="1991691"/>
                    <a:pt x="112871" y="1988589"/>
                  </a:cubicBezTo>
                  <a:cubicBezTo>
                    <a:pt x="112319" y="1996309"/>
                    <a:pt x="114457" y="2003063"/>
                    <a:pt x="119279" y="2008784"/>
                  </a:cubicBezTo>
                  <a:cubicBezTo>
                    <a:pt x="130517" y="1990519"/>
                    <a:pt x="151262" y="2006509"/>
                    <a:pt x="166975" y="2007681"/>
                  </a:cubicBezTo>
                  <a:cubicBezTo>
                    <a:pt x="160704" y="2031185"/>
                    <a:pt x="135272" y="2012161"/>
                    <a:pt x="119904" y="2011334"/>
                  </a:cubicBezTo>
                  <a:cubicBezTo>
                    <a:pt x="110389" y="2008164"/>
                    <a:pt x="100810" y="2005062"/>
                    <a:pt x="90953" y="2003201"/>
                  </a:cubicBezTo>
                  <a:cubicBezTo>
                    <a:pt x="93228" y="1996860"/>
                    <a:pt x="99226" y="1990106"/>
                    <a:pt x="94399" y="1983282"/>
                  </a:cubicBezTo>
                  <a:cubicBezTo>
                    <a:pt x="89162" y="1970600"/>
                    <a:pt x="90334" y="1953713"/>
                    <a:pt x="75170" y="1947786"/>
                  </a:cubicBezTo>
                  <a:cubicBezTo>
                    <a:pt x="76411" y="1954265"/>
                    <a:pt x="78958" y="1967153"/>
                    <a:pt x="80199" y="1973564"/>
                  </a:cubicBezTo>
                  <a:cubicBezTo>
                    <a:pt x="75926" y="1970876"/>
                    <a:pt x="67448" y="1965568"/>
                    <a:pt x="63173" y="1962880"/>
                  </a:cubicBezTo>
                  <a:cubicBezTo>
                    <a:pt x="51389" y="1964328"/>
                    <a:pt x="39741" y="1966740"/>
                    <a:pt x="28024" y="1968808"/>
                  </a:cubicBezTo>
                  <a:cubicBezTo>
                    <a:pt x="61178" y="2005062"/>
                    <a:pt x="107013" y="2033873"/>
                    <a:pt x="158017" y="2028083"/>
                  </a:cubicBezTo>
                  <a:cubicBezTo>
                    <a:pt x="168493" y="2023948"/>
                    <a:pt x="171802" y="2036630"/>
                    <a:pt x="178005" y="2041730"/>
                  </a:cubicBezTo>
                  <a:cubicBezTo>
                    <a:pt x="176352" y="2036905"/>
                    <a:pt x="173043" y="2027256"/>
                    <a:pt x="171320" y="2022431"/>
                  </a:cubicBezTo>
                  <a:lnTo>
                    <a:pt x="184827" y="2025602"/>
                  </a:lnTo>
                  <a:cubicBezTo>
                    <a:pt x="183382" y="2022156"/>
                    <a:pt x="180555" y="2015263"/>
                    <a:pt x="179106" y="2011817"/>
                  </a:cubicBezTo>
                  <a:cubicBezTo>
                    <a:pt x="182278" y="2008164"/>
                    <a:pt x="188755" y="2000996"/>
                    <a:pt x="191998" y="1997343"/>
                  </a:cubicBezTo>
                  <a:cubicBezTo>
                    <a:pt x="204126" y="2002926"/>
                    <a:pt x="211708" y="2013264"/>
                    <a:pt x="215227" y="2025946"/>
                  </a:cubicBezTo>
                  <a:cubicBezTo>
                    <a:pt x="211019" y="2026291"/>
                    <a:pt x="202473" y="2027049"/>
                    <a:pt x="198268" y="2027394"/>
                  </a:cubicBezTo>
                  <a:cubicBezTo>
                    <a:pt x="197512" y="2030426"/>
                    <a:pt x="195995" y="2036492"/>
                    <a:pt x="195236" y="2039524"/>
                  </a:cubicBezTo>
                  <a:cubicBezTo>
                    <a:pt x="208329" y="2039180"/>
                    <a:pt x="221495" y="2038766"/>
                    <a:pt x="234592" y="2038146"/>
                  </a:cubicBezTo>
                  <a:moveTo>
                    <a:pt x="1706822" y="2099282"/>
                  </a:moveTo>
                  <a:cubicBezTo>
                    <a:pt x="1714059" y="2114790"/>
                    <a:pt x="1726120" y="2096112"/>
                    <a:pt x="1729567" y="2087772"/>
                  </a:cubicBezTo>
                  <a:cubicBezTo>
                    <a:pt x="1724053" y="2087703"/>
                    <a:pt x="1713025" y="2087565"/>
                    <a:pt x="1707580" y="2087496"/>
                  </a:cubicBezTo>
                  <a:cubicBezTo>
                    <a:pt x="1707373" y="2090460"/>
                    <a:pt x="1707028" y="2096318"/>
                    <a:pt x="1706822" y="2099282"/>
                  </a:cubicBezTo>
                  <a:moveTo>
                    <a:pt x="3970720" y="2276763"/>
                  </a:moveTo>
                  <a:cubicBezTo>
                    <a:pt x="3977130" y="2276418"/>
                    <a:pt x="3989812" y="2275729"/>
                    <a:pt x="3996153" y="2275385"/>
                  </a:cubicBezTo>
                  <a:cubicBezTo>
                    <a:pt x="3989536" y="2269940"/>
                    <a:pt x="3982988" y="2264495"/>
                    <a:pt x="3976440" y="2259118"/>
                  </a:cubicBezTo>
                  <a:cubicBezTo>
                    <a:pt x="3977474" y="2253122"/>
                    <a:pt x="3978646" y="2247056"/>
                    <a:pt x="3979956" y="2241060"/>
                  </a:cubicBezTo>
                  <a:cubicBezTo>
                    <a:pt x="3982575" y="2238372"/>
                    <a:pt x="3987882" y="2233134"/>
                    <a:pt x="3990570" y="2230446"/>
                  </a:cubicBezTo>
                  <a:cubicBezTo>
                    <a:pt x="3984298" y="2230377"/>
                    <a:pt x="3978164" y="2230239"/>
                    <a:pt x="3972029" y="2230032"/>
                  </a:cubicBezTo>
                  <a:cubicBezTo>
                    <a:pt x="3972236" y="2245609"/>
                    <a:pt x="3972029" y="2261255"/>
                    <a:pt x="3970720" y="2276763"/>
                  </a:cubicBezTo>
                </a:path>
              </a:pathLst>
            </a:custGeom>
            <a:grpFill/>
            <a:ln w="689" cap="flat">
              <a:noFill/>
              <a:prstDash val="solid"/>
              <a:miter/>
            </a:ln>
          </p:spPr>
          <p:txBody>
            <a:bodyPr rtlCol="0" anchor="ctr"/>
            <a:lstStyle/>
            <a:p>
              <a:endParaRPr lang="en-US" sz="2400" dirty="0"/>
            </a:p>
          </p:txBody>
        </p:sp>
        <p:sp>
          <p:nvSpPr>
            <p:cNvPr id="184" name="Graphic 8">
              <a:extLst>
                <a:ext uri="{FF2B5EF4-FFF2-40B4-BE49-F238E27FC236}">
                  <a16:creationId xmlns:a16="http://schemas.microsoft.com/office/drawing/2014/main" id="{108F944C-C8C0-4304-BF21-B244336883CE}"/>
                </a:ext>
              </a:extLst>
            </p:cNvPr>
            <p:cNvSpPr/>
            <p:nvPr/>
          </p:nvSpPr>
          <p:spPr>
            <a:xfrm flipV="1">
              <a:off x="4531368" y="1522407"/>
              <a:ext cx="110348" cy="48331"/>
            </a:xfrm>
            <a:custGeom>
              <a:avLst/>
              <a:gdLst>
                <a:gd name="connsiteX0" fmla="*/ 14062 w 110348"/>
                <a:gd name="connsiteY0" fmla="*/ 40864 h 48331"/>
                <a:gd name="connsiteX1" fmla="*/ 29777 w 110348"/>
                <a:gd name="connsiteY1" fmla="*/ 43414 h 48331"/>
                <a:gd name="connsiteX2" fmla="*/ 37290 w 110348"/>
                <a:gd name="connsiteY2" fmla="*/ 35419 h 48331"/>
                <a:gd name="connsiteX3" fmla="*/ 54590 w 110348"/>
                <a:gd name="connsiteY3" fmla="*/ 4265 h 48331"/>
                <a:gd name="connsiteX4" fmla="*/ 65549 w 110348"/>
                <a:gd name="connsiteY4" fmla="*/ 888 h 48331"/>
                <a:gd name="connsiteX5" fmla="*/ 61482 w 110348"/>
                <a:gd name="connsiteY5" fmla="*/ 25562 h 48331"/>
                <a:gd name="connsiteX6" fmla="*/ 67134 w 110348"/>
                <a:gd name="connsiteY6" fmla="*/ 23977 h 48331"/>
                <a:gd name="connsiteX7" fmla="*/ 81194 w 110348"/>
                <a:gd name="connsiteY7" fmla="*/ -560 h 48331"/>
                <a:gd name="connsiteX8" fmla="*/ 96289 w 110348"/>
                <a:gd name="connsiteY8" fmla="*/ 17636 h 48331"/>
                <a:gd name="connsiteX9" fmla="*/ 104698 w 110348"/>
                <a:gd name="connsiteY9" fmla="*/ 3162 h 48331"/>
                <a:gd name="connsiteX10" fmla="*/ 41012 w 110348"/>
                <a:gd name="connsiteY10" fmla="*/ -4488 h 48331"/>
                <a:gd name="connsiteX11" fmla="*/ 40047 w 110348"/>
                <a:gd name="connsiteY11" fmla="*/ 21979 h 48331"/>
                <a:gd name="connsiteX12" fmla="*/ 30328 w 110348"/>
                <a:gd name="connsiteY12" fmla="*/ 10744 h 48331"/>
                <a:gd name="connsiteX13" fmla="*/ 29294 w 110348"/>
                <a:gd name="connsiteY13" fmla="*/ 26665 h 48331"/>
                <a:gd name="connsiteX14" fmla="*/ 17026 w 110348"/>
                <a:gd name="connsiteY14" fmla="*/ 35832 h 48331"/>
                <a:gd name="connsiteX15" fmla="*/ 12477 w 110348"/>
                <a:gd name="connsiteY15" fmla="*/ 21772 h 48331"/>
                <a:gd name="connsiteX16" fmla="*/ 9720 w 110348"/>
                <a:gd name="connsiteY16" fmla="*/ 7849 h 48331"/>
                <a:gd name="connsiteX17" fmla="*/ -2135 w 110348"/>
                <a:gd name="connsiteY17" fmla="*/ 6540 h 48331"/>
                <a:gd name="connsiteX18" fmla="*/ -5651 w 110348"/>
                <a:gd name="connsiteY18" fmla="*/ 24598 h 48331"/>
                <a:gd name="connsiteX19" fmla="*/ 14062 w 110348"/>
                <a:gd name="connsiteY19" fmla="*/ 40864 h 48331"/>
                <a:gd name="connsiteX20" fmla="*/ 14062 w 110348"/>
                <a:gd name="connsiteY20" fmla="*/ 40864 h 4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0348" h="48331">
                  <a:moveTo>
                    <a:pt x="14062" y="40864"/>
                  </a:moveTo>
                  <a:cubicBezTo>
                    <a:pt x="17991" y="41553"/>
                    <a:pt x="25848" y="42794"/>
                    <a:pt x="29777" y="43414"/>
                  </a:cubicBezTo>
                  <a:cubicBezTo>
                    <a:pt x="31638" y="41415"/>
                    <a:pt x="35429" y="37418"/>
                    <a:pt x="37290" y="35419"/>
                  </a:cubicBezTo>
                  <a:cubicBezTo>
                    <a:pt x="46043" y="26872"/>
                    <a:pt x="50868" y="15706"/>
                    <a:pt x="54590" y="4265"/>
                  </a:cubicBezTo>
                  <a:cubicBezTo>
                    <a:pt x="57347" y="3369"/>
                    <a:pt x="62792" y="1715"/>
                    <a:pt x="65549" y="888"/>
                  </a:cubicBezTo>
                  <a:cubicBezTo>
                    <a:pt x="64170" y="9159"/>
                    <a:pt x="62792" y="17360"/>
                    <a:pt x="61482" y="25562"/>
                  </a:cubicBezTo>
                  <a:lnTo>
                    <a:pt x="67134" y="23977"/>
                  </a:lnTo>
                  <a:cubicBezTo>
                    <a:pt x="71890" y="15913"/>
                    <a:pt x="76577" y="7711"/>
                    <a:pt x="81194" y="-560"/>
                  </a:cubicBezTo>
                  <a:cubicBezTo>
                    <a:pt x="79816" y="14259"/>
                    <a:pt x="84848" y="20324"/>
                    <a:pt x="96289" y="17636"/>
                  </a:cubicBezTo>
                  <a:cubicBezTo>
                    <a:pt x="98426" y="14052"/>
                    <a:pt x="102630" y="6815"/>
                    <a:pt x="104698" y="3162"/>
                  </a:cubicBezTo>
                  <a:cubicBezTo>
                    <a:pt x="84296" y="-4075"/>
                    <a:pt x="62516" y="-5867"/>
                    <a:pt x="41012" y="-4488"/>
                  </a:cubicBezTo>
                  <a:cubicBezTo>
                    <a:pt x="40598" y="4334"/>
                    <a:pt x="40322" y="13156"/>
                    <a:pt x="40047" y="21979"/>
                  </a:cubicBezTo>
                  <a:cubicBezTo>
                    <a:pt x="37634" y="19153"/>
                    <a:pt x="32741" y="13570"/>
                    <a:pt x="30328" y="10744"/>
                  </a:cubicBezTo>
                  <a:cubicBezTo>
                    <a:pt x="30053" y="14741"/>
                    <a:pt x="29570" y="22668"/>
                    <a:pt x="29294" y="26665"/>
                  </a:cubicBezTo>
                  <a:cubicBezTo>
                    <a:pt x="26262" y="28940"/>
                    <a:pt x="20128" y="33558"/>
                    <a:pt x="17026" y="35832"/>
                  </a:cubicBezTo>
                  <a:cubicBezTo>
                    <a:pt x="15923" y="32317"/>
                    <a:pt x="13648" y="25287"/>
                    <a:pt x="12477" y="21772"/>
                  </a:cubicBezTo>
                  <a:cubicBezTo>
                    <a:pt x="11788" y="18257"/>
                    <a:pt x="10409" y="11295"/>
                    <a:pt x="9720" y="7849"/>
                  </a:cubicBezTo>
                  <a:lnTo>
                    <a:pt x="-2135" y="6540"/>
                  </a:lnTo>
                  <a:cubicBezTo>
                    <a:pt x="-3445" y="12536"/>
                    <a:pt x="-4617" y="18601"/>
                    <a:pt x="-5651" y="24598"/>
                  </a:cubicBezTo>
                  <a:cubicBezTo>
                    <a:pt x="897" y="29974"/>
                    <a:pt x="7445" y="35419"/>
                    <a:pt x="14062" y="40864"/>
                  </a:cubicBezTo>
                  <a:lnTo>
                    <a:pt x="14062" y="40864"/>
                  </a:lnTo>
                </a:path>
              </a:pathLst>
            </a:custGeom>
            <a:grpFill/>
            <a:ln w="689" cap="flat">
              <a:noFill/>
              <a:prstDash val="solid"/>
              <a:miter/>
            </a:ln>
          </p:spPr>
          <p:txBody>
            <a:bodyPr rtlCol="0" anchor="ctr"/>
            <a:lstStyle/>
            <a:p>
              <a:endParaRPr lang="en-US" sz="2400" dirty="0"/>
            </a:p>
          </p:txBody>
        </p:sp>
        <p:sp>
          <p:nvSpPr>
            <p:cNvPr id="185" name="Graphic 8">
              <a:extLst>
                <a:ext uri="{FF2B5EF4-FFF2-40B4-BE49-F238E27FC236}">
                  <a16:creationId xmlns:a16="http://schemas.microsoft.com/office/drawing/2014/main" id="{3F768429-D67A-4AD5-AD47-4637D99D7663}"/>
                </a:ext>
              </a:extLst>
            </p:cNvPr>
            <p:cNvSpPr/>
            <p:nvPr/>
          </p:nvSpPr>
          <p:spPr>
            <a:xfrm flipV="1">
              <a:off x="5096757" y="1524543"/>
              <a:ext cx="2843" cy="2946"/>
            </a:xfrm>
            <a:custGeom>
              <a:avLst/>
              <a:gdLst>
                <a:gd name="connsiteX0" fmla="*/ -6294 w 2843"/>
                <a:gd name="connsiteY0" fmla="*/ -2004 h 2946"/>
                <a:gd name="connsiteX1" fmla="*/ -6294 w 2843"/>
                <a:gd name="connsiteY1" fmla="*/ -2004 h 2946"/>
                <a:gd name="connsiteX2" fmla="*/ -6294 w 2843"/>
                <a:gd name="connsiteY2" fmla="*/ -2004 h 2946"/>
              </a:gdLst>
              <a:ahLst/>
              <a:cxnLst>
                <a:cxn ang="0">
                  <a:pos x="connsiteX0" y="connsiteY0"/>
                </a:cxn>
                <a:cxn ang="0">
                  <a:pos x="connsiteX1" y="connsiteY1"/>
                </a:cxn>
                <a:cxn ang="0">
                  <a:pos x="connsiteX2" y="connsiteY2"/>
                </a:cxn>
              </a:cxnLst>
              <a:rect l="l" t="t" r="r" b="b"/>
              <a:pathLst>
                <a:path w="2843" h="2946">
                  <a:moveTo>
                    <a:pt x="-6294" y="-2004"/>
                  </a:moveTo>
                  <a:cubicBezTo>
                    <a:pt x="-2503" y="-5933"/>
                    <a:pt x="-2503" y="-5933"/>
                    <a:pt x="-6294" y="-2004"/>
                  </a:cubicBezTo>
                  <a:lnTo>
                    <a:pt x="-6294" y="-2004"/>
                  </a:lnTo>
                </a:path>
              </a:pathLst>
            </a:custGeom>
            <a:grpFill/>
            <a:ln w="689" cap="flat">
              <a:noFill/>
              <a:prstDash val="solid"/>
              <a:miter/>
            </a:ln>
          </p:spPr>
          <p:txBody>
            <a:bodyPr rtlCol="0" anchor="ctr"/>
            <a:lstStyle/>
            <a:p>
              <a:endParaRPr lang="en-US" sz="2400" dirty="0"/>
            </a:p>
          </p:txBody>
        </p:sp>
        <p:sp>
          <p:nvSpPr>
            <p:cNvPr id="186" name="Graphic 8">
              <a:extLst>
                <a:ext uri="{FF2B5EF4-FFF2-40B4-BE49-F238E27FC236}">
                  <a16:creationId xmlns:a16="http://schemas.microsoft.com/office/drawing/2014/main" id="{B4C4E622-6F74-4FBB-BE77-D0545FD7404C}"/>
                </a:ext>
              </a:extLst>
            </p:cNvPr>
            <p:cNvSpPr/>
            <p:nvPr/>
          </p:nvSpPr>
          <p:spPr>
            <a:xfrm flipV="1">
              <a:off x="1255684" y="1524543"/>
              <a:ext cx="7463819" cy="2246258"/>
            </a:xfrm>
            <a:custGeom>
              <a:avLst/>
              <a:gdLst>
                <a:gd name="connsiteX0" fmla="*/ 498828 w 7463819"/>
                <a:gd name="connsiteY0" fmla="*/ 8064 h 2246258"/>
                <a:gd name="connsiteX1" fmla="*/ 510063 w 7463819"/>
                <a:gd name="connsiteY1" fmla="*/ -2068 h 2246258"/>
                <a:gd name="connsiteX2" fmla="*/ 498828 w 7463819"/>
                <a:gd name="connsiteY2" fmla="*/ 8064 h 2246258"/>
                <a:gd name="connsiteX3" fmla="*/ -3977 w 7463819"/>
                <a:gd name="connsiteY3" fmla="*/ 43836 h 2246258"/>
                <a:gd name="connsiteX4" fmla="*/ -3977 w 7463819"/>
                <a:gd name="connsiteY4" fmla="*/ 43836 h 2246258"/>
                <a:gd name="connsiteX5" fmla="*/ 1258309 w 7463819"/>
                <a:gd name="connsiteY5" fmla="*/ 623286 h 2246258"/>
                <a:gd name="connsiteX6" fmla="*/ 1258309 w 7463819"/>
                <a:gd name="connsiteY6" fmla="*/ 623286 h 2246258"/>
                <a:gd name="connsiteX7" fmla="*/ 1126387 w 7463819"/>
                <a:gd name="connsiteY7" fmla="*/ 1595330 h 2246258"/>
                <a:gd name="connsiteX8" fmla="*/ 1124871 w 7463819"/>
                <a:gd name="connsiteY8" fmla="*/ 1625036 h 2246258"/>
                <a:gd name="connsiteX9" fmla="*/ 1126387 w 7463819"/>
                <a:gd name="connsiteY9" fmla="*/ 1595330 h 2246258"/>
                <a:gd name="connsiteX10" fmla="*/ 6047950 w 7463819"/>
                <a:gd name="connsiteY10" fmla="*/ 2008533 h 2246258"/>
                <a:gd name="connsiteX11" fmla="*/ 6047950 w 7463819"/>
                <a:gd name="connsiteY11" fmla="*/ 2008533 h 2246258"/>
                <a:gd name="connsiteX12" fmla="*/ 7455184 w 7463819"/>
                <a:gd name="connsiteY12" fmla="*/ 2243152 h 2246258"/>
                <a:gd name="connsiteX13" fmla="*/ 7455184 w 7463819"/>
                <a:gd name="connsiteY13" fmla="*/ 2243152 h 2246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3819" h="2246258">
                  <a:moveTo>
                    <a:pt x="498828" y="8064"/>
                  </a:moveTo>
                  <a:cubicBezTo>
                    <a:pt x="508202" y="10959"/>
                    <a:pt x="511993" y="7582"/>
                    <a:pt x="510063" y="-2068"/>
                  </a:cubicBezTo>
                  <a:cubicBezTo>
                    <a:pt x="500551" y="-5031"/>
                    <a:pt x="496761" y="-1654"/>
                    <a:pt x="498828" y="8064"/>
                  </a:cubicBezTo>
                  <a:close/>
                  <a:moveTo>
                    <a:pt x="-3977" y="43836"/>
                  </a:moveTo>
                  <a:cubicBezTo>
                    <a:pt x="18630" y="42665"/>
                    <a:pt x="-14660" y="22952"/>
                    <a:pt x="-3977" y="43836"/>
                  </a:cubicBezTo>
                  <a:moveTo>
                    <a:pt x="1258309" y="623286"/>
                  </a:moveTo>
                  <a:cubicBezTo>
                    <a:pt x="1281123" y="622183"/>
                    <a:pt x="1247970" y="602470"/>
                    <a:pt x="1258309" y="623286"/>
                  </a:cubicBezTo>
                  <a:moveTo>
                    <a:pt x="1126387" y="1595330"/>
                  </a:moveTo>
                  <a:cubicBezTo>
                    <a:pt x="1106192" y="1591194"/>
                    <a:pt x="1107157" y="1623382"/>
                    <a:pt x="1124871" y="1625036"/>
                  </a:cubicBezTo>
                  <a:cubicBezTo>
                    <a:pt x="1125491" y="1615180"/>
                    <a:pt x="1126042" y="1605255"/>
                    <a:pt x="1126387" y="1595330"/>
                  </a:cubicBezTo>
                  <a:moveTo>
                    <a:pt x="6047950" y="2008533"/>
                  </a:moveTo>
                  <a:cubicBezTo>
                    <a:pt x="6070764" y="2006396"/>
                    <a:pt x="6036233" y="1988476"/>
                    <a:pt x="6047950" y="2008533"/>
                  </a:cubicBezTo>
                  <a:moveTo>
                    <a:pt x="7455184" y="2243152"/>
                  </a:moveTo>
                  <a:cubicBezTo>
                    <a:pt x="7458493" y="2239154"/>
                    <a:pt x="7458493" y="2239154"/>
                    <a:pt x="7455184" y="2243152"/>
                  </a:cubicBezTo>
                </a:path>
              </a:pathLst>
            </a:custGeom>
            <a:grpFill/>
            <a:ln w="689" cap="flat">
              <a:noFill/>
              <a:prstDash val="solid"/>
              <a:miter/>
            </a:ln>
          </p:spPr>
          <p:txBody>
            <a:bodyPr rtlCol="0" anchor="ctr"/>
            <a:lstStyle/>
            <a:p>
              <a:endParaRPr lang="en-US" sz="2400" dirty="0"/>
            </a:p>
          </p:txBody>
        </p:sp>
        <p:sp>
          <p:nvSpPr>
            <p:cNvPr id="187" name="Graphic 8">
              <a:extLst>
                <a:ext uri="{FF2B5EF4-FFF2-40B4-BE49-F238E27FC236}">
                  <a16:creationId xmlns:a16="http://schemas.microsoft.com/office/drawing/2014/main" id="{85FBE834-2768-49A0-81BA-989127C61D78}"/>
                </a:ext>
              </a:extLst>
            </p:cNvPr>
            <p:cNvSpPr/>
            <p:nvPr/>
          </p:nvSpPr>
          <p:spPr>
            <a:xfrm flipV="1">
              <a:off x="1018349" y="1528889"/>
              <a:ext cx="1519030" cy="1050462"/>
            </a:xfrm>
            <a:custGeom>
              <a:avLst/>
              <a:gdLst>
                <a:gd name="connsiteX0" fmla="*/ -2119 w 1519030"/>
                <a:gd name="connsiteY0" fmla="*/ 3968 h 1050462"/>
                <a:gd name="connsiteX1" fmla="*/ -2119 w 1519030"/>
                <a:gd name="connsiteY1" fmla="*/ 3968 h 1050462"/>
                <a:gd name="connsiteX2" fmla="*/ 1507537 w 1519030"/>
                <a:gd name="connsiteY2" fmla="*/ 1044454 h 1050462"/>
                <a:gd name="connsiteX3" fmla="*/ 1507537 w 1519030"/>
                <a:gd name="connsiteY3" fmla="*/ 1044454 h 1050462"/>
              </a:gdLst>
              <a:ahLst/>
              <a:cxnLst>
                <a:cxn ang="0">
                  <a:pos x="connsiteX0" y="connsiteY0"/>
                </a:cxn>
                <a:cxn ang="0">
                  <a:pos x="connsiteX1" y="connsiteY1"/>
                </a:cxn>
                <a:cxn ang="0">
                  <a:pos x="connsiteX2" y="connsiteY2"/>
                </a:cxn>
                <a:cxn ang="0">
                  <a:pos x="connsiteX3" y="connsiteY3"/>
                </a:cxn>
              </a:cxnLst>
              <a:rect l="l" t="t" r="r" b="b"/>
              <a:pathLst>
                <a:path w="1519030" h="1050462">
                  <a:moveTo>
                    <a:pt x="-2119" y="3968"/>
                  </a:moveTo>
                  <a:cubicBezTo>
                    <a:pt x="18352" y="15065"/>
                    <a:pt x="-671" y="-18777"/>
                    <a:pt x="-2119" y="3968"/>
                  </a:cubicBezTo>
                  <a:close/>
                  <a:moveTo>
                    <a:pt x="1507537" y="1044454"/>
                  </a:moveTo>
                  <a:cubicBezTo>
                    <a:pt x="1528352" y="1054379"/>
                    <a:pt x="1508089" y="1021571"/>
                    <a:pt x="1507537" y="1044454"/>
                  </a:cubicBezTo>
                </a:path>
              </a:pathLst>
            </a:custGeom>
            <a:grpFill/>
            <a:ln w="689" cap="flat">
              <a:noFill/>
              <a:prstDash val="solid"/>
              <a:miter/>
            </a:ln>
          </p:spPr>
          <p:txBody>
            <a:bodyPr rtlCol="0" anchor="ctr"/>
            <a:lstStyle/>
            <a:p>
              <a:endParaRPr lang="en-US" sz="2400" dirty="0"/>
            </a:p>
          </p:txBody>
        </p:sp>
        <p:sp>
          <p:nvSpPr>
            <p:cNvPr id="188" name="Graphic 8">
              <a:extLst>
                <a:ext uri="{FF2B5EF4-FFF2-40B4-BE49-F238E27FC236}">
                  <a16:creationId xmlns:a16="http://schemas.microsoft.com/office/drawing/2014/main" id="{962BBF4F-15F6-45E0-83E2-17DF957D3062}"/>
                </a:ext>
              </a:extLst>
            </p:cNvPr>
            <p:cNvSpPr/>
            <p:nvPr/>
          </p:nvSpPr>
          <p:spPr>
            <a:xfrm flipV="1">
              <a:off x="2878212" y="1527597"/>
              <a:ext cx="5759613" cy="1780568"/>
            </a:xfrm>
            <a:custGeom>
              <a:avLst/>
              <a:gdLst>
                <a:gd name="connsiteX0" fmla="*/ 5550337 w 5759613"/>
                <a:gd name="connsiteY0" fmla="*/ 21871 h 1780568"/>
                <a:gd name="connsiteX1" fmla="*/ 5542686 w 5759613"/>
                <a:gd name="connsiteY1" fmla="*/ -2735 h 1780568"/>
                <a:gd name="connsiteX2" fmla="*/ 5550337 w 5759613"/>
                <a:gd name="connsiteY2" fmla="*/ 21871 h 1780568"/>
                <a:gd name="connsiteX3" fmla="*/ 4230361 w 5759613"/>
                <a:gd name="connsiteY3" fmla="*/ 81973 h 1780568"/>
                <a:gd name="connsiteX4" fmla="*/ 4251177 w 5759613"/>
                <a:gd name="connsiteY4" fmla="*/ 79699 h 1780568"/>
                <a:gd name="connsiteX5" fmla="*/ 4252417 w 5759613"/>
                <a:gd name="connsiteY5" fmla="*/ 71910 h 1780568"/>
                <a:gd name="connsiteX6" fmla="*/ 4268201 w 5759613"/>
                <a:gd name="connsiteY6" fmla="*/ 63639 h 1780568"/>
                <a:gd name="connsiteX7" fmla="*/ 4272061 w 5759613"/>
                <a:gd name="connsiteY7" fmla="*/ 66534 h 1780568"/>
                <a:gd name="connsiteX8" fmla="*/ 4272543 w 5759613"/>
                <a:gd name="connsiteY8" fmla="*/ 45167 h 1780568"/>
                <a:gd name="connsiteX9" fmla="*/ 4196313 w 5759613"/>
                <a:gd name="connsiteY9" fmla="*/ 40274 h 1780568"/>
                <a:gd name="connsiteX10" fmla="*/ 4214785 w 5759613"/>
                <a:gd name="connsiteY10" fmla="*/ 47718 h 1780568"/>
                <a:gd name="connsiteX11" fmla="*/ 4223056 w 5759613"/>
                <a:gd name="connsiteY11" fmla="*/ 50544 h 1780568"/>
                <a:gd name="connsiteX12" fmla="*/ 4230361 w 5759613"/>
                <a:gd name="connsiteY12" fmla="*/ 81973 h 1780568"/>
                <a:gd name="connsiteX13" fmla="*/ 426687 w 5759613"/>
                <a:gd name="connsiteY13" fmla="*/ 257180 h 1780568"/>
                <a:gd name="connsiteX14" fmla="*/ 426687 w 5759613"/>
                <a:gd name="connsiteY14" fmla="*/ 257180 h 1780568"/>
                <a:gd name="connsiteX15" fmla="*/ 4183562 w 5759613"/>
                <a:gd name="connsiteY15" fmla="*/ 678516 h 1780568"/>
                <a:gd name="connsiteX16" fmla="*/ 4195141 w 5759613"/>
                <a:gd name="connsiteY16" fmla="*/ 667005 h 1780568"/>
                <a:gd name="connsiteX17" fmla="*/ 4183562 w 5759613"/>
                <a:gd name="connsiteY17" fmla="*/ 678516 h 1780568"/>
                <a:gd name="connsiteX18" fmla="*/ -6022 w 5759613"/>
                <a:gd name="connsiteY18" fmla="*/ 1220057 h 1780568"/>
                <a:gd name="connsiteX19" fmla="*/ 5971 w 5759613"/>
                <a:gd name="connsiteY19" fmla="*/ 1198690 h 1780568"/>
                <a:gd name="connsiteX20" fmla="*/ -6022 w 5759613"/>
                <a:gd name="connsiteY20" fmla="*/ 1220057 h 1780568"/>
                <a:gd name="connsiteX21" fmla="*/ 5743808 w 5759613"/>
                <a:gd name="connsiteY21" fmla="*/ 1468874 h 1780568"/>
                <a:gd name="connsiteX22" fmla="*/ 5745876 w 5759613"/>
                <a:gd name="connsiteY22" fmla="*/ 1446198 h 1780568"/>
                <a:gd name="connsiteX23" fmla="*/ 5743808 w 5759613"/>
                <a:gd name="connsiteY23" fmla="*/ 1468874 h 1780568"/>
                <a:gd name="connsiteX24" fmla="*/ 61593 w 5759613"/>
                <a:gd name="connsiteY24" fmla="*/ 1773590 h 1780568"/>
                <a:gd name="connsiteX25" fmla="*/ 79169 w 5759613"/>
                <a:gd name="connsiteY25" fmla="*/ 1762838 h 1780568"/>
                <a:gd name="connsiteX26" fmla="*/ 61593 w 5759613"/>
                <a:gd name="connsiteY26" fmla="*/ 1773590 h 1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59613" h="1780568">
                  <a:moveTo>
                    <a:pt x="5550337" y="21871"/>
                  </a:moveTo>
                  <a:cubicBezTo>
                    <a:pt x="5563640" y="20423"/>
                    <a:pt x="5555024" y="-8456"/>
                    <a:pt x="5542686" y="-2735"/>
                  </a:cubicBezTo>
                  <a:cubicBezTo>
                    <a:pt x="5538275" y="5467"/>
                    <a:pt x="5543237" y="16770"/>
                    <a:pt x="5550337" y="21871"/>
                  </a:cubicBezTo>
                  <a:close/>
                  <a:moveTo>
                    <a:pt x="4230361" y="81973"/>
                  </a:moveTo>
                  <a:cubicBezTo>
                    <a:pt x="4235600" y="81353"/>
                    <a:pt x="4246007" y="80250"/>
                    <a:pt x="4251177" y="79699"/>
                  </a:cubicBezTo>
                  <a:lnTo>
                    <a:pt x="4252417" y="71910"/>
                  </a:lnTo>
                  <a:cubicBezTo>
                    <a:pt x="4248282" y="57781"/>
                    <a:pt x="4265030" y="42824"/>
                    <a:pt x="4268201" y="63639"/>
                  </a:cubicBezTo>
                  <a:lnTo>
                    <a:pt x="4272061" y="66534"/>
                  </a:lnTo>
                  <a:cubicBezTo>
                    <a:pt x="4272130" y="61227"/>
                    <a:pt x="4272405" y="50475"/>
                    <a:pt x="4272543" y="45167"/>
                  </a:cubicBezTo>
                  <a:cubicBezTo>
                    <a:pt x="4247524" y="40412"/>
                    <a:pt x="4221677" y="36896"/>
                    <a:pt x="4196313" y="40274"/>
                  </a:cubicBezTo>
                  <a:cubicBezTo>
                    <a:pt x="4202447" y="42686"/>
                    <a:pt x="4208512" y="45236"/>
                    <a:pt x="4214785" y="47718"/>
                  </a:cubicBezTo>
                  <a:cubicBezTo>
                    <a:pt x="4216852" y="48407"/>
                    <a:pt x="4220988" y="49854"/>
                    <a:pt x="4223056" y="50544"/>
                  </a:cubicBezTo>
                  <a:cubicBezTo>
                    <a:pt x="4226502" y="60813"/>
                    <a:pt x="4228845" y="71359"/>
                    <a:pt x="4230361" y="81973"/>
                  </a:cubicBezTo>
                  <a:moveTo>
                    <a:pt x="426687" y="257180"/>
                  </a:moveTo>
                  <a:cubicBezTo>
                    <a:pt x="449363" y="257042"/>
                    <a:pt x="416900" y="236020"/>
                    <a:pt x="426687" y="257180"/>
                  </a:cubicBezTo>
                  <a:moveTo>
                    <a:pt x="4183562" y="678516"/>
                  </a:moveTo>
                  <a:cubicBezTo>
                    <a:pt x="4194727" y="682100"/>
                    <a:pt x="4198587" y="678240"/>
                    <a:pt x="4195141" y="667005"/>
                  </a:cubicBezTo>
                  <a:cubicBezTo>
                    <a:pt x="4183906" y="663559"/>
                    <a:pt x="4180046" y="667350"/>
                    <a:pt x="4183562" y="678516"/>
                  </a:cubicBezTo>
                  <a:moveTo>
                    <a:pt x="-6022" y="1220057"/>
                  </a:moveTo>
                  <a:cubicBezTo>
                    <a:pt x="3903" y="1223227"/>
                    <a:pt x="12588" y="1206134"/>
                    <a:pt x="5971" y="1198690"/>
                  </a:cubicBezTo>
                  <a:cubicBezTo>
                    <a:pt x="-3609" y="1197105"/>
                    <a:pt x="-9744" y="1212544"/>
                    <a:pt x="-6022" y="1220057"/>
                  </a:cubicBezTo>
                  <a:moveTo>
                    <a:pt x="5743808" y="1468874"/>
                  </a:moveTo>
                  <a:cubicBezTo>
                    <a:pt x="5757180" y="1476318"/>
                    <a:pt x="5752838" y="1450334"/>
                    <a:pt x="5745876" y="1446198"/>
                  </a:cubicBezTo>
                  <a:cubicBezTo>
                    <a:pt x="5735813" y="1447025"/>
                    <a:pt x="5738294" y="1463705"/>
                    <a:pt x="5743808" y="1468874"/>
                  </a:cubicBezTo>
                  <a:moveTo>
                    <a:pt x="61593" y="1773590"/>
                  </a:moveTo>
                  <a:cubicBezTo>
                    <a:pt x="68279" y="1782344"/>
                    <a:pt x="87371" y="1773108"/>
                    <a:pt x="79169" y="1762838"/>
                  </a:cubicBezTo>
                  <a:cubicBezTo>
                    <a:pt x="72208" y="1754084"/>
                    <a:pt x="52840" y="1762907"/>
                    <a:pt x="61593" y="1773590"/>
                  </a:cubicBezTo>
                </a:path>
              </a:pathLst>
            </a:custGeom>
            <a:grpFill/>
            <a:ln w="689" cap="flat">
              <a:noFill/>
              <a:prstDash val="solid"/>
              <a:miter/>
            </a:ln>
          </p:spPr>
          <p:txBody>
            <a:bodyPr rtlCol="0" anchor="ctr"/>
            <a:lstStyle/>
            <a:p>
              <a:endParaRPr lang="en-US" sz="2400" dirty="0"/>
            </a:p>
          </p:txBody>
        </p:sp>
        <p:sp>
          <p:nvSpPr>
            <p:cNvPr id="189" name="Graphic 8">
              <a:extLst>
                <a:ext uri="{FF2B5EF4-FFF2-40B4-BE49-F238E27FC236}">
                  <a16:creationId xmlns:a16="http://schemas.microsoft.com/office/drawing/2014/main" id="{2152751C-F3CD-4D24-91B4-AFADDCF1749B}"/>
                </a:ext>
              </a:extLst>
            </p:cNvPr>
            <p:cNvSpPr/>
            <p:nvPr/>
          </p:nvSpPr>
          <p:spPr>
            <a:xfrm flipV="1">
              <a:off x="3523553" y="1528679"/>
              <a:ext cx="952400" cy="2034585"/>
            </a:xfrm>
            <a:custGeom>
              <a:avLst/>
              <a:gdLst>
                <a:gd name="connsiteX0" fmla="*/ -1397 w 952400"/>
                <a:gd name="connsiteY0" fmla="*/ 6789 h 2034585"/>
                <a:gd name="connsiteX1" fmla="*/ -4913 w 952400"/>
                <a:gd name="connsiteY1" fmla="*/ 1343 h 2034585"/>
                <a:gd name="connsiteX2" fmla="*/ -1397 w 952400"/>
                <a:gd name="connsiteY2" fmla="*/ 6789 h 2034585"/>
                <a:gd name="connsiteX3" fmla="*/ 889522 w 952400"/>
                <a:gd name="connsiteY3" fmla="*/ 2029313 h 2034585"/>
                <a:gd name="connsiteX4" fmla="*/ 947488 w 952400"/>
                <a:gd name="connsiteY4" fmla="*/ 2031312 h 2034585"/>
                <a:gd name="connsiteX5" fmla="*/ 946385 w 952400"/>
                <a:gd name="connsiteY5" fmla="*/ 1995746 h 2034585"/>
                <a:gd name="connsiteX6" fmla="*/ 925225 w 952400"/>
                <a:gd name="connsiteY6" fmla="*/ 2005396 h 2034585"/>
                <a:gd name="connsiteX7" fmla="*/ 918815 w 952400"/>
                <a:gd name="connsiteY7" fmla="*/ 1984305 h 2034585"/>
                <a:gd name="connsiteX8" fmla="*/ 887661 w 952400"/>
                <a:gd name="connsiteY8" fmla="*/ 1980997 h 2034585"/>
                <a:gd name="connsiteX9" fmla="*/ 911440 w 952400"/>
                <a:gd name="connsiteY9" fmla="*/ 1997883 h 2034585"/>
                <a:gd name="connsiteX10" fmla="*/ 910131 w 952400"/>
                <a:gd name="connsiteY10" fmla="*/ 2015183 h 2034585"/>
                <a:gd name="connsiteX11" fmla="*/ 888695 w 952400"/>
                <a:gd name="connsiteY11" fmla="*/ 2007119 h 2034585"/>
                <a:gd name="connsiteX12" fmla="*/ 889522 w 952400"/>
                <a:gd name="connsiteY12" fmla="*/ 2029313 h 203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52400" h="2034585">
                  <a:moveTo>
                    <a:pt x="-1397" y="6789"/>
                  </a:moveTo>
                  <a:cubicBezTo>
                    <a:pt x="15971" y="10579"/>
                    <a:pt x="1566" y="-12855"/>
                    <a:pt x="-4913" y="1343"/>
                  </a:cubicBezTo>
                  <a:lnTo>
                    <a:pt x="-1397" y="6789"/>
                  </a:lnTo>
                  <a:close/>
                  <a:moveTo>
                    <a:pt x="889522" y="2029313"/>
                  </a:moveTo>
                  <a:cubicBezTo>
                    <a:pt x="908821" y="2029037"/>
                    <a:pt x="928120" y="2030209"/>
                    <a:pt x="947488" y="2031312"/>
                  </a:cubicBezTo>
                  <a:cubicBezTo>
                    <a:pt x="947074" y="2019456"/>
                    <a:pt x="946729" y="2007602"/>
                    <a:pt x="946385" y="1995746"/>
                  </a:cubicBezTo>
                  <a:cubicBezTo>
                    <a:pt x="939286" y="1998986"/>
                    <a:pt x="932255" y="2002156"/>
                    <a:pt x="925225" y="2005396"/>
                  </a:cubicBezTo>
                  <a:cubicBezTo>
                    <a:pt x="923019" y="1998365"/>
                    <a:pt x="920883" y="1991335"/>
                    <a:pt x="918815" y="1984305"/>
                  </a:cubicBezTo>
                  <a:cubicBezTo>
                    <a:pt x="908408" y="1982857"/>
                    <a:pt x="898000" y="1981755"/>
                    <a:pt x="887661" y="1980997"/>
                  </a:cubicBezTo>
                  <a:cubicBezTo>
                    <a:pt x="895312" y="1986924"/>
                    <a:pt x="903307" y="1992507"/>
                    <a:pt x="911440" y="1997883"/>
                  </a:cubicBezTo>
                  <a:cubicBezTo>
                    <a:pt x="911096" y="2002225"/>
                    <a:pt x="910475" y="2010841"/>
                    <a:pt x="910131" y="2015183"/>
                  </a:cubicBezTo>
                  <a:cubicBezTo>
                    <a:pt x="904754" y="2013184"/>
                    <a:pt x="894071" y="2009118"/>
                    <a:pt x="888695" y="2007119"/>
                  </a:cubicBezTo>
                  <a:cubicBezTo>
                    <a:pt x="888902" y="2012633"/>
                    <a:pt x="889315" y="2023799"/>
                    <a:pt x="889522" y="2029313"/>
                  </a:cubicBezTo>
                </a:path>
              </a:pathLst>
            </a:custGeom>
            <a:grpFill/>
            <a:ln w="689" cap="flat">
              <a:noFill/>
              <a:prstDash val="solid"/>
              <a:miter/>
            </a:ln>
          </p:spPr>
          <p:txBody>
            <a:bodyPr rtlCol="0" anchor="ctr"/>
            <a:lstStyle/>
            <a:p>
              <a:endParaRPr lang="en-US" sz="2400" dirty="0"/>
            </a:p>
          </p:txBody>
        </p:sp>
        <p:sp>
          <p:nvSpPr>
            <p:cNvPr id="190" name="Graphic 8">
              <a:extLst>
                <a:ext uri="{FF2B5EF4-FFF2-40B4-BE49-F238E27FC236}">
                  <a16:creationId xmlns:a16="http://schemas.microsoft.com/office/drawing/2014/main" id="{AEAD690B-780F-42EC-8E00-61CF8E355F06}"/>
                </a:ext>
              </a:extLst>
            </p:cNvPr>
            <p:cNvSpPr/>
            <p:nvPr/>
          </p:nvSpPr>
          <p:spPr>
            <a:xfrm flipV="1">
              <a:off x="8731290" y="1531918"/>
              <a:ext cx="2739" cy="2687"/>
            </a:xfrm>
            <a:custGeom>
              <a:avLst/>
              <a:gdLst>
                <a:gd name="connsiteX0" fmla="*/ -10864 w 2739"/>
                <a:gd name="connsiteY0" fmla="*/ -2251 h 2687"/>
                <a:gd name="connsiteX1" fmla="*/ -10864 w 2739"/>
                <a:gd name="connsiteY1" fmla="*/ -2251 h 2687"/>
                <a:gd name="connsiteX2" fmla="*/ -10864 w 2739"/>
                <a:gd name="connsiteY2" fmla="*/ -2251 h 2687"/>
              </a:gdLst>
              <a:ahLst/>
              <a:cxnLst>
                <a:cxn ang="0">
                  <a:pos x="connsiteX0" y="connsiteY0"/>
                </a:cxn>
                <a:cxn ang="0">
                  <a:pos x="connsiteX1" y="connsiteY1"/>
                </a:cxn>
                <a:cxn ang="0">
                  <a:pos x="connsiteX2" y="connsiteY2"/>
                </a:cxn>
              </a:cxnLst>
              <a:rect l="l" t="t" r="r" b="b"/>
              <a:pathLst>
                <a:path w="2739" h="2687">
                  <a:moveTo>
                    <a:pt x="-10864" y="-2251"/>
                  </a:moveTo>
                  <a:cubicBezTo>
                    <a:pt x="-7211" y="-5835"/>
                    <a:pt x="-7211" y="-5835"/>
                    <a:pt x="-10864" y="-2251"/>
                  </a:cubicBezTo>
                  <a:lnTo>
                    <a:pt x="-10864" y="-2251"/>
                  </a:lnTo>
                </a:path>
              </a:pathLst>
            </a:custGeom>
            <a:grpFill/>
            <a:ln w="689" cap="flat">
              <a:noFill/>
              <a:prstDash val="solid"/>
              <a:miter/>
            </a:ln>
          </p:spPr>
          <p:txBody>
            <a:bodyPr rtlCol="0" anchor="ctr"/>
            <a:lstStyle/>
            <a:p>
              <a:endParaRPr lang="en-US" sz="2400" dirty="0"/>
            </a:p>
          </p:txBody>
        </p:sp>
        <p:sp>
          <p:nvSpPr>
            <p:cNvPr id="191" name="Graphic 8">
              <a:extLst>
                <a:ext uri="{FF2B5EF4-FFF2-40B4-BE49-F238E27FC236}">
                  <a16:creationId xmlns:a16="http://schemas.microsoft.com/office/drawing/2014/main" id="{D7E6D065-3C71-4BF2-98F6-FBDFEB141DD4}"/>
                </a:ext>
              </a:extLst>
            </p:cNvPr>
            <p:cNvSpPr/>
            <p:nvPr/>
          </p:nvSpPr>
          <p:spPr>
            <a:xfrm flipV="1">
              <a:off x="1547897" y="1535559"/>
              <a:ext cx="9547" cy="10281"/>
            </a:xfrm>
            <a:custGeom>
              <a:avLst/>
              <a:gdLst>
                <a:gd name="connsiteX0" fmla="*/ -1836 w 9547"/>
                <a:gd name="connsiteY0" fmla="*/ 3137 h 10281"/>
                <a:gd name="connsiteX1" fmla="*/ -1836 w 9547"/>
                <a:gd name="connsiteY1" fmla="*/ 3137 h 10281"/>
                <a:gd name="connsiteX2" fmla="*/ -1836 w 9547"/>
                <a:gd name="connsiteY2" fmla="*/ 3137 h 10281"/>
              </a:gdLst>
              <a:ahLst/>
              <a:cxnLst>
                <a:cxn ang="0">
                  <a:pos x="connsiteX0" y="connsiteY0"/>
                </a:cxn>
                <a:cxn ang="0">
                  <a:pos x="connsiteX1" y="connsiteY1"/>
                </a:cxn>
                <a:cxn ang="0">
                  <a:pos x="connsiteX2" y="connsiteY2"/>
                </a:cxn>
              </a:cxnLst>
              <a:rect l="l" t="t" r="r" b="b"/>
              <a:pathLst>
                <a:path w="9547" h="10281">
                  <a:moveTo>
                    <a:pt x="-1836" y="3137"/>
                  </a:moveTo>
                  <a:cubicBezTo>
                    <a:pt x="19048" y="13958"/>
                    <a:pt x="-664" y="-19539"/>
                    <a:pt x="-1836" y="3137"/>
                  </a:cubicBezTo>
                  <a:lnTo>
                    <a:pt x="-1836" y="3137"/>
                  </a:lnTo>
                </a:path>
              </a:pathLst>
            </a:custGeom>
            <a:grpFill/>
            <a:ln w="689" cap="flat">
              <a:noFill/>
              <a:prstDash val="solid"/>
              <a:miter/>
            </a:ln>
          </p:spPr>
          <p:txBody>
            <a:bodyPr rtlCol="0" anchor="ctr"/>
            <a:lstStyle/>
            <a:p>
              <a:endParaRPr lang="en-US" sz="2400" dirty="0"/>
            </a:p>
          </p:txBody>
        </p:sp>
        <p:sp>
          <p:nvSpPr>
            <p:cNvPr id="192" name="Graphic 8">
              <a:extLst>
                <a:ext uri="{FF2B5EF4-FFF2-40B4-BE49-F238E27FC236}">
                  <a16:creationId xmlns:a16="http://schemas.microsoft.com/office/drawing/2014/main" id="{DA2311A1-6EF8-410E-8319-BB3891C6404F}"/>
                </a:ext>
              </a:extLst>
            </p:cNvPr>
            <p:cNvSpPr/>
            <p:nvPr/>
          </p:nvSpPr>
          <p:spPr>
            <a:xfrm flipV="1">
              <a:off x="892264" y="1536531"/>
              <a:ext cx="7712339" cy="1770953"/>
            </a:xfrm>
            <a:custGeom>
              <a:avLst/>
              <a:gdLst>
                <a:gd name="connsiteX0" fmla="*/ 7692498 w 7712339"/>
                <a:gd name="connsiteY0" fmla="*/ 40496 h 1770953"/>
                <a:gd name="connsiteX1" fmla="*/ 7705387 w 7712339"/>
                <a:gd name="connsiteY1" fmla="*/ -3477 h 1770953"/>
                <a:gd name="connsiteX2" fmla="*/ 7694910 w 7712339"/>
                <a:gd name="connsiteY2" fmla="*/ 3277 h 1770953"/>
                <a:gd name="connsiteX3" fmla="*/ 7692498 w 7712339"/>
                <a:gd name="connsiteY3" fmla="*/ 40496 h 1770953"/>
                <a:gd name="connsiteX4" fmla="*/ 1539734 w 7712339"/>
                <a:gd name="connsiteY4" fmla="*/ 1069748 h 1770953"/>
                <a:gd name="connsiteX5" fmla="*/ 1539734 w 7712339"/>
                <a:gd name="connsiteY5" fmla="*/ 1069748 h 1770953"/>
                <a:gd name="connsiteX6" fmla="*/ -4178 w 7712339"/>
                <a:gd name="connsiteY6" fmla="*/ 1145634 h 1770953"/>
                <a:gd name="connsiteX7" fmla="*/ 6368 w 7712339"/>
                <a:gd name="connsiteY7" fmla="*/ 1133710 h 1770953"/>
                <a:gd name="connsiteX8" fmla="*/ -4178 w 7712339"/>
                <a:gd name="connsiteY8" fmla="*/ 1145634 h 1770953"/>
                <a:gd name="connsiteX9" fmla="*/ 843457 w 7712339"/>
                <a:gd name="connsiteY9" fmla="*/ 1765335 h 1770953"/>
                <a:gd name="connsiteX10" fmla="*/ 843457 w 7712339"/>
                <a:gd name="connsiteY10" fmla="*/ 1765335 h 177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12339" h="1770953">
                  <a:moveTo>
                    <a:pt x="7692498" y="40496"/>
                  </a:moveTo>
                  <a:cubicBezTo>
                    <a:pt x="7707523" y="30640"/>
                    <a:pt x="7707730" y="12444"/>
                    <a:pt x="7705387" y="-3477"/>
                  </a:cubicBezTo>
                  <a:cubicBezTo>
                    <a:pt x="7702767" y="-1823"/>
                    <a:pt x="7697529" y="1623"/>
                    <a:pt x="7694910" y="3277"/>
                  </a:cubicBezTo>
                  <a:cubicBezTo>
                    <a:pt x="7693807" y="15684"/>
                    <a:pt x="7692842" y="28159"/>
                    <a:pt x="7692498" y="40496"/>
                  </a:cubicBezTo>
                  <a:close/>
                  <a:moveTo>
                    <a:pt x="1539734" y="1069748"/>
                  </a:moveTo>
                  <a:cubicBezTo>
                    <a:pt x="1542836" y="1065819"/>
                    <a:pt x="1542836" y="1065819"/>
                    <a:pt x="1539734" y="1069748"/>
                  </a:cubicBezTo>
                  <a:moveTo>
                    <a:pt x="-4178" y="1145634"/>
                  </a:moveTo>
                  <a:cubicBezTo>
                    <a:pt x="6919" y="1149080"/>
                    <a:pt x="10434" y="1145083"/>
                    <a:pt x="6368" y="1133710"/>
                  </a:cubicBezTo>
                  <a:cubicBezTo>
                    <a:pt x="-4798" y="1130264"/>
                    <a:pt x="-8313" y="1134261"/>
                    <a:pt x="-4178" y="1145634"/>
                  </a:cubicBezTo>
                  <a:moveTo>
                    <a:pt x="843457" y="1765335"/>
                  </a:moveTo>
                  <a:cubicBezTo>
                    <a:pt x="863997" y="1775950"/>
                    <a:pt x="844698" y="1742452"/>
                    <a:pt x="843457" y="1765335"/>
                  </a:cubicBezTo>
                </a:path>
              </a:pathLst>
            </a:custGeom>
            <a:grpFill/>
            <a:ln w="689" cap="flat">
              <a:noFill/>
              <a:prstDash val="solid"/>
              <a:miter/>
            </a:ln>
          </p:spPr>
          <p:txBody>
            <a:bodyPr rtlCol="0" anchor="ctr"/>
            <a:lstStyle/>
            <a:p>
              <a:endParaRPr lang="en-US" sz="2400" dirty="0"/>
            </a:p>
          </p:txBody>
        </p:sp>
        <p:sp>
          <p:nvSpPr>
            <p:cNvPr id="193" name="Graphic 8">
              <a:extLst>
                <a:ext uri="{FF2B5EF4-FFF2-40B4-BE49-F238E27FC236}">
                  <a16:creationId xmlns:a16="http://schemas.microsoft.com/office/drawing/2014/main" id="{40B16512-27D8-42B4-8F9D-CFD4E6483289}"/>
                </a:ext>
              </a:extLst>
            </p:cNvPr>
            <p:cNvSpPr/>
            <p:nvPr/>
          </p:nvSpPr>
          <p:spPr>
            <a:xfrm flipV="1">
              <a:off x="2208540" y="1534922"/>
              <a:ext cx="3381924" cy="1211844"/>
            </a:xfrm>
            <a:custGeom>
              <a:avLst/>
              <a:gdLst>
                <a:gd name="connsiteX0" fmla="*/ 3374036 w 3381924"/>
                <a:gd name="connsiteY0" fmla="*/ -993 h 1211844"/>
                <a:gd name="connsiteX1" fmla="*/ 3374036 w 3381924"/>
                <a:gd name="connsiteY1" fmla="*/ -993 h 1211844"/>
                <a:gd name="connsiteX2" fmla="*/ -4787 w 3381924"/>
                <a:gd name="connsiteY2" fmla="*/ 1203740 h 1211844"/>
                <a:gd name="connsiteX3" fmla="*/ 20853 w 3381924"/>
                <a:gd name="connsiteY3" fmla="*/ 1204843 h 1211844"/>
                <a:gd name="connsiteX4" fmla="*/ -3822 w 3381924"/>
                <a:gd name="connsiteY4" fmla="*/ 1201259 h 1211844"/>
                <a:gd name="connsiteX5" fmla="*/ -4787 w 3381924"/>
                <a:gd name="connsiteY5" fmla="*/ 1203740 h 121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1924" h="1211844">
                  <a:moveTo>
                    <a:pt x="3374036" y="-993"/>
                  </a:moveTo>
                  <a:cubicBezTo>
                    <a:pt x="3378172" y="-4922"/>
                    <a:pt x="3378172" y="-4922"/>
                    <a:pt x="3374036" y="-993"/>
                  </a:cubicBezTo>
                  <a:close/>
                  <a:moveTo>
                    <a:pt x="-4787" y="1203740"/>
                  </a:moveTo>
                  <a:cubicBezTo>
                    <a:pt x="3691" y="1208910"/>
                    <a:pt x="12238" y="1209254"/>
                    <a:pt x="20853" y="1204843"/>
                  </a:cubicBezTo>
                  <a:cubicBezTo>
                    <a:pt x="19751" y="1194573"/>
                    <a:pt x="2588" y="1196986"/>
                    <a:pt x="-3822" y="1201259"/>
                  </a:cubicBezTo>
                  <a:lnTo>
                    <a:pt x="-4787" y="1203740"/>
                  </a:lnTo>
                </a:path>
              </a:pathLst>
            </a:custGeom>
            <a:grpFill/>
            <a:ln w="689" cap="flat">
              <a:noFill/>
              <a:prstDash val="solid"/>
              <a:miter/>
            </a:ln>
          </p:spPr>
          <p:txBody>
            <a:bodyPr rtlCol="0" anchor="ctr"/>
            <a:lstStyle/>
            <a:p>
              <a:endParaRPr lang="en-US" sz="2400" dirty="0"/>
            </a:p>
          </p:txBody>
        </p:sp>
        <p:sp>
          <p:nvSpPr>
            <p:cNvPr id="194" name="Graphic 8">
              <a:extLst>
                <a:ext uri="{FF2B5EF4-FFF2-40B4-BE49-F238E27FC236}">
                  <a16:creationId xmlns:a16="http://schemas.microsoft.com/office/drawing/2014/main" id="{45976805-991F-41A2-9F87-7DDB933AC4BD}"/>
                </a:ext>
              </a:extLst>
            </p:cNvPr>
            <p:cNvSpPr/>
            <p:nvPr/>
          </p:nvSpPr>
          <p:spPr>
            <a:xfrm flipV="1">
              <a:off x="592946" y="1531436"/>
              <a:ext cx="7546850" cy="1952289"/>
            </a:xfrm>
            <a:custGeom>
              <a:avLst/>
              <a:gdLst>
                <a:gd name="connsiteX0" fmla="*/ 3064116 w 7546850"/>
                <a:gd name="connsiteY0" fmla="*/ 45255 h 1952289"/>
                <a:gd name="connsiteX1" fmla="*/ 3100095 w 7546850"/>
                <a:gd name="connsiteY1" fmla="*/ 47323 h 1952289"/>
                <a:gd name="connsiteX2" fmla="*/ 3095063 w 7546850"/>
                <a:gd name="connsiteY2" fmla="*/ 12102 h 1952289"/>
                <a:gd name="connsiteX3" fmla="*/ 3110227 w 7546850"/>
                <a:gd name="connsiteY3" fmla="*/ 33331 h 1952289"/>
                <a:gd name="connsiteX4" fmla="*/ 3110227 w 7546850"/>
                <a:gd name="connsiteY4" fmla="*/ 50631 h 1952289"/>
                <a:gd name="connsiteX5" fmla="*/ 3144689 w 7546850"/>
                <a:gd name="connsiteY5" fmla="*/ 50907 h 1952289"/>
                <a:gd name="connsiteX6" fmla="*/ 3138900 w 7546850"/>
                <a:gd name="connsiteY6" fmla="*/ 39810 h 1952289"/>
                <a:gd name="connsiteX7" fmla="*/ 3129457 w 7546850"/>
                <a:gd name="connsiteY7" fmla="*/ 36915 h 1952289"/>
                <a:gd name="connsiteX8" fmla="*/ 3135109 w 7546850"/>
                <a:gd name="connsiteY8" fmla="*/ 28575 h 1952289"/>
                <a:gd name="connsiteX9" fmla="*/ 3131042 w 7546850"/>
                <a:gd name="connsiteY9" fmla="*/ 6795 h 1952289"/>
                <a:gd name="connsiteX10" fmla="*/ 3115327 w 7546850"/>
                <a:gd name="connsiteY10" fmla="*/ 21338 h 1952289"/>
                <a:gd name="connsiteX11" fmla="*/ 3115465 w 7546850"/>
                <a:gd name="connsiteY11" fmla="*/ 2522 h 1952289"/>
                <a:gd name="connsiteX12" fmla="*/ 3015938 w 7546850"/>
                <a:gd name="connsiteY12" fmla="*/ -3337 h 1952289"/>
                <a:gd name="connsiteX13" fmla="*/ 3044059 w 7546850"/>
                <a:gd name="connsiteY13" fmla="*/ 31401 h 1952289"/>
                <a:gd name="connsiteX14" fmla="*/ 3010837 w 7546850"/>
                <a:gd name="connsiteY14" fmla="*/ 39810 h 1952289"/>
                <a:gd name="connsiteX15" fmla="*/ 3057706 w 7546850"/>
                <a:gd name="connsiteY15" fmla="*/ 43256 h 1952289"/>
                <a:gd name="connsiteX16" fmla="*/ 3065770 w 7546850"/>
                <a:gd name="connsiteY16" fmla="*/ 27748 h 1952289"/>
                <a:gd name="connsiteX17" fmla="*/ 3078384 w 7546850"/>
                <a:gd name="connsiteY17" fmla="*/ 36640 h 1952289"/>
                <a:gd name="connsiteX18" fmla="*/ 3069148 w 7546850"/>
                <a:gd name="connsiteY18" fmla="*/ 37742 h 1952289"/>
                <a:gd name="connsiteX19" fmla="*/ 3064116 w 7546850"/>
                <a:gd name="connsiteY19" fmla="*/ 45255 h 1952289"/>
                <a:gd name="connsiteX20" fmla="*/ 3402192 w 7546850"/>
                <a:gd name="connsiteY20" fmla="*/ 61866 h 1952289"/>
                <a:gd name="connsiteX21" fmla="*/ 3414874 w 7546850"/>
                <a:gd name="connsiteY21" fmla="*/ 37811 h 1952289"/>
                <a:gd name="connsiteX22" fmla="*/ 3367936 w 7546850"/>
                <a:gd name="connsiteY22" fmla="*/ 18443 h 1952289"/>
                <a:gd name="connsiteX23" fmla="*/ 3405844 w 7546850"/>
                <a:gd name="connsiteY23" fmla="*/ 40224 h 1952289"/>
                <a:gd name="connsiteX24" fmla="*/ 3402192 w 7546850"/>
                <a:gd name="connsiteY24" fmla="*/ 61866 h 1952289"/>
                <a:gd name="connsiteX25" fmla="*/ 4437715 w 7546850"/>
                <a:gd name="connsiteY25" fmla="*/ 133685 h 1952289"/>
                <a:gd name="connsiteX26" fmla="*/ 4440748 w 7546850"/>
                <a:gd name="connsiteY26" fmla="*/ 89160 h 1952289"/>
                <a:gd name="connsiteX27" fmla="*/ 4438335 w 7546850"/>
                <a:gd name="connsiteY27" fmla="*/ 81647 h 1952289"/>
                <a:gd name="connsiteX28" fmla="*/ 4428135 w 7546850"/>
                <a:gd name="connsiteY28" fmla="*/ 94536 h 1952289"/>
                <a:gd name="connsiteX29" fmla="*/ 4422276 w 7546850"/>
                <a:gd name="connsiteY29" fmla="*/ 87782 h 1952289"/>
                <a:gd name="connsiteX30" fmla="*/ 4402081 w 7546850"/>
                <a:gd name="connsiteY30" fmla="*/ 83095 h 1952289"/>
                <a:gd name="connsiteX31" fmla="*/ 4415866 w 7546850"/>
                <a:gd name="connsiteY31" fmla="*/ 115834 h 1952289"/>
                <a:gd name="connsiteX32" fmla="*/ 4424420 w 7546850"/>
                <a:gd name="connsiteY32" fmla="*/ 99223 h 1952289"/>
                <a:gd name="connsiteX33" fmla="*/ 4442816 w 7546850"/>
                <a:gd name="connsiteY33" fmla="*/ 109975 h 1952289"/>
                <a:gd name="connsiteX34" fmla="*/ 4437715 w 7546850"/>
                <a:gd name="connsiteY34" fmla="*/ 133685 h 1952289"/>
                <a:gd name="connsiteX35" fmla="*/ 5804422 w 7546850"/>
                <a:gd name="connsiteY35" fmla="*/ 219152 h 1952289"/>
                <a:gd name="connsiteX36" fmla="*/ 5829855 w 7546850"/>
                <a:gd name="connsiteY36" fmla="*/ 178486 h 1952289"/>
                <a:gd name="connsiteX37" fmla="*/ 5844329 w 7546850"/>
                <a:gd name="connsiteY37" fmla="*/ 197165 h 1952289"/>
                <a:gd name="connsiteX38" fmla="*/ 5860526 w 7546850"/>
                <a:gd name="connsiteY38" fmla="*/ 202748 h 1952289"/>
                <a:gd name="connsiteX39" fmla="*/ 5864455 w 7546850"/>
                <a:gd name="connsiteY39" fmla="*/ 204126 h 1952289"/>
                <a:gd name="connsiteX40" fmla="*/ 5892231 w 7546850"/>
                <a:gd name="connsiteY40" fmla="*/ 185517 h 1952289"/>
                <a:gd name="connsiteX41" fmla="*/ 5860251 w 7546850"/>
                <a:gd name="connsiteY41" fmla="*/ 198337 h 1952289"/>
                <a:gd name="connsiteX42" fmla="*/ 5862456 w 7546850"/>
                <a:gd name="connsiteY42" fmla="*/ 178142 h 1952289"/>
                <a:gd name="connsiteX43" fmla="*/ 5849774 w 7546850"/>
                <a:gd name="connsiteY43" fmla="*/ 184896 h 1952289"/>
                <a:gd name="connsiteX44" fmla="*/ 5847224 w 7546850"/>
                <a:gd name="connsiteY44" fmla="*/ 175936 h 1952289"/>
                <a:gd name="connsiteX45" fmla="*/ 5809315 w 7546850"/>
                <a:gd name="connsiteY45" fmla="*/ 172903 h 1952289"/>
                <a:gd name="connsiteX46" fmla="*/ 5809247 w 7546850"/>
                <a:gd name="connsiteY46" fmla="*/ 178900 h 1952289"/>
                <a:gd name="connsiteX47" fmla="*/ 5826202 w 7546850"/>
                <a:gd name="connsiteY47" fmla="*/ 176694 h 1952289"/>
                <a:gd name="connsiteX48" fmla="*/ 5804422 w 7546850"/>
                <a:gd name="connsiteY48" fmla="*/ 219152 h 1952289"/>
                <a:gd name="connsiteX49" fmla="*/ 7501139 w 7546850"/>
                <a:gd name="connsiteY49" fmla="*/ 770342 h 1952289"/>
                <a:gd name="connsiteX50" fmla="*/ 7510375 w 7546850"/>
                <a:gd name="connsiteY50" fmla="*/ 781784 h 1952289"/>
                <a:gd name="connsiteX51" fmla="*/ 7537876 w 7546850"/>
                <a:gd name="connsiteY51" fmla="*/ 706931 h 1952289"/>
                <a:gd name="connsiteX52" fmla="*/ 7534981 w 7546850"/>
                <a:gd name="connsiteY52" fmla="*/ 696593 h 1952289"/>
                <a:gd name="connsiteX53" fmla="*/ 7525676 w 7546850"/>
                <a:gd name="connsiteY53" fmla="*/ 707759 h 1952289"/>
                <a:gd name="connsiteX54" fmla="*/ 7519404 w 7546850"/>
                <a:gd name="connsiteY54" fmla="*/ 764759 h 1952289"/>
                <a:gd name="connsiteX55" fmla="*/ 7507756 w 7546850"/>
                <a:gd name="connsiteY55" fmla="*/ 764139 h 1952289"/>
                <a:gd name="connsiteX56" fmla="*/ 7520300 w 7546850"/>
                <a:gd name="connsiteY56" fmla="*/ 714444 h 1952289"/>
                <a:gd name="connsiteX57" fmla="*/ 7509754 w 7546850"/>
                <a:gd name="connsiteY57" fmla="*/ 691906 h 1952289"/>
                <a:gd name="connsiteX58" fmla="*/ 7506101 w 7546850"/>
                <a:gd name="connsiteY58" fmla="*/ 733674 h 1952289"/>
                <a:gd name="connsiteX59" fmla="*/ 7488457 w 7546850"/>
                <a:gd name="connsiteY59" fmla="*/ 730779 h 1952289"/>
                <a:gd name="connsiteX60" fmla="*/ 7487216 w 7546850"/>
                <a:gd name="connsiteY60" fmla="*/ 741394 h 1952289"/>
                <a:gd name="connsiteX61" fmla="*/ 7507480 w 7546850"/>
                <a:gd name="connsiteY61" fmla="*/ 735259 h 1952289"/>
                <a:gd name="connsiteX62" fmla="*/ 7501139 w 7546850"/>
                <a:gd name="connsiteY62" fmla="*/ 770342 h 1952289"/>
                <a:gd name="connsiteX63" fmla="*/ 7477291 w 7546850"/>
                <a:gd name="connsiteY63" fmla="*/ 807492 h 1952289"/>
                <a:gd name="connsiteX64" fmla="*/ 7494798 w 7546850"/>
                <a:gd name="connsiteY64" fmla="*/ 813006 h 1952289"/>
                <a:gd name="connsiteX65" fmla="*/ 7492868 w 7546850"/>
                <a:gd name="connsiteY65" fmla="*/ 788125 h 1952289"/>
                <a:gd name="connsiteX66" fmla="*/ 7495211 w 7546850"/>
                <a:gd name="connsiteY66" fmla="*/ 786884 h 1952289"/>
                <a:gd name="connsiteX67" fmla="*/ 7493971 w 7546850"/>
                <a:gd name="connsiteY67" fmla="*/ 783093 h 1952289"/>
                <a:gd name="connsiteX68" fmla="*/ 7492110 w 7546850"/>
                <a:gd name="connsiteY68" fmla="*/ 764415 h 1952289"/>
                <a:gd name="connsiteX69" fmla="*/ 7477291 w 7546850"/>
                <a:gd name="connsiteY69" fmla="*/ 807492 h 1952289"/>
                <a:gd name="connsiteX70" fmla="*/ -2067 w 7546850"/>
                <a:gd name="connsiteY70" fmla="*/ 1120755 h 1952289"/>
                <a:gd name="connsiteX71" fmla="*/ 8140 w 7546850"/>
                <a:gd name="connsiteY71" fmla="*/ 1110761 h 1952289"/>
                <a:gd name="connsiteX72" fmla="*/ 4620 w 7546850"/>
                <a:gd name="connsiteY72" fmla="*/ 1105867 h 1952289"/>
                <a:gd name="connsiteX73" fmla="*/ -5374 w 7546850"/>
                <a:gd name="connsiteY73" fmla="*/ 1110416 h 1952289"/>
                <a:gd name="connsiteX74" fmla="*/ -2067 w 7546850"/>
                <a:gd name="connsiteY74" fmla="*/ 1120755 h 1952289"/>
                <a:gd name="connsiteX75" fmla="*/ 387015 w 7546850"/>
                <a:gd name="connsiteY75" fmla="*/ 1691520 h 1952289"/>
                <a:gd name="connsiteX76" fmla="*/ 416584 w 7546850"/>
                <a:gd name="connsiteY76" fmla="*/ 1721571 h 1952289"/>
                <a:gd name="connsiteX77" fmla="*/ 387015 w 7546850"/>
                <a:gd name="connsiteY77" fmla="*/ 1691520 h 1952289"/>
                <a:gd name="connsiteX78" fmla="*/ 386532 w 7546850"/>
                <a:gd name="connsiteY78" fmla="*/ 1732944 h 1952289"/>
                <a:gd name="connsiteX79" fmla="*/ 421339 w 7546850"/>
                <a:gd name="connsiteY79" fmla="*/ 1736734 h 1952289"/>
                <a:gd name="connsiteX80" fmla="*/ 428301 w 7546850"/>
                <a:gd name="connsiteY80" fmla="*/ 1695724 h 1952289"/>
                <a:gd name="connsiteX81" fmla="*/ 410518 w 7546850"/>
                <a:gd name="connsiteY81" fmla="*/ 1699928 h 1952289"/>
                <a:gd name="connsiteX82" fmla="*/ 414378 w 7546850"/>
                <a:gd name="connsiteY82" fmla="*/ 1689866 h 1952289"/>
                <a:gd name="connsiteX83" fmla="*/ 354000 w 7546850"/>
                <a:gd name="connsiteY83" fmla="*/ 1700135 h 1952289"/>
                <a:gd name="connsiteX84" fmla="*/ 384534 w 7546850"/>
                <a:gd name="connsiteY84" fmla="*/ 1708751 h 1952289"/>
                <a:gd name="connsiteX85" fmla="*/ 386532 w 7546850"/>
                <a:gd name="connsiteY85" fmla="*/ 1732944 h 1952289"/>
                <a:gd name="connsiteX86" fmla="*/ 563875 w 7546850"/>
                <a:gd name="connsiteY86" fmla="*/ 1739078 h 1952289"/>
                <a:gd name="connsiteX87" fmla="*/ 608814 w 7546850"/>
                <a:gd name="connsiteY87" fmla="*/ 1736114 h 1952289"/>
                <a:gd name="connsiteX88" fmla="*/ 609366 w 7546850"/>
                <a:gd name="connsiteY88" fmla="*/ 1747831 h 1952289"/>
                <a:gd name="connsiteX89" fmla="*/ 620463 w 7546850"/>
                <a:gd name="connsiteY89" fmla="*/ 1738388 h 1952289"/>
                <a:gd name="connsiteX90" fmla="*/ 618602 w 7546850"/>
                <a:gd name="connsiteY90" fmla="*/ 1730255 h 1952289"/>
                <a:gd name="connsiteX91" fmla="*/ 617154 w 7546850"/>
                <a:gd name="connsiteY91" fmla="*/ 1727567 h 1952289"/>
                <a:gd name="connsiteX92" fmla="*/ 588413 w 7546850"/>
                <a:gd name="connsiteY92" fmla="*/ 1742869 h 1952289"/>
                <a:gd name="connsiteX93" fmla="*/ 593789 w 7546850"/>
                <a:gd name="connsiteY93" fmla="*/ 1717573 h 1952289"/>
                <a:gd name="connsiteX94" fmla="*/ 576902 w 7546850"/>
                <a:gd name="connsiteY94" fmla="*/ 1708062 h 1952289"/>
                <a:gd name="connsiteX95" fmla="*/ 583588 w 7546850"/>
                <a:gd name="connsiteY95" fmla="*/ 1725844 h 1952289"/>
                <a:gd name="connsiteX96" fmla="*/ 563875 w 7546850"/>
                <a:gd name="connsiteY96" fmla="*/ 1739078 h 1952289"/>
                <a:gd name="connsiteX97" fmla="*/ 3789548 w 7546850"/>
                <a:gd name="connsiteY97" fmla="*/ 1944473 h 1952289"/>
                <a:gd name="connsiteX98" fmla="*/ 3813327 w 7546850"/>
                <a:gd name="connsiteY98" fmla="*/ 1948953 h 1952289"/>
                <a:gd name="connsiteX99" fmla="*/ 3814361 w 7546850"/>
                <a:gd name="connsiteY99" fmla="*/ 1900568 h 1952289"/>
                <a:gd name="connsiteX100" fmla="*/ 3807813 w 7546850"/>
                <a:gd name="connsiteY100" fmla="*/ 1898156 h 1952289"/>
                <a:gd name="connsiteX101" fmla="*/ 3788996 w 7546850"/>
                <a:gd name="connsiteY101" fmla="*/ 1914491 h 1952289"/>
                <a:gd name="connsiteX102" fmla="*/ 3769146 w 7546850"/>
                <a:gd name="connsiteY102" fmla="*/ 1895950 h 1952289"/>
                <a:gd name="connsiteX103" fmla="*/ 3792719 w 7546850"/>
                <a:gd name="connsiteY103" fmla="*/ 1924554 h 1952289"/>
                <a:gd name="connsiteX104" fmla="*/ 3789548 w 7546850"/>
                <a:gd name="connsiteY104" fmla="*/ 1944473 h 1952289"/>
                <a:gd name="connsiteX105" fmla="*/ 3668378 w 7546850"/>
                <a:gd name="connsiteY105" fmla="*/ 1941165 h 1952289"/>
                <a:gd name="connsiteX106" fmla="*/ 3679475 w 7546850"/>
                <a:gd name="connsiteY106" fmla="*/ 1938201 h 1952289"/>
                <a:gd name="connsiteX107" fmla="*/ 3661348 w 7546850"/>
                <a:gd name="connsiteY107" fmla="*/ 1897880 h 1952289"/>
                <a:gd name="connsiteX108" fmla="*/ 3652388 w 7546850"/>
                <a:gd name="connsiteY108" fmla="*/ 1896501 h 1952289"/>
                <a:gd name="connsiteX109" fmla="*/ 3666518 w 7546850"/>
                <a:gd name="connsiteY109" fmla="*/ 1935030 h 1952289"/>
                <a:gd name="connsiteX110" fmla="*/ 3668378 w 7546850"/>
                <a:gd name="connsiteY110" fmla="*/ 1941165 h 195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7546850" h="1952289">
                  <a:moveTo>
                    <a:pt x="3064116" y="45255"/>
                  </a:moveTo>
                  <a:cubicBezTo>
                    <a:pt x="3075696" y="49046"/>
                    <a:pt x="3088102" y="46909"/>
                    <a:pt x="3100095" y="47323"/>
                  </a:cubicBezTo>
                  <a:cubicBezTo>
                    <a:pt x="3098165" y="35674"/>
                    <a:pt x="3096166" y="23888"/>
                    <a:pt x="3095063" y="12102"/>
                  </a:cubicBezTo>
                  <a:cubicBezTo>
                    <a:pt x="3101887" y="17823"/>
                    <a:pt x="3105609" y="26025"/>
                    <a:pt x="3110227" y="33331"/>
                  </a:cubicBezTo>
                  <a:cubicBezTo>
                    <a:pt x="3110227" y="37673"/>
                    <a:pt x="3110227" y="46289"/>
                    <a:pt x="3110227" y="50631"/>
                  </a:cubicBezTo>
                  <a:cubicBezTo>
                    <a:pt x="3121668" y="50631"/>
                    <a:pt x="3133179" y="50700"/>
                    <a:pt x="3144689" y="50907"/>
                  </a:cubicBezTo>
                  <a:lnTo>
                    <a:pt x="3138900" y="39810"/>
                  </a:lnTo>
                  <a:cubicBezTo>
                    <a:pt x="3136556" y="39052"/>
                    <a:pt x="3131800" y="37604"/>
                    <a:pt x="3129457" y="36915"/>
                  </a:cubicBezTo>
                  <a:cubicBezTo>
                    <a:pt x="3130904" y="34847"/>
                    <a:pt x="3133730" y="30643"/>
                    <a:pt x="3135109" y="28575"/>
                  </a:cubicBezTo>
                  <a:cubicBezTo>
                    <a:pt x="3134144" y="23130"/>
                    <a:pt x="3132076" y="12240"/>
                    <a:pt x="3131042" y="6795"/>
                  </a:cubicBezTo>
                  <a:cubicBezTo>
                    <a:pt x="3127113" y="10448"/>
                    <a:pt x="3119256" y="17754"/>
                    <a:pt x="3115327" y="21338"/>
                  </a:cubicBezTo>
                  <a:cubicBezTo>
                    <a:pt x="3115396" y="16651"/>
                    <a:pt x="3115396" y="7278"/>
                    <a:pt x="3115465" y="2522"/>
                  </a:cubicBezTo>
                  <a:cubicBezTo>
                    <a:pt x="3082174" y="4245"/>
                    <a:pt x="3049091" y="-2027"/>
                    <a:pt x="3015938" y="-3337"/>
                  </a:cubicBezTo>
                  <a:cubicBezTo>
                    <a:pt x="3027793" y="6175"/>
                    <a:pt x="3036615" y="18306"/>
                    <a:pt x="3044059" y="31401"/>
                  </a:cubicBezTo>
                  <a:cubicBezTo>
                    <a:pt x="3033031" y="23199"/>
                    <a:pt x="3012354" y="22579"/>
                    <a:pt x="3010837" y="39810"/>
                  </a:cubicBezTo>
                  <a:cubicBezTo>
                    <a:pt x="3024554" y="45738"/>
                    <a:pt x="3044197" y="50218"/>
                    <a:pt x="3057706" y="43256"/>
                  </a:cubicBezTo>
                  <a:cubicBezTo>
                    <a:pt x="3059705" y="39397"/>
                    <a:pt x="3063703" y="31608"/>
                    <a:pt x="3065770" y="27748"/>
                  </a:cubicBezTo>
                  <a:cubicBezTo>
                    <a:pt x="3069906" y="30781"/>
                    <a:pt x="3074110" y="33745"/>
                    <a:pt x="3078384" y="36640"/>
                  </a:cubicBezTo>
                  <a:lnTo>
                    <a:pt x="3069148" y="37742"/>
                  </a:lnTo>
                  <a:cubicBezTo>
                    <a:pt x="3067907" y="39603"/>
                    <a:pt x="3065426" y="43394"/>
                    <a:pt x="3064116" y="45255"/>
                  </a:cubicBezTo>
                  <a:close/>
                  <a:moveTo>
                    <a:pt x="3402192" y="61866"/>
                  </a:moveTo>
                  <a:cubicBezTo>
                    <a:pt x="3409015" y="55525"/>
                    <a:pt x="3411358" y="46151"/>
                    <a:pt x="3414874" y="37811"/>
                  </a:cubicBezTo>
                  <a:cubicBezTo>
                    <a:pt x="3407499" y="17547"/>
                    <a:pt x="3385374" y="19891"/>
                    <a:pt x="3367936" y="18443"/>
                  </a:cubicBezTo>
                  <a:cubicBezTo>
                    <a:pt x="3371107" y="37329"/>
                    <a:pt x="3391991" y="34572"/>
                    <a:pt x="3405844" y="40224"/>
                  </a:cubicBezTo>
                  <a:cubicBezTo>
                    <a:pt x="3404949" y="45669"/>
                    <a:pt x="3403156" y="56490"/>
                    <a:pt x="3402192" y="61866"/>
                  </a:cubicBezTo>
                  <a:moveTo>
                    <a:pt x="4437715" y="133685"/>
                  </a:moveTo>
                  <a:cubicBezTo>
                    <a:pt x="4455153" y="124656"/>
                    <a:pt x="4444125" y="103221"/>
                    <a:pt x="4440748" y="89160"/>
                  </a:cubicBezTo>
                  <a:lnTo>
                    <a:pt x="4438335" y="81647"/>
                  </a:lnTo>
                  <a:cubicBezTo>
                    <a:pt x="4435785" y="84887"/>
                    <a:pt x="4430685" y="91297"/>
                    <a:pt x="4428135" y="94536"/>
                  </a:cubicBezTo>
                  <a:lnTo>
                    <a:pt x="4422276" y="87782"/>
                  </a:lnTo>
                  <a:cubicBezTo>
                    <a:pt x="4417244" y="86610"/>
                    <a:pt x="4407113" y="84266"/>
                    <a:pt x="4402081" y="83095"/>
                  </a:cubicBezTo>
                  <a:cubicBezTo>
                    <a:pt x="4404011" y="95087"/>
                    <a:pt x="4410628" y="105220"/>
                    <a:pt x="4415866" y="115834"/>
                  </a:cubicBezTo>
                  <a:cubicBezTo>
                    <a:pt x="4418003" y="111629"/>
                    <a:pt x="4422276" y="103358"/>
                    <a:pt x="4424420" y="99223"/>
                  </a:cubicBezTo>
                  <a:cubicBezTo>
                    <a:pt x="4430478" y="102876"/>
                    <a:pt x="4436612" y="106460"/>
                    <a:pt x="4442816" y="109975"/>
                  </a:cubicBezTo>
                  <a:cubicBezTo>
                    <a:pt x="4440955" y="117902"/>
                    <a:pt x="4439232" y="125828"/>
                    <a:pt x="4437715" y="133685"/>
                  </a:cubicBezTo>
                  <a:moveTo>
                    <a:pt x="5804422" y="219152"/>
                  </a:moveTo>
                  <a:cubicBezTo>
                    <a:pt x="5827374" y="218738"/>
                    <a:pt x="5825650" y="194890"/>
                    <a:pt x="5829855" y="178486"/>
                  </a:cubicBezTo>
                  <a:cubicBezTo>
                    <a:pt x="5833507" y="183173"/>
                    <a:pt x="5840676" y="192478"/>
                    <a:pt x="5844329" y="197165"/>
                  </a:cubicBezTo>
                  <a:cubicBezTo>
                    <a:pt x="5849636" y="199026"/>
                    <a:pt x="5855081" y="200887"/>
                    <a:pt x="5860526" y="202748"/>
                  </a:cubicBezTo>
                  <a:lnTo>
                    <a:pt x="5864455" y="204126"/>
                  </a:lnTo>
                  <a:cubicBezTo>
                    <a:pt x="5873622" y="197923"/>
                    <a:pt x="5883203" y="192065"/>
                    <a:pt x="5892231" y="185517"/>
                  </a:cubicBezTo>
                  <a:cubicBezTo>
                    <a:pt x="5880997" y="188343"/>
                    <a:pt x="5870245" y="192754"/>
                    <a:pt x="5860251" y="198337"/>
                  </a:cubicBezTo>
                  <a:cubicBezTo>
                    <a:pt x="5860802" y="193236"/>
                    <a:pt x="5861905" y="183173"/>
                    <a:pt x="5862456" y="178142"/>
                  </a:cubicBezTo>
                  <a:cubicBezTo>
                    <a:pt x="5859286" y="179865"/>
                    <a:pt x="5852944" y="183242"/>
                    <a:pt x="5849774" y="184896"/>
                  </a:cubicBezTo>
                  <a:cubicBezTo>
                    <a:pt x="5849153" y="182691"/>
                    <a:pt x="5847844" y="178211"/>
                    <a:pt x="5847224" y="175936"/>
                  </a:cubicBezTo>
                  <a:cubicBezTo>
                    <a:pt x="5834473" y="175385"/>
                    <a:pt x="5821860" y="174213"/>
                    <a:pt x="5809315" y="172903"/>
                  </a:cubicBezTo>
                  <a:lnTo>
                    <a:pt x="5809247" y="178900"/>
                  </a:lnTo>
                  <a:lnTo>
                    <a:pt x="5826202" y="176694"/>
                  </a:lnTo>
                  <a:cubicBezTo>
                    <a:pt x="5813519" y="187722"/>
                    <a:pt x="5804973" y="201990"/>
                    <a:pt x="5804422" y="219152"/>
                  </a:cubicBezTo>
                  <a:moveTo>
                    <a:pt x="7501139" y="770342"/>
                  </a:moveTo>
                  <a:cubicBezTo>
                    <a:pt x="7504034" y="774271"/>
                    <a:pt x="7507135" y="778062"/>
                    <a:pt x="7510375" y="781784"/>
                  </a:cubicBezTo>
                  <a:cubicBezTo>
                    <a:pt x="7525814" y="759590"/>
                    <a:pt x="7550834" y="736638"/>
                    <a:pt x="7537876" y="706931"/>
                  </a:cubicBezTo>
                  <a:cubicBezTo>
                    <a:pt x="7537187" y="704381"/>
                    <a:pt x="7535739" y="699143"/>
                    <a:pt x="7534981" y="696593"/>
                  </a:cubicBezTo>
                  <a:cubicBezTo>
                    <a:pt x="7532637" y="699350"/>
                    <a:pt x="7528019" y="704933"/>
                    <a:pt x="7525676" y="707759"/>
                  </a:cubicBezTo>
                  <a:cubicBezTo>
                    <a:pt x="7526365" y="726988"/>
                    <a:pt x="7522437" y="745943"/>
                    <a:pt x="7519404" y="764759"/>
                  </a:cubicBezTo>
                  <a:lnTo>
                    <a:pt x="7507756" y="764139"/>
                  </a:lnTo>
                  <a:cubicBezTo>
                    <a:pt x="7515957" y="748838"/>
                    <a:pt x="7520300" y="731882"/>
                    <a:pt x="7520300" y="714444"/>
                  </a:cubicBezTo>
                  <a:cubicBezTo>
                    <a:pt x="7517681" y="708792"/>
                    <a:pt x="7512374" y="697558"/>
                    <a:pt x="7509754" y="691906"/>
                  </a:cubicBezTo>
                  <a:cubicBezTo>
                    <a:pt x="7509203" y="705898"/>
                    <a:pt x="7513270" y="720785"/>
                    <a:pt x="7506101" y="733674"/>
                  </a:cubicBezTo>
                  <a:cubicBezTo>
                    <a:pt x="7501691" y="732916"/>
                    <a:pt x="7492868" y="731469"/>
                    <a:pt x="7488457" y="730779"/>
                  </a:cubicBezTo>
                  <a:lnTo>
                    <a:pt x="7487216" y="741394"/>
                  </a:lnTo>
                  <a:cubicBezTo>
                    <a:pt x="7492248" y="739877"/>
                    <a:pt x="7502449" y="736776"/>
                    <a:pt x="7507480" y="735259"/>
                  </a:cubicBezTo>
                  <a:cubicBezTo>
                    <a:pt x="7507067" y="747321"/>
                    <a:pt x="7504930" y="759038"/>
                    <a:pt x="7501139" y="770342"/>
                  </a:cubicBezTo>
                  <a:moveTo>
                    <a:pt x="7477291" y="807492"/>
                  </a:moveTo>
                  <a:cubicBezTo>
                    <a:pt x="7483012" y="809353"/>
                    <a:pt x="7488870" y="811214"/>
                    <a:pt x="7494798" y="813006"/>
                  </a:cubicBezTo>
                  <a:cubicBezTo>
                    <a:pt x="7494316" y="806803"/>
                    <a:pt x="7493350" y="794397"/>
                    <a:pt x="7492868" y="788125"/>
                  </a:cubicBezTo>
                  <a:lnTo>
                    <a:pt x="7495211" y="786884"/>
                  </a:lnTo>
                  <a:lnTo>
                    <a:pt x="7493971" y="783093"/>
                  </a:lnTo>
                  <a:cubicBezTo>
                    <a:pt x="7493488" y="778406"/>
                    <a:pt x="7492592" y="769101"/>
                    <a:pt x="7492110" y="764415"/>
                  </a:cubicBezTo>
                  <a:cubicBezTo>
                    <a:pt x="7478325" y="774684"/>
                    <a:pt x="7479083" y="792329"/>
                    <a:pt x="7477291" y="807492"/>
                  </a:cubicBezTo>
                  <a:moveTo>
                    <a:pt x="-2067" y="1120755"/>
                  </a:moveTo>
                  <a:cubicBezTo>
                    <a:pt x="485" y="1118205"/>
                    <a:pt x="5587" y="1113242"/>
                    <a:pt x="8140" y="1110761"/>
                  </a:cubicBezTo>
                  <a:lnTo>
                    <a:pt x="4620" y="1105867"/>
                  </a:lnTo>
                  <a:cubicBezTo>
                    <a:pt x="2141" y="1107039"/>
                    <a:pt x="-2891" y="1109313"/>
                    <a:pt x="-5374" y="1110416"/>
                  </a:cubicBezTo>
                  <a:cubicBezTo>
                    <a:pt x="-4547" y="1113035"/>
                    <a:pt x="-2891" y="1118136"/>
                    <a:pt x="-2067" y="1120755"/>
                  </a:cubicBezTo>
                  <a:moveTo>
                    <a:pt x="387015" y="1691520"/>
                  </a:moveTo>
                  <a:cubicBezTo>
                    <a:pt x="405211" y="1692071"/>
                    <a:pt x="399904" y="1716402"/>
                    <a:pt x="416584" y="1721571"/>
                  </a:cubicBezTo>
                  <a:cubicBezTo>
                    <a:pt x="404177" y="1713507"/>
                    <a:pt x="380743" y="1712473"/>
                    <a:pt x="387015" y="1691520"/>
                  </a:cubicBezTo>
                  <a:moveTo>
                    <a:pt x="386532" y="1732944"/>
                  </a:moveTo>
                  <a:cubicBezTo>
                    <a:pt x="398250" y="1733288"/>
                    <a:pt x="411276" y="1728119"/>
                    <a:pt x="421339" y="1736734"/>
                  </a:cubicBezTo>
                  <a:cubicBezTo>
                    <a:pt x="423752" y="1723087"/>
                    <a:pt x="426164" y="1709440"/>
                    <a:pt x="428301" y="1695724"/>
                  </a:cubicBezTo>
                  <a:cubicBezTo>
                    <a:pt x="423821" y="1696758"/>
                    <a:pt x="414998" y="1698894"/>
                    <a:pt x="410518" y="1699928"/>
                  </a:cubicBezTo>
                  <a:cubicBezTo>
                    <a:pt x="411483" y="1697447"/>
                    <a:pt x="413413" y="1692347"/>
                    <a:pt x="414378" y="1689866"/>
                  </a:cubicBezTo>
                  <a:cubicBezTo>
                    <a:pt x="393838" y="1690279"/>
                    <a:pt x="371645" y="1687109"/>
                    <a:pt x="354000" y="1700135"/>
                  </a:cubicBezTo>
                  <a:cubicBezTo>
                    <a:pt x="365166" y="1698481"/>
                    <a:pt x="377641" y="1698068"/>
                    <a:pt x="384534" y="1708751"/>
                  </a:cubicBezTo>
                  <a:cubicBezTo>
                    <a:pt x="383086" y="1717091"/>
                    <a:pt x="383706" y="1725155"/>
                    <a:pt x="386532" y="1732944"/>
                  </a:cubicBezTo>
                  <a:moveTo>
                    <a:pt x="563875" y="1739078"/>
                  </a:moveTo>
                  <a:cubicBezTo>
                    <a:pt x="579315" y="1743006"/>
                    <a:pt x="595719" y="1750933"/>
                    <a:pt x="608814" y="1736114"/>
                  </a:cubicBezTo>
                  <a:cubicBezTo>
                    <a:pt x="608952" y="1739009"/>
                    <a:pt x="609228" y="1744867"/>
                    <a:pt x="609366" y="1747831"/>
                  </a:cubicBezTo>
                  <a:cubicBezTo>
                    <a:pt x="612192" y="1745488"/>
                    <a:pt x="617706" y="1740732"/>
                    <a:pt x="620463" y="1738388"/>
                  </a:cubicBezTo>
                  <a:cubicBezTo>
                    <a:pt x="619980" y="1736321"/>
                    <a:pt x="619084" y="1732254"/>
                    <a:pt x="618602" y="1730255"/>
                  </a:cubicBezTo>
                  <a:cubicBezTo>
                    <a:pt x="618257" y="1729566"/>
                    <a:pt x="617499" y="1728256"/>
                    <a:pt x="617154" y="1727567"/>
                  </a:cubicBezTo>
                  <a:cubicBezTo>
                    <a:pt x="609159" y="1735287"/>
                    <a:pt x="598338" y="1738664"/>
                    <a:pt x="588413" y="1742869"/>
                  </a:cubicBezTo>
                  <a:cubicBezTo>
                    <a:pt x="586690" y="1733564"/>
                    <a:pt x="588482" y="1725155"/>
                    <a:pt x="593789" y="1717573"/>
                  </a:cubicBezTo>
                  <a:cubicBezTo>
                    <a:pt x="588137" y="1714403"/>
                    <a:pt x="582485" y="1711232"/>
                    <a:pt x="576902" y="1708062"/>
                  </a:cubicBezTo>
                  <a:cubicBezTo>
                    <a:pt x="578556" y="1712473"/>
                    <a:pt x="581934" y="1721364"/>
                    <a:pt x="583588" y="1725844"/>
                  </a:cubicBezTo>
                  <a:cubicBezTo>
                    <a:pt x="572353" y="1721778"/>
                    <a:pt x="569458" y="1733150"/>
                    <a:pt x="563875" y="1739078"/>
                  </a:cubicBezTo>
                  <a:moveTo>
                    <a:pt x="3789548" y="1944473"/>
                  </a:moveTo>
                  <a:cubicBezTo>
                    <a:pt x="3795544" y="1945576"/>
                    <a:pt x="3807399" y="1947850"/>
                    <a:pt x="3813327" y="1948953"/>
                  </a:cubicBezTo>
                  <a:cubicBezTo>
                    <a:pt x="3813327" y="1932825"/>
                    <a:pt x="3813120" y="1916696"/>
                    <a:pt x="3814361" y="1900568"/>
                  </a:cubicBezTo>
                  <a:lnTo>
                    <a:pt x="3807813" y="1898156"/>
                  </a:lnTo>
                  <a:cubicBezTo>
                    <a:pt x="3807399" y="1909735"/>
                    <a:pt x="3799887" y="1914905"/>
                    <a:pt x="3788996" y="1914491"/>
                  </a:cubicBezTo>
                  <a:cubicBezTo>
                    <a:pt x="3781070" y="1909804"/>
                    <a:pt x="3775418" y="1902360"/>
                    <a:pt x="3769146" y="1895950"/>
                  </a:cubicBezTo>
                  <a:cubicBezTo>
                    <a:pt x="3769077" y="1911114"/>
                    <a:pt x="3770800" y="1935995"/>
                    <a:pt x="3792719" y="1924554"/>
                  </a:cubicBezTo>
                  <a:cubicBezTo>
                    <a:pt x="3791891" y="1929516"/>
                    <a:pt x="3790375" y="1939441"/>
                    <a:pt x="3789548" y="1944473"/>
                  </a:cubicBezTo>
                  <a:moveTo>
                    <a:pt x="3668378" y="1941165"/>
                  </a:moveTo>
                  <a:cubicBezTo>
                    <a:pt x="3671135" y="1940407"/>
                    <a:pt x="3676718" y="1938959"/>
                    <a:pt x="3679475" y="1938201"/>
                  </a:cubicBezTo>
                  <a:cubicBezTo>
                    <a:pt x="3676098" y="1923727"/>
                    <a:pt x="3669137" y="1910493"/>
                    <a:pt x="3661348" y="1897880"/>
                  </a:cubicBezTo>
                  <a:lnTo>
                    <a:pt x="3652388" y="1896501"/>
                  </a:lnTo>
                  <a:cubicBezTo>
                    <a:pt x="3657626" y="1909115"/>
                    <a:pt x="3662382" y="1922004"/>
                    <a:pt x="3666518" y="1935030"/>
                  </a:cubicBezTo>
                  <a:lnTo>
                    <a:pt x="3668378" y="1941165"/>
                  </a:lnTo>
                </a:path>
              </a:pathLst>
            </a:custGeom>
            <a:grpFill/>
            <a:ln w="689" cap="flat">
              <a:noFill/>
              <a:prstDash val="solid"/>
              <a:miter/>
            </a:ln>
          </p:spPr>
          <p:txBody>
            <a:bodyPr rtlCol="0" anchor="ctr"/>
            <a:lstStyle/>
            <a:p>
              <a:endParaRPr lang="en-US" sz="2400" dirty="0"/>
            </a:p>
          </p:txBody>
        </p:sp>
        <p:sp>
          <p:nvSpPr>
            <p:cNvPr id="195" name="Graphic 8">
              <a:extLst>
                <a:ext uri="{FF2B5EF4-FFF2-40B4-BE49-F238E27FC236}">
                  <a16:creationId xmlns:a16="http://schemas.microsoft.com/office/drawing/2014/main" id="{B6B1B6D5-B634-40D7-921F-5B24897FD514}"/>
                </a:ext>
              </a:extLst>
            </p:cNvPr>
            <p:cNvSpPr/>
            <p:nvPr/>
          </p:nvSpPr>
          <p:spPr>
            <a:xfrm flipV="1">
              <a:off x="4254912" y="1536743"/>
              <a:ext cx="80228" cy="54036"/>
            </a:xfrm>
            <a:custGeom>
              <a:avLst/>
              <a:gdLst>
                <a:gd name="connsiteX0" fmla="*/ 17599 w 80228"/>
                <a:gd name="connsiteY0" fmla="*/ 43703 h 54036"/>
                <a:gd name="connsiteX1" fmla="*/ 26008 w 80228"/>
                <a:gd name="connsiteY1" fmla="*/ 49148 h 54036"/>
                <a:gd name="connsiteX2" fmla="*/ 55714 w 80228"/>
                <a:gd name="connsiteY2" fmla="*/ 26817 h 54036"/>
                <a:gd name="connsiteX3" fmla="*/ 62607 w 80228"/>
                <a:gd name="connsiteY3" fmla="*/ 48114 h 54036"/>
                <a:gd name="connsiteX4" fmla="*/ 74944 w 80228"/>
                <a:gd name="connsiteY4" fmla="*/ 18201 h 54036"/>
                <a:gd name="connsiteX5" fmla="*/ 38207 w 80228"/>
                <a:gd name="connsiteY5" fmla="*/ 20613 h 54036"/>
                <a:gd name="connsiteX6" fmla="*/ 23595 w 80228"/>
                <a:gd name="connsiteY6" fmla="*/ 13859 h 54036"/>
                <a:gd name="connsiteX7" fmla="*/ 23320 w 80228"/>
                <a:gd name="connsiteY7" fmla="*/ 1521 h 54036"/>
                <a:gd name="connsiteX8" fmla="*/ -5284 w 80228"/>
                <a:gd name="connsiteY8" fmla="*/ -4889 h 54036"/>
                <a:gd name="connsiteX9" fmla="*/ -528 w 80228"/>
                <a:gd name="connsiteY9" fmla="*/ 3382 h 54036"/>
                <a:gd name="connsiteX10" fmla="*/ 17599 w 80228"/>
                <a:gd name="connsiteY10" fmla="*/ 43703 h 54036"/>
                <a:gd name="connsiteX11" fmla="*/ 17599 w 80228"/>
                <a:gd name="connsiteY11" fmla="*/ 43703 h 54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228" h="54036">
                  <a:moveTo>
                    <a:pt x="17599" y="43703"/>
                  </a:moveTo>
                  <a:cubicBezTo>
                    <a:pt x="19667" y="45082"/>
                    <a:pt x="23871" y="47770"/>
                    <a:pt x="26008" y="49148"/>
                  </a:cubicBezTo>
                  <a:cubicBezTo>
                    <a:pt x="28558" y="34260"/>
                    <a:pt x="43584" y="30883"/>
                    <a:pt x="55714" y="26817"/>
                  </a:cubicBezTo>
                  <a:cubicBezTo>
                    <a:pt x="57920" y="33916"/>
                    <a:pt x="60263" y="41015"/>
                    <a:pt x="62607" y="48114"/>
                  </a:cubicBezTo>
                  <a:cubicBezTo>
                    <a:pt x="66742" y="38189"/>
                    <a:pt x="70878" y="28264"/>
                    <a:pt x="74944" y="18201"/>
                  </a:cubicBezTo>
                  <a:cubicBezTo>
                    <a:pt x="62675" y="18615"/>
                    <a:pt x="50407" y="19786"/>
                    <a:pt x="38207" y="20613"/>
                  </a:cubicBezTo>
                  <a:cubicBezTo>
                    <a:pt x="34554" y="18959"/>
                    <a:pt x="27248" y="15513"/>
                    <a:pt x="23595" y="13859"/>
                  </a:cubicBezTo>
                  <a:cubicBezTo>
                    <a:pt x="23526" y="10757"/>
                    <a:pt x="23388" y="4623"/>
                    <a:pt x="23320" y="1521"/>
                  </a:cubicBezTo>
                  <a:cubicBezTo>
                    <a:pt x="13739" y="-753"/>
                    <a:pt x="4227" y="-2890"/>
                    <a:pt x="-5284" y="-4889"/>
                  </a:cubicBezTo>
                  <a:lnTo>
                    <a:pt x="-528" y="3382"/>
                  </a:lnTo>
                  <a:cubicBezTo>
                    <a:pt x="7260" y="15995"/>
                    <a:pt x="14222" y="29229"/>
                    <a:pt x="17599" y="43703"/>
                  </a:cubicBezTo>
                  <a:lnTo>
                    <a:pt x="17599" y="43703"/>
                  </a:lnTo>
                </a:path>
              </a:pathLst>
            </a:custGeom>
            <a:grpFill/>
            <a:ln w="689" cap="flat">
              <a:noFill/>
              <a:prstDash val="solid"/>
              <a:miter/>
            </a:ln>
          </p:spPr>
          <p:txBody>
            <a:bodyPr rtlCol="0" anchor="ctr"/>
            <a:lstStyle/>
            <a:p>
              <a:endParaRPr lang="en-US" sz="2400" dirty="0"/>
            </a:p>
          </p:txBody>
        </p:sp>
        <p:sp>
          <p:nvSpPr>
            <p:cNvPr id="196" name="Graphic 8">
              <a:extLst>
                <a:ext uri="{FF2B5EF4-FFF2-40B4-BE49-F238E27FC236}">
                  <a16:creationId xmlns:a16="http://schemas.microsoft.com/office/drawing/2014/main" id="{B1F55939-37FB-484D-82E5-164E39BD7489}"/>
                </a:ext>
              </a:extLst>
            </p:cNvPr>
            <p:cNvSpPr/>
            <p:nvPr/>
          </p:nvSpPr>
          <p:spPr>
            <a:xfrm flipV="1">
              <a:off x="4337345" y="1538053"/>
              <a:ext cx="20323" cy="20656"/>
            </a:xfrm>
            <a:custGeom>
              <a:avLst/>
              <a:gdLst>
                <a:gd name="connsiteX0" fmla="*/ -1559 w 20323"/>
                <a:gd name="connsiteY0" fmla="*/ 13606 h 20656"/>
                <a:gd name="connsiteX1" fmla="*/ 4162 w 20323"/>
                <a:gd name="connsiteY1" fmla="*/ 15123 h 20656"/>
                <a:gd name="connsiteX2" fmla="*/ 8022 w 20323"/>
                <a:gd name="connsiteY2" fmla="*/ 15743 h 20656"/>
                <a:gd name="connsiteX3" fmla="*/ -5350 w 20323"/>
                <a:gd name="connsiteY3" fmla="*/ -2384 h 20656"/>
                <a:gd name="connsiteX4" fmla="*/ -1559 w 20323"/>
                <a:gd name="connsiteY4" fmla="*/ 13606 h 20656"/>
                <a:gd name="connsiteX5" fmla="*/ -1559 w 20323"/>
                <a:gd name="connsiteY5" fmla="*/ 13606 h 2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323" h="20656">
                  <a:moveTo>
                    <a:pt x="-1559" y="13606"/>
                  </a:moveTo>
                  <a:lnTo>
                    <a:pt x="4162" y="15123"/>
                  </a:lnTo>
                  <a:cubicBezTo>
                    <a:pt x="5127" y="15260"/>
                    <a:pt x="7056" y="15605"/>
                    <a:pt x="8022" y="15743"/>
                  </a:cubicBezTo>
                  <a:cubicBezTo>
                    <a:pt x="25459" y="12710"/>
                    <a:pt x="5954" y="-12930"/>
                    <a:pt x="-5350" y="-2384"/>
                  </a:cubicBezTo>
                  <a:cubicBezTo>
                    <a:pt x="-4385" y="1613"/>
                    <a:pt x="-2524" y="9609"/>
                    <a:pt x="-1559" y="13606"/>
                  </a:cubicBezTo>
                  <a:lnTo>
                    <a:pt x="-1559" y="13606"/>
                  </a:lnTo>
                </a:path>
              </a:pathLst>
            </a:custGeom>
            <a:grpFill/>
            <a:ln w="689" cap="flat">
              <a:noFill/>
              <a:prstDash val="solid"/>
              <a:miter/>
            </a:ln>
          </p:spPr>
          <p:txBody>
            <a:bodyPr rtlCol="0" anchor="ctr"/>
            <a:lstStyle/>
            <a:p>
              <a:endParaRPr lang="en-US" sz="2400" dirty="0"/>
            </a:p>
          </p:txBody>
        </p:sp>
        <p:sp>
          <p:nvSpPr>
            <p:cNvPr id="197" name="Graphic 8">
              <a:extLst>
                <a:ext uri="{FF2B5EF4-FFF2-40B4-BE49-F238E27FC236}">
                  <a16:creationId xmlns:a16="http://schemas.microsoft.com/office/drawing/2014/main" id="{7A11917C-37B9-48C1-9258-E9B0AD806D29}"/>
                </a:ext>
              </a:extLst>
            </p:cNvPr>
            <p:cNvSpPr/>
            <p:nvPr/>
          </p:nvSpPr>
          <p:spPr>
            <a:xfrm flipV="1">
              <a:off x="4346857" y="1538053"/>
              <a:ext cx="2430468" cy="1418537"/>
            </a:xfrm>
            <a:custGeom>
              <a:avLst/>
              <a:gdLst>
                <a:gd name="connsiteX0" fmla="*/ 2421544 w 2430468"/>
                <a:gd name="connsiteY0" fmla="*/ 51720 h 1418537"/>
                <a:gd name="connsiteX1" fmla="*/ 2423405 w 2430468"/>
                <a:gd name="connsiteY1" fmla="*/ -939 h 1418537"/>
                <a:gd name="connsiteX2" fmla="*/ 2392389 w 2430468"/>
                <a:gd name="connsiteY2" fmla="*/ -3765 h 1418537"/>
                <a:gd name="connsiteX3" fmla="*/ 2384118 w 2430468"/>
                <a:gd name="connsiteY3" fmla="*/ -1214 h 1418537"/>
                <a:gd name="connsiteX4" fmla="*/ 2385152 w 2430468"/>
                <a:gd name="connsiteY4" fmla="*/ 30836 h 1418537"/>
                <a:gd name="connsiteX5" fmla="*/ 2394594 w 2430468"/>
                <a:gd name="connsiteY5" fmla="*/ 16223 h 1418537"/>
                <a:gd name="connsiteX6" fmla="*/ 2392803 w 2430468"/>
                <a:gd name="connsiteY6" fmla="*/ 13053 h 1418537"/>
                <a:gd name="connsiteX7" fmla="*/ 2394801 w 2430468"/>
                <a:gd name="connsiteY7" fmla="*/ 10641 h 1418537"/>
                <a:gd name="connsiteX8" fmla="*/ 2396731 w 2430468"/>
                <a:gd name="connsiteY8" fmla="*/ 13053 h 1418537"/>
                <a:gd name="connsiteX9" fmla="*/ 2421544 w 2430468"/>
                <a:gd name="connsiteY9" fmla="*/ 51720 h 1418537"/>
                <a:gd name="connsiteX10" fmla="*/ -6877 w 2430468"/>
                <a:gd name="connsiteY10" fmla="*/ 1414153 h 1418537"/>
                <a:gd name="connsiteX11" fmla="*/ -3017 w 2430468"/>
                <a:gd name="connsiteY11" fmla="*/ 1414773 h 1418537"/>
                <a:gd name="connsiteX12" fmla="*/ -6877 w 2430468"/>
                <a:gd name="connsiteY12" fmla="*/ 1414153 h 141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0468" h="1418537">
                  <a:moveTo>
                    <a:pt x="2421544" y="51720"/>
                  </a:moveTo>
                  <a:cubicBezTo>
                    <a:pt x="2423267" y="34213"/>
                    <a:pt x="2423957" y="16637"/>
                    <a:pt x="2423405" y="-939"/>
                  </a:cubicBezTo>
                  <a:cubicBezTo>
                    <a:pt x="2412997" y="-1973"/>
                    <a:pt x="2402659" y="-2937"/>
                    <a:pt x="2392389" y="-3765"/>
                  </a:cubicBezTo>
                  <a:cubicBezTo>
                    <a:pt x="2390321" y="-3075"/>
                    <a:pt x="2386185" y="-1835"/>
                    <a:pt x="2384118" y="-1214"/>
                  </a:cubicBezTo>
                  <a:cubicBezTo>
                    <a:pt x="2384462" y="9538"/>
                    <a:pt x="2384738" y="20221"/>
                    <a:pt x="2385152" y="30836"/>
                  </a:cubicBezTo>
                  <a:cubicBezTo>
                    <a:pt x="2387495" y="27183"/>
                    <a:pt x="2392251" y="19876"/>
                    <a:pt x="2394594" y="16223"/>
                  </a:cubicBezTo>
                  <a:lnTo>
                    <a:pt x="2392803" y="13053"/>
                  </a:lnTo>
                  <a:lnTo>
                    <a:pt x="2394801" y="10641"/>
                  </a:lnTo>
                  <a:lnTo>
                    <a:pt x="2396731" y="13053"/>
                  </a:lnTo>
                  <a:cubicBezTo>
                    <a:pt x="2406726" y="24770"/>
                    <a:pt x="2415961" y="37245"/>
                    <a:pt x="2421544" y="51720"/>
                  </a:cubicBezTo>
                  <a:close/>
                  <a:moveTo>
                    <a:pt x="-6877" y="1414153"/>
                  </a:moveTo>
                  <a:lnTo>
                    <a:pt x="-3017" y="1414773"/>
                  </a:lnTo>
                  <a:cubicBezTo>
                    <a:pt x="-3983" y="1414635"/>
                    <a:pt x="-5912" y="1414290"/>
                    <a:pt x="-6877" y="1414153"/>
                  </a:cubicBezTo>
                </a:path>
              </a:pathLst>
            </a:custGeom>
            <a:grpFill/>
            <a:ln w="689" cap="flat">
              <a:noFill/>
              <a:prstDash val="solid"/>
              <a:miter/>
            </a:ln>
          </p:spPr>
          <p:txBody>
            <a:bodyPr rtlCol="0" anchor="ctr"/>
            <a:lstStyle/>
            <a:p>
              <a:endParaRPr lang="en-US" sz="2400" dirty="0"/>
            </a:p>
          </p:txBody>
        </p:sp>
        <p:sp>
          <p:nvSpPr>
            <p:cNvPr id="198" name="Graphic 8">
              <a:extLst>
                <a:ext uri="{FF2B5EF4-FFF2-40B4-BE49-F238E27FC236}">
                  <a16:creationId xmlns:a16="http://schemas.microsoft.com/office/drawing/2014/main" id="{61628916-5DF1-4A68-98E3-A20BB8F64D4A}"/>
                </a:ext>
              </a:extLst>
            </p:cNvPr>
            <p:cNvSpPr/>
            <p:nvPr/>
          </p:nvSpPr>
          <p:spPr>
            <a:xfrm flipV="1">
              <a:off x="1355528" y="1538604"/>
              <a:ext cx="6972690" cy="850977"/>
            </a:xfrm>
            <a:custGeom>
              <a:avLst/>
              <a:gdLst>
                <a:gd name="connsiteX0" fmla="*/ 2392674 w 6972690"/>
                <a:gd name="connsiteY0" fmla="*/ -1439 h 850977"/>
                <a:gd name="connsiteX1" fmla="*/ 2392674 w 6972690"/>
                <a:gd name="connsiteY1" fmla="*/ -1439 h 850977"/>
                <a:gd name="connsiteX2" fmla="*/ 6943147 w 6972690"/>
                <a:gd name="connsiteY2" fmla="*/ 115802 h 850977"/>
                <a:gd name="connsiteX3" fmla="*/ 6966719 w 6972690"/>
                <a:gd name="connsiteY3" fmla="*/ 111804 h 850977"/>
                <a:gd name="connsiteX4" fmla="*/ 6943147 w 6972690"/>
                <a:gd name="connsiteY4" fmla="*/ 115802 h 850977"/>
                <a:gd name="connsiteX5" fmla="*/ 1034997 w 6972690"/>
                <a:gd name="connsiteY5" fmla="*/ 253996 h 850977"/>
                <a:gd name="connsiteX6" fmla="*/ 1034997 w 6972690"/>
                <a:gd name="connsiteY6" fmla="*/ 253996 h 850977"/>
                <a:gd name="connsiteX7" fmla="*/ 6522983 w 6972690"/>
                <a:gd name="connsiteY7" fmla="*/ 447398 h 850977"/>
                <a:gd name="connsiteX8" fmla="*/ 6528979 w 6972690"/>
                <a:gd name="connsiteY8" fmla="*/ 446020 h 850977"/>
                <a:gd name="connsiteX9" fmla="*/ 6525257 w 6972690"/>
                <a:gd name="connsiteY9" fmla="*/ 433751 h 850977"/>
                <a:gd name="connsiteX10" fmla="*/ 6519674 w 6972690"/>
                <a:gd name="connsiteY10" fmla="*/ 442573 h 850977"/>
                <a:gd name="connsiteX11" fmla="*/ 6522983 w 6972690"/>
                <a:gd name="connsiteY11" fmla="*/ 447398 h 850977"/>
                <a:gd name="connsiteX12" fmla="*/ 6046299 w 6972690"/>
                <a:gd name="connsiteY12" fmla="*/ 557677 h 850977"/>
                <a:gd name="connsiteX13" fmla="*/ 6046299 w 6972690"/>
                <a:gd name="connsiteY13" fmla="*/ 557677 h 850977"/>
                <a:gd name="connsiteX14" fmla="*/ 5171164 w 6972690"/>
                <a:gd name="connsiteY14" fmla="*/ 585523 h 850977"/>
                <a:gd name="connsiteX15" fmla="*/ 5181778 w 6972690"/>
                <a:gd name="connsiteY15" fmla="*/ 574151 h 850977"/>
                <a:gd name="connsiteX16" fmla="*/ 5171164 w 6972690"/>
                <a:gd name="connsiteY16" fmla="*/ 585523 h 850977"/>
                <a:gd name="connsiteX17" fmla="*/ -5972 w 6972690"/>
                <a:gd name="connsiteY17" fmla="*/ 659824 h 850977"/>
                <a:gd name="connsiteX18" fmla="*/ 30421 w 6972690"/>
                <a:gd name="connsiteY18" fmla="*/ 650036 h 850977"/>
                <a:gd name="connsiteX19" fmla="*/ 57784 w 6972690"/>
                <a:gd name="connsiteY19" fmla="*/ 652104 h 850977"/>
                <a:gd name="connsiteX20" fmla="*/ 60816 w 6972690"/>
                <a:gd name="connsiteY20" fmla="*/ 629290 h 850977"/>
                <a:gd name="connsiteX21" fmla="*/ 30558 w 6972690"/>
                <a:gd name="connsiteY21" fmla="*/ 647142 h 850977"/>
                <a:gd name="connsiteX22" fmla="*/ 55785 w 6972690"/>
                <a:gd name="connsiteY22" fmla="*/ 617986 h 850977"/>
                <a:gd name="connsiteX23" fmla="*/ 9881 w 6972690"/>
                <a:gd name="connsiteY23" fmla="*/ 617229 h 850977"/>
                <a:gd name="connsiteX24" fmla="*/ 12500 w 6972690"/>
                <a:gd name="connsiteY24" fmla="*/ 657412 h 850977"/>
                <a:gd name="connsiteX25" fmla="*/ 7676 w 6972690"/>
                <a:gd name="connsiteY25" fmla="*/ 643006 h 850977"/>
                <a:gd name="connsiteX26" fmla="*/ -5972 w 6972690"/>
                <a:gd name="connsiteY26" fmla="*/ 659824 h 850977"/>
                <a:gd name="connsiteX27" fmla="*/ 187913 w 6972690"/>
                <a:gd name="connsiteY27" fmla="*/ 778099 h 850977"/>
                <a:gd name="connsiteX28" fmla="*/ 187913 w 6972690"/>
                <a:gd name="connsiteY28" fmla="*/ 778099 h 850977"/>
                <a:gd name="connsiteX29" fmla="*/ 3006655 w 6972690"/>
                <a:gd name="connsiteY29" fmla="*/ 846748 h 850977"/>
                <a:gd name="connsiteX30" fmla="*/ 3006655 w 6972690"/>
                <a:gd name="connsiteY30" fmla="*/ 846748 h 850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72690" h="850977">
                  <a:moveTo>
                    <a:pt x="2392674" y="-1439"/>
                  </a:moveTo>
                  <a:cubicBezTo>
                    <a:pt x="2396258" y="-5161"/>
                    <a:pt x="2396258" y="-5161"/>
                    <a:pt x="2392674" y="-1439"/>
                  </a:cubicBezTo>
                  <a:close/>
                  <a:moveTo>
                    <a:pt x="6943147" y="115802"/>
                  </a:moveTo>
                  <a:cubicBezTo>
                    <a:pt x="6949419" y="120695"/>
                    <a:pt x="6964100" y="121247"/>
                    <a:pt x="6966719" y="111804"/>
                  </a:cubicBezTo>
                  <a:cubicBezTo>
                    <a:pt x="6964238" y="98915"/>
                    <a:pt x="6937839" y="102430"/>
                    <a:pt x="6943147" y="115802"/>
                  </a:cubicBezTo>
                  <a:moveTo>
                    <a:pt x="1034997" y="253996"/>
                  </a:moveTo>
                  <a:cubicBezTo>
                    <a:pt x="1038719" y="250412"/>
                    <a:pt x="1038719" y="250412"/>
                    <a:pt x="1034997" y="253996"/>
                  </a:cubicBezTo>
                  <a:moveTo>
                    <a:pt x="6522983" y="447398"/>
                  </a:moveTo>
                  <a:lnTo>
                    <a:pt x="6528979" y="446020"/>
                  </a:lnTo>
                  <a:cubicBezTo>
                    <a:pt x="6528083" y="442987"/>
                    <a:pt x="6526222" y="436784"/>
                    <a:pt x="6525257" y="433751"/>
                  </a:cubicBezTo>
                  <a:cubicBezTo>
                    <a:pt x="6523878" y="435957"/>
                    <a:pt x="6521053" y="440368"/>
                    <a:pt x="6519674" y="442573"/>
                  </a:cubicBezTo>
                  <a:lnTo>
                    <a:pt x="6522983" y="447398"/>
                  </a:lnTo>
                  <a:moveTo>
                    <a:pt x="6046299" y="557677"/>
                  </a:moveTo>
                  <a:cubicBezTo>
                    <a:pt x="6049884" y="554025"/>
                    <a:pt x="6049884" y="554025"/>
                    <a:pt x="6046299" y="557677"/>
                  </a:cubicBezTo>
                  <a:moveTo>
                    <a:pt x="5171164" y="585523"/>
                  </a:moveTo>
                  <a:cubicBezTo>
                    <a:pt x="5180744" y="587453"/>
                    <a:pt x="5184260" y="583662"/>
                    <a:pt x="5181778" y="574151"/>
                  </a:cubicBezTo>
                  <a:cubicBezTo>
                    <a:pt x="5171991" y="572290"/>
                    <a:pt x="5168476" y="576080"/>
                    <a:pt x="5171164" y="585523"/>
                  </a:cubicBezTo>
                  <a:moveTo>
                    <a:pt x="-5972" y="659824"/>
                  </a:moveTo>
                  <a:cubicBezTo>
                    <a:pt x="6711" y="661271"/>
                    <a:pt x="24493" y="665751"/>
                    <a:pt x="30421" y="650036"/>
                  </a:cubicBezTo>
                  <a:cubicBezTo>
                    <a:pt x="39519" y="650657"/>
                    <a:pt x="48617" y="651346"/>
                    <a:pt x="57784" y="652104"/>
                  </a:cubicBezTo>
                  <a:cubicBezTo>
                    <a:pt x="58818" y="644522"/>
                    <a:pt x="59783" y="636941"/>
                    <a:pt x="60816" y="629290"/>
                  </a:cubicBezTo>
                  <a:cubicBezTo>
                    <a:pt x="50891" y="635494"/>
                    <a:pt x="40759" y="641490"/>
                    <a:pt x="30558" y="647142"/>
                  </a:cubicBezTo>
                  <a:cubicBezTo>
                    <a:pt x="27319" y="630117"/>
                    <a:pt x="47307" y="627636"/>
                    <a:pt x="55785" y="617986"/>
                  </a:cubicBezTo>
                  <a:cubicBezTo>
                    <a:pt x="40484" y="616057"/>
                    <a:pt x="25182" y="616263"/>
                    <a:pt x="9881" y="617229"/>
                  </a:cubicBezTo>
                  <a:cubicBezTo>
                    <a:pt x="11122" y="630600"/>
                    <a:pt x="12087" y="643971"/>
                    <a:pt x="12500" y="657412"/>
                  </a:cubicBezTo>
                  <a:lnTo>
                    <a:pt x="7676" y="643006"/>
                  </a:lnTo>
                  <a:cubicBezTo>
                    <a:pt x="2989" y="648520"/>
                    <a:pt x="-1560" y="654103"/>
                    <a:pt x="-5972" y="659824"/>
                  </a:cubicBezTo>
                  <a:moveTo>
                    <a:pt x="187913" y="778099"/>
                  </a:moveTo>
                  <a:cubicBezTo>
                    <a:pt x="191429" y="774308"/>
                    <a:pt x="191429" y="774308"/>
                    <a:pt x="187913" y="778099"/>
                  </a:cubicBezTo>
                  <a:moveTo>
                    <a:pt x="3006655" y="846748"/>
                  </a:moveTo>
                  <a:cubicBezTo>
                    <a:pt x="3010308" y="842750"/>
                    <a:pt x="3010308" y="842750"/>
                    <a:pt x="3006655" y="846748"/>
                  </a:cubicBezTo>
                </a:path>
              </a:pathLst>
            </a:custGeom>
            <a:grpFill/>
            <a:ln w="689" cap="flat">
              <a:noFill/>
              <a:prstDash val="solid"/>
              <a:miter/>
            </a:ln>
          </p:spPr>
          <p:txBody>
            <a:bodyPr rtlCol="0" anchor="ctr"/>
            <a:lstStyle/>
            <a:p>
              <a:endParaRPr lang="en-US" sz="2400" dirty="0"/>
            </a:p>
          </p:txBody>
        </p:sp>
        <p:sp>
          <p:nvSpPr>
            <p:cNvPr id="199" name="Graphic 8">
              <a:extLst>
                <a:ext uri="{FF2B5EF4-FFF2-40B4-BE49-F238E27FC236}">
                  <a16:creationId xmlns:a16="http://schemas.microsoft.com/office/drawing/2014/main" id="{EC04CC1A-66B1-4032-B159-CEA0C2F0A4D4}"/>
                </a:ext>
              </a:extLst>
            </p:cNvPr>
            <p:cNvSpPr/>
            <p:nvPr/>
          </p:nvSpPr>
          <p:spPr>
            <a:xfrm flipV="1">
              <a:off x="2064555" y="1540051"/>
              <a:ext cx="1908524" cy="1925133"/>
            </a:xfrm>
            <a:custGeom>
              <a:avLst/>
              <a:gdLst>
                <a:gd name="connsiteX0" fmla="*/ 1510045 w 1908524"/>
                <a:gd name="connsiteY0" fmla="*/ 13886 h 1925133"/>
                <a:gd name="connsiteX1" fmla="*/ 1510528 w 1908524"/>
                <a:gd name="connsiteY1" fmla="*/ 22019 h 1925133"/>
                <a:gd name="connsiteX2" fmla="*/ 1527483 w 1908524"/>
                <a:gd name="connsiteY2" fmla="*/ 22019 h 1925133"/>
                <a:gd name="connsiteX3" fmla="*/ 1530860 w 1908524"/>
                <a:gd name="connsiteY3" fmla="*/ 19952 h 1925133"/>
                <a:gd name="connsiteX4" fmla="*/ 1527207 w 1908524"/>
                <a:gd name="connsiteY4" fmla="*/ 13817 h 1925133"/>
                <a:gd name="connsiteX5" fmla="*/ 1510045 w 1908524"/>
                <a:gd name="connsiteY5" fmla="*/ 13886 h 1925133"/>
                <a:gd name="connsiteX6" fmla="*/ 1851773 w 1908524"/>
                <a:gd name="connsiteY6" fmla="*/ 27947 h 1925133"/>
                <a:gd name="connsiteX7" fmla="*/ 1851773 w 1908524"/>
                <a:gd name="connsiteY7" fmla="*/ 27947 h 1925133"/>
                <a:gd name="connsiteX8" fmla="*/ 1844674 w 1908524"/>
                <a:gd name="connsiteY8" fmla="*/ 40905 h 1925133"/>
                <a:gd name="connsiteX9" fmla="*/ 1903811 w 1908524"/>
                <a:gd name="connsiteY9" fmla="*/ 48900 h 1925133"/>
                <a:gd name="connsiteX10" fmla="*/ 1904845 w 1908524"/>
                <a:gd name="connsiteY10" fmla="*/ 38699 h 1925133"/>
                <a:gd name="connsiteX11" fmla="*/ 1861629 w 1908524"/>
                <a:gd name="connsiteY11" fmla="*/ 25603 h 1925133"/>
                <a:gd name="connsiteX12" fmla="*/ 1893472 w 1908524"/>
                <a:gd name="connsiteY12" fmla="*/ 22364 h 1925133"/>
                <a:gd name="connsiteX13" fmla="*/ 1895403 w 1908524"/>
                <a:gd name="connsiteY13" fmla="*/ -312 h 1925133"/>
                <a:gd name="connsiteX14" fmla="*/ 1847293 w 1908524"/>
                <a:gd name="connsiteY14" fmla="*/ -3345 h 1925133"/>
                <a:gd name="connsiteX15" fmla="*/ 1838746 w 1908524"/>
                <a:gd name="connsiteY15" fmla="*/ 12025 h 1925133"/>
                <a:gd name="connsiteX16" fmla="*/ 1835645 w 1908524"/>
                <a:gd name="connsiteY16" fmla="*/ 16919 h 1925133"/>
                <a:gd name="connsiteX17" fmla="*/ 1844674 w 1908524"/>
                <a:gd name="connsiteY17" fmla="*/ 40905 h 1925133"/>
                <a:gd name="connsiteX18" fmla="*/ 1775818 w 1908524"/>
                <a:gd name="connsiteY18" fmla="*/ 1881537 h 1925133"/>
                <a:gd name="connsiteX19" fmla="*/ 1775818 w 1908524"/>
                <a:gd name="connsiteY19" fmla="*/ 1881537 h 1925133"/>
                <a:gd name="connsiteX20" fmla="*/ 16173 w 1908524"/>
                <a:gd name="connsiteY20" fmla="*/ 1921789 h 1925133"/>
                <a:gd name="connsiteX21" fmla="*/ 27959 w 1908524"/>
                <a:gd name="connsiteY21" fmla="*/ 1910761 h 1925133"/>
                <a:gd name="connsiteX22" fmla="*/ 27752 w 1908524"/>
                <a:gd name="connsiteY22" fmla="*/ 1884018 h 1925133"/>
                <a:gd name="connsiteX23" fmla="*/ 53254 w 1908524"/>
                <a:gd name="connsiteY23" fmla="*/ 1915310 h 1925133"/>
                <a:gd name="connsiteX24" fmla="*/ 65729 w 1908524"/>
                <a:gd name="connsiteY24" fmla="*/ 1912829 h 1925133"/>
                <a:gd name="connsiteX25" fmla="*/ 63731 w 1908524"/>
                <a:gd name="connsiteY25" fmla="*/ 1908004 h 1925133"/>
                <a:gd name="connsiteX26" fmla="*/ 45259 w 1908524"/>
                <a:gd name="connsiteY26" fmla="*/ 1859067 h 1925133"/>
                <a:gd name="connsiteX27" fmla="*/ 61111 w 1908524"/>
                <a:gd name="connsiteY27" fmla="*/ 1855828 h 1925133"/>
                <a:gd name="connsiteX28" fmla="*/ 63386 w 1908524"/>
                <a:gd name="connsiteY28" fmla="*/ 1855414 h 1925133"/>
                <a:gd name="connsiteX29" fmla="*/ 20101 w 1908524"/>
                <a:gd name="connsiteY29" fmla="*/ 1851899 h 1925133"/>
                <a:gd name="connsiteX30" fmla="*/ 9969 w 1908524"/>
                <a:gd name="connsiteY30" fmla="*/ 1863961 h 1925133"/>
                <a:gd name="connsiteX31" fmla="*/ -2713 w 1908524"/>
                <a:gd name="connsiteY31" fmla="*/ 1847488 h 1925133"/>
                <a:gd name="connsiteX32" fmla="*/ 13278 w 1908524"/>
                <a:gd name="connsiteY32" fmla="*/ 1887051 h 1925133"/>
                <a:gd name="connsiteX33" fmla="*/ 13898 w 1908524"/>
                <a:gd name="connsiteY33" fmla="*/ 1895597 h 1925133"/>
                <a:gd name="connsiteX34" fmla="*/ 16173 w 1908524"/>
                <a:gd name="connsiteY34" fmla="*/ 1921789 h 192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08524" h="1925133">
                  <a:moveTo>
                    <a:pt x="1510045" y="13886"/>
                  </a:moveTo>
                  <a:cubicBezTo>
                    <a:pt x="1510114" y="15885"/>
                    <a:pt x="1510390" y="20020"/>
                    <a:pt x="1510528" y="22019"/>
                  </a:cubicBezTo>
                  <a:cubicBezTo>
                    <a:pt x="1514801" y="22019"/>
                    <a:pt x="1523279" y="22019"/>
                    <a:pt x="1527483" y="22019"/>
                  </a:cubicBezTo>
                  <a:lnTo>
                    <a:pt x="1530860" y="19952"/>
                  </a:lnTo>
                  <a:cubicBezTo>
                    <a:pt x="1529964" y="18435"/>
                    <a:pt x="1528172" y="15334"/>
                    <a:pt x="1527207" y="13817"/>
                  </a:cubicBezTo>
                  <a:cubicBezTo>
                    <a:pt x="1522934" y="13817"/>
                    <a:pt x="1514318" y="13886"/>
                    <a:pt x="1510045" y="13886"/>
                  </a:cubicBezTo>
                  <a:close/>
                  <a:moveTo>
                    <a:pt x="1851773" y="27947"/>
                  </a:moveTo>
                  <a:cubicBezTo>
                    <a:pt x="1855702" y="23949"/>
                    <a:pt x="1855702" y="23949"/>
                    <a:pt x="1851773" y="27947"/>
                  </a:cubicBezTo>
                  <a:moveTo>
                    <a:pt x="1844674" y="40905"/>
                  </a:moveTo>
                  <a:cubicBezTo>
                    <a:pt x="1864179" y="44971"/>
                    <a:pt x="1883961" y="47521"/>
                    <a:pt x="1903811" y="48900"/>
                  </a:cubicBezTo>
                  <a:cubicBezTo>
                    <a:pt x="1904087" y="46350"/>
                    <a:pt x="1904569" y="41249"/>
                    <a:pt x="1904845" y="38699"/>
                  </a:cubicBezTo>
                  <a:cubicBezTo>
                    <a:pt x="1889682" y="36907"/>
                    <a:pt x="1875139" y="32427"/>
                    <a:pt x="1861629" y="25603"/>
                  </a:cubicBezTo>
                  <a:cubicBezTo>
                    <a:pt x="1872175" y="24501"/>
                    <a:pt x="1882789" y="23398"/>
                    <a:pt x="1893472" y="22364"/>
                  </a:cubicBezTo>
                  <a:cubicBezTo>
                    <a:pt x="1893955" y="16712"/>
                    <a:pt x="1894920" y="5340"/>
                    <a:pt x="1895403" y="-312"/>
                  </a:cubicBezTo>
                  <a:cubicBezTo>
                    <a:pt x="1879274" y="-726"/>
                    <a:pt x="1863215" y="-1691"/>
                    <a:pt x="1847293" y="-3345"/>
                  </a:cubicBezTo>
                  <a:cubicBezTo>
                    <a:pt x="1845157" y="515"/>
                    <a:pt x="1840883" y="8165"/>
                    <a:pt x="1838746" y="12025"/>
                  </a:cubicBezTo>
                  <a:cubicBezTo>
                    <a:pt x="1837988" y="13266"/>
                    <a:pt x="1836403" y="15747"/>
                    <a:pt x="1835645" y="16919"/>
                  </a:cubicBezTo>
                  <a:cubicBezTo>
                    <a:pt x="1838677" y="24983"/>
                    <a:pt x="1841641" y="32978"/>
                    <a:pt x="1844674" y="40905"/>
                  </a:cubicBezTo>
                  <a:moveTo>
                    <a:pt x="1775818" y="1881537"/>
                  </a:moveTo>
                  <a:cubicBezTo>
                    <a:pt x="1779471" y="1877677"/>
                    <a:pt x="1779471" y="1877677"/>
                    <a:pt x="1775818" y="1881537"/>
                  </a:cubicBezTo>
                  <a:moveTo>
                    <a:pt x="16173" y="1921789"/>
                  </a:moveTo>
                  <a:cubicBezTo>
                    <a:pt x="19136" y="1919032"/>
                    <a:pt x="25064" y="1913518"/>
                    <a:pt x="27959" y="1910761"/>
                  </a:cubicBezTo>
                  <a:cubicBezTo>
                    <a:pt x="27890" y="1904075"/>
                    <a:pt x="27821" y="1890704"/>
                    <a:pt x="27752" y="1884018"/>
                  </a:cubicBezTo>
                  <a:cubicBezTo>
                    <a:pt x="37746" y="1893047"/>
                    <a:pt x="56080" y="1898423"/>
                    <a:pt x="53254" y="1915310"/>
                  </a:cubicBezTo>
                  <a:cubicBezTo>
                    <a:pt x="56356" y="1914689"/>
                    <a:pt x="62628" y="1913449"/>
                    <a:pt x="65729" y="1912829"/>
                  </a:cubicBezTo>
                  <a:lnTo>
                    <a:pt x="63731" y="1908004"/>
                  </a:lnTo>
                  <a:cubicBezTo>
                    <a:pt x="56907" y="1891944"/>
                    <a:pt x="50842" y="1875609"/>
                    <a:pt x="45259" y="1859067"/>
                  </a:cubicBezTo>
                  <a:cubicBezTo>
                    <a:pt x="49187" y="1858240"/>
                    <a:pt x="57114" y="1856655"/>
                    <a:pt x="61111" y="1855828"/>
                  </a:cubicBezTo>
                  <a:lnTo>
                    <a:pt x="63386" y="1855414"/>
                  </a:lnTo>
                  <a:cubicBezTo>
                    <a:pt x="48912" y="1854105"/>
                    <a:pt x="34507" y="1853140"/>
                    <a:pt x="20101" y="1851899"/>
                  </a:cubicBezTo>
                  <a:cubicBezTo>
                    <a:pt x="17551" y="1854932"/>
                    <a:pt x="12520" y="1860928"/>
                    <a:pt x="9969" y="1863961"/>
                  </a:cubicBezTo>
                  <a:cubicBezTo>
                    <a:pt x="6523" y="1857827"/>
                    <a:pt x="2319" y="1852313"/>
                    <a:pt x="-2713" y="1847488"/>
                  </a:cubicBezTo>
                  <a:cubicBezTo>
                    <a:pt x="-6297" y="1863341"/>
                    <a:pt x="320" y="1877815"/>
                    <a:pt x="13278" y="1887051"/>
                  </a:cubicBezTo>
                  <a:cubicBezTo>
                    <a:pt x="13416" y="1889187"/>
                    <a:pt x="13760" y="1893461"/>
                    <a:pt x="13898" y="1895597"/>
                  </a:cubicBezTo>
                  <a:cubicBezTo>
                    <a:pt x="14450" y="1902145"/>
                    <a:pt x="15621" y="1915241"/>
                    <a:pt x="16173" y="1921789"/>
                  </a:cubicBezTo>
                </a:path>
              </a:pathLst>
            </a:custGeom>
            <a:grpFill/>
            <a:ln w="689" cap="flat">
              <a:noFill/>
              <a:prstDash val="solid"/>
              <a:miter/>
            </a:ln>
          </p:spPr>
          <p:txBody>
            <a:bodyPr rtlCol="0" anchor="ctr"/>
            <a:lstStyle/>
            <a:p>
              <a:endParaRPr lang="en-US" sz="2400" dirty="0"/>
            </a:p>
          </p:txBody>
        </p:sp>
        <p:sp>
          <p:nvSpPr>
            <p:cNvPr id="200" name="Graphic 8">
              <a:extLst>
                <a:ext uri="{FF2B5EF4-FFF2-40B4-BE49-F238E27FC236}">
                  <a16:creationId xmlns:a16="http://schemas.microsoft.com/office/drawing/2014/main" id="{107580EB-962B-4420-ABC7-090E77F08502}"/>
                </a:ext>
              </a:extLst>
            </p:cNvPr>
            <p:cNvSpPr/>
            <p:nvPr/>
          </p:nvSpPr>
          <p:spPr>
            <a:xfrm flipV="1">
              <a:off x="2254982" y="1545221"/>
              <a:ext cx="3862697" cy="790496"/>
            </a:xfrm>
            <a:custGeom>
              <a:avLst/>
              <a:gdLst>
                <a:gd name="connsiteX0" fmla="*/ 3850095 w 3862697"/>
                <a:gd name="connsiteY0" fmla="*/ -4269 h 790496"/>
                <a:gd name="connsiteX1" fmla="*/ 3855885 w 3862697"/>
                <a:gd name="connsiteY1" fmla="*/ -3580 h 790496"/>
                <a:gd name="connsiteX2" fmla="*/ 3850095 w 3862697"/>
                <a:gd name="connsiteY2" fmla="*/ -4269 h 790496"/>
                <a:gd name="connsiteX3" fmla="*/ -2929 w 3862697"/>
                <a:gd name="connsiteY3" fmla="*/ 786227 h 790496"/>
                <a:gd name="connsiteX4" fmla="*/ -2929 w 3862697"/>
                <a:gd name="connsiteY4" fmla="*/ 786227 h 790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2697" h="790496">
                  <a:moveTo>
                    <a:pt x="3850095" y="-4269"/>
                  </a:moveTo>
                  <a:cubicBezTo>
                    <a:pt x="3838310" y="8620"/>
                    <a:pt x="3864156" y="11446"/>
                    <a:pt x="3855885" y="-3580"/>
                  </a:cubicBezTo>
                  <a:lnTo>
                    <a:pt x="3850095" y="-4269"/>
                  </a:lnTo>
                  <a:close/>
                  <a:moveTo>
                    <a:pt x="-2929" y="786227"/>
                  </a:moveTo>
                  <a:cubicBezTo>
                    <a:pt x="19747" y="785400"/>
                    <a:pt x="-13750" y="765205"/>
                    <a:pt x="-2929" y="786227"/>
                  </a:cubicBezTo>
                </a:path>
              </a:pathLst>
            </a:custGeom>
            <a:grpFill/>
            <a:ln w="689" cap="flat">
              <a:noFill/>
              <a:prstDash val="solid"/>
              <a:miter/>
            </a:ln>
          </p:spPr>
          <p:txBody>
            <a:bodyPr rtlCol="0" anchor="ctr"/>
            <a:lstStyle/>
            <a:p>
              <a:endParaRPr lang="en-US" sz="2400" dirty="0"/>
            </a:p>
          </p:txBody>
        </p:sp>
        <p:sp>
          <p:nvSpPr>
            <p:cNvPr id="201" name="Graphic 8">
              <a:extLst>
                <a:ext uri="{FF2B5EF4-FFF2-40B4-BE49-F238E27FC236}">
                  <a16:creationId xmlns:a16="http://schemas.microsoft.com/office/drawing/2014/main" id="{CF220BE7-E9DF-4F12-B4F3-28E9D0BF774D}"/>
                </a:ext>
              </a:extLst>
            </p:cNvPr>
            <p:cNvSpPr/>
            <p:nvPr/>
          </p:nvSpPr>
          <p:spPr>
            <a:xfrm flipV="1">
              <a:off x="1577397" y="1542628"/>
              <a:ext cx="2674275" cy="710518"/>
            </a:xfrm>
            <a:custGeom>
              <a:avLst/>
              <a:gdLst>
                <a:gd name="connsiteX0" fmla="*/ -3548 w 2674275"/>
                <a:gd name="connsiteY0" fmla="*/ 35982 h 710518"/>
                <a:gd name="connsiteX1" fmla="*/ 14028 w 2674275"/>
                <a:gd name="connsiteY1" fmla="*/ 57900 h 710518"/>
                <a:gd name="connsiteX2" fmla="*/ 21472 w 2674275"/>
                <a:gd name="connsiteY2" fmla="*/ -4339 h 710518"/>
                <a:gd name="connsiteX3" fmla="*/ -1274 w 2674275"/>
                <a:gd name="connsiteY3" fmla="*/ -1376 h 710518"/>
                <a:gd name="connsiteX4" fmla="*/ -3548 w 2674275"/>
                <a:gd name="connsiteY4" fmla="*/ 35982 h 710518"/>
                <a:gd name="connsiteX5" fmla="*/ 1071952 w 2674275"/>
                <a:gd name="connsiteY5" fmla="*/ 283007 h 710518"/>
                <a:gd name="connsiteX6" fmla="*/ 1147148 w 2674275"/>
                <a:gd name="connsiteY6" fmla="*/ 291209 h 710518"/>
                <a:gd name="connsiteX7" fmla="*/ 1152593 w 2674275"/>
                <a:gd name="connsiteY7" fmla="*/ 287488 h 710518"/>
                <a:gd name="connsiteX8" fmla="*/ 1148941 w 2674275"/>
                <a:gd name="connsiteY8" fmla="*/ 254059 h 710518"/>
                <a:gd name="connsiteX9" fmla="*/ 1128883 w 2674275"/>
                <a:gd name="connsiteY9" fmla="*/ 284110 h 710518"/>
                <a:gd name="connsiteX10" fmla="*/ 1097867 w 2674275"/>
                <a:gd name="connsiteY10" fmla="*/ 285902 h 710518"/>
                <a:gd name="connsiteX11" fmla="*/ 1095386 w 2674275"/>
                <a:gd name="connsiteY11" fmla="*/ 265707 h 710518"/>
                <a:gd name="connsiteX12" fmla="*/ 1108413 w 2674275"/>
                <a:gd name="connsiteY12" fmla="*/ 276046 h 710518"/>
                <a:gd name="connsiteX13" fmla="*/ 1110687 w 2674275"/>
                <a:gd name="connsiteY13" fmla="*/ 258126 h 710518"/>
                <a:gd name="connsiteX14" fmla="*/ 1121577 w 2674275"/>
                <a:gd name="connsiteY14" fmla="*/ 268809 h 710518"/>
                <a:gd name="connsiteX15" fmla="*/ 1122198 w 2674275"/>
                <a:gd name="connsiteY15" fmla="*/ 261227 h 710518"/>
                <a:gd name="connsiteX16" fmla="*/ 1115374 w 2674275"/>
                <a:gd name="connsiteY16" fmla="*/ 235794 h 710518"/>
                <a:gd name="connsiteX17" fmla="*/ 1102899 w 2674275"/>
                <a:gd name="connsiteY17" fmla="*/ 254128 h 710518"/>
                <a:gd name="connsiteX18" fmla="*/ 1101107 w 2674275"/>
                <a:gd name="connsiteY18" fmla="*/ 222078 h 710518"/>
                <a:gd name="connsiteX19" fmla="*/ 1097040 w 2674275"/>
                <a:gd name="connsiteY19" fmla="*/ 212773 h 710518"/>
                <a:gd name="connsiteX20" fmla="*/ 1079465 w 2674275"/>
                <a:gd name="connsiteY20" fmla="*/ 231590 h 710518"/>
                <a:gd name="connsiteX21" fmla="*/ 1089596 w 2674275"/>
                <a:gd name="connsiteY21" fmla="*/ 120483 h 710518"/>
                <a:gd name="connsiteX22" fmla="*/ 1065473 w 2674275"/>
                <a:gd name="connsiteY22" fmla="*/ 119863 h 710518"/>
                <a:gd name="connsiteX23" fmla="*/ 1055617 w 2674275"/>
                <a:gd name="connsiteY23" fmla="*/ 171970 h 710518"/>
                <a:gd name="connsiteX24" fmla="*/ 1051964 w 2674275"/>
                <a:gd name="connsiteY24" fmla="*/ 198368 h 710518"/>
                <a:gd name="connsiteX25" fmla="*/ 1090630 w 2674275"/>
                <a:gd name="connsiteY25" fmla="*/ 276322 h 710518"/>
                <a:gd name="connsiteX26" fmla="*/ 1071952 w 2674275"/>
                <a:gd name="connsiteY26" fmla="*/ 283007 h 710518"/>
                <a:gd name="connsiteX27" fmla="*/ 2598081 w 2674275"/>
                <a:gd name="connsiteY27" fmla="*/ 696280 h 710518"/>
                <a:gd name="connsiteX28" fmla="*/ 2670727 w 2674275"/>
                <a:gd name="connsiteY28" fmla="*/ 705998 h 710518"/>
                <a:gd name="connsiteX29" fmla="*/ 2665834 w 2674275"/>
                <a:gd name="connsiteY29" fmla="*/ 676222 h 710518"/>
                <a:gd name="connsiteX30" fmla="*/ 2640263 w 2674275"/>
                <a:gd name="connsiteY30" fmla="*/ 674982 h 710518"/>
                <a:gd name="connsiteX31" fmla="*/ 2637575 w 2674275"/>
                <a:gd name="connsiteY31" fmla="*/ 700277 h 710518"/>
                <a:gd name="connsiteX32" fmla="*/ 2624686 w 2674275"/>
                <a:gd name="connsiteY32" fmla="*/ 690766 h 710518"/>
                <a:gd name="connsiteX33" fmla="*/ 2626754 w 2674275"/>
                <a:gd name="connsiteY33" fmla="*/ 686147 h 710518"/>
                <a:gd name="connsiteX34" fmla="*/ 2626064 w 2674275"/>
                <a:gd name="connsiteY34" fmla="*/ 680633 h 710518"/>
                <a:gd name="connsiteX35" fmla="*/ 2619034 w 2674275"/>
                <a:gd name="connsiteY35" fmla="*/ 655407 h 710518"/>
                <a:gd name="connsiteX36" fmla="*/ 2574233 w 2674275"/>
                <a:gd name="connsiteY36" fmla="*/ 660163 h 710518"/>
                <a:gd name="connsiteX37" fmla="*/ 2599252 w 2674275"/>
                <a:gd name="connsiteY37" fmla="*/ 684424 h 710518"/>
                <a:gd name="connsiteX38" fmla="*/ 2598081 w 2674275"/>
                <a:gd name="connsiteY38" fmla="*/ 696280 h 71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74275" h="710518">
                  <a:moveTo>
                    <a:pt x="-3548" y="35982"/>
                  </a:moveTo>
                  <a:cubicBezTo>
                    <a:pt x="2241" y="43357"/>
                    <a:pt x="8100" y="50662"/>
                    <a:pt x="14028" y="57900"/>
                  </a:cubicBezTo>
                  <a:cubicBezTo>
                    <a:pt x="14993" y="37015"/>
                    <a:pt x="16991" y="16131"/>
                    <a:pt x="21472" y="-4339"/>
                  </a:cubicBezTo>
                  <a:cubicBezTo>
                    <a:pt x="13821" y="-3305"/>
                    <a:pt x="6239" y="-2341"/>
                    <a:pt x="-1274" y="-1376"/>
                  </a:cubicBezTo>
                  <a:cubicBezTo>
                    <a:pt x="-1343" y="11169"/>
                    <a:pt x="-1894" y="23644"/>
                    <a:pt x="-3548" y="35982"/>
                  </a:cubicBezTo>
                  <a:close/>
                  <a:moveTo>
                    <a:pt x="1071952" y="283007"/>
                  </a:moveTo>
                  <a:cubicBezTo>
                    <a:pt x="1094973" y="294863"/>
                    <a:pt x="1122129" y="290175"/>
                    <a:pt x="1147148" y="291209"/>
                  </a:cubicBezTo>
                  <a:lnTo>
                    <a:pt x="1152593" y="287488"/>
                  </a:lnTo>
                  <a:cubicBezTo>
                    <a:pt x="1151629" y="276322"/>
                    <a:pt x="1150457" y="265225"/>
                    <a:pt x="1148941" y="254059"/>
                  </a:cubicBezTo>
                  <a:cubicBezTo>
                    <a:pt x="1140394" y="262744"/>
                    <a:pt x="1133984" y="273151"/>
                    <a:pt x="1128883" y="284110"/>
                  </a:cubicBezTo>
                  <a:cubicBezTo>
                    <a:pt x="1118545" y="284937"/>
                    <a:pt x="1108206" y="285902"/>
                    <a:pt x="1097867" y="285902"/>
                  </a:cubicBezTo>
                  <a:cubicBezTo>
                    <a:pt x="1097247" y="280871"/>
                    <a:pt x="1096006" y="270808"/>
                    <a:pt x="1095386" y="265707"/>
                  </a:cubicBezTo>
                  <a:cubicBezTo>
                    <a:pt x="1098694" y="268327"/>
                    <a:pt x="1105173" y="273427"/>
                    <a:pt x="1108413" y="276046"/>
                  </a:cubicBezTo>
                  <a:cubicBezTo>
                    <a:pt x="1109033" y="271566"/>
                    <a:pt x="1110136" y="262606"/>
                    <a:pt x="1110687" y="258126"/>
                  </a:cubicBezTo>
                  <a:cubicBezTo>
                    <a:pt x="1113444" y="260814"/>
                    <a:pt x="1118820" y="266121"/>
                    <a:pt x="1121577" y="268809"/>
                  </a:cubicBezTo>
                  <a:cubicBezTo>
                    <a:pt x="1121715" y="266879"/>
                    <a:pt x="1122060" y="263088"/>
                    <a:pt x="1122198" y="261227"/>
                  </a:cubicBezTo>
                  <a:cubicBezTo>
                    <a:pt x="1119854" y="252750"/>
                    <a:pt x="1117580" y="244272"/>
                    <a:pt x="1115374" y="235794"/>
                  </a:cubicBezTo>
                  <a:cubicBezTo>
                    <a:pt x="1111170" y="241928"/>
                    <a:pt x="1106965" y="247994"/>
                    <a:pt x="1102899" y="254128"/>
                  </a:cubicBezTo>
                  <a:cubicBezTo>
                    <a:pt x="1102623" y="243445"/>
                    <a:pt x="1102003" y="232761"/>
                    <a:pt x="1101107" y="222078"/>
                  </a:cubicBezTo>
                  <a:cubicBezTo>
                    <a:pt x="1100073" y="219735"/>
                    <a:pt x="1098074" y="215117"/>
                    <a:pt x="1097040" y="212773"/>
                  </a:cubicBezTo>
                  <a:cubicBezTo>
                    <a:pt x="1092629" y="217529"/>
                    <a:pt x="1083876" y="226903"/>
                    <a:pt x="1079465" y="231590"/>
                  </a:cubicBezTo>
                  <a:cubicBezTo>
                    <a:pt x="1055961" y="196231"/>
                    <a:pt x="1076501" y="155566"/>
                    <a:pt x="1089596" y="120483"/>
                  </a:cubicBezTo>
                  <a:cubicBezTo>
                    <a:pt x="1081532" y="120345"/>
                    <a:pt x="1073468" y="120139"/>
                    <a:pt x="1065473" y="119863"/>
                  </a:cubicBezTo>
                  <a:cubicBezTo>
                    <a:pt x="1065955" y="137783"/>
                    <a:pt x="1065335" y="156324"/>
                    <a:pt x="1055617" y="171970"/>
                  </a:cubicBezTo>
                  <a:cubicBezTo>
                    <a:pt x="1054307" y="180792"/>
                    <a:pt x="1053135" y="189615"/>
                    <a:pt x="1051964" y="198368"/>
                  </a:cubicBezTo>
                  <a:cubicBezTo>
                    <a:pt x="1072986" y="219252"/>
                    <a:pt x="1086908" y="246822"/>
                    <a:pt x="1090630" y="276322"/>
                  </a:cubicBezTo>
                  <a:cubicBezTo>
                    <a:pt x="1085943" y="277976"/>
                    <a:pt x="1076639" y="281353"/>
                    <a:pt x="1071952" y="283007"/>
                  </a:cubicBezTo>
                  <a:moveTo>
                    <a:pt x="2598081" y="696280"/>
                  </a:moveTo>
                  <a:cubicBezTo>
                    <a:pt x="2618345" y="712683"/>
                    <a:pt x="2646810" y="703034"/>
                    <a:pt x="2670727" y="705998"/>
                  </a:cubicBezTo>
                  <a:cubicBezTo>
                    <a:pt x="2666661" y="696624"/>
                    <a:pt x="2665489" y="686492"/>
                    <a:pt x="2665834" y="676222"/>
                  </a:cubicBezTo>
                  <a:cubicBezTo>
                    <a:pt x="2657218" y="675878"/>
                    <a:pt x="2648740" y="675464"/>
                    <a:pt x="2640263" y="674982"/>
                  </a:cubicBezTo>
                  <a:cubicBezTo>
                    <a:pt x="2639573" y="681254"/>
                    <a:pt x="2638264" y="693936"/>
                    <a:pt x="2637575" y="700277"/>
                  </a:cubicBezTo>
                  <a:lnTo>
                    <a:pt x="2624686" y="690766"/>
                  </a:lnTo>
                  <a:lnTo>
                    <a:pt x="2626754" y="686147"/>
                  </a:lnTo>
                  <a:lnTo>
                    <a:pt x="2626064" y="680633"/>
                  </a:lnTo>
                  <a:cubicBezTo>
                    <a:pt x="2622204" y="672707"/>
                    <a:pt x="2619861" y="664299"/>
                    <a:pt x="2619034" y="655407"/>
                  </a:cubicBezTo>
                  <a:cubicBezTo>
                    <a:pt x="2603801" y="652306"/>
                    <a:pt x="2587329" y="649342"/>
                    <a:pt x="2574233" y="660163"/>
                  </a:cubicBezTo>
                  <a:cubicBezTo>
                    <a:pt x="2589465" y="660852"/>
                    <a:pt x="2590224" y="676360"/>
                    <a:pt x="2599252" y="684424"/>
                  </a:cubicBezTo>
                  <a:cubicBezTo>
                    <a:pt x="2603250" y="688147"/>
                    <a:pt x="2602906" y="692075"/>
                    <a:pt x="2598081" y="696280"/>
                  </a:cubicBezTo>
                </a:path>
              </a:pathLst>
            </a:custGeom>
            <a:grpFill/>
            <a:ln w="689" cap="flat">
              <a:noFill/>
              <a:prstDash val="solid"/>
              <a:miter/>
            </a:ln>
          </p:spPr>
          <p:txBody>
            <a:bodyPr rtlCol="0" anchor="ctr"/>
            <a:lstStyle/>
            <a:p>
              <a:endParaRPr lang="en-US" sz="2400" dirty="0"/>
            </a:p>
          </p:txBody>
        </p:sp>
        <p:sp>
          <p:nvSpPr>
            <p:cNvPr id="202" name="Graphic 8">
              <a:extLst>
                <a:ext uri="{FF2B5EF4-FFF2-40B4-BE49-F238E27FC236}">
                  <a16:creationId xmlns:a16="http://schemas.microsoft.com/office/drawing/2014/main" id="{465A839E-A3DD-4653-9DDA-E51BF6032E52}"/>
                </a:ext>
              </a:extLst>
            </p:cNvPr>
            <p:cNvSpPr/>
            <p:nvPr/>
          </p:nvSpPr>
          <p:spPr>
            <a:xfrm flipV="1">
              <a:off x="3886027" y="1559013"/>
              <a:ext cx="88223" cy="38176"/>
            </a:xfrm>
            <a:custGeom>
              <a:avLst/>
              <a:gdLst>
                <a:gd name="connsiteX0" fmla="*/ -4825 w 88223"/>
                <a:gd name="connsiteY0" fmla="*/ 26358 h 38176"/>
                <a:gd name="connsiteX1" fmla="*/ 80848 w 88223"/>
                <a:gd name="connsiteY1" fmla="*/ 33043 h 38176"/>
                <a:gd name="connsiteX2" fmla="*/ 83398 w 88223"/>
                <a:gd name="connsiteY2" fmla="*/ 18983 h 38176"/>
                <a:gd name="connsiteX3" fmla="*/ 76713 w 88223"/>
                <a:gd name="connsiteY3" fmla="*/ 31389 h 38176"/>
                <a:gd name="connsiteX4" fmla="*/ 64375 w 88223"/>
                <a:gd name="connsiteY4" fmla="*/ 19327 h 38176"/>
                <a:gd name="connsiteX5" fmla="*/ 80021 w 88223"/>
                <a:gd name="connsiteY5" fmla="*/ 8231 h 38176"/>
                <a:gd name="connsiteX6" fmla="*/ 51073 w 88223"/>
                <a:gd name="connsiteY6" fmla="*/ -4865 h 38176"/>
                <a:gd name="connsiteX7" fmla="*/ 50797 w 88223"/>
                <a:gd name="connsiteY7" fmla="*/ 21395 h 38176"/>
                <a:gd name="connsiteX8" fmla="*/ 45421 w 88223"/>
                <a:gd name="connsiteY8" fmla="*/ 2648 h 38176"/>
                <a:gd name="connsiteX9" fmla="*/ 18265 w 88223"/>
                <a:gd name="connsiteY9" fmla="*/ 7197 h 38176"/>
                <a:gd name="connsiteX10" fmla="*/ -4825 w 88223"/>
                <a:gd name="connsiteY10" fmla="*/ 26358 h 38176"/>
                <a:gd name="connsiteX11" fmla="*/ -4825 w 88223"/>
                <a:gd name="connsiteY11" fmla="*/ 26358 h 38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223" h="38176">
                  <a:moveTo>
                    <a:pt x="-4825" y="26358"/>
                  </a:moveTo>
                  <a:cubicBezTo>
                    <a:pt x="23710" y="28770"/>
                    <a:pt x="52176" y="34629"/>
                    <a:pt x="80848" y="33043"/>
                  </a:cubicBezTo>
                  <a:cubicBezTo>
                    <a:pt x="81469" y="29528"/>
                    <a:pt x="82778" y="22498"/>
                    <a:pt x="83398" y="18983"/>
                  </a:cubicBezTo>
                  <a:lnTo>
                    <a:pt x="76713" y="31389"/>
                  </a:lnTo>
                  <a:cubicBezTo>
                    <a:pt x="72508" y="27460"/>
                    <a:pt x="68373" y="23394"/>
                    <a:pt x="64375" y="19327"/>
                  </a:cubicBezTo>
                  <a:cubicBezTo>
                    <a:pt x="68304" y="16502"/>
                    <a:pt x="76092" y="10988"/>
                    <a:pt x="80021" y="8231"/>
                  </a:cubicBezTo>
                  <a:cubicBezTo>
                    <a:pt x="69958" y="4577"/>
                    <a:pt x="60584" y="-178"/>
                    <a:pt x="51073" y="-4865"/>
                  </a:cubicBezTo>
                  <a:cubicBezTo>
                    <a:pt x="56724" y="4371"/>
                    <a:pt x="64375" y="15399"/>
                    <a:pt x="50797" y="21395"/>
                  </a:cubicBezTo>
                  <a:cubicBezTo>
                    <a:pt x="49487" y="16708"/>
                    <a:pt x="46799" y="7334"/>
                    <a:pt x="45421" y="2648"/>
                  </a:cubicBezTo>
                  <a:cubicBezTo>
                    <a:pt x="37357" y="8851"/>
                    <a:pt x="27845" y="9057"/>
                    <a:pt x="18265" y="7197"/>
                  </a:cubicBezTo>
                  <a:cubicBezTo>
                    <a:pt x="7237" y="7679"/>
                    <a:pt x="275" y="17949"/>
                    <a:pt x="-4825" y="26358"/>
                  </a:cubicBezTo>
                  <a:lnTo>
                    <a:pt x="-4825" y="26358"/>
                  </a:lnTo>
                </a:path>
              </a:pathLst>
            </a:custGeom>
            <a:grpFill/>
            <a:ln w="689" cap="flat">
              <a:noFill/>
              <a:prstDash val="solid"/>
              <a:miter/>
            </a:ln>
          </p:spPr>
          <p:txBody>
            <a:bodyPr rtlCol="0" anchor="ctr"/>
            <a:lstStyle/>
            <a:p>
              <a:endParaRPr lang="en-US" sz="2400" dirty="0"/>
            </a:p>
          </p:txBody>
        </p:sp>
        <p:sp>
          <p:nvSpPr>
            <p:cNvPr id="203" name="Graphic 8">
              <a:extLst>
                <a:ext uri="{FF2B5EF4-FFF2-40B4-BE49-F238E27FC236}">
                  <a16:creationId xmlns:a16="http://schemas.microsoft.com/office/drawing/2014/main" id="{75E3D86F-CE67-4043-B813-2B09390A0549}"/>
                </a:ext>
              </a:extLst>
            </p:cNvPr>
            <p:cNvSpPr/>
            <p:nvPr/>
          </p:nvSpPr>
          <p:spPr>
            <a:xfrm flipV="1">
              <a:off x="1423006" y="1564795"/>
              <a:ext cx="12337" cy="7857"/>
            </a:xfrm>
            <a:custGeom>
              <a:avLst/>
              <a:gdLst>
                <a:gd name="connsiteX0" fmla="*/ 249 w 12337"/>
                <a:gd name="connsiteY0" fmla="*/ 2977 h 7857"/>
                <a:gd name="connsiteX1" fmla="*/ 10657 w 12337"/>
                <a:gd name="connsiteY1" fmla="*/ 1047 h 7857"/>
                <a:gd name="connsiteX2" fmla="*/ 10175 w 12337"/>
                <a:gd name="connsiteY2" fmla="*/ -4881 h 7857"/>
                <a:gd name="connsiteX3" fmla="*/ -1680 w 12337"/>
                <a:gd name="connsiteY3" fmla="*/ -1572 h 7857"/>
                <a:gd name="connsiteX4" fmla="*/ 249 w 12337"/>
                <a:gd name="connsiteY4" fmla="*/ 2977 h 7857"/>
                <a:gd name="connsiteX5" fmla="*/ 249 w 12337"/>
                <a:gd name="connsiteY5" fmla="*/ 2977 h 7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37" h="7857">
                  <a:moveTo>
                    <a:pt x="249" y="2977"/>
                  </a:moveTo>
                  <a:cubicBezTo>
                    <a:pt x="2869" y="2495"/>
                    <a:pt x="8038" y="1530"/>
                    <a:pt x="10657" y="1047"/>
                  </a:cubicBezTo>
                  <a:lnTo>
                    <a:pt x="10175" y="-4881"/>
                  </a:lnTo>
                  <a:cubicBezTo>
                    <a:pt x="7211" y="-4053"/>
                    <a:pt x="1283" y="-2399"/>
                    <a:pt x="-1680" y="-1572"/>
                  </a:cubicBezTo>
                  <a:lnTo>
                    <a:pt x="249" y="2977"/>
                  </a:lnTo>
                  <a:lnTo>
                    <a:pt x="249" y="2977"/>
                  </a:lnTo>
                </a:path>
              </a:pathLst>
            </a:custGeom>
            <a:grpFill/>
            <a:ln w="689" cap="flat">
              <a:noFill/>
              <a:prstDash val="solid"/>
              <a:miter/>
            </a:ln>
          </p:spPr>
          <p:txBody>
            <a:bodyPr rtlCol="0" anchor="ctr"/>
            <a:lstStyle/>
            <a:p>
              <a:endParaRPr lang="en-US" sz="2400" dirty="0"/>
            </a:p>
          </p:txBody>
        </p:sp>
        <p:sp>
          <p:nvSpPr>
            <p:cNvPr id="204" name="Graphic 8">
              <a:extLst>
                <a:ext uri="{FF2B5EF4-FFF2-40B4-BE49-F238E27FC236}">
                  <a16:creationId xmlns:a16="http://schemas.microsoft.com/office/drawing/2014/main" id="{E2F46765-45EA-4A3F-9D69-16A40BF721CB}"/>
                </a:ext>
              </a:extLst>
            </p:cNvPr>
            <p:cNvSpPr/>
            <p:nvPr/>
          </p:nvSpPr>
          <p:spPr>
            <a:xfrm flipV="1">
              <a:off x="1444717" y="1562176"/>
              <a:ext cx="17907" cy="10742"/>
            </a:xfrm>
            <a:custGeom>
              <a:avLst/>
              <a:gdLst>
                <a:gd name="connsiteX0" fmla="*/ -1711 w 17907"/>
                <a:gd name="connsiteY0" fmla="*/ 3861 h 10742"/>
                <a:gd name="connsiteX1" fmla="*/ 10213 w 17907"/>
                <a:gd name="connsiteY1" fmla="*/ 5860 h 10742"/>
                <a:gd name="connsiteX2" fmla="*/ -1711 w 17907"/>
                <a:gd name="connsiteY2" fmla="*/ 3861 h 10742"/>
                <a:gd name="connsiteX3" fmla="*/ -1711 w 17907"/>
                <a:gd name="connsiteY3" fmla="*/ 3861 h 10742"/>
              </a:gdLst>
              <a:ahLst/>
              <a:cxnLst>
                <a:cxn ang="0">
                  <a:pos x="connsiteX0" y="connsiteY0"/>
                </a:cxn>
                <a:cxn ang="0">
                  <a:pos x="connsiteX1" y="connsiteY1"/>
                </a:cxn>
                <a:cxn ang="0">
                  <a:pos x="connsiteX2" y="connsiteY2"/>
                </a:cxn>
                <a:cxn ang="0">
                  <a:pos x="connsiteX3" y="connsiteY3"/>
                </a:cxn>
              </a:cxnLst>
              <a:rect l="l" t="t" r="r" b="b"/>
              <a:pathLst>
                <a:path w="17907" h="10742">
                  <a:moveTo>
                    <a:pt x="-1711" y="3861"/>
                  </a:moveTo>
                  <a:cubicBezTo>
                    <a:pt x="1253" y="4343"/>
                    <a:pt x="7249" y="5377"/>
                    <a:pt x="10213" y="5860"/>
                  </a:cubicBezTo>
                  <a:cubicBezTo>
                    <a:pt x="28064" y="-4548"/>
                    <a:pt x="494" y="-11027"/>
                    <a:pt x="-1711" y="3861"/>
                  </a:cubicBezTo>
                  <a:lnTo>
                    <a:pt x="-1711" y="3861"/>
                  </a:lnTo>
                </a:path>
              </a:pathLst>
            </a:custGeom>
            <a:grpFill/>
            <a:ln w="689" cap="flat">
              <a:noFill/>
              <a:prstDash val="solid"/>
              <a:miter/>
            </a:ln>
          </p:spPr>
          <p:txBody>
            <a:bodyPr rtlCol="0" anchor="ctr"/>
            <a:lstStyle/>
            <a:p>
              <a:endParaRPr lang="en-US" sz="2400" dirty="0"/>
            </a:p>
          </p:txBody>
        </p:sp>
        <p:sp>
          <p:nvSpPr>
            <p:cNvPr id="205" name="Graphic 8">
              <a:extLst>
                <a:ext uri="{FF2B5EF4-FFF2-40B4-BE49-F238E27FC236}">
                  <a16:creationId xmlns:a16="http://schemas.microsoft.com/office/drawing/2014/main" id="{856A60CB-44C0-42AB-A7C5-1AF5A0E4037F}"/>
                </a:ext>
              </a:extLst>
            </p:cNvPr>
            <p:cNvSpPr/>
            <p:nvPr/>
          </p:nvSpPr>
          <p:spPr>
            <a:xfrm flipV="1">
              <a:off x="2024580" y="1566656"/>
              <a:ext cx="2739" cy="2584"/>
            </a:xfrm>
            <a:custGeom>
              <a:avLst/>
              <a:gdLst>
                <a:gd name="connsiteX0" fmla="*/ -2431 w 2739"/>
                <a:gd name="connsiteY0" fmla="*/ -2297 h 2584"/>
                <a:gd name="connsiteX1" fmla="*/ -2431 w 2739"/>
                <a:gd name="connsiteY1" fmla="*/ -2297 h 2584"/>
                <a:gd name="connsiteX2" fmla="*/ -2431 w 2739"/>
                <a:gd name="connsiteY2" fmla="*/ -2297 h 2584"/>
              </a:gdLst>
              <a:ahLst/>
              <a:cxnLst>
                <a:cxn ang="0">
                  <a:pos x="connsiteX0" y="connsiteY0"/>
                </a:cxn>
                <a:cxn ang="0">
                  <a:pos x="connsiteX1" y="connsiteY1"/>
                </a:cxn>
                <a:cxn ang="0">
                  <a:pos x="connsiteX2" y="connsiteY2"/>
                </a:cxn>
              </a:cxnLst>
              <a:rect l="l" t="t" r="r" b="b"/>
              <a:pathLst>
                <a:path w="2739" h="2584">
                  <a:moveTo>
                    <a:pt x="-2431" y="-2297"/>
                  </a:moveTo>
                  <a:cubicBezTo>
                    <a:pt x="1222" y="-5743"/>
                    <a:pt x="1222" y="-5743"/>
                    <a:pt x="-2431" y="-2297"/>
                  </a:cubicBezTo>
                  <a:lnTo>
                    <a:pt x="-2431" y="-2297"/>
                  </a:lnTo>
                </a:path>
              </a:pathLst>
            </a:custGeom>
            <a:grpFill/>
            <a:ln w="689" cap="flat">
              <a:noFill/>
              <a:prstDash val="solid"/>
              <a:miter/>
            </a:ln>
          </p:spPr>
          <p:txBody>
            <a:bodyPr rtlCol="0" anchor="ctr"/>
            <a:lstStyle/>
            <a:p>
              <a:endParaRPr lang="en-US" sz="2400" dirty="0"/>
            </a:p>
          </p:txBody>
        </p:sp>
        <p:sp>
          <p:nvSpPr>
            <p:cNvPr id="206" name="Graphic 8">
              <a:extLst>
                <a:ext uri="{FF2B5EF4-FFF2-40B4-BE49-F238E27FC236}">
                  <a16:creationId xmlns:a16="http://schemas.microsoft.com/office/drawing/2014/main" id="{102CE1EE-5D69-4149-BC5A-712B263F9A80}"/>
                </a:ext>
              </a:extLst>
            </p:cNvPr>
            <p:cNvSpPr/>
            <p:nvPr/>
          </p:nvSpPr>
          <p:spPr>
            <a:xfrm flipV="1">
              <a:off x="870880" y="1566725"/>
              <a:ext cx="5993487" cy="1573083"/>
            </a:xfrm>
            <a:custGeom>
              <a:avLst/>
              <a:gdLst>
                <a:gd name="connsiteX0" fmla="*/ -1399 w 5993487"/>
                <a:gd name="connsiteY0" fmla="*/ 19172 h 1573083"/>
                <a:gd name="connsiteX1" fmla="*/ -848 w 5993487"/>
                <a:gd name="connsiteY1" fmla="*/ -3573 h 1573083"/>
                <a:gd name="connsiteX2" fmla="*/ -1399 w 5993487"/>
                <a:gd name="connsiteY2" fmla="*/ 19172 h 1573083"/>
                <a:gd name="connsiteX3" fmla="*/ 5979260 w 5993487"/>
                <a:gd name="connsiteY3" fmla="*/ 1419376 h 1573083"/>
                <a:gd name="connsiteX4" fmla="*/ 5979260 w 5993487"/>
                <a:gd name="connsiteY4" fmla="*/ 1419376 h 1573083"/>
                <a:gd name="connsiteX5" fmla="*/ 2968081 w 5993487"/>
                <a:gd name="connsiteY5" fmla="*/ 1534893 h 1573083"/>
                <a:gd name="connsiteX6" fmla="*/ 2968081 w 5993487"/>
                <a:gd name="connsiteY6" fmla="*/ 1534893 h 1573083"/>
                <a:gd name="connsiteX7" fmla="*/ 2968425 w 5993487"/>
                <a:gd name="connsiteY7" fmla="*/ 1555915 h 1573083"/>
                <a:gd name="connsiteX8" fmla="*/ 2968425 w 5993487"/>
                <a:gd name="connsiteY8" fmla="*/ 1555915 h 1573083"/>
                <a:gd name="connsiteX9" fmla="*/ 2942647 w 5993487"/>
                <a:gd name="connsiteY9" fmla="*/ 1569493 h 1573083"/>
                <a:gd name="connsiteX10" fmla="*/ 2969597 w 5993487"/>
                <a:gd name="connsiteY10" fmla="*/ 1567977 h 1573083"/>
                <a:gd name="connsiteX11" fmla="*/ 2978488 w 5993487"/>
                <a:gd name="connsiteY11" fmla="*/ 1568735 h 1573083"/>
                <a:gd name="connsiteX12" fmla="*/ 2994479 w 5993487"/>
                <a:gd name="connsiteY12" fmla="*/ 1540407 h 1573083"/>
                <a:gd name="connsiteX13" fmla="*/ 2983106 w 5993487"/>
                <a:gd name="connsiteY13" fmla="*/ 1521522 h 1573083"/>
                <a:gd name="connsiteX14" fmla="*/ 2916111 w 5993487"/>
                <a:gd name="connsiteY14" fmla="*/ 1521798 h 1573083"/>
                <a:gd name="connsiteX15" fmla="*/ 2930861 w 5993487"/>
                <a:gd name="connsiteY15" fmla="*/ 1520832 h 1573083"/>
                <a:gd name="connsiteX16" fmla="*/ 2940786 w 5993487"/>
                <a:gd name="connsiteY16" fmla="*/ 1520212 h 1573083"/>
                <a:gd name="connsiteX17" fmla="*/ 2962773 w 5993487"/>
                <a:gd name="connsiteY17" fmla="*/ 1557983 h 1573083"/>
                <a:gd name="connsiteX18" fmla="*/ 2933411 w 5993487"/>
                <a:gd name="connsiteY18" fmla="*/ 1552538 h 1573083"/>
                <a:gd name="connsiteX19" fmla="*/ 2942647 w 5993487"/>
                <a:gd name="connsiteY19" fmla="*/ 1569493 h 157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93487" h="1573083">
                  <a:moveTo>
                    <a:pt x="-1399" y="19172"/>
                  </a:moveTo>
                  <a:cubicBezTo>
                    <a:pt x="8940" y="20206"/>
                    <a:pt x="9353" y="-4332"/>
                    <a:pt x="-848" y="-3573"/>
                  </a:cubicBezTo>
                  <a:cubicBezTo>
                    <a:pt x="-5879" y="4008"/>
                    <a:pt x="-6017" y="11590"/>
                    <a:pt x="-1399" y="19172"/>
                  </a:cubicBezTo>
                  <a:close/>
                  <a:moveTo>
                    <a:pt x="5979260" y="1419376"/>
                  </a:moveTo>
                  <a:cubicBezTo>
                    <a:pt x="6000350" y="1429714"/>
                    <a:pt x="5979742" y="1396768"/>
                    <a:pt x="5979260" y="1419376"/>
                  </a:cubicBezTo>
                  <a:moveTo>
                    <a:pt x="2968081" y="1534893"/>
                  </a:moveTo>
                  <a:cubicBezTo>
                    <a:pt x="2971733" y="1531171"/>
                    <a:pt x="2971733" y="1531171"/>
                    <a:pt x="2968081" y="1534893"/>
                  </a:cubicBezTo>
                  <a:moveTo>
                    <a:pt x="2968425" y="1555915"/>
                  </a:moveTo>
                  <a:cubicBezTo>
                    <a:pt x="2972078" y="1552055"/>
                    <a:pt x="2972078" y="1552055"/>
                    <a:pt x="2968425" y="1555915"/>
                  </a:cubicBezTo>
                  <a:moveTo>
                    <a:pt x="2942647" y="1569493"/>
                  </a:moveTo>
                  <a:cubicBezTo>
                    <a:pt x="2951608" y="1569011"/>
                    <a:pt x="2960568" y="1568528"/>
                    <a:pt x="2969597" y="1567977"/>
                  </a:cubicBezTo>
                  <a:cubicBezTo>
                    <a:pt x="2971802" y="1568184"/>
                    <a:pt x="2976283" y="1568528"/>
                    <a:pt x="2978488" y="1568735"/>
                  </a:cubicBezTo>
                  <a:cubicBezTo>
                    <a:pt x="2983795" y="1559293"/>
                    <a:pt x="2989103" y="1549850"/>
                    <a:pt x="2994479" y="1540407"/>
                  </a:cubicBezTo>
                  <a:cubicBezTo>
                    <a:pt x="2991653" y="1535651"/>
                    <a:pt x="2985932" y="1526278"/>
                    <a:pt x="2983106" y="1521522"/>
                  </a:cubicBezTo>
                  <a:cubicBezTo>
                    <a:pt x="2961050" y="1522004"/>
                    <a:pt x="2936237" y="1509529"/>
                    <a:pt x="2916111" y="1521798"/>
                  </a:cubicBezTo>
                  <a:cubicBezTo>
                    <a:pt x="2919764" y="1521591"/>
                    <a:pt x="2927208" y="1521108"/>
                    <a:pt x="2930861" y="1520832"/>
                  </a:cubicBezTo>
                  <a:lnTo>
                    <a:pt x="2940786" y="1520212"/>
                  </a:lnTo>
                  <a:cubicBezTo>
                    <a:pt x="2951539" y="1530551"/>
                    <a:pt x="2958224" y="1543991"/>
                    <a:pt x="2962773" y="1557983"/>
                  </a:cubicBezTo>
                  <a:cubicBezTo>
                    <a:pt x="2952917" y="1556329"/>
                    <a:pt x="2943130" y="1554468"/>
                    <a:pt x="2933411" y="1552538"/>
                  </a:cubicBezTo>
                  <a:cubicBezTo>
                    <a:pt x="2936444" y="1558190"/>
                    <a:pt x="2939546" y="1563842"/>
                    <a:pt x="2942647" y="1569493"/>
                  </a:cubicBezTo>
                </a:path>
              </a:pathLst>
            </a:custGeom>
            <a:grpFill/>
            <a:ln w="689" cap="flat">
              <a:noFill/>
              <a:prstDash val="solid"/>
              <a:miter/>
            </a:ln>
          </p:spPr>
          <p:txBody>
            <a:bodyPr rtlCol="0" anchor="ctr"/>
            <a:lstStyle/>
            <a:p>
              <a:endParaRPr lang="en-US" sz="2400" dirty="0"/>
            </a:p>
          </p:txBody>
        </p:sp>
        <p:sp>
          <p:nvSpPr>
            <p:cNvPr id="207" name="Graphic 8">
              <a:extLst>
                <a:ext uri="{FF2B5EF4-FFF2-40B4-BE49-F238E27FC236}">
                  <a16:creationId xmlns:a16="http://schemas.microsoft.com/office/drawing/2014/main" id="{17EFFDB1-C875-4A54-ACBE-8F02286896A3}"/>
                </a:ext>
              </a:extLst>
            </p:cNvPr>
            <p:cNvSpPr/>
            <p:nvPr/>
          </p:nvSpPr>
          <p:spPr>
            <a:xfrm flipV="1">
              <a:off x="4746551" y="1567070"/>
              <a:ext cx="3993837" cy="1713948"/>
            </a:xfrm>
            <a:custGeom>
              <a:avLst/>
              <a:gdLst>
                <a:gd name="connsiteX0" fmla="*/ 2089703 w 3993837"/>
                <a:gd name="connsiteY0" fmla="*/ 46565 h 1713948"/>
                <a:gd name="connsiteX1" fmla="*/ 2095148 w 3993837"/>
                <a:gd name="connsiteY1" fmla="*/ 27335 h 1713948"/>
                <a:gd name="connsiteX2" fmla="*/ 2098050 w 3993837"/>
                <a:gd name="connsiteY2" fmla="*/ 23613 h 1713948"/>
                <a:gd name="connsiteX3" fmla="*/ 2116928 w 3993837"/>
                <a:gd name="connsiteY3" fmla="*/ -2164 h 1713948"/>
                <a:gd name="connsiteX4" fmla="*/ 2094734 w 3993837"/>
                <a:gd name="connsiteY4" fmla="*/ -3474 h 1713948"/>
                <a:gd name="connsiteX5" fmla="*/ 2079640 w 3993837"/>
                <a:gd name="connsiteY5" fmla="*/ 24027 h 1713948"/>
                <a:gd name="connsiteX6" fmla="*/ 2089703 w 3993837"/>
                <a:gd name="connsiteY6" fmla="*/ 46565 h 1713948"/>
                <a:gd name="connsiteX7" fmla="*/ -8363 w 3993837"/>
                <a:gd name="connsiteY7" fmla="*/ 394014 h 1713948"/>
                <a:gd name="connsiteX8" fmla="*/ -8363 w 3993837"/>
                <a:gd name="connsiteY8" fmla="*/ 394014 h 1713948"/>
                <a:gd name="connsiteX9" fmla="*/ 640976 w 3993837"/>
                <a:gd name="connsiteY9" fmla="*/ 1037426 h 1713948"/>
                <a:gd name="connsiteX10" fmla="*/ 648006 w 3993837"/>
                <a:gd name="connsiteY10" fmla="*/ 1012888 h 1713948"/>
                <a:gd name="connsiteX11" fmla="*/ 640976 w 3993837"/>
                <a:gd name="connsiteY11" fmla="*/ 1037426 h 1713948"/>
                <a:gd name="connsiteX12" fmla="*/ 1121863 w 3993837"/>
                <a:gd name="connsiteY12" fmla="*/ 1475442 h 1713948"/>
                <a:gd name="connsiteX13" fmla="*/ 1126895 w 3993837"/>
                <a:gd name="connsiteY13" fmla="*/ 1460485 h 1713948"/>
                <a:gd name="connsiteX14" fmla="*/ 1121863 w 3993837"/>
                <a:gd name="connsiteY14" fmla="*/ 1475442 h 1713948"/>
                <a:gd name="connsiteX15" fmla="*/ 3982580 w 3993837"/>
                <a:gd name="connsiteY15" fmla="*/ 1710474 h 1713948"/>
                <a:gd name="connsiteX16" fmla="*/ 3982580 w 3993837"/>
                <a:gd name="connsiteY16" fmla="*/ 1710474 h 171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93837" h="1713948">
                  <a:moveTo>
                    <a:pt x="2089703" y="46565"/>
                  </a:moveTo>
                  <a:cubicBezTo>
                    <a:pt x="2091426" y="40224"/>
                    <a:pt x="2093287" y="33814"/>
                    <a:pt x="2095148" y="27335"/>
                  </a:cubicBezTo>
                  <a:lnTo>
                    <a:pt x="2098050" y="23613"/>
                  </a:lnTo>
                  <a:cubicBezTo>
                    <a:pt x="2104522" y="15205"/>
                    <a:pt x="2110794" y="6589"/>
                    <a:pt x="2116928" y="-2164"/>
                  </a:cubicBezTo>
                  <a:cubicBezTo>
                    <a:pt x="2111414" y="-2509"/>
                    <a:pt x="2100248" y="-3130"/>
                    <a:pt x="2094734" y="-3474"/>
                  </a:cubicBezTo>
                  <a:cubicBezTo>
                    <a:pt x="2089358" y="5555"/>
                    <a:pt x="2083706" y="14446"/>
                    <a:pt x="2079640" y="24027"/>
                  </a:cubicBezTo>
                  <a:cubicBezTo>
                    <a:pt x="2082542" y="31746"/>
                    <a:pt x="2085912" y="39259"/>
                    <a:pt x="2089703" y="46565"/>
                  </a:cubicBezTo>
                  <a:close/>
                  <a:moveTo>
                    <a:pt x="-8363" y="394014"/>
                  </a:moveTo>
                  <a:cubicBezTo>
                    <a:pt x="-4365" y="390361"/>
                    <a:pt x="-4365" y="390361"/>
                    <a:pt x="-8363" y="394014"/>
                  </a:cubicBezTo>
                  <a:moveTo>
                    <a:pt x="640976" y="1037426"/>
                  </a:moveTo>
                  <a:cubicBezTo>
                    <a:pt x="652762" y="1041975"/>
                    <a:pt x="659241" y="1014611"/>
                    <a:pt x="648006" y="1012888"/>
                  </a:cubicBezTo>
                  <a:cubicBezTo>
                    <a:pt x="642768" y="1019298"/>
                    <a:pt x="637599" y="1029224"/>
                    <a:pt x="640976" y="1037426"/>
                  </a:cubicBezTo>
                  <a:moveTo>
                    <a:pt x="1121863" y="1475442"/>
                  </a:moveTo>
                  <a:cubicBezTo>
                    <a:pt x="1130961" y="1474132"/>
                    <a:pt x="1132616" y="1469169"/>
                    <a:pt x="1126895" y="1460485"/>
                  </a:cubicBezTo>
                  <a:cubicBezTo>
                    <a:pt x="1117659" y="1461795"/>
                    <a:pt x="1116005" y="1466826"/>
                    <a:pt x="1121863" y="1475442"/>
                  </a:cubicBezTo>
                  <a:moveTo>
                    <a:pt x="3982580" y="1710474"/>
                  </a:moveTo>
                  <a:cubicBezTo>
                    <a:pt x="3986440" y="1706753"/>
                    <a:pt x="3986440" y="1706753"/>
                    <a:pt x="3982580" y="1710474"/>
                  </a:cubicBezTo>
                </a:path>
              </a:pathLst>
            </a:custGeom>
            <a:grpFill/>
            <a:ln w="689" cap="flat">
              <a:noFill/>
              <a:prstDash val="solid"/>
              <a:miter/>
            </a:ln>
          </p:spPr>
          <p:txBody>
            <a:bodyPr rtlCol="0" anchor="ctr"/>
            <a:lstStyle/>
            <a:p>
              <a:endParaRPr lang="en-US" sz="2400" dirty="0"/>
            </a:p>
          </p:txBody>
        </p:sp>
        <p:sp>
          <p:nvSpPr>
            <p:cNvPr id="208" name="Graphic 8">
              <a:extLst>
                <a:ext uri="{FF2B5EF4-FFF2-40B4-BE49-F238E27FC236}">
                  <a16:creationId xmlns:a16="http://schemas.microsoft.com/office/drawing/2014/main" id="{49C7FB8F-BDB6-4105-8481-BD3BBF6120A9}"/>
                </a:ext>
              </a:extLst>
            </p:cNvPr>
            <p:cNvSpPr/>
            <p:nvPr/>
          </p:nvSpPr>
          <p:spPr>
            <a:xfrm flipV="1">
              <a:off x="837767" y="1572928"/>
              <a:ext cx="748969" cy="1114579"/>
            </a:xfrm>
            <a:custGeom>
              <a:avLst/>
              <a:gdLst>
                <a:gd name="connsiteX0" fmla="*/ 744770 w 748969"/>
                <a:gd name="connsiteY0" fmla="*/ -856 h 1114579"/>
                <a:gd name="connsiteX1" fmla="*/ 744770 w 748969"/>
                <a:gd name="connsiteY1" fmla="*/ -856 h 1114579"/>
                <a:gd name="connsiteX2" fmla="*/ -1408 w 748969"/>
                <a:gd name="connsiteY2" fmla="*/ 1110623 h 1114579"/>
                <a:gd name="connsiteX3" fmla="*/ -1408 w 748969"/>
                <a:gd name="connsiteY3" fmla="*/ 1110623 h 1114579"/>
              </a:gdLst>
              <a:ahLst/>
              <a:cxnLst>
                <a:cxn ang="0">
                  <a:pos x="connsiteX0" y="connsiteY0"/>
                </a:cxn>
                <a:cxn ang="0">
                  <a:pos x="connsiteX1" y="connsiteY1"/>
                </a:cxn>
                <a:cxn ang="0">
                  <a:pos x="connsiteX2" y="connsiteY2"/>
                </a:cxn>
                <a:cxn ang="0">
                  <a:pos x="connsiteX3" y="connsiteY3"/>
                </a:cxn>
              </a:cxnLst>
              <a:rect l="l" t="t" r="r" b="b"/>
              <a:pathLst>
                <a:path w="748969" h="1114579">
                  <a:moveTo>
                    <a:pt x="744770" y="-856"/>
                  </a:moveTo>
                  <a:cubicBezTo>
                    <a:pt x="748492" y="-4991"/>
                    <a:pt x="748492" y="-4991"/>
                    <a:pt x="744770" y="-856"/>
                  </a:cubicBezTo>
                  <a:close/>
                  <a:moveTo>
                    <a:pt x="-1408" y="1110623"/>
                  </a:moveTo>
                  <a:cubicBezTo>
                    <a:pt x="2521" y="1106625"/>
                    <a:pt x="2521" y="1106625"/>
                    <a:pt x="-1408" y="1110623"/>
                  </a:cubicBezTo>
                </a:path>
              </a:pathLst>
            </a:custGeom>
            <a:grpFill/>
            <a:ln w="689" cap="flat">
              <a:noFill/>
              <a:prstDash val="solid"/>
              <a:miter/>
            </a:ln>
          </p:spPr>
          <p:txBody>
            <a:bodyPr rtlCol="0" anchor="ctr"/>
            <a:lstStyle/>
            <a:p>
              <a:endParaRPr lang="en-US" sz="2400" dirty="0"/>
            </a:p>
          </p:txBody>
        </p:sp>
        <p:sp>
          <p:nvSpPr>
            <p:cNvPr id="209" name="Graphic 8">
              <a:extLst>
                <a:ext uri="{FF2B5EF4-FFF2-40B4-BE49-F238E27FC236}">
                  <a16:creationId xmlns:a16="http://schemas.microsoft.com/office/drawing/2014/main" id="{CEB4EF99-36A1-492E-8D64-AAF70F9FD835}"/>
                </a:ext>
              </a:extLst>
            </p:cNvPr>
            <p:cNvSpPr/>
            <p:nvPr/>
          </p:nvSpPr>
          <p:spPr>
            <a:xfrm flipV="1">
              <a:off x="611833" y="1573824"/>
              <a:ext cx="4538950" cy="2063465"/>
            </a:xfrm>
            <a:custGeom>
              <a:avLst/>
              <a:gdLst>
                <a:gd name="connsiteX0" fmla="*/ 174800 w 4538950"/>
                <a:gd name="connsiteY0" fmla="*/ 12539 h 2063465"/>
                <a:gd name="connsiteX1" fmla="*/ 178729 w 4538950"/>
                <a:gd name="connsiteY1" fmla="*/ -3176 h 2063465"/>
                <a:gd name="connsiteX2" fmla="*/ 174800 w 4538950"/>
                <a:gd name="connsiteY2" fmla="*/ 12539 h 2063465"/>
                <a:gd name="connsiteX3" fmla="*/ -3506 w 4538950"/>
                <a:gd name="connsiteY3" fmla="*/ 731147 h 2063465"/>
                <a:gd name="connsiteX4" fmla="*/ -3506 w 4538950"/>
                <a:gd name="connsiteY4" fmla="*/ 731147 h 2063465"/>
                <a:gd name="connsiteX5" fmla="*/ 2510104 w 4538950"/>
                <a:gd name="connsiteY5" fmla="*/ 745484 h 2063465"/>
                <a:gd name="connsiteX6" fmla="*/ 2510104 w 4538950"/>
                <a:gd name="connsiteY6" fmla="*/ 745484 h 2063465"/>
                <a:gd name="connsiteX7" fmla="*/ 1043871 w 4538950"/>
                <a:gd name="connsiteY7" fmla="*/ 992165 h 2063465"/>
                <a:gd name="connsiteX8" fmla="*/ 1044491 w 4538950"/>
                <a:gd name="connsiteY8" fmla="*/ 961838 h 2063465"/>
                <a:gd name="connsiteX9" fmla="*/ 1043871 w 4538950"/>
                <a:gd name="connsiteY9" fmla="*/ 992165 h 2063465"/>
                <a:gd name="connsiteX10" fmla="*/ 4524978 w 4538950"/>
                <a:gd name="connsiteY10" fmla="*/ 1103271 h 2063465"/>
                <a:gd name="connsiteX11" fmla="*/ 4533662 w 4538950"/>
                <a:gd name="connsiteY11" fmla="*/ 1094173 h 2063465"/>
                <a:gd name="connsiteX12" fmla="*/ 4524978 w 4538950"/>
                <a:gd name="connsiteY12" fmla="*/ 1103271 h 2063465"/>
                <a:gd name="connsiteX13" fmla="*/ 1787154 w 4538950"/>
                <a:gd name="connsiteY13" fmla="*/ 1460852 h 2063465"/>
                <a:gd name="connsiteX14" fmla="*/ 1787154 w 4538950"/>
                <a:gd name="connsiteY14" fmla="*/ 1460852 h 2063465"/>
                <a:gd name="connsiteX15" fmla="*/ 2629482 w 4538950"/>
                <a:gd name="connsiteY15" fmla="*/ 1660458 h 2063465"/>
                <a:gd name="connsiteX16" fmla="*/ 2629482 w 4538950"/>
                <a:gd name="connsiteY16" fmla="*/ 1660458 h 2063465"/>
                <a:gd name="connsiteX17" fmla="*/ 3086383 w 4538950"/>
                <a:gd name="connsiteY17" fmla="*/ 2013697 h 2063465"/>
                <a:gd name="connsiteX18" fmla="*/ 3114022 w 4538950"/>
                <a:gd name="connsiteY18" fmla="*/ 2053190 h 2063465"/>
                <a:gd name="connsiteX19" fmla="*/ 3121397 w 4538950"/>
                <a:gd name="connsiteY19" fmla="*/ 2047401 h 2063465"/>
                <a:gd name="connsiteX20" fmla="*/ 3126291 w 4538950"/>
                <a:gd name="connsiteY20" fmla="*/ 2036097 h 2063465"/>
                <a:gd name="connsiteX21" fmla="*/ 3111472 w 4538950"/>
                <a:gd name="connsiteY21" fmla="*/ 2027344 h 2063465"/>
                <a:gd name="connsiteX22" fmla="*/ 3096515 w 4538950"/>
                <a:gd name="connsiteY22" fmla="*/ 2027137 h 2063465"/>
                <a:gd name="connsiteX23" fmla="*/ 3094310 w 4538950"/>
                <a:gd name="connsiteY23" fmla="*/ 2007838 h 2063465"/>
                <a:gd name="connsiteX24" fmla="*/ 3065913 w 4538950"/>
                <a:gd name="connsiteY24" fmla="*/ 2008803 h 2063465"/>
                <a:gd name="connsiteX25" fmla="*/ 3072116 w 4538950"/>
                <a:gd name="connsiteY25" fmla="*/ 2017419 h 2063465"/>
                <a:gd name="connsiteX26" fmla="*/ 3086383 w 4538950"/>
                <a:gd name="connsiteY26" fmla="*/ 2013697 h 2063465"/>
                <a:gd name="connsiteX27" fmla="*/ 1028432 w 4538950"/>
                <a:gd name="connsiteY27" fmla="*/ 2060290 h 2063465"/>
                <a:gd name="connsiteX28" fmla="*/ 1028432 w 4538950"/>
                <a:gd name="connsiteY28" fmla="*/ 2060290 h 206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538950" h="2063465">
                  <a:moveTo>
                    <a:pt x="174800" y="12539"/>
                  </a:moveTo>
                  <a:cubicBezTo>
                    <a:pt x="183554" y="10747"/>
                    <a:pt x="184863" y="5509"/>
                    <a:pt x="178729" y="-3176"/>
                  </a:cubicBezTo>
                  <a:cubicBezTo>
                    <a:pt x="169907" y="-1384"/>
                    <a:pt x="168597" y="3855"/>
                    <a:pt x="174800" y="12539"/>
                  </a:cubicBezTo>
                  <a:close/>
                  <a:moveTo>
                    <a:pt x="-3506" y="731147"/>
                  </a:moveTo>
                  <a:cubicBezTo>
                    <a:pt x="144" y="727632"/>
                    <a:pt x="144" y="727632"/>
                    <a:pt x="-3506" y="731147"/>
                  </a:cubicBezTo>
                  <a:moveTo>
                    <a:pt x="2510104" y="745484"/>
                  </a:moveTo>
                  <a:cubicBezTo>
                    <a:pt x="2532712" y="743967"/>
                    <a:pt x="2499628" y="724737"/>
                    <a:pt x="2510104" y="745484"/>
                  </a:cubicBezTo>
                  <a:moveTo>
                    <a:pt x="1043871" y="992165"/>
                  </a:moveTo>
                  <a:cubicBezTo>
                    <a:pt x="1053107" y="989408"/>
                    <a:pt x="1054416" y="964044"/>
                    <a:pt x="1044491" y="961838"/>
                  </a:cubicBezTo>
                  <a:cubicBezTo>
                    <a:pt x="1039391" y="970660"/>
                    <a:pt x="1039046" y="983205"/>
                    <a:pt x="1043871" y="992165"/>
                  </a:cubicBezTo>
                  <a:moveTo>
                    <a:pt x="4524978" y="1103271"/>
                  </a:moveTo>
                  <a:cubicBezTo>
                    <a:pt x="4534834" y="1107131"/>
                    <a:pt x="4537729" y="1104098"/>
                    <a:pt x="4533662" y="1094173"/>
                  </a:cubicBezTo>
                  <a:cubicBezTo>
                    <a:pt x="4523806" y="1090382"/>
                    <a:pt x="4520911" y="1093415"/>
                    <a:pt x="4524978" y="1103271"/>
                  </a:cubicBezTo>
                  <a:moveTo>
                    <a:pt x="1787154" y="1460852"/>
                  </a:moveTo>
                  <a:cubicBezTo>
                    <a:pt x="1809761" y="1460094"/>
                    <a:pt x="1776953" y="1439830"/>
                    <a:pt x="1787154" y="1460852"/>
                  </a:cubicBezTo>
                  <a:moveTo>
                    <a:pt x="2629482" y="1660458"/>
                  </a:moveTo>
                  <a:cubicBezTo>
                    <a:pt x="2633066" y="1656805"/>
                    <a:pt x="2633066" y="1656805"/>
                    <a:pt x="2629482" y="1660458"/>
                  </a:cubicBezTo>
                  <a:moveTo>
                    <a:pt x="3086383" y="2013697"/>
                  </a:moveTo>
                  <a:cubicBezTo>
                    <a:pt x="3094654" y="2027482"/>
                    <a:pt x="3103407" y="2041129"/>
                    <a:pt x="3114022" y="2053190"/>
                  </a:cubicBezTo>
                  <a:lnTo>
                    <a:pt x="3121397" y="2047401"/>
                  </a:lnTo>
                  <a:cubicBezTo>
                    <a:pt x="3122638" y="2044575"/>
                    <a:pt x="3125119" y="2038923"/>
                    <a:pt x="3126291" y="2036097"/>
                  </a:cubicBezTo>
                  <a:cubicBezTo>
                    <a:pt x="3122638" y="2033891"/>
                    <a:pt x="3115194" y="2029549"/>
                    <a:pt x="3111472" y="2027344"/>
                  </a:cubicBezTo>
                  <a:cubicBezTo>
                    <a:pt x="3107750" y="2027275"/>
                    <a:pt x="3100237" y="2027206"/>
                    <a:pt x="3096515" y="2027137"/>
                  </a:cubicBezTo>
                  <a:cubicBezTo>
                    <a:pt x="3095964" y="2022312"/>
                    <a:pt x="3094861" y="2012663"/>
                    <a:pt x="3094310" y="2007838"/>
                  </a:cubicBezTo>
                  <a:cubicBezTo>
                    <a:pt x="3084798" y="2008114"/>
                    <a:pt x="3075355" y="2008389"/>
                    <a:pt x="3065913" y="2008803"/>
                  </a:cubicBezTo>
                  <a:cubicBezTo>
                    <a:pt x="3067498" y="2010940"/>
                    <a:pt x="3070600" y="2015213"/>
                    <a:pt x="3072116" y="2017419"/>
                  </a:cubicBezTo>
                  <a:cubicBezTo>
                    <a:pt x="3076803" y="2016178"/>
                    <a:pt x="3081559" y="2014937"/>
                    <a:pt x="3086383" y="2013697"/>
                  </a:cubicBezTo>
                  <a:moveTo>
                    <a:pt x="1028432" y="2060290"/>
                  </a:moveTo>
                  <a:cubicBezTo>
                    <a:pt x="1051108" y="2058842"/>
                    <a:pt x="1017542" y="2039681"/>
                    <a:pt x="1028432" y="2060290"/>
                  </a:cubicBezTo>
                </a:path>
              </a:pathLst>
            </a:custGeom>
            <a:grpFill/>
            <a:ln w="689" cap="flat">
              <a:noFill/>
              <a:prstDash val="solid"/>
              <a:miter/>
            </a:ln>
          </p:spPr>
          <p:txBody>
            <a:bodyPr rtlCol="0" anchor="ctr"/>
            <a:lstStyle/>
            <a:p>
              <a:endParaRPr lang="en-US" sz="2400" dirty="0"/>
            </a:p>
          </p:txBody>
        </p:sp>
        <p:sp>
          <p:nvSpPr>
            <p:cNvPr id="210" name="Graphic 8">
              <a:extLst>
                <a:ext uri="{FF2B5EF4-FFF2-40B4-BE49-F238E27FC236}">
                  <a16:creationId xmlns:a16="http://schemas.microsoft.com/office/drawing/2014/main" id="{3B212C1A-8A78-4C2D-899A-9A07496B669C}"/>
                </a:ext>
              </a:extLst>
            </p:cNvPr>
            <p:cNvSpPr/>
            <p:nvPr/>
          </p:nvSpPr>
          <p:spPr>
            <a:xfrm flipV="1">
              <a:off x="628512" y="1580235"/>
              <a:ext cx="1432442" cy="1112640"/>
            </a:xfrm>
            <a:custGeom>
              <a:avLst/>
              <a:gdLst>
                <a:gd name="connsiteX0" fmla="*/ -1574 w 1432442"/>
                <a:gd name="connsiteY0" fmla="*/ 10173 h 1112640"/>
                <a:gd name="connsiteX1" fmla="*/ 1252 w 1432442"/>
                <a:gd name="connsiteY1" fmla="*/ -3405 h 1112640"/>
                <a:gd name="connsiteX2" fmla="*/ -1574 w 1432442"/>
                <a:gd name="connsiteY2" fmla="*/ 10173 h 1112640"/>
                <a:gd name="connsiteX3" fmla="*/ 1428129 w 1432442"/>
                <a:gd name="connsiteY3" fmla="*/ 1108694 h 1112640"/>
                <a:gd name="connsiteX4" fmla="*/ 1428129 w 1432442"/>
                <a:gd name="connsiteY4" fmla="*/ 1108694 h 1112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2442" h="1112640">
                  <a:moveTo>
                    <a:pt x="-1574" y="10173"/>
                  </a:moveTo>
                  <a:cubicBezTo>
                    <a:pt x="7731" y="22717"/>
                    <a:pt x="14968" y="-8367"/>
                    <a:pt x="1252" y="-3405"/>
                  </a:cubicBezTo>
                  <a:cubicBezTo>
                    <a:pt x="560" y="-28"/>
                    <a:pt x="-885" y="6796"/>
                    <a:pt x="-1574" y="10173"/>
                  </a:cubicBezTo>
                  <a:close/>
                  <a:moveTo>
                    <a:pt x="1428129" y="1108694"/>
                  </a:moveTo>
                  <a:cubicBezTo>
                    <a:pt x="1431781" y="1104076"/>
                    <a:pt x="1431781" y="1104076"/>
                    <a:pt x="1428129" y="1108694"/>
                  </a:cubicBezTo>
                </a:path>
              </a:pathLst>
            </a:custGeom>
            <a:grpFill/>
            <a:ln w="689" cap="flat">
              <a:noFill/>
              <a:prstDash val="solid"/>
              <a:miter/>
            </a:ln>
          </p:spPr>
          <p:txBody>
            <a:bodyPr rtlCol="0" anchor="ctr"/>
            <a:lstStyle/>
            <a:p>
              <a:endParaRPr lang="en-US" sz="2400" dirty="0"/>
            </a:p>
          </p:txBody>
        </p:sp>
        <p:sp>
          <p:nvSpPr>
            <p:cNvPr id="211" name="Graphic 8">
              <a:extLst>
                <a:ext uri="{FF2B5EF4-FFF2-40B4-BE49-F238E27FC236}">
                  <a16:creationId xmlns:a16="http://schemas.microsoft.com/office/drawing/2014/main" id="{4B24C519-1A62-425D-B366-B6048B71900B}"/>
                </a:ext>
              </a:extLst>
            </p:cNvPr>
            <p:cNvSpPr/>
            <p:nvPr/>
          </p:nvSpPr>
          <p:spPr>
            <a:xfrm flipV="1">
              <a:off x="1767090" y="1577428"/>
              <a:ext cx="6316328" cy="1894495"/>
            </a:xfrm>
            <a:custGeom>
              <a:avLst/>
              <a:gdLst>
                <a:gd name="connsiteX0" fmla="*/ 3565378 w 6316328"/>
                <a:gd name="connsiteY0" fmla="*/ 6187 h 1894495"/>
                <a:gd name="connsiteX1" fmla="*/ 3565378 w 6316328"/>
                <a:gd name="connsiteY1" fmla="*/ 6187 h 1894495"/>
                <a:gd name="connsiteX2" fmla="*/ 2606981 w 6316328"/>
                <a:gd name="connsiteY2" fmla="*/ 831490 h 1894495"/>
                <a:gd name="connsiteX3" fmla="*/ 2615252 w 6316328"/>
                <a:gd name="connsiteY3" fmla="*/ 856786 h 1894495"/>
                <a:gd name="connsiteX4" fmla="*/ 2606981 w 6316328"/>
                <a:gd name="connsiteY4" fmla="*/ 831490 h 1894495"/>
                <a:gd name="connsiteX5" fmla="*/ 6302168 w 6316328"/>
                <a:gd name="connsiteY5" fmla="*/ 965135 h 1894495"/>
                <a:gd name="connsiteX6" fmla="*/ 6302168 w 6316328"/>
                <a:gd name="connsiteY6" fmla="*/ 965135 h 1894495"/>
                <a:gd name="connsiteX7" fmla="*/ 6158529 w 6316328"/>
                <a:gd name="connsiteY7" fmla="*/ 979540 h 1894495"/>
                <a:gd name="connsiteX8" fmla="*/ 6158529 w 6316328"/>
                <a:gd name="connsiteY8" fmla="*/ 979540 h 1894495"/>
                <a:gd name="connsiteX9" fmla="*/ 2553151 w 6316328"/>
                <a:gd name="connsiteY9" fmla="*/ 1068315 h 1894495"/>
                <a:gd name="connsiteX10" fmla="*/ 2573691 w 6316328"/>
                <a:gd name="connsiteY10" fmla="*/ 1080722 h 1894495"/>
                <a:gd name="connsiteX11" fmla="*/ 2567005 w 6316328"/>
                <a:gd name="connsiteY11" fmla="*/ 1063697 h 1894495"/>
                <a:gd name="connsiteX12" fmla="*/ 2586786 w 6316328"/>
                <a:gd name="connsiteY12" fmla="*/ 1070797 h 1894495"/>
                <a:gd name="connsiteX13" fmla="*/ 2570727 w 6316328"/>
                <a:gd name="connsiteY13" fmla="*/ 1036058 h 1894495"/>
                <a:gd name="connsiteX14" fmla="*/ 2553151 w 6316328"/>
                <a:gd name="connsiteY14" fmla="*/ 1068315 h 1894495"/>
                <a:gd name="connsiteX15" fmla="*/ 3145489 w 6316328"/>
                <a:gd name="connsiteY15" fmla="*/ 1397913 h 1894495"/>
                <a:gd name="connsiteX16" fmla="*/ 3149556 w 6316328"/>
                <a:gd name="connsiteY16" fmla="*/ 1375236 h 1894495"/>
                <a:gd name="connsiteX17" fmla="*/ 3145489 w 6316328"/>
                <a:gd name="connsiteY17" fmla="*/ 1397913 h 1894495"/>
                <a:gd name="connsiteX18" fmla="*/ -4642 w 6316328"/>
                <a:gd name="connsiteY18" fmla="*/ 1440715 h 1894495"/>
                <a:gd name="connsiteX19" fmla="*/ 6524 w 6316328"/>
                <a:gd name="connsiteY19" fmla="*/ 1429136 h 1894495"/>
                <a:gd name="connsiteX20" fmla="*/ -4642 w 6316328"/>
                <a:gd name="connsiteY20" fmla="*/ 1440715 h 1894495"/>
                <a:gd name="connsiteX21" fmla="*/ 4504062 w 6316328"/>
                <a:gd name="connsiteY21" fmla="*/ 1453948 h 1894495"/>
                <a:gd name="connsiteX22" fmla="*/ 4507095 w 6316328"/>
                <a:gd name="connsiteY22" fmla="*/ 1431410 h 1894495"/>
                <a:gd name="connsiteX23" fmla="*/ 4504062 w 6316328"/>
                <a:gd name="connsiteY23" fmla="*/ 1453948 h 1894495"/>
                <a:gd name="connsiteX24" fmla="*/ 423104 w 6316328"/>
                <a:gd name="connsiteY24" fmla="*/ 1889828 h 1894495"/>
                <a:gd name="connsiteX25" fmla="*/ 434615 w 6316328"/>
                <a:gd name="connsiteY25" fmla="*/ 1878110 h 1894495"/>
                <a:gd name="connsiteX26" fmla="*/ 423104 w 6316328"/>
                <a:gd name="connsiteY26" fmla="*/ 1889828 h 189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16328" h="1894495">
                  <a:moveTo>
                    <a:pt x="3565378" y="6187"/>
                  </a:moveTo>
                  <a:cubicBezTo>
                    <a:pt x="3588054" y="4326"/>
                    <a:pt x="3554143" y="-14215"/>
                    <a:pt x="3565378" y="6187"/>
                  </a:cubicBezTo>
                  <a:close/>
                  <a:moveTo>
                    <a:pt x="2606981" y="831490"/>
                  </a:moveTo>
                  <a:cubicBezTo>
                    <a:pt x="2584374" y="835832"/>
                    <a:pt x="2593058" y="865746"/>
                    <a:pt x="2615252" y="856786"/>
                  </a:cubicBezTo>
                  <a:cubicBezTo>
                    <a:pt x="2612495" y="848377"/>
                    <a:pt x="2609738" y="839968"/>
                    <a:pt x="2606981" y="831490"/>
                  </a:cubicBezTo>
                  <a:moveTo>
                    <a:pt x="6302168" y="965135"/>
                  </a:moveTo>
                  <a:cubicBezTo>
                    <a:pt x="6324844" y="963757"/>
                    <a:pt x="6291485" y="944458"/>
                    <a:pt x="6302168" y="965135"/>
                  </a:cubicBezTo>
                  <a:moveTo>
                    <a:pt x="6158529" y="979540"/>
                  </a:moveTo>
                  <a:cubicBezTo>
                    <a:pt x="6178862" y="990637"/>
                    <a:pt x="6159838" y="956726"/>
                    <a:pt x="6158529" y="979540"/>
                  </a:cubicBezTo>
                  <a:moveTo>
                    <a:pt x="2553151" y="1068315"/>
                  </a:moveTo>
                  <a:cubicBezTo>
                    <a:pt x="2559354" y="1073485"/>
                    <a:pt x="2564317" y="1081066"/>
                    <a:pt x="2573691" y="1080722"/>
                  </a:cubicBezTo>
                  <a:cubicBezTo>
                    <a:pt x="2571967" y="1076517"/>
                    <a:pt x="2568659" y="1067971"/>
                    <a:pt x="2567005" y="1063697"/>
                  </a:cubicBezTo>
                  <a:cubicBezTo>
                    <a:pt x="2573553" y="1066110"/>
                    <a:pt x="2580169" y="1068453"/>
                    <a:pt x="2586786" y="1070797"/>
                  </a:cubicBezTo>
                  <a:cubicBezTo>
                    <a:pt x="2581893" y="1059493"/>
                    <a:pt x="2584788" y="1040676"/>
                    <a:pt x="2570727" y="1036058"/>
                  </a:cubicBezTo>
                  <a:cubicBezTo>
                    <a:pt x="2567280" y="1048051"/>
                    <a:pt x="2561009" y="1058873"/>
                    <a:pt x="2553151" y="1068315"/>
                  </a:cubicBezTo>
                  <a:moveTo>
                    <a:pt x="3145489" y="1397913"/>
                  </a:moveTo>
                  <a:cubicBezTo>
                    <a:pt x="3154932" y="1397844"/>
                    <a:pt x="3154381" y="1380888"/>
                    <a:pt x="3149556" y="1375236"/>
                  </a:cubicBezTo>
                  <a:cubicBezTo>
                    <a:pt x="3139493" y="1374892"/>
                    <a:pt x="3140320" y="1392399"/>
                    <a:pt x="3145489" y="1397913"/>
                  </a:cubicBezTo>
                  <a:moveTo>
                    <a:pt x="-4642" y="1440715"/>
                  </a:moveTo>
                  <a:cubicBezTo>
                    <a:pt x="6593" y="1444230"/>
                    <a:pt x="10315" y="1440439"/>
                    <a:pt x="6524" y="1429136"/>
                  </a:cubicBezTo>
                  <a:cubicBezTo>
                    <a:pt x="-4711" y="1425620"/>
                    <a:pt x="-8433" y="1429480"/>
                    <a:pt x="-4642" y="1440715"/>
                  </a:cubicBezTo>
                  <a:moveTo>
                    <a:pt x="4504062" y="1453948"/>
                  </a:moveTo>
                  <a:cubicBezTo>
                    <a:pt x="4513988" y="1454086"/>
                    <a:pt x="4512403" y="1436648"/>
                    <a:pt x="4507095" y="1431410"/>
                  </a:cubicBezTo>
                  <a:cubicBezTo>
                    <a:pt x="4497515" y="1431755"/>
                    <a:pt x="4498548" y="1448779"/>
                    <a:pt x="4504062" y="1453948"/>
                  </a:cubicBezTo>
                  <a:moveTo>
                    <a:pt x="423104" y="1889828"/>
                  </a:moveTo>
                  <a:cubicBezTo>
                    <a:pt x="433994" y="1893550"/>
                    <a:pt x="437854" y="1889621"/>
                    <a:pt x="434615" y="1878110"/>
                  </a:cubicBezTo>
                  <a:cubicBezTo>
                    <a:pt x="423656" y="1874458"/>
                    <a:pt x="419796" y="1878386"/>
                    <a:pt x="423104" y="1889828"/>
                  </a:cubicBezTo>
                </a:path>
              </a:pathLst>
            </a:custGeom>
            <a:grpFill/>
            <a:ln w="689" cap="flat">
              <a:noFill/>
              <a:prstDash val="solid"/>
              <a:miter/>
            </a:ln>
          </p:spPr>
          <p:txBody>
            <a:bodyPr rtlCol="0" anchor="ctr"/>
            <a:lstStyle/>
            <a:p>
              <a:endParaRPr lang="en-US" sz="2400" dirty="0"/>
            </a:p>
          </p:txBody>
        </p:sp>
        <p:sp>
          <p:nvSpPr>
            <p:cNvPr id="212" name="Graphic 8">
              <a:extLst>
                <a:ext uri="{FF2B5EF4-FFF2-40B4-BE49-F238E27FC236}">
                  <a16:creationId xmlns:a16="http://schemas.microsoft.com/office/drawing/2014/main" id="{7940CB3D-3980-4939-82F7-A01300628593}"/>
                </a:ext>
              </a:extLst>
            </p:cNvPr>
            <p:cNvSpPr/>
            <p:nvPr/>
          </p:nvSpPr>
          <p:spPr>
            <a:xfrm flipV="1">
              <a:off x="1910449" y="1581199"/>
              <a:ext cx="1884631" cy="1307273"/>
            </a:xfrm>
            <a:custGeom>
              <a:avLst/>
              <a:gdLst>
                <a:gd name="connsiteX0" fmla="*/ -515 w 1884631"/>
                <a:gd name="connsiteY0" fmla="*/ 13977 h 1307273"/>
                <a:gd name="connsiteX1" fmla="*/ 10444 w 1884631"/>
                <a:gd name="connsiteY1" fmla="*/ -2151 h 1307273"/>
                <a:gd name="connsiteX2" fmla="*/ -515 w 1884631"/>
                <a:gd name="connsiteY2" fmla="*/ 13977 h 1307273"/>
                <a:gd name="connsiteX3" fmla="*/ 1867135 w 1884631"/>
                <a:gd name="connsiteY3" fmla="*/ 255420 h 1307273"/>
                <a:gd name="connsiteX4" fmla="*/ 1878508 w 1884631"/>
                <a:gd name="connsiteY4" fmla="*/ 239430 h 1307273"/>
                <a:gd name="connsiteX5" fmla="*/ 1867135 w 1884631"/>
                <a:gd name="connsiteY5" fmla="*/ 255420 h 1307273"/>
                <a:gd name="connsiteX6" fmla="*/ 1825781 w 1884631"/>
                <a:gd name="connsiteY6" fmla="*/ 1303488 h 1307273"/>
                <a:gd name="connsiteX7" fmla="*/ 1834809 w 1884631"/>
                <a:gd name="connsiteY7" fmla="*/ 1299766 h 1307273"/>
                <a:gd name="connsiteX8" fmla="*/ 1827710 w 1884631"/>
                <a:gd name="connsiteY8" fmla="*/ 1286670 h 1307273"/>
                <a:gd name="connsiteX9" fmla="*/ 1822817 w 1884631"/>
                <a:gd name="connsiteY9" fmla="*/ 1297974 h 1307273"/>
                <a:gd name="connsiteX10" fmla="*/ 1825781 w 1884631"/>
                <a:gd name="connsiteY10" fmla="*/ 1303488 h 13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84631" h="1307273">
                  <a:moveTo>
                    <a:pt x="-515" y="13977"/>
                  </a:moveTo>
                  <a:cubicBezTo>
                    <a:pt x="8583" y="20525"/>
                    <a:pt x="18370" y="4466"/>
                    <a:pt x="10444" y="-2151"/>
                  </a:cubicBezTo>
                  <a:cubicBezTo>
                    <a:pt x="1070" y="-8975"/>
                    <a:pt x="-8442" y="7360"/>
                    <a:pt x="-515" y="13977"/>
                  </a:cubicBezTo>
                  <a:close/>
                  <a:moveTo>
                    <a:pt x="1867135" y="255420"/>
                  </a:moveTo>
                  <a:cubicBezTo>
                    <a:pt x="1876096" y="262106"/>
                    <a:pt x="1886021" y="246253"/>
                    <a:pt x="1878508" y="239430"/>
                  </a:cubicBezTo>
                  <a:cubicBezTo>
                    <a:pt x="1869203" y="232330"/>
                    <a:pt x="1859416" y="248666"/>
                    <a:pt x="1867135" y="255420"/>
                  </a:cubicBezTo>
                  <a:moveTo>
                    <a:pt x="1825781" y="1303488"/>
                  </a:moveTo>
                  <a:cubicBezTo>
                    <a:pt x="1828055" y="1302592"/>
                    <a:pt x="1832535" y="1300731"/>
                    <a:pt x="1834809" y="1299766"/>
                  </a:cubicBezTo>
                  <a:cubicBezTo>
                    <a:pt x="1833018" y="1296526"/>
                    <a:pt x="1829502" y="1289910"/>
                    <a:pt x="1827710" y="1286670"/>
                  </a:cubicBezTo>
                  <a:cubicBezTo>
                    <a:pt x="1826539" y="1289496"/>
                    <a:pt x="1824057" y="1295148"/>
                    <a:pt x="1822817" y="1297974"/>
                  </a:cubicBezTo>
                  <a:lnTo>
                    <a:pt x="1825781" y="1303488"/>
                  </a:lnTo>
                </a:path>
              </a:pathLst>
            </a:custGeom>
            <a:grpFill/>
            <a:ln w="689" cap="flat">
              <a:noFill/>
              <a:prstDash val="solid"/>
              <a:miter/>
            </a:ln>
          </p:spPr>
          <p:txBody>
            <a:bodyPr rtlCol="0" anchor="ctr"/>
            <a:lstStyle/>
            <a:p>
              <a:endParaRPr lang="en-US" sz="2400" dirty="0"/>
            </a:p>
          </p:txBody>
        </p:sp>
        <p:sp>
          <p:nvSpPr>
            <p:cNvPr id="213" name="Graphic 8">
              <a:extLst>
                <a:ext uri="{FF2B5EF4-FFF2-40B4-BE49-F238E27FC236}">
                  <a16:creationId xmlns:a16="http://schemas.microsoft.com/office/drawing/2014/main" id="{00A08CB5-7546-47F9-835B-A92BAB1C87D9}"/>
                </a:ext>
              </a:extLst>
            </p:cNvPr>
            <p:cNvSpPr/>
            <p:nvPr/>
          </p:nvSpPr>
          <p:spPr>
            <a:xfrm flipV="1">
              <a:off x="1306868" y="1586162"/>
              <a:ext cx="6820022" cy="1739760"/>
            </a:xfrm>
            <a:custGeom>
              <a:avLst/>
              <a:gdLst>
                <a:gd name="connsiteX0" fmla="*/ 6631765 w 6820022"/>
                <a:gd name="connsiteY0" fmla="*/ -423 h 1739760"/>
                <a:gd name="connsiteX1" fmla="*/ 6631765 w 6820022"/>
                <a:gd name="connsiteY1" fmla="*/ -423 h 1739760"/>
                <a:gd name="connsiteX2" fmla="*/ 6809935 w 6820022"/>
                <a:gd name="connsiteY2" fmla="*/ 713360 h 1739760"/>
                <a:gd name="connsiteX3" fmla="*/ 6814209 w 6820022"/>
                <a:gd name="connsiteY3" fmla="*/ 717151 h 1739760"/>
                <a:gd name="connsiteX4" fmla="*/ 6813588 w 6820022"/>
                <a:gd name="connsiteY4" fmla="*/ 713360 h 1739760"/>
                <a:gd name="connsiteX5" fmla="*/ 6809935 w 6820022"/>
                <a:gd name="connsiteY5" fmla="*/ 713360 h 1739760"/>
                <a:gd name="connsiteX6" fmla="*/ 5914673 w 6820022"/>
                <a:gd name="connsiteY6" fmla="*/ 1493518 h 1739760"/>
                <a:gd name="connsiteX7" fmla="*/ 5914673 w 6820022"/>
                <a:gd name="connsiteY7" fmla="*/ 1493518 h 1739760"/>
                <a:gd name="connsiteX8" fmla="*/ -5814 w 6820022"/>
                <a:gd name="connsiteY8" fmla="*/ 1736339 h 1739760"/>
                <a:gd name="connsiteX9" fmla="*/ -5814 w 6820022"/>
                <a:gd name="connsiteY9" fmla="*/ 1736339 h 173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20022" h="1739760">
                  <a:moveTo>
                    <a:pt x="6631765" y="-423"/>
                  </a:moveTo>
                  <a:cubicBezTo>
                    <a:pt x="6635624" y="-4421"/>
                    <a:pt x="6635624" y="-4421"/>
                    <a:pt x="6631765" y="-423"/>
                  </a:cubicBezTo>
                  <a:close/>
                  <a:moveTo>
                    <a:pt x="6809935" y="713360"/>
                  </a:moveTo>
                  <a:cubicBezTo>
                    <a:pt x="6811038" y="714325"/>
                    <a:pt x="6813175" y="716186"/>
                    <a:pt x="6814209" y="717151"/>
                  </a:cubicBezTo>
                  <a:lnTo>
                    <a:pt x="6813588" y="713360"/>
                  </a:lnTo>
                  <a:lnTo>
                    <a:pt x="6809935" y="713360"/>
                  </a:lnTo>
                  <a:moveTo>
                    <a:pt x="5914673" y="1493518"/>
                  </a:moveTo>
                  <a:cubicBezTo>
                    <a:pt x="5918740" y="1489658"/>
                    <a:pt x="5918740" y="1489658"/>
                    <a:pt x="5914673" y="1493518"/>
                  </a:cubicBezTo>
                  <a:moveTo>
                    <a:pt x="-5814" y="1736339"/>
                  </a:moveTo>
                  <a:cubicBezTo>
                    <a:pt x="-2024" y="1732135"/>
                    <a:pt x="-2024" y="1732135"/>
                    <a:pt x="-5814" y="1736339"/>
                  </a:cubicBezTo>
                </a:path>
              </a:pathLst>
            </a:custGeom>
            <a:grpFill/>
            <a:ln w="689" cap="flat">
              <a:noFill/>
              <a:prstDash val="solid"/>
              <a:miter/>
            </a:ln>
          </p:spPr>
          <p:txBody>
            <a:bodyPr rtlCol="0" anchor="ctr"/>
            <a:lstStyle/>
            <a:p>
              <a:endParaRPr lang="en-US" sz="2400" dirty="0"/>
            </a:p>
          </p:txBody>
        </p:sp>
        <p:sp>
          <p:nvSpPr>
            <p:cNvPr id="214" name="Graphic 8">
              <a:extLst>
                <a:ext uri="{FF2B5EF4-FFF2-40B4-BE49-F238E27FC236}">
                  <a16:creationId xmlns:a16="http://schemas.microsoft.com/office/drawing/2014/main" id="{C5888638-2885-4B4C-B21E-163ED3C55688}"/>
                </a:ext>
              </a:extLst>
            </p:cNvPr>
            <p:cNvSpPr/>
            <p:nvPr/>
          </p:nvSpPr>
          <p:spPr>
            <a:xfrm flipV="1">
              <a:off x="570356" y="1582716"/>
              <a:ext cx="6230424" cy="1707056"/>
            </a:xfrm>
            <a:custGeom>
              <a:avLst/>
              <a:gdLst>
                <a:gd name="connsiteX0" fmla="*/ 6193168 w 6230424"/>
                <a:gd name="connsiteY0" fmla="*/ -3454 h 1707056"/>
                <a:gd name="connsiteX1" fmla="*/ 6204748 w 6230424"/>
                <a:gd name="connsiteY1" fmla="*/ 32869 h 1707056"/>
                <a:gd name="connsiteX2" fmla="*/ 6225908 w 6230424"/>
                <a:gd name="connsiteY2" fmla="*/ 6471 h 1707056"/>
                <a:gd name="connsiteX3" fmla="*/ 6203162 w 6230424"/>
                <a:gd name="connsiteY3" fmla="*/ 11572 h 1707056"/>
                <a:gd name="connsiteX4" fmla="*/ 6193168 w 6230424"/>
                <a:gd name="connsiteY4" fmla="*/ -3454 h 1707056"/>
                <a:gd name="connsiteX5" fmla="*/ -1227 w 6230424"/>
                <a:gd name="connsiteY5" fmla="*/ 838047 h 1707056"/>
                <a:gd name="connsiteX6" fmla="*/ 8975 w 6230424"/>
                <a:gd name="connsiteY6" fmla="*/ 883054 h 1707056"/>
                <a:gd name="connsiteX7" fmla="*/ 4702 w 6230424"/>
                <a:gd name="connsiteY7" fmla="*/ 841286 h 1707056"/>
                <a:gd name="connsiteX8" fmla="*/ -1227 w 6230424"/>
                <a:gd name="connsiteY8" fmla="*/ 838047 h 1707056"/>
                <a:gd name="connsiteX9" fmla="*/ 3773500 w 6230424"/>
                <a:gd name="connsiteY9" fmla="*/ 1079972 h 1707056"/>
                <a:gd name="connsiteX10" fmla="*/ 3779703 w 6230424"/>
                <a:gd name="connsiteY10" fmla="*/ 1054263 h 1707056"/>
                <a:gd name="connsiteX11" fmla="*/ 3773500 w 6230424"/>
                <a:gd name="connsiteY11" fmla="*/ 1079972 h 1707056"/>
                <a:gd name="connsiteX12" fmla="*/ 3782185 w 6230424"/>
                <a:gd name="connsiteY12" fmla="*/ 1100994 h 1707056"/>
                <a:gd name="connsiteX13" fmla="*/ 3805688 w 6230424"/>
                <a:gd name="connsiteY13" fmla="*/ 1100236 h 1707056"/>
                <a:gd name="connsiteX14" fmla="*/ 3808928 w 6230424"/>
                <a:gd name="connsiteY14" fmla="*/ 1021455 h 1707056"/>
                <a:gd name="connsiteX15" fmla="*/ 3804861 w 6230424"/>
                <a:gd name="connsiteY15" fmla="*/ 1019181 h 1707056"/>
                <a:gd name="connsiteX16" fmla="*/ 3767090 w 6230424"/>
                <a:gd name="connsiteY16" fmla="*/ 1023661 h 1707056"/>
                <a:gd name="connsiteX17" fmla="*/ 3782736 w 6230424"/>
                <a:gd name="connsiteY17" fmla="*/ 997193 h 1707056"/>
                <a:gd name="connsiteX18" fmla="*/ 3763230 w 6230424"/>
                <a:gd name="connsiteY18" fmla="*/ 1025591 h 1707056"/>
                <a:gd name="connsiteX19" fmla="*/ 3761990 w 6230424"/>
                <a:gd name="connsiteY19" fmla="*/ 1058605 h 1707056"/>
                <a:gd name="connsiteX20" fmla="*/ 3758130 w 6230424"/>
                <a:gd name="connsiteY20" fmla="*/ 1080110 h 1707056"/>
                <a:gd name="connsiteX21" fmla="*/ 3782529 w 6230424"/>
                <a:gd name="connsiteY21" fmla="*/ 1090724 h 1707056"/>
                <a:gd name="connsiteX22" fmla="*/ 3782185 w 6230424"/>
                <a:gd name="connsiteY22" fmla="*/ 1100994 h 1707056"/>
                <a:gd name="connsiteX23" fmla="*/ 2894711 w 6230424"/>
                <a:gd name="connsiteY23" fmla="*/ 1655837 h 1707056"/>
                <a:gd name="connsiteX24" fmla="*/ 2918697 w 6230424"/>
                <a:gd name="connsiteY24" fmla="*/ 1655010 h 1707056"/>
                <a:gd name="connsiteX25" fmla="*/ 2937927 w 6230424"/>
                <a:gd name="connsiteY25" fmla="*/ 1678651 h 1707056"/>
                <a:gd name="connsiteX26" fmla="*/ 2920145 w 6230424"/>
                <a:gd name="connsiteY26" fmla="*/ 1670311 h 1707056"/>
                <a:gd name="connsiteX27" fmla="*/ 2920902 w 6230424"/>
                <a:gd name="connsiteY27" fmla="*/ 1687060 h 1707056"/>
                <a:gd name="connsiteX28" fmla="*/ 2894711 w 6230424"/>
                <a:gd name="connsiteY28" fmla="*/ 1655837 h 1707056"/>
                <a:gd name="connsiteX29" fmla="*/ 2985830 w 6230424"/>
                <a:gd name="connsiteY29" fmla="*/ 1703602 h 1707056"/>
                <a:gd name="connsiteX30" fmla="*/ 2990103 w 6230424"/>
                <a:gd name="connsiteY30" fmla="*/ 1689404 h 1707056"/>
                <a:gd name="connsiteX31" fmla="*/ 3012779 w 6230424"/>
                <a:gd name="connsiteY31" fmla="*/ 1690507 h 1707056"/>
                <a:gd name="connsiteX32" fmla="*/ 3025048 w 6230424"/>
                <a:gd name="connsiteY32" fmla="*/ 1702706 h 1707056"/>
                <a:gd name="connsiteX33" fmla="*/ 3004233 w 6230424"/>
                <a:gd name="connsiteY33" fmla="*/ 1675481 h 1707056"/>
                <a:gd name="connsiteX34" fmla="*/ 2996237 w 6230424"/>
                <a:gd name="connsiteY34" fmla="*/ 1675963 h 1707056"/>
                <a:gd name="connsiteX35" fmla="*/ 2989345 w 6230424"/>
                <a:gd name="connsiteY35" fmla="*/ 1658319 h 1707056"/>
                <a:gd name="connsiteX36" fmla="*/ 2888508 w 6230424"/>
                <a:gd name="connsiteY36" fmla="*/ 1647153 h 1707056"/>
                <a:gd name="connsiteX37" fmla="*/ 2865694 w 6230424"/>
                <a:gd name="connsiteY37" fmla="*/ 1661627 h 1707056"/>
                <a:gd name="connsiteX38" fmla="*/ 2880099 w 6230424"/>
                <a:gd name="connsiteY38" fmla="*/ 1687612 h 1707056"/>
                <a:gd name="connsiteX39" fmla="*/ 2903947 w 6230424"/>
                <a:gd name="connsiteY39" fmla="*/ 1675412 h 1707056"/>
                <a:gd name="connsiteX40" fmla="*/ 2888508 w 6230424"/>
                <a:gd name="connsiteY40" fmla="*/ 1687336 h 1707056"/>
                <a:gd name="connsiteX41" fmla="*/ 2913872 w 6230424"/>
                <a:gd name="connsiteY41" fmla="*/ 1692023 h 1707056"/>
                <a:gd name="connsiteX42" fmla="*/ 2950264 w 6230424"/>
                <a:gd name="connsiteY42" fmla="*/ 1697881 h 1707056"/>
                <a:gd name="connsiteX43" fmla="*/ 2957088 w 6230424"/>
                <a:gd name="connsiteY43" fmla="*/ 1669347 h 1707056"/>
                <a:gd name="connsiteX44" fmla="*/ 2983693 w 6230424"/>
                <a:gd name="connsiteY44" fmla="*/ 1680237 h 1707056"/>
                <a:gd name="connsiteX45" fmla="*/ 2985830 w 6230424"/>
                <a:gd name="connsiteY45" fmla="*/ 1703602 h 1707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230424" h="1707056">
                  <a:moveTo>
                    <a:pt x="6193168" y="-3454"/>
                  </a:moveTo>
                  <a:cubicBezTo>
                    <a:pt x="6193375" y="9642"/>
                    <a:pt x="6196683" y="22324"/>
                    <a:pt x="6204748" y="32869"/>
                  </a:cubicBezTo>
                  <a:cubicBezTo>
                    <a:pt x="6208469" y="21841"/>
                    <a:pt x="6217912" y="14535"/>
                    <a:pt x="6225908" y="6471"/>
                  </a:cubicBezTo>
                  <a:cubicBezTo>
                    <a:pt x="6218256" y="8263"/>
                    <a:pt x="6210675" y="9986"/>
                    <a:pt x="6203162" y="11572"/>
                  </a:cubicBezTo>
                  <a:cubicBezTo>
                    <a:pt x="6199853" y="6540"/>
                    <a:pt x="6196477" y="1508"/>
                    <a:pt x="6193168" y="-3454"/>
                  </a:cubicBezTo>
                  <a:close/>
                  <a:moveTo>
                    <a:pt x="-1227" y="838047"/>
                  </a:moveTo>
                  <a:cubicBezTo>
                    <a:pt x="-4121" y="854106"/>
                    <a:pt x="-10321" y="874646"/>
                    <a:pt x="8975" y="883054"/>
                  </a:cubicBezTo>
                  <a:cubicBezTo>
                    <a:pt x="7667" y="869683"/>
                    <a:pt x="19524" y="849971"/>
                    <a:pt x="4702" y="841286"/>
                  </a:cubicBezTo>
                  <a:cubicBezTo>
                    <a:pt x="3187" y="840459"/>
                    <a:pt x="292" y="838874"/>
                    <a:pt x="-1227" y="838047"/>
                  </a:cubicBezTo>
                  <a:moveTo>
                    <a:pt x="3773500" y="1079972"/>
                  </a:moveTo>
                  <a:cubicBezTo>
                    <a:pt x="3766125" y="1073838"/>
                    <a:pt x="3767504" y="1050679"/>
                    <a:pt x="3779703" y="1054263"/>
                  </a:cubicBezTo>
                  <a:cubicBezTo>
                    <a:pt x="3778394" y="1065084"/>
                    <a:pt x="3796590" y="1089966"/>
                    <a:pt x="3773500" y="1079972"/>
                  </a:cubicBezTo>
                  <a:moveTo>
                    <a:pt x="3782185" y="1100994"/>
                  </a:moveTo>
                  <a:cubicBezTo>
                    <a:pt x="3788043" y="1100787"/>
                    <a:pt x="3799760" y="1100443"/>
                    <a:pt x="3805688" y="1100236"/>
                  </a:cubicBezTo>
                  <a:cubicBezTo>
                    <a:pt x="3808169" y="1074044"/>
                    <a:pt x="3808307" y="1047784"/>
                    <a:pt x="3808928" y="1021455"/>
                  </a:cubicBezTo>
                  <a:cubicBezTo>
                    <a:pt x="3807962" y="1020904"/>
                    <a:pt x="3805895" y="1019801"/>
                    <a:pt x="3804861" y="1019181"/>
                  </a:cubicBezTo>
                  <a:cubicBezTo>
                    <a:pt x="3791352" y="1015114"/>
                    <a:pt x="3778807" y="1016630"/>
                    <a:pt x="3767090" y="1023661"/>
                  </a:cubicBezTo>
                  <a:cubicBezTo>
                    <a:pt x="3771019" y="1017044"/>
                    <a:pt x="3778807" y="1003810"/>
                    <a:pt x="3782736" y="997193"/>
                  </a:cubicBezTo>
                  <a:cubicBezTo>
                    <a:pt x="3766884" y="999537"/>
                    <a:pt x="3762610" y="1011668"/>
                    <a:pt x="3763230" y="1025591"/>
                  </a:cubicBezTo>
                  <a:cubicBezTo>
                    <a:pt x="3763093" y="1036619"/>
                    <a:pt x="3763851" y="1047715"/>
                    <a:pt x="3761990" y="1058605"/>
                  </a:cubicBezTo>
                  <a:cubicBezTo>
                    <a:pt x="3761025" y="1063982"/>
                    <a:pt x="3759095" y="1074734"/>
                    <a:pt x="3758130" y="1080110"/>
                  </a:cubicBezTo>
                  <a:cubicBezTo>
                    <a:pt x="3765229" y="1085486"/>
                    <a:pt x="3772191" y="1094102"/>
                    <a:pt x="3782529" y="1090724"/>
                  </a:cubicBezTo>
                  <a:cubicBezTo>
                    <a:pt x="3782392" y="1093275"/>
                    <a:pt x="3782254" y="1098444"/>
                    <a:pt x="3782185" y="1100994"/>
                  </a:cubicBezTo>
                  <a:moveTo>
                    <a:pt x="2894711" y="1655837"/>
                  </a:moveTo>
                  <a:cubicBezTo>
                    <a:pt x="2900708" y="1655631"/>
                    <a:pt x="2912700" y="1655217"/>
                    <a:pt x="2918697" y="1655010"/>
                  </a:cubicBezTo>
                  <a:cubicBezTo>
                    <a:pt x="2919042" y="1666796"/>
                    <a:pt x="2930690" y="1671552"/>
                    <a:pt x="2937927" y="1678651"/>
                  </a:cubicBezTo>
                  <a:cubicBezTo>
                    <a:pt x="2933516" y="1676584"/>
                    <a:pt x="2924625" y="1672448"/>
                    <a:pt x="2920145" y="1670311"/>
                  </a:cubicBezTo>
                  <a:cubicBezTo>
                    <a:pt x="2920351" y="1674516"/>
                    <a:pt x="2920765" y="1682856"/>
                    <a:pt x="2920902" y="1687060"/>
                  </a:cubicBezTo>
                  <a:cubicBezTo>
                    <a:pt x="2912769" y="1676170"/>
                    <a:pt x="2903809" y="1665969"/>
                    <a:pt x="2894711" y="1655837"/>
                  </a:cubicBezTo>
                  <a:moveTo>
                    <a:pt x="2985830" y="1703602"/>
                  </a:moveTo>
                  <a:cubicBezTo>
                    <a:pt x="2986863" y="1700087"/>
                    <a:pt x="2989000" y="1692988"/>
                    <a:pt x="2990103" y="1689404"/>
                  </a:cubicBezTo>
                  <a:cubicBezTo>
                    <a:pt x="2995755" y="1689679"/>
                    <a:pt x="3007127" y="1690231"/>
                    <a:pt x="3012779" y="1690507"/>
                  </a:cubicBezTo>
                  <a:cubicBezTo>
                    <a:pt x="3015812" y="1693539"/>
                    <a:pt x="3021946" y="1699673"/>
                    <a:pt x="3025048" y="1702706"/>
                  </a:cubicBezTo>
                  <a:cubicBezTo>
                    <a:pt x="3018293" y="1693539"/>
                    <a:pt x="3011056" y="1684648"/>
                    <a:pt x="3004233" y="1675481"/>
                  </a:cubicBezTo>
                  <a:cubicBezTo>
                    <a:pt x="3002233" y="1675619"/>
                    <a:pt x="2998236" y="1675894"/>
                    <a:pt x="2996237" y="1675963"/>
                  </a:cubicBezTo>
                  <a:cubicBezTo>
                    <a:pt x="2994514" y="1671552"/>
                    <a:pt x="2991068" y="1662730"/>
                    <a:pt x="2989345" y="1658319"/>
                  </a:cubicBezTo>
                  <a:cubicBezTo>
                    <a:pt x="2957432" y="1645223"/>
                    <a:pt x="2921799" y="1653632"/>
                    <a:pt x="2888508" y="1647153"/>
                  </a:cubicBezTo>
                  <a:cubicBezTo>
                    <a:pt x="2888990" y="1662316"/>
                    <a:pt x="2878238" y="1663695"/>
                    <a:pt x="2865694" y="1661627"/>
                  </a:cubicBezTo>
                  <a:cubicBezTo>
                    <a:pt x="2871277" y="1669829"/>
                    <a:pt x="2879341" y="1676997"/>
                    <a:pt x="2880099" y="1687612"/>
                  </a:cubicBezTo>
                  <a:cubicBezTo>
                    <a:pt x="2888095" y="1683752"/>
                    <a:pt x="2896090" y="1679685"/>
                    <a:pt x="2903947" y="1675412"/>
                  </a:cubicBezTo>
                  <a:cubicBezTo>
                    <a:pt x="2900087" y="1678376"/>
                    <a:pt x="2892368" y="1684372"/>
                    <a:pt x="2888508" y="1687336"/>
                  </a:cubicBezTo>
                  <a:cubicBezTo>
                    <a:pt x="2894091" y="1696572"/>
                    <a:pt x="2902569" y="1698157"/>
                    <a:pt x="2913872" y="1692023"/>
                  </a:cubicBezTo>
                  <a:cubicBezTo>
                    <a:pt x="2924831" y="1698571"/>
                    <a:pt x="2937996" y="1696985"/>
                    <a:pt x="2950264" y="1697881"/>
                  </a:cubicBezTo>
                  <a:cubicBezTo>
                    <a:pt x="2952470" y="1688370"/>
                    <a:pt x="2954745" y="1678858"/>
                    <a:pt x="2957088" y="1669347"/>
                  </a:cubicBezTo>
                  <a:cubicBezTo>
                    <a:pt x="2965841" y="1673137"/>
                    <a:pt x="2974733" y="1676790"/>
                    <a:pt x="2983693" y="1680237"/>
                  </a:cubicBezTo>
                  <a:cubicBezTo>
                    <a:pt x="2980522" y="1688301"/>
                    <a:pt x="2979557" y="1696572"/>
                    <a:pt x="2985830" y="1703602"/>
                  </a:cubicBezTo>
                </a:path>
              </a:pathLst>
            </a:custGeom>
            <a:grpFill/>
            <a:ln w="689" cap="flat">
              <a:noFill/>
              <a:prstDash val="solid"/>
              <a:miter/>
            </a:ln>
          </p:spPr>
          <p:txBody>
            <a:bodyPr rtlCol="0" anchor="ctr"/>
            <a:lstStyle/>
            <a:p>
              <a:endParaRPr lang="en-US" sz="2400" dirty="0"/>
            </a:p>
          </p:txBody>
        </p:sp>
        <p:sp>
          <p:nvSpPr>
            <p:cNvPr id="215" name="Graphic 8">
              <a:extLst>
                <a:ext uri="{FF2B5EF4-FFF2-40B4-BE49-F238E27FC236}">
                  <a16:creationId xmlns:a16="http://schemas.microsoft.com/office/drawing/2014/main" id="{FFFC30B8-7D61-4997-B599-DCD2D5035EC9}"/>
                </a:ext>
              </a:extLst>
            </p:cNvPr>
            <p:cNvSpPr/>
            <p:nvPr/>
          </p:nvSpPr>
          <p:spPr>
            <a:xfrm flipV="1">
              <a:off x="3161767" y="1588225"/>
              <a:ext cx="2912520" cy="1779241"/>
            </a:xfrm>
            <a:custGeom>
              <a:avLst/>
              <a:gdLst>
                <a:gd name="connsiteX0" fmla="*/ 2088791 w 2912520"/>
                <a:gd name="connsiteY0" fmla="*/ -749 h 1779241"/>
                <a:gd name="connsiteX1" fmla="*/ 2088791 w 2912520"/>
                <a:gd name="connsiteY1" fmla="*/ -749 h 1779241"/>
                <a:gd name="connsiteX2" fmla="*/ -5690 w 2912520"/>
                <a:gd name="connsiteY2" fmla="*/ 343460 h 1779241"/>
                <a:gd name="connsiteX3" fmla="*/ -5690 w 2912520"/>
                <a:gd name="connsiteY3" fmla="*/ 343460 h 1779241"/>
                <a:gd name="connsiteX4" fmla="*/ 2386201 w 2912520"/>
                <a:gd name="connsiteY4" fmla="*/ 1060552 h 1779241"/>
                <a:gd name="connsiteX5" fmla="*/ 2390268 w 2912520"/>
                <a:gd name="connsiteY5" fmla="*/ 1044561 h 1779241"/>
                <a:gd name="connsiteX6" fmla="*/ 2386201 w 2912520"/>
                <a:gd name="connsiteY6" fmla="*/ 1060552 h 1779241"/>
                <a:gd name="connsiteX7" fmla="*/ 2894038 w 2912520"/>
                <a:gd name="connsiteY7" fmla="*/ 1219630 h 1779241"/>
                <a:gd name="connsiteX8" fmla="*/ 2905686 w 2912520"/>
                <a:gd name="connsiteY8" fmla="*/ 1207982 h 1779241"/>
                <a:gd name="connsiteX9" fmla="*/ 2894038 w 2912520"/>
                <a:gd name="connsiteY9" fmla="*/ 1219630 h 1779241"/>
                <a:gd name="connsiteX10" fmla="*/ 510900 w 2912520"/>
                <a:gd name="connsiteY10" fmla="*/ 1774266 h 1779241"/>
                <a:gd name="connsiteX11" fmla="*/ 535506 w 2912520"/>
                <a:gd name="connsiteY11" fmla="*/ 1775438 h 1779241"/>
                <a:gd name="connsiteX12" fmla="*/ 510900 w 2912520"/>
                <a:gd name="connsiteY12" fmla="*/ 1774266 h 1779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12520" h="1779241">
                  <a:moveTo>
                    <a:pt x="2088791" y="-749"/>
                  </a:moveTo>
                  <a:cubicBezTo>
                    <a:pt x="2092513" y="-4264"/>
                    <a:pt x="2092513" y="-4264"/>
                    <a:pt x="2088791" y="-749"/>
                  </a:cubicBezTo>
                  <a:close/>
                  <a:moveTo>
                    <a:pt x="-5690" y="343460"/>
                  </a:moveTo>
                  <a:cubicBezTo>
                    <a:pt x="-2037" y="339876"/>
                    <a:pt x="-2037" y="339876"/>
                    <a:pt x="-5690" y="343460"/>
                  </a:cubicBezTo>
                  <a:moveTo>
                    <a:pt x="2386201" y="1060552"/>
                  </a:moveTo>
                  <a:cubicBezTo>
                    <a:pt x="2394886" y="1058553"/>
                    <a:pt x="2396264" y="1053246"/>
                    <a:pt x="2390268" y="1044561"/>
                  </a:cubicBezTo>
                  <a:cubicBezTo>
                    <a:pt x="2381445" y="1046629"/>
                    <a:pt x="2380067" y="1051936"/>
                    <a:pt x="2386201" y="1060552"/>
                  </a:cubicBezTo>
                  <a:moveTo>
                    <a:pt x="2894038" y="1219630"/>
                  </a:moveTo>
                  <a:cubicBezTo>
                    <a:pt x="2905135" y="1223076"/>
                    <a:pt x="2908994" y="1219148"/>
                    <a:pt x="2905686" y="1207982"/>
                  </a:cubicBezTo>
                  <a:cubicBezTo>
                    <a:pt x="2894382" y="1204535"/>
                    <a:pt x="2890453" y="1208464"/>
                    <a:pt x="2894038" y="1219630"/>
                  </a:cubicBezTo>
                  <a:moveTo>
                    <a:pt x="510900" y="1774266"/>
                  </a:moveTo>
                  <a:cubicBezTo>
                    <a:pt x="518826" y="1775025"/>
                    <a:pt x="527511" y="1776610"/>
                    <a:pt x="535506" y="1775438"/>
                  </a:cubicBezTo>
                  <a:cubicBezTo>
                    <a:pt x="541020" y="1757932"/>
                    <a:pt x="502698" y="1753451"/>
                    <a:pt x="510900" y="1774266"/>
                  </a:cubicBezTo>
                </a:path>
              </a:pathLst>
            </a:custGeom>
            <a:grpFill/>
            <a:ln w="689" cap="flat">
              <a:noFill/>
              <a:prstDash val="solid"/>
              <a:miter/>
            </a:ln>
          </p:spPr>
          <p:txBody>
            <a:bodyPr rtlCol="0" anchor="ctr"/>
            <a:lstStyle/>
            <a:p>
              <a:endParaRPr lang="en-US" sz="2400" dirty="0"/>
            </a:p>
          </p:txBody>
        </p:sp>
        <p:sp>
          <p:nvSpPr>
            <p:cNvPr id="216" name="Graphic 8">
              <a:extLst>
                <a:ext uri="{FF2B5EF4-FFF2-40B4-BE49-F238E27FC236}">
                  <a16:creationId xmlns:a16="http://schemas.microsoft.com/office/drawing/2014/main" id="{3D0F8188-606A-42F7-82AC-52993CA1FCB0}"/>
                </a:ext>
              </a:extLst>
            </p:cNvPr>
            <p:cNvSpPr/>
            <p:nvPr/>
          </p:nvSpPr>
          <p:spPr>
            <a:xfrm flipV="1">
              <a:off x="1972729" y="1584921"/>
              <a:ext cx="1814184" cy="2135582"/>
            </a:xfrm>
            <a:custGeom>
              <a:avLst/>
              <a:gdLst>
                <a:gd name="connsiteX0" fmla="*/ -1348 w 1814184"/>
                <a:gd name="connsiteY0" fmla="*/ 6435 h 2135582"/>
                <a:gd name="connsiteX1" fmla="*/ -1348 w 1814184"/>
                <a:gd name="connsiteY1" fmla="*/ 6435 h 2135582"/>
                <a:gd name="connsiteX2" fmla="*/ 1772496 w 1814184"/>
                <a:gd name="connsiteY2" fmla="*/ 2132484 h 2135582"/>
                <a:gd name="connsiteX3" fmla="*/ 1782214 w 1814184"/>
                <a:gd name="connsiteY3" fmla="*/ 2115115 h 2135582"/>
                <a:gd name="connsiteX4" fmla="*/ 1784144 w 1814184"/>
                <a:gd name="connsiteY4" fmla="*/ 2112151 h 2135582"/>
                <a:gd name="connsiteX5" fmla="*/ 1808888 w 1814184"/>
                <a:gd name="connsiteY5" fmla="*/ 2109808 h 2135582"/>
                <a:gd name="connsiteX6" fmla="*/ 1810680 w 1814184"/>
                <a:gd name="connsiteY6" fmla="*/ 2096368 h 2135582"/>
                <a:gd name="connsiteX7" fmla="*/ 1780215 w 1814184"/>
                <a:gd name="connsiteY7" fmla="*/ 2100985 h 2135582"/>
                <a:gd name="connsiteX8" fmla="*/ 1746580 w 1814184"/>
                <a:gd name="connsiteY8" fmla="*/ 2095334 h 2135582"/>
                <a:gd name="connsiteX9" fmla="*/ 1750578 w 1814184"/>
                <a:gd name="connsiteY9" fmla="*/ 2110635 h 2135582"/>
                <a:gd name="connsiteX10" fmla="*/ 1765397 w 1814184"/>
                <a:gd name="connsiteY10" fmla="*/ 2119388 h 2135582"/>
                <a:gd name="connsiteX11" fmla="*/ 1772496 w 1814184"/>
                <a:gd name="connsiteY11" fmla="*/ 2132484 h 213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4184" h="2135582">
                  <a:moveTo>
                    <a:pt x="-1348" y="6435"/>
                  </a:moveTo>
                  <a:cubicBezTo>
                    <a:pt x="21259" y="5194"/>
                    <a:pt x="-11963" y="-14380"/>
                    <a:pt x="-1348" y="6435"/>
                  </a:cubicBezTo>
                  <a:close/>
                  <a:moveTo>
                    <a:pt x="1772496" y="2132484"/>
                  </a:moveTo>
                  <a:cubicBezTo>
                    <a:pt x="1775460" y="2126625"/>
                    <a:pt x="1778768" y="2120767"/>
                    <a:pt x="1782214" y="2115115"/>
                  </a:cubicBezTo>
                  <a:lnTo>
                    <a:pt x="1784144" y="2112151"/>
                  </a:lnTo>
                  <a:cubicBezTo>
                    <a:pt x="1792346" y="2111255"/>
                    <a:pt x="1800548" y="2110497"/>
                    <a:pt x="1808888" y="2109808"/>
                  </a:cubicBezTo>
                  <a:cubicBezTo>
                    <a:pt x="1809302" y="2106431"/>
                    <a:pt x="1810267" y="2099745"/>
                    <a:pt x="1810680" y="2096368"/>
                  </a:cubicBezTo>
                  <a:cubicBezTo>
                    <a:pt x="1800410" y="2097194"/>
                    <a:pt x="1790209" y="2098504"/>
                    <a:pt x="1780215" y="2100985"/>
                  </a:cubicBezTo>
                  <a:cubicBezTo>
                    <a:pt x="1769601" y="2096712"/>
                    <a:pt x="1758090" y="2090509"/>
                    <a:pt x="1746580" y="2095334"/>
                  </a:cubicBezTo>
                  <a:cubicBezTo>
                    <a:pt x="1747614" y="2099125"/>
                    <a:pt x="1749544" y="2106775"/>
                    <a:pt x="1750578" y="2110635"/>
                  </a:cubicBezTo>
                  <a:cubicBezTo>
                    <a:pt x="1754300" y="2112841"/>
                    <a:pt x="1761744" y="2117183"/>
                    <a:pt x="1765397" y="2119388"/>
                  </a:cubicBezTo>
                  <a:cubicBezTo>
                    <a:pt x="1767189" y="2122628"/>
                    <a:pt x="1770704" y="2129244"/>
                    <a:pt x="1772496" y="2132484"/>
                  </a:cubicBezTo>
                </a:path>
              </a:pathLst>
            </a:custGeom>
            <a:grpFill/>
            <a:ln w="689" cap="flat">
              <a:noFill/>
              <a:prstDash val="solid"/>
              <a:miter/>
            </a:ln>
          </p:spPr>
          <p:txBody>
            <a:bodyPr rtlCol="0" anchor="ctr"/>
            <a:lstStyle/>
            <a:p>
              <a:endParaRPr lang="en-US" sz="2400" dirty="0"/>
            </a:p>
          </p:txBody>
        </p:sp>
        <p:sp>
          <p:nvSpPr>
            <p:cNvPr id="217" name="Graphic 8">
              <a:extLst>
                <a:ext uri="{FF2B5EF4-FFF2-40B4-BE49-F238E27FC236}">
                  <a16:creationId xmlns:a16="http://schemas.microsoft.com/office/drawing/2014/main" id="{B713C506-17B2-47D8-BA7B-6C973ADE6761}"/>
                </a:ext>
              </a:extLst>
            </p:cNvPr>
            <p:cNvSpPr/>
            <p:nvPr/>
          </p:nvSpPr>
          <p:spPr>
            <a:xfrm flipV="1">
              <a:off x="470538" y="1587816"/>
              <a:ext cx="58927" cy="80090"/>
            </a:xfrm>
            <a:custGeom>
              <a:avLst/>
              <a:gdLst>
                <a:gd name="connsiteX0" fmla="*/ -512 w 58927"/>
                <a:gd name="connsiteY0" fmla="*/ 51252 h 80090"/>
                <a:gd name="connsiteX1" fmla="*/ 58416 w 58927"/>
                <a:gd name="connsiteY1" fmla="*/ 75307 h 80090"/>
                <a:gd name="connsiteX2" fmla="*/ 54694 w 58927"/>
                <a:gd name="connsiteY2" fmla="*/ 45394 h 80090"/>
                <a:gd name="connsiteX3" fmla="*/ 41254 w 58927"/>
                <a:gd name="connsiteY3" fmla="*/ 49529 h 80090"/>
                <a:gd name="connsiteX4" fmla="*/ 40702 w 58927"/>
                <a:gd name="connsiteY4" fmla="*/ -4783 h 80090"/>
                <a:gd name="connsiteX5" fmla="*/ 28366 w 58927"/>
                <a:gd name="connsiteY5" fmla="*/ -1751 h 80090"/>
                <a:gd name="connsiteX6" fmla="*/ 7893 w 58927"/>
                <a:gd name="connsiteY6" fmla="*/ 6451 h 80090"/>
                <a:gd name="connsiteX7" fmla="*/ 3827 w 58927"/>
                <a:gd name="connsiteY7" fmla="*/ 7968 h 80090"/>
                <a:gd name="connsiteX8" fmla="*/ -512 w 58927"/>
                <a:gd name="connsiteY8" fmla="*/ 51252 h 80090"/>
                <a:gd name="connsiteX9" fmla="*/ -512 w 58927"/>
                <a:gd name="connsiteY9" fmla="*/ 51252 h 8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27" h="80090">
                  <a:moveTo>
                    <a:pt x="-512" y="51252"/>
                  </a:moveTo>
                  <a:cubicBezTo>
                    <a:pt x="17338" y="63038"/>
                    <a:pt x="37878" y="69724"/>
                    <a:pt x="58416" y="75307"/>
                  </a:cubicBezTo>
                  <a:cubicBezTo>
                    <a:pt x="57869" y="65244"/>
                    <a:pt x="56625" y="55250"/>
                    <a:pt x="54694" y="45394"/>
                  </a:cubicBezTo>
                  <a:cubicBezTo>
                    <a:pt x="50148" y="46497"/>
                    <a:pt x="45665" y="47875"/>
                    <a:pt x="41254" y="49529"/>
                  </a:cubicBezTo>
                  <a:cubicBezTo>
                    <a:pt x="29192" y="32505"/>
                    <a:pt x="35877" y="13413"/>
                    <a:pt x="40702" y="-4783"/>
                  </a:cubicBezTo>
                  <a:cubicBezTo>
                    <a:pt x="37601" y="-4025"/>
                    <a:pt x="31470" y="-2509"/>
                    <a:pt x="28366" y="-1751"/>
                  </a:cubicBezTo>
                  <a:cubicBezTo>
                    <a:pt x="21541" y="937"/>
                    <a:pt x="14718" y="3832"/>
                    <a:pt x="7893" y="6451"/>
                  </a:cubicBezTo>
                  <a:lnTo>
                    <a:pt x="3827" y="7968"/>
                  </a:lnTo>
                  <a:cubicBezTo>
                    <a:pt x="14923" y="22718"/>
                    <a:pt x="9893" y="37881"/>
                    <a:pt x="-512" y="51252"/>
                  </a:cubicBezTo>
                  <a:lnTo>
                    <a:pt x="-512" y="51252"/>
                  </a:lnTo>
                </a:path>
              </a:pathLst>
            </a:custGeom>
            <a:grpFill/>
            <a:ln w="689" cap="flat">
              <a:noFill/>
              <a:prstDash val="solid"/>
              <a:miter/>
            </a:ln>
          </p:spPr>
          <p:txBody>
            <a:bodyPr rtlCol="0" anchor="ctr"/>
            <a:lstStyle/>
            <a:p>
              <a:endParaRPr lang="en-US" sz="2400" dirty="0"/>
            </a:p>
          </p:txBody>
        </p:sp>
        <p:sp>
          <p:nvSpPr>
            <p:cNvPr id="218" name="Graphic 8">
              <a:extLst>
                <a:ext uri="{FF2B5EF4-FFF2-40B4-BE49-F238E27FC236}">
                  <a16:creationId xmlns:a16="http://schemas.microsoft.com/office/drawing/2014/main" id="{67D240D5-CF9D-428D-A7CA-DC7A0DE9542B}"/>
                </a:ext>
              </a:extLst>
            </p:cNvPr>
            <p:cNvSpPr/>
            <p:nvPr/>
          </p:nvSpPr>
          <p:spPr>
            <a:xfrm flipV="1">
              <a:off x="531723" y="1592572"/>
              <a:ext cx="6352393" cy="1328728"/>
            </a:xfrm>
            <a:custGeom>
              <a:avLst/>
              <a:gdLst>
                <a:gd name="connsiteX0" fmla="*/ 4491495 w 6352393"/>
                <a:gd name="connsiteY0" fmla="*/ 13344 h 1328728"/>
                <a:gd name="connsiteX1" fmla="*/ 4495975 w 6352393"/>
                <a:gd name="connsiteY1" fmla="*/ -3749 h 1328728"/>
                <a:gd name="connsiteX2" fmla="*/ 4491495 w 6352393"/>
                <a:gd name="connsiteY2" fmla="*/ 13344 h 1328728"/>
                <a:gd name="connsiteX3" fmla="*/ 6339847 w 6352393"/>
                <a:gd name="connsiteY3" fmla="*/ 69931 h 1328728"/>
                <a:gd name="connsiteX4" fmla="*/ 6339847 w 6352393"/>
                <a:gd name="connsiteY4" fmla="*/ 69931 h 1328728"/>
                <a:gd name="connsiteX5" fmla="*/ 5979922 w 6352393"/>
                <a:gd name="connsiteY5" fmla="*/ 131826 h 1328728"/>
                <a:gd name="connsiteX6" fmla="*/ 5979922 w 6352393"/>
                <a:gd name="connsiteY6" fmla="*/ 131826 h 1328728"/>
                <a:gd name="connsiteX7" fmla="*/ -2458 w 6352393"/>
                <a:gd name="connsiteY7" fmla="*/ 1248060 h 1328728"/>
                <a:gd name="connsiteX8" fmla="*/ -2458 w 6352393"/>
                <a:gd name="connsiteY8" fmla="*/ 1248060 h 1328728"/>
                <a:gd name="connsiteX9" fmla="*/ 991916 w 6352393"/>
                <a:gd name="connsiteY9" fmla="*/ 1324980 h 1328728"/>
                <a:gd name="connsiteX10" fmla="*/ 988125 w 6352393"/>
                <a:gd name="connsiteY10" fmla="*/ 1319397 h 1328728"/>
                <a:gd name="connsiteX11" fmla="*/ 991916 w 6352393"/>
                <a:gd name="connsiteY11" fmla="*/ 1324980 h 1328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52393" h="1328728">
                  <a:moveTo>
                    <a:pt x="4491495" y="13344"/>
                  </a:moveTo>
                  <a:cubicBezTo>
                    <a:pt x="4499972" y="10794"/>
                    <a:pt x="4501489" y="5073"/>
                    <a:pt x="4495975" y="-3749"/>
                  </a:cubicBezTo>
                  <a:cubicBezTo>
                    <a:pt x="4487290" y="-1130"/>
                    <a:pt x="4485843" y="4591"/>
                    <a:pt x="4491495" y="13344"/>
                  </a:cubicBezTo>
                  <a:close/>
                  <a:moveTo>
                    <a:pt x="6339847" y="69931"/>
                  </a:moveTo>
                  <a:cubicBezTo>
                    <a:pt x="6362378" y="68346"/>
                    <a:pt x="6329025" y="49254"/>
                    <a:pt x="6339847" y="69931"/>
                  </a:cubicBezTo>
                  <a:moveTo>
                    <a:pt x="5979922" y="131826"/>
                  </a:moveTo>
                  <a:cubicBezTo>
                    <a:pt x="6002529" y="131550"/>
                    <a:pt x="5970549" y="110459"/>
                    <a:pt x="5979922" y="131826"/>
                  </a:cubicBezTo>
                  <a:moveTo>
                    <a:pt x="-2458" y="1248060"/>
                  </a:moveTo>
                  <a:cubicBezTo>
                    <a:pt x="20214" y="1246681"/>
                    <a:pt x="-12867" y="1227314"/>
                    <a:pt x="-2458" y="1248060"/>
                  </a:cubicBezTo>
                  <a:moveTo>
                    <a:pt x="991916" y="1324980"/>
                  </a:moveTo>
                  <a:cubicBezTo>
                    <a:pt x="1006873" y="1321809"/>
                    <a:pt x="991640" y="1302717"/>
                    <a:pt x="988125" y="1319397"/>
                  </a:cubicBezTo>
                  <a:lnTo>
                    <a:pt x="991916" y="1324980"/>
                  </a:lnTo>
                </a:path>
              </a:pathLst>
            </a:custGeom>
            <a:grpFill/>
            <a:ln w="689" cap="flat">
              <a:noFill/>
              <a:prstDash val="solid"/>
              <a:miter/>
            </a:ln>
          </p:spPr>
          <p:txBody>
            <a:bodyPr rtlCol="0" anchor="ctr"/>
            <a:lstStyle/>
            <a:p>
              <a:endParaRPr lang="en-US" sz="2400" dirty="0"/>
            </a:p>
          </p:txBody>
        </p:sp>
        <p:sp>
          <p:nvSpPr>
            <p:cNvPr id="219" name="Graphic 8">
              <a:extLst>
                <a:ext uri="{FF2B5EF4-FFF2-40B4-BE49-F238E27FC236}">
                  <a16:creationId xmlns:a16="http://schemas.microsoft.com/office/drawing/2014/main" id="{60843075-DD1D-4029-9545-A1451570EA4B}"/>
                </a:ext>
              </a:extLst>
            </p:cNvPr>
            <p:cNvSpPr/>
            <p:nvPr/>
          </p:nvSpPr>
          <p:spPr>
            <a:xfrm flipV="1">
              <a:off x="1858747" y="1594019"/>
              <a:ext cx="951397" cy="912487"/>
            </a:xfrm>
            <a:custGeom>
              <a:avLst/>
              <a:gdLst>
                <a:gd name="connsiteX0" fmla="*/ 940484 w 951397"/>
                <a:gd name="connsiteY0" fmla="*/ 5486 h 912487"/>
                <a:gd name="connsiteX1" fmla="*/ 940484 w 951397"/>
                <a:gd name="connsiteY1" fmla="*/ 5486 h 912487"/>
                <a:gd name="connsiteX2" fmla="*/ -2819 w 951397"/>
                <a:gd name="connsiteY2" fmla="*/ 908399 h 912487"/>
                <a:gd name="connsiteX3" fmla="*/ -2819 w 951397"/>
                <a:gd name="connsiteY3" fmla="*/ 908399 h 912487"/>
              </a:gdLst>
              <a:ahLst/>
              <a:cxnLst>
                <a:cxn ang="0">
                  <a:pos x="connsiteX0" y="connsiteY0"/>
                </a:cxn>
                <a:cxn ang="0">
                  <a:pos x="connsiteX1" y="connsiteY1"/>
                </a:cxn>
                <a:cxn ang="0">
                  <a:pos x="connsiteX2" y="connsiteY2"/>
                </a:cxn>
                <a:cxn ang="0">
                  <a:pos x="connsiteX3" y="connsiteY3"/>
                </a:cxn>
              </a:cxnLst>
              <a:rect l="l" t="t" r="r" b="b"/>
              <a:pathLst>
                <a:path w="951397" h="912487">
                  <a:moveTo>
                    <a:pt x="940484" y="5486"/>
                  </a:moveTo>
                  <a:cubicBezTo>
                    <a:pt x="963160" y="4728"/>
                    <a:pt x="929869" y="-15673"/>
                    <a:pt x="940484" y="5486"/>
                  </a:cubicBezTo>
                  <a:close/>
                  <a:moveTo>
                    <a:pt x="-2819" y="908399"/>
                  </a:moveTo>
                  <a:cubicBezTo>
                    <a:pt x="1179" y="904539"/>
                    <a:pt x="1179" y="904539"/>
                    <a:pt x="-2819" y="908399"/>
                  </a:cubicBezTo>
                </a:path>
              </a:pathLst>
            </a:custGeom>
            <a:grpFill/>
            <a:ln w="689" cap="flat">
              <a:noFill/>
              <a:prstDash val="solid"/>
              <a:miter/>
            </a:ln>
          </p:spPr>
          <p:txBody>
            <a:bodyPr rtlCol="0" anchor="ctr"/>
            <a:lstStyle/>
            <a:p>
              <a:endParaRPr lang="en-US" sz="2400" dirty="0"/>
            </a:p>
          </p:txBody>
        </p:sp>
        <p:sp>
          <p:nvSpPr>
            <p:cNvPr id="220" name="Graphic 8">
              <a:extLst>
                <a:ext uri="{FF2B5EF4-FFF2-40B4-BE49-F238E27FC236}">
                  <a16:creationId xmlns:a16="http://schemas.microsoft.com/office/drawing/2014/main" id="{2D3376EB-54FC-49F0-92DA-F1B36AD9B88A}"/>
                </a:ext>
              </a:extLst>
            </p:cNvPr>
            <p:cNvSpPr/>
            <p:nvPr/>
          </p:nvSpPr>
          <p:spPr>
            <a:xfrm flipV="1">
              <a:off x="7258785" y="1593951"/>
              <a:ext cx="1492757" cy="1644403"/>
            </a:xfrm>
            <a:custGeom>
              <a:avLst/>
              <a:gdLst>
                <a:gd name="connsiteX0" fmla="*/ -9949 w 1492757"/>
                <a:gd name="connsiteY0" fmla="*/ 28218 h 1644403"/>
                <a:gd name="connsiteX1" fmla="*/ 43329 w 1492757"/>
                <a:gd name="connsiteY1" fmla="*/ 31526 h 1644403"/>
                <a:gd name="connsiteX2" fmla="*/ 29751 w 1492757"/>
                <a:gd name="connsiteY2" fmla="*/ -3487 h 1644403"/>
                <a:gd name="connsiteX3" fmla="*/ 26098 w 1492757"/>
                <a:gd name="connsiteY3" fmla="*/ 17880 h 1644403"/>
                <a:gd name="connsiteX4" fmla="*/ 15208 w 1492757"/>
                <a:gd name="connsiteY4" fmla="*/ 5128 h 1644403"/>
                <a:gd name="connsiteX5" fmla="*/ -9949 w 1492757"/>
                <a:gd name="connsiteY5" fmla="*/ 28218 h 1644403"/>
                <a:gd name="connsiteX6" fmla="*/ 1475239 w 1492757"/>
                <a:gd name="connsiteY6" fmla="*/ 1640916 h 1644403"/>
                <a:gd name="connsiteX7" fmla="*/ 1479167 w 1492757"/>
                <a:gd name="connsiteY7" fmla="*/ 1624650 h 1644403"/>
                <a:gd name="connsiteX8" fmla="*/ 1475239 w 1492757"/>
                <a:gd name="connsiteY8" fmla="*/ 1640916 h 1644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2757" h="1644403">
                  <a:moveTo>
                    <a:pt x="-9949" y="28218"/>
                  </a:moveTo>
                  <a:cubicBezTo>
                    <a:pt x="7833" y="27529"/>
                    <a:pt x="25684" y="28149"/>
                    <a:pt x="43329" y="31526"/>
                  </a:cubicBezTo>
                  <a:cubicBezTo>
                    <a:pt x="39125" y="19740"/>
                    <a:pt x="34921" y="7954"/>
                    <a:pt x="29751" y="-3487"/>
                  </a:cubicBezTo>
                  <a:cubicBezTo>
                    <a:pt x="28855" y="1889"/>
                    <a:pt x="26994" y="12572"/>
                    <a:pt x="26098" y="17880"/>
                  </a:cubicBezTo>
                  <a:cubicBezTo>
                    <a:pt x="23341" y="14709"/>
                    <a:pt x="17896" y="8299"/>
                    <a:pt x="15208" y="5128"/>
                  </a:cubicBezTo>
                  <a:cubicBezTo>
                    <a:pt x="14105" y="20361"/>
                    <a:pt x="4456" y="27391"/>
                    <a:pt x="-9949" y="28218"/>
                  </a:cubicBezTo>
                  <a:close/>
                  <a:moveTo>
                    <a:pt x="1475239" y="1640916"/>
                  </a:moveTo>
                  <a:cubicBezTo>
                    <a:pt x="1483785" y="1638849"/>
                    <a:pt x="1485095" y="1633404"/>
                    <a:pt x="1479167" y="1624650"/>
                  </a:cubicBezTo>
                  <a:cubicBezTo>
                    <a:pt x="1470414" y="1626787"/>
                    <a:pt x="1469173" y="1632163"/>
                    <a:pt x="1475239" y="1640916"/>
                  </a:cubicBezTo>
                </a:path>
              </a:pathLst>
            </a:custGeom>
            <a:grpFill/>
            <a:ln w="689" cap="flat">
              <a:noFill/>
              <a:prstDash val="solid"/>
              <a:miter/>
            </a:ln>
          </p:spPr>
          <p:txBody>
            <a:bodyPr rtlCol="0" anchor="ctr"/>
            <a:lstStyle/>
            <a:p>
              <a:endParaRPr lang="en-US" sz="2400" dirty="0"/>
            </a:p>
          </p:txBody>
        </p:sp>
        <p:sp>
          <p:nvSpPr>
            <p:cNvPr id="221" name="Graphic 8">
              <a:extLst>
                <a:ext uri="{FF2B5EF4-FFF2-40B4-BE49-F238E27FC236}">
                  <a16:creationId xmlns:a16="http://schemas.microsoft.com/office/drawing/2014/main" id="{D4A331D6-473C-4C82-B791-8387B323CCA9}"/>
                </a:ext>
              </a:extLst>
            </p:cNvPr>
            <p:cNvSpPr/>
            <p:nvPr/>
          </p:nvSpPr>
          <p:spPr>
            <a:xfrm flipV="1">
              <a:off x="601733" y="1600912"/>
              <a:ext cx="51658" cy="82916"/>
            </a:xfrm>
            <a:custGeom>
              <a:avLst/>
              <a:gdLst>
                <a:gd name="connsiteX0" fmla="*/ 19489 w 51658"/>
                <a:gd name="connsiteY0" fmla="*/ 78157 h 82916"/>
                <a:gd name="connsiteX1" fmla="*/ 30656 w 51658"/>
                <a:gd name="connsiteY1" fmla="*/ 71816 h 82916"/>
                <a:gd name="connsiteX2" fmla="*/ 37135 w 51658"/>
                <a:gd name="connsiteY2" fmla="*/ 51690 h 82916"/>
                <a:gd name="connsiteX3" fmla="*/ 22316 w 51658"/>
                <a:gd name="connsiteY3" fmla="*/ 48795 h 82916"/>
                <a:gd name="connsiteX4" fmla="*/ 33347 w 51658"/>
                <a:gd name="connsiteY4" fmla="*/ 10818 h 82916"/>
                <a:gd name="connsiteX5" fmla="*/ 50986 w 51658"/>
                <a:gd name="connsiteY5" fmla="*/ -2623 h 82916"/>
                <a:gd name="connsiteX6" fmla="*/ 47678 w 51658"/>
                <a:gd name="connsiteY6" fmla="*/ -4759 h 82916"/>
                <a:gd name="connsiteX7" fmla="*/ 24179 w 51658"/>
                <a:gd name="connsiteY7" fmla="*/ 6751 h 82916"/>
                <a:gd name="connsiteX8" fmla="*/ 19147 w 51658"/>
                <a:gd name="connsiteY8" fmla="*/ 36733 h 82916"/>
                <a:gd name="connsiteX9" fmla="*/ 11702 w 51658"/>
                <a:gd name="connsiteY9" fmla="*/ 38663 h 82916"/>
                <a:gd name="connsiteX10" fmla="*/ 8186 w 51658"/>
                <a:gd name="connsiteY10" fmla="*/ 17021 h 82916"/>
                <a:gd name="connsiteX11" fmla="*/ -500 w 51658"/>
                <a:gd name="connsiteY11" fmla="*/ 62097 h 82916"/>
                <a:gd name="connsiteX12" fmla="*/ 12874 w 51658"/>
                <a:gd name="connsiteY12" fmla="*/ 61133 h 82916"/>
                <a:gd name="connsiteX13" fmla="*/ 19489 w 51658"/>
                <a:gd name="connsiteY13" fmla="*/ 78157 h 82916"/>
                <a:gd name="connsiteX14" fmla="*/ 19489 w 51658"/>
                <a:gd name="connsiteY14" fmla="*/ 78157 h 8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658" h="82916">
                  <a:moveTo>
                    <a:pt x="19489" y="78157"/>
                  </a:moveTo>
                  <a:cubicBezTo>
                    <a:pt x="23213" y="76089"/>
                    <a:pt x="26933" y="73953"/>
                    <a:pt x="30656" y="71816"/>
                  </a:cubicBezTo>
                  <a:cubicBezTo>
                    <a:pt x="32310" y="66784"/>
                    <a:pt x="35478" y="56721"/>
                    <a:pt x="37135" y="51690"/>
                  </a:cubicBezTo>
                  <a:cubicBezTo>
                    <a:pt x="33411" y="50932"/>
                    <a:pt x="26034" y="49484"/>
                    <a:pt x="22316" y="48795"/>
                  </a:cubicBezTo>
                  <a:cubicBezTo>
                    <a:pt x="25762" y="36113"/>
                    <a:pt x="29348" y="23362"/>
                    <a:pt x="33347" y="10818"/>
                  </a:cubicBezTo>
                  <a:cubicBezTo>
                    <a:pt x="37754" y="7440"/>
                    <a:pt x="46579" y="755"/>
                    <a:pt x="50986" y="-2623"/>
                  </a:cubicBezTo>
                  <a:lnTo>
                    <a:pt x="47678" y="-4759"/>
                  </a:lnTo>
                  <a:cubicBezTo>
                    <a:pt x="39614" y="-1382"/>
                    <a:pt x="31618" y="2202"/>
                    <a:pt x="24179" y="6751"/>
                  </a:cubicBezTo>
                  <a:cubicBezTo>
                    <a:pt x="22041" y="16676"/>
                    <a:pt x="21627" y="26946"/>
                    <a:pt x="19147" y="36733"/>
                  </a:cubicBezTo>
                  <a:cubicBezTo>
                    <a:pt x="17286" y="37216"/>
                    <a:pt x="13563" y="38180"/>
                    <a:pt x="11702" y="38663"/>
                  </a:cubicBezTo>
                  <a:cubicBezTo>
                    <a:pt x="10803" y="33218"/>
                    <a:pt x="9080" y="22397"/>
                    <a:pt x="8186" y="17021"/>
                  </a:cubicBezTo>
                  <a:cubicBezTo>
                    <a:pt x="3291" y="31633"/>
                    <a:pt x="-1668" y="46451"/>
                    <a:pt x="-500" y="62097"/>
                  </a:cubicBezTo>
                  <a:cubicBezTo>
                    <a:pt x="2809" y="61822"/>
                    <a:pt x="9494" y="61408"/>
                    <a:pt x="12874" y="61133"/>
                  </a:cubicBezTo>
                  <a:cubicBezTo>
                    <a:pt x="14524" y="65406"/>
                    <a:pt x="17838" y="73884"/>
                    <a:pt x="19489" y="78157"/>
                  </a:cubicBezTo>
                  <a:lnTo>
                    <a:pt x="19489" y="78157"/>
                  </a:lnTo>
                </a:path>
              </a:pathLst>
            </a:custGeom>
            <a:grpFill/>
            <a:ln w="689" cap="flat">
              <a:noFill/>
              <a:prstDash val="solid"/>
              <a:miter/>
            </a:ln>
          </p:spPr>
          <p:txBody>
            <a:bodyPr rtlCol="0" anchor="ctr"/>
            <a:lstStyle/>
            <a:p>
              <a:endParaRPr lang="en-US" sz="2400" dirty="0"/>
            </a:p>
          </p:txBody>
        </p:sp>
        <p:sp>
          <p:nvSpPr>
            <p:cNvPr id="222" name="Graphic 8">
              <a:extLst>
                <a:ext uri="{FF2B5EF4-FFF2-40B4-BE49-F238E27FC236}">
                  <a16:creationId xmlns:a16="http://schemas.microsoft.com/office/drawing/2014/main" id="{17D8551C-6F02-4AD0-9B2E-E664D6C4E036}"/>
                </a:ext>
              </a:extLst>
            </p:cNvPr>
            <p:cNvSpPr/>
            <p:nvPr/>
          </p:nvSpPr>
          <p:spPr>
            <a:xfrm flipV="1">
              <a:off x="1900998" y="1596156"/>
              <a:ext cx="2460264" cy="1856209"/>
            </a:xfrm>
            <a:custGeom>
              <a:avLst/>
              <a:gdLst>
                <a:gd name="connsiteX0" fmla="*/ 2145663 w 2460264"/>
                <a:gd name="connsiteY0" fmla="*/ 3721 h 1856209"/>
                <a:gd name="connsiteX1" fmla="*/ 2166065 w 2460264"/>
                <a:gd name="connsiteY1" fmla="*/ 13784 h 1856209"/>
                <a:gd name="connsiteX2" fmla="*/ 2151797 w 2460264"/>
                <a:gd name="connsiteY2" fmla="*/ 9580 h 1856209"/>
                <a:gd name="connsiteX3" fmla="*/ 2155174 w 2460264"/>
                <a:gd name="connsiteY3" fmla="*/ 31635 h 1856209"/>
                <a:gd name="connsiteX4" fmla="*/ 2145663 w 2460264"/>
                <a:gd name="connsiteY4" fmla="*/ 3721 h 1856209"/>
                <a:gd name="connsiteX5" fmla="*/ 2100793 w 2460264"/>
                <a:gd name="connsiteY5" fmla="*/ 30533 h 1856209"/>
                <a:gd name="connsiteX6" fmla="*/ 2125192 w 2460264"/>
                <a:gd name="connsiteY6" fmla="*/ 41147 h 1856209"/>
                <a:gd name="connsiteX7" fmla="*/ 2137047 w 2460264"/>
                <a:gd name="connsiteY7" fmla="*/ 29774 h 1856209"/>
                <a:gd name="connsiteX8" fmla="*/ 2168477 w 2460264"/>
                <a:gd name="connsiteY8" fmla="*/ 44524 h 1856209"/>
                <a:gd name="connsiteX9" fmla="*/ 2163859 w 2460264"/>
                <a:gd name="connsiteY9" fmla="*/ 23778 h 1856209"/>
                <a:gd name="connsiteX10" fmla="*/ 2191567 w 2460264"/>
                <a:gd name="connsiteY10" fmla="*/ 43628 h 1856209"/>
                <a:gd name="connsiteX11" fmla="*/ 2191567 w 2460264"/>
                <a:gd name="connsiteY11" fmla="*/ 32256 h 1856209"/>
                <a:gd name="connsiteX12" fmla="*/ 2191567 w 2460264"/>
                <a:gd name="connsiteY12" fmla="*/ 17988 h 1856209"/>
                <a:gd name="connsiteX13" fmla="*/ 2175645 w 2460264"/>
                <a:gd name="connsiteY13" fmla="*/ 12750 h 1856209"/>
                <a:gd name="connsiteX14" fmla="*/ 2170958 w 2460264"/>
                <a:gd name="connsiteY14" fmla="*/ -3309 h 1856209"/>
                <a:gd name="connsiteX15" fmla="*/ 2119334 w 2460264"/>
                <a:gd name="connsiteY15" fmla="*/ 2825 h 1856209"/>
                <a:gd name="connsiteX16" fmla="*/ 2137254 w 2460264"/>
                <a:gd name="connsiteY16" fmla="*/ 13164 h 1856209"/>
                <a:gd name="connsiteX17" fmla="*/ 2100793 w 2460264"/>
                <a:gd name="connsiteY17" fmla="*/ 30533 h 1856209"/>
                <a:gd name="connsiteX18" fmla="*/ 2303362 w 2460264"/>
                <a:gd name="connsiteY18" fmla="*/ 29636 h 1856209"/>
                <a:gd name="connsiteX19" fmla="*/ 2313150 w 2460264"/>
                <a:gd name="connsiteY19" fmla="*/ 20194 h 1856209"/>
                <a:gd name="connsiteX20" fmla="*/ 2303362 w 2460264"/>
                <a:gd name="connsiteY20" fmla="*/ 29636 h 1856209"/>
                <a:gd name="connsiteX21" fmla="*/ 2261456 w 2460264"/>
                <a:gd name="connsiteY21" fmla="*/ 12199 h 1856209"/>
                <a:gd name="connsiteX22" fmla="*/ 2289164 w 2460264"/>
                <a:gd name="connsiteY22" fmla="*/ 12199 h 1856209"/>
                <a:gd name="connsiteX23" fmla="*/ 2290336 w 2460264"/>
                <a:gd name="connsiteY23" fmla="*/ 38597 h 1856209"/>
                <a:gd name="connsiteX24" fmla="*/ 2261456 w 2460264"/>
                <a:gd name="connsiteY24" fmla="*/ 12199 h 1856209"/>
                <a:gd name="connsiteX25" fmla="*/ 2263731 w 2460264"/>
                <a:gd name="connsiteY25" fmla="*/ 46868 h 1856209"/>
                <a:gd name="connsiteX26" fmla="*/ 2456444 w 2460264"/>
                <a:gd name="connsiteY26" fmla="*/ 58447 h 1856209"/>
                <a:gd name="connsiteX27" fmla="*/ 2419225 w 2460264"/>
                <a:gd name="connsiteY27" fmla="*/ 47695 h 1856209"/>
                <a:gd name="connsiteX28" fmla="*/ 2438524 w 2460264"/>
                <a:gd name="connsiteY28" fmla="*/ 29361 h 1856209"/>
                <a:gd name="connsiteX29" fmla="*/ 2454307 w 2460264"/>
                <a:gd name="connsiteY29" fmla="*/ 11509 h 1856209"/>
                <a:gd name="connsiteX30" fmla="*/ 2401029 w 2460264"/>
                <a:gd name="connsiteY30" fmla="*/ 9304 h 1856209"/>
                <a:gd name="connsiteX31" fmla="*/ 2404613 w 2460264"/>
                <a:gd name="connsiteY31" fmla="*/ 23295 h 1856209"/>
                <a:gd name="connsiteX32" fmla="*/ 2389863 w 2460264"/>
                <a:gd name="connsiteY32" fmla="*/ 6271 h 1856209"/>
                <a:gd name="connsiteX33" fmla="*/ 2385314 w 2460264"/>
                <a:gd name="connsiteY33" fmla="*/ 29705 h 1856209"/>
                <a:gd name="connsiteX34" fmla="*/ 2407921 w 2460264"/>
                <a:gd name="connsiteY34" fmla="*/ 41974 h 1856209"/>
                <a:gd name="connsiteX35" fmla="*/ 2378215 w 2460264"/>
                <a:gd name="connsiteY35" fmla="*/ 49831 h 1856209"/>
                <a:gd name="connsiteX36" fmla="*/ 2356090 w 2460264"/>
                <a:gd name="connsiteY36" fmla="*/ 31015 h 1856209"/>
                <a:gd name="connsiteX37" fmla="*/ 2378973 w 2460264"/>
                <a:gd name="connsiteY37" fmla="*/ 29843 h 1856209"/>
                <a:gd name="connsiteX38" fmla="*/ 2380489 w 2460264"/>
                <a:gd name="connsiteY38" fmla="*/ 7305 h 1856209"/>
                <a:gd name="connsiteX39" fmla="*/ 2289508 w 2460264"/>
                <a:gd name="connsiteY39" fmla="*/ 1584 h 1856209"/>
                <a:gd name="connsiteX40" fmla="*/ 2255735 w 2460264"/>
                <a:gd name="connsiteY40" fmla="*/ 1515 h 1856209"/>
                <a:gd name="connsiteX41" fmla="*/ 2255322 w 2460264"/>
                <a:gd name="connsiteY41" fmla="*/ 30326 h 1856209"/>
                <a:gd name="connsiteX42" fmla="*/ 2234713 w 2460264"/>
                <a:gd name="connsiteY42" fmla="*/ 12268 h 1856209"/>
                <a:gd name="connsiteX43" fmla="*/ 2226787 w 2460264"/>
                <a:gd name="connsiteY43" fmla="*/ 3790 h 1856209"/>
                <a:gd name="connsiteX44" fmla="*/ 2221135 w 2460264"/>
                <a:gd name="connsiteY44" fmla="*/ 4410 h 1856209"/>
                <a:gd name="connsiteX45" fmla="*/ 2226994 w 2460264"/>
                <a:gd name="connsiteY45" fmla="*/ 23571 h 1856209"/>
                <a:gd name="connsiteX46" fmla="*/ 2211831 w 2460264"/>
                <a:gd name="connsiteY46" fmla="*/ 27638 h 1856209"/>
                <a:gd name="connsiteX47" fmla="*/ 2202801 w 2460264"/>
                <a:gd name="connsiteY47" fmla="*/ 1860 h 1856209"/>
                <a:gd name="connsiteX48" fmla="*/ 2198735 w 2460264"/>
                <a:gd name="connsiteY48" fmla="*/ 27431 h 1856209"/>
                <a:gd name="connsiteX49" fmla="*/ 2219274 w 2460264"/>
                <a:gd name="connsiteY49" fmla="*/ 46661 h 1856209"/>
                <a:gd name="connsiteX50" fmla="*/ 2210176 w 2460264"/>
                <a:gd name="connsiteY50" fmla="*/ 28534 h 1856209"/>
                <a:gd name="connsiteX51" fmla="*/ 2225202 w 2460264"/>
                <a:gd name="connsiteY51" fmla="*/ 30877 h 1856209"/>
                <a:gd name="connsiteX52" fmla="*/ 2221204 w 2460264"/>
                <a:gd name="connsiteY52" fmla="*/ 45627 h 1856209"/>
                <a:gd name="connsiteX53" fmla="*/ 2256356 w 2460264"/>
                <a:gd name="connsiteY53" fmla="*/ 46937 h 1856209"/>
                <a:gd name="connsiteX54" fmla="*/ 2266695 w 2460264"/>
                <a:gd name="connsiteY54" fmla="*/ 28189 h 1856209"/>
                <a:gd name="connsiteX55" fmla="*/ 2263731 w 2460264"/>
                <a:gd name="connsiteY55" fmla="*/ 46868 h 1856209"/>
                <a:gd name="connsiteX56" fmla="*/ -2924 w 2460264"/>
                <a:gd name="connsiteY56" fmla="*/ 1840976 h 1856209"/>
                <a:gd name="connsiteX57" fmla="*/ 7621 w 2460264"/>
                <a:gd name="connsiteY57" fmla="*/ 1831257 h 1856209"/>
                <a:gd name="connsiteX58" fmla="*/ 1556 w 2460264"/>
                <a:gd name="connsiteY58" fmla="*/ 1829810 h 1856209"/>
                <a:gd name="connsiteX59" fmla="*/ -3820 w 2460264"/>
                <a:gd name="connsiteY59" fmla="*/ 1834772 h 1856209"/>
                <a:gd name="connsiteX60" fmla="*/ -2924 w 2460264"/>
                <a:gd name="connsiteY60" fmla="*/ 1840976 h 1856209"/>
                <a:gd name="connsiteX61" fmla="*/ 1434774 w 2460264"/>
                <a:gd name="connsiteY61" fmla="*/ 1847937 h 1856209"/>
                <a:gd name="connsiteX62" fmla="*/ 1484882 w 2460264"/>
                <a:gd name="connsiteY62" fmla="*/ 1852900 h 1856209"/>
                <a:gd name="connsiteX63" fmla="*/ 1483297 w 2460264"/>
                <a:gd name="connsiteY63" fmla="*/ 1829465 h 1856209"/>
                <a:gd name="connsiteX64" fmla="*/ 1495910 w 2460264"/>
                <a:gd name="connsiteY64" fmla="*/ 1839597 h 1856209"/>
                <a:gd name="connsiteX65" fmla="*/ 1494325 w 2460264"/>
                <a:gd name="connsiteY65" fmla="*/ 1816714 h 1856209"/>
                <a:gd name="connsiteX66" fmla="*/ 1485710 w 2460264"/>
                <a:gd name="connsiteY66" fmla="*/ 1818575 h 1856209"/>
                <a:gd name="connsiteX67" fmla="*/ 1488191 w 2460264"/>
                <a:gd name="connsiteY67" fmla="*/ 1804239 h 1856209"/>
                <a:gd name="connsiteX68" fmla="*/ 1471166 w 2460264"/>
                <a:gd name="connsiteY68" fmla="*/ 1803894 h 1856209"/>
                <a:gd name="connsiteX69" fmla="*/ 1472683 w 2460264"/>
                <a:gd name="connsiteY69" fmla="*/ 1814922 h 1856209"/>
                <a:gd name="connsiteX70" fmla="*/ 1466617 w 2460264"/>
                <a:gd name="connsiteY70" fmla="*/ 1814853 h 1856209"/>
                <a:gd name="connsiteX71" fmla="*/ 1467307 w 2460264"/>
                <a:gd name="connsiteY71" fmla="*/ 1804170 h 1856209"/>
                <a:gd name="connsiteX72" fmla="*/ 1438979 w 2460264"/>
                <a:gd name="connsiteY72" fmla="*/ 1802102 h 1856209"/>
                <a:gd name="connsiteX73" fmla="*/ 1446767 w 2460264"/>
                <a:gd name="connsiteY73" fmla="*/ 1839252 h 1856209"/>
                <a:gd name="connsiteX74" fmla="*/ 1434774 w 2460264"/>
                <a:gd name="connsiteY74" fmla="*/ 1847937 h 1856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460264" h="1856209">
                  <a:moveTo>
                    <a:pt x="2145663" y="3721"/>
                  </a:moveTo>
                  <a:cubicBezTo>
                    <a:pt x="2156484" y="-1517"/>
                    <a:pt x="2163376" y="2618"/>
                    <a:pt x="2166065" y="13784"/>
                  </a:cubicBezTo>
                  <a:lnTo>
                    <a:pt x="2151797" y="9580"/>
                  </a:lnTo>
                  <a:cubicBezTo>
                    <a:pt x="2152624" y="15094"/>
                    <a:pt x="2154348" y="26121"/>
                    <a:pt x="2155174" y="31635"/>
                  </a:cubicBezTo>
                  <a:cubicBezTo>
                    <a:pt x="2149798" y="23227"/>
                    <a:pt x="2143457" y="14473"/>
                    <a:pt x="2145663" y="3721"/>
                  </a:cubicBezTo>
                  <a:close/>
                  <a:moveTo>
                    <a:pt x="2100793" y="30533"/>
                  </a:moveTo>
                  <a:cubicBezTo>
                    <a:pt x="2107685" y="36667"/>
                    <a:pt x="2115818" y="40182"/>
                    <a:pt x="2125192" y="41147"/>
                  </a:cubicBezTo>
                  <a:cubicBezTo>
                    <a:pt x="2128156" y="38321"/>
                    <a:pt x="2134083" y="32600"/>
                    <a:pt x="2137047" y="29774"/>
                  </a:cubicBezTo>
                  <a:cubicBezTo>
                    <a:pt x="2145732" y="38252"/>
                    <a:pt x="2156208" y="43146"/>
                    <a:pt x="2168477" y="44524"/>
                  </a:cubicBezTo>
                  <a:cubicBezTo>
                    <a:pt x="2167305" y="39355"/>
                    <a:pt x="2165031" y="28947"/>
                    <a:pt x="2163859" y="23778"/>
                  </a:cubicBezTo>
                  <a:cubicBezTo>
                    <a:pt x="2170682" y="33083"/>
                    <a:pt x="2179022" y="42663"/>
                    <a:pt x="2191567" y="43628"/>
                  </a:cubicBezTo>
                  <a:lnTo>
                    <a:pt x="2191567" y="32256"/>
                  </a:lnTo>
                  <a:cubicBezTo>
                    <a:pt x="2191567" y="28672"/>
                    <a:pt x="2191567" y="21572"/>
                    <a:pt x="2191567" y="17988"/>
                  </a:cubicBezTo>
                  <a:cubicBezTo>
                    <a:pt x="2187569" y="16679"/>
                    <a:pt x="2179574" y="14060"/>
                    <a:pt x="2175645" y="12750"/>
                  </a:cubicBezTo>
                  <a:cubicBezTo>
                    <a:pt x="2174473" y="8683"/>
                    <a:pt x="2172130" y="688"/>
                    <a:pt x="2170958" y="-3309"/>
                  </a:cubicBezTo>
                  <a:cubicBezTo>
                    <a:pt x="2153658" y="-1862"/>
                    <a:pt x="2136427" y="-70"/>
                    <a:pt x="2119334" y="2825"/>
                  </a:cubicBezTo>
                  <a:cubicBezTo>
                    <a:pt x="2125192" y="6409"/>
                    <a:pt x="2131189" y="9855"/>
                    <a:pt x="2137254" y="13164"/>
                  </a:cubicBezTo>
                  <a:cubicBezTo>
                    <a:pt x="2123607" y="15507"/>
                    <a:pt x="2112648" y="24192"/>
                    <a:pt x="2100793" y="30533"/>
                  </a:cubicBezTo>
                  <a:moveTo>
                    <a:pt x="2303362" y="29636"/>
                  </a:moveTo>
                  <a:cubicBezTo>
                    <a:pt x="2300054" y="20125"/>
                    <a:pt x="2303293" y="16954"/>
                    <a:pt x="2313150" y="20194"/>
                  </a:cubicBezTo>
                  <a:cubicBezTo>
                    <a:pt x="2316458" y="29774"/>
                    <a:pt x="2313219" y="32945"/>
                    <a:pt x="2303362" y="29636"/>
                  </a:cubicBezTo>
                  <a:moveTo>
                    <a:pt x="2261456" y="12199"/>
                  </a:moveTo>
                  <a:cubicBezTo>
                    <a:pt x="2270623" y="12199"/>
                    <a:pt x="2279859" y="12199"/>
                    <a:pt x="2289164" y="12199"/>
                  </a:cubicBezTo>
                  <a:cubicBezTo>
                    <a:pt x="2289853" y="21021"/>
                    <a:pt x="2290198" y="29843"/>
                    <a:pt x="2290336" y="38597"/>
                  </a:cubicBezTo>
                  <a:cubicBezTo>
                    <a:pt x="2275448" y="37012"/>
                    <a:pt x="2267315" y="24467"/>
                    <a:pt x="2261456" y="12199"/>
                  </a:cubicBezTo>
                  <a:moveTo>
                    <a:pt x="2263731" y="46868"/>
                  </a:moveTo>
                  <a:cubicBezTo>
                    <a:pt x="2327831" y="53071"/>
                    <a:pt x="2392206" y="55690"/>
                    <a:pt x="2456444" y="58447"/>
                  </a:cubicBezTo>
                  <a:cubicBezTo>
                    <a:pt x="2450241" y="41767"/>
                    <a:pt x="2432596" y="48453"/>
                    <a:pt x="2419225" y="47695"/>
                  </a:cubicBezTo>
                  <a:cubicBezTo>
                    <a:pt x="2425635" y="41560"/>
                    <a:pt x="2432045" y="35495"/>
                    <a:pt x="2438524" y="29361"/>
                  </a:cubicBezTo>
                  <a:cubicBezTo>
                    <a:pt x="2451757" y="31084"/>
                    <a:pt x="2455961" y="23916"/>
                    <a:pt x="2454307" y="11509"/>
                  </a:cubicBezTo>
                  <a:cubicBezTo>
                    <a:pt x="2436525" y="13577"/>
                    <a:pt x="2418604" y="11923"/>
                    <a:pt x="2401029" y="9304"/>
                  </a:cubicBezTo>
                  <a:cubicBezTo>
                    <a:pt x="2401925" y="12819"/>
                    <a:pt x="2403717" y="19849"/>
                    <a:pt x="2404613" y="23295"/>
                  </a:cubicBezTo>
                  <a:cubicBezTo>
                    <a:pt x="2400891" y="19091"/>
                    <a:pt x="2393516" y="10544"/>
                    <a:pt x="2389863" y="6271"/>
                  </a:cubicBezTo>
                  <a:cubicBezTo>
                    <a:pt x="2388691" y="12130"/>
                    <a:pt x="2386417" y="23847"/>
                    <a:pt x="2385314" y="29705"/>
                  </a:cubicBezTo>
                  <a:cubicBezTo>
                    <a:pt x="2392069" y="35082"/>
                    <a:pt x="2399581" y="39148"/>
                    <a:pt x="2407921" y="41974"/>
                  </a:cubicBezTo>
                  <a:cubicBezTo>
                    <a:pt x="2398065" y="44869"/>
                    <a:pt x="2388071" y="47488"/>
                    <a:pt x="2378215" y="49831"/>
                  </a:cubicBezTo>
                  <a:cubicBezTo>
                    <a:pt x="2370840" y="43490"/>
                    <a:pt x="2363465" y="37287"/>
                    <a:pt x="2356090" y="31015"/>
                  </a:cubicBezTo>
                  <a:cubicBezTo>
                    <a:pt x="2361811" y="30739"/>
                    <a:pt x="2373252" y="30119"/>
                    <a:pt x="2378973" y="29843"/>
                  </a:cubicBezTo>
                  <a:cubicBezTo>
                    <a:pt x="2379317" y="24192"/>
                    <a:pt x="2380076" y="12957"/>
                    <a:pt x="2380489" y="7305"/>
                  </a:cubicBezTo>
                  <a:cubicBezTo>
                    <a:pt x="2350093" y="5926"/>
                    <a:pt x="2319767" y="3790"/>
                    <a:pt x="2289508" y="1584"/>
                  </a:cubicBezTo>
                  <a:cubicBezTo>
                    <a:pt x="2278205" y="1446"/>
                    <a:pt x="2266970" y="1515"/>
                    <a:pt x="2255735" y="1515"/>
                  </a:cubicBezTo>
                  <a:cubicBezTo>
                    <a:pt x="2255598" y="11165"/>
                    <a:pt x="2255391" y="20745"/>
                    <a:pt x="2255322" y="30326"/>
                  </a:cubicBezTo>
                  <a:cubicBezTo>
                    <a:pt x="2248361" y="24329"/>
                    <a:pt x="2241468" y="18333"/>
                    <a:pt x="2234713" y="12268"/>
                  </a:cubicBezTo>
                  <a:cubicBezTo>
                    <a:pt x="2232715" y="10131"/>
                    <a:pt x="2228786" y="5926"/>
                    <a:pt x="2226787" y="3790"/>
                  </a:cubicBezTo>
                  <a:lnTo>
                    <a:pt x="2221135" y="4410"/>
                  </a:lnTo>
                  <a:cubicBezTo>
                    <a:pt x="2223065" y="10820"/>
                    <a:pt x="2224995" y="17230"/>
                    <a:pt x="2226994" y="23571"/>
                  </a:cubicBezTo>
                  <a:cubicBezTo>
                    <a:pt x="2223203" y="24605"/>
                    <a:pt x="2215621" y="26604"/>
                    <a:pt x="2211831" y="27638"/>
                  </a:cubicBezTo>
                  <a:cubicBezTo>
                    <a:pt x="2208798" y="19091"/>
                    <a:pt x="2205765" y="10476"/>
                    <a:pt x="2202801" y="1860"/>
                  </a:cubicBezTo>
                  <a:cubicBezTo>
                    <a:pt x="2201423" y="10407"/>
                    <a:pt x="2200044" y="18953"/>
                    <a:pt x="2198735" y="27431"/>
                  </a:cubicBezTo>
                  <a:cubicBezTo>
                    <a:pt x="2196323" y="41629"/>
                    <a:pt x="2203146" y="48108"/>
                    <a:pt x="2219274" y="46661"/>
                  </a:cubicBezTo>
                  <a:cubicBezTo>
                    <a:pt x="2217000" y="42181"/>
                    <a:pt x="2212451" y="33083"/>
                    <a:pt x="2210176" y="28534"/>
                  </a:cubicBezTo>
                  <a:cubicBezTo>
                    <a:pt x="2213898" y="29154"/>
                    <a:pt x="2221411" y="30257"/>
                    <a:pt x="2225202" y="30877"/>
                  </a:cubicBezTo>
                  <a:cubicBezTo>
                    <a:pt x="2224168" y="34530"/>
                    <a:pt x="2222238" y="41905"/>
                    <a:pt x="2221204" y="45627"/>
                  </a:cubicBezTo>
                  <a:cubicBezTo>
                    <a:pt x="2232922" y="46110"/>
                    <a:pt x="2244570" y="46523"/>
                    <a:pt x="2256356" y="46937"/>
                  </a:cubicBezTo>
                  <a:cubicBezTo>
                    <a:pt x="2259664" y="40664"/>
                    <a:pt x="2263110" y="34461"/>
                    <a:pt x="2266695" y="28189"/>
                  </a:cubicBezTo>
                  <a:cubicBezTo>
                    <a:pt x="2265936" y="32876"/>
                    <a:pt x="2264489" y="42250"/>
                    <a:pt x="2263731" y="46868"/>
                  </a:cubicBezTo>
                  <a:moveTo>
                    <a:pt x="-2924" y="1840976"/>
                  </a:moveTo>
                  <a:cubicBezTo>
                    <a:pt x="-236" y="1838563"/>
                    <a:pt x="5002" y="1833670"/>
                    <a:pt x="7621" y="1831257"/>
                  </a:cubicBezTo>
                  <a:lnTo>
                    <a:pt x="1556" y="1829810"/>
                  </a:lnTo>
                  <a:lnTo>
                    <a:pt x="-3820" y="1834772"/>
                  </a:lnTo>
                  <a:lnTo>
                    <a:pt x="-2924" y="1840976"/>
                  </a:lnTo>
                  <a:moveTo>
                    <a:pt x="1434774" y="1847937"/>
                  </a:moveTo>
                  <a:cubicBezTo>
                    <a:pt x="1451454" y="1849385"/>
                    <a:pt x="1468134" y="1851452"/>
                    <a:pt x="1484882" y="1852900"/>
                  </a:cubicBezTo>
                  <a:cubicBezTo>
                    <a:pt x="1484469" y="1847041"/>
                    <a:pt x="1483711" y="1835324"/>
                    <a:pt x="1483297" y="1829465"/>
                  </a:cubicBezTo>
                  <a:lnTo>
                    <a:pt x="1495910" y="1839597"/>
                  </a:lnTo>
                  <a:lnTo>
                    <a:pt x="1494325" y="1816714"/>
                  </a:lnTo>
                  <a:lnTo>
                    <a:pt x="1485710" y="1818575"/>
                  </a:lnTo>
                  <a:cubicBezTo>
                    <a:pt x="1486330" y="1814991"/>
                    <a:pt x="1487570" y="1807823"/>
                    <a:pt x="1488191" y="1804239"/>
                  </a:cubicBezTo>
                  <a:lnTo>
                    <a:pt x="1471166" y="1803894"/>
                  </a:lnTo>
                  <a:lnTo>
                    <a:pt x="1472683" y="1814922"/>
                  </a:lnTo>
                  <a:lnTo>
                    <a:pt x="1466617" y="1814853"/>
                  </a:lnTo>
                  <a:cubicBezTo>
                    <a:pt x="1466824" y="1812165"/>
                    <a:pt x="1467100" y="1806858"/>
                    <a:pt x="1467307" y="1804170"/>
                  </a:cubicBezTo>
                  <a:cubicBezTo>
                    <a:pt x="1457795" y="1803550"/>
                    <a:pt x="1448352" y="1802860"/>
                    <a:pt x="1438979" y="1802102"/>
                  </a:cubicBezTo>
                  <a:cubicBezTo>
                    <a:pt x="1441736" y="1814302"/>
                    <a:pt x="1433741" y="1831326"/>
                    <a:pt x="1446767" y="1839252"/>
                  </a:cubicBezTo>
                  <a:cubicBezTo>
                    <a:pt x="1443803" y="1841458"/>
                    <a:pt x="1437738" y="1845800"/>
                    <a:pt x="1434774" y="1847937"/>
                  </a:cubicBezTo>
                </a:path>
              </a:pathLst>
            </a:custGeom>
            <a:grpFill/>
            <a:ln w="689" cap="flat">
              <a:noFill/>
              <a:prstDash val="solid"/>
              <a:miter/>
            </a:ln>
          </p:spPr>
          <p:txBody>
            <a:bodyPr rtlCol="0" anchor="ctr"/>
            <a:lstStyle/>
            <a:p>
              <a:endParaRPr lang="en-US" sz="2400" dirty="0"/>
            </a:p>
          </p:txBody>
        </p:sp>
        <p:sp>
          <p:nvSpPr>
            <p:cNvPr id="223" name="Graphic 8">
              <a:extLst>
                <a:ext uri="{FF2B5EF4-FFF2-40B4-BE49-F238E27FC236}">
                  <a16:creationId xmlns:a16="http://schemas.microsoft.com/office/drawing/2014/main" id="{D1816D41-9A57-43EF-8131-160A185A910B}"/>
                </a:ext>
              </a:extLst>
            </p:cNvPr>
            <p:cNvSpPr/>
            <p:nvPr/>
          </p:nvSpPr>
          <p:spPr>
            <a:xfrm flipV="1">
              <a:off x="468460" y="1601325"/>
              <a:ext cx="3377986" cy="518992"/>
            </a:xfrm>
            <a:custGeom>
              <a:avLst/>
              <a:gdLst>
                <a:gd name="connsiteX0" fmla="*/ -382 w 3377986"/>
                <a:gd name="connsiteY0" fmla="*/ 5101 h 518992"/>
                <a:gd name="connsiteX1" fmla="*/ -382 w 3377986"/>
                <a:gd name="connsiteY1" fmla="*/ 5101 h 518992"/>
                <a:gd name="connsiteX2" fmla="*/ 3372651 w 3377986"/>
                <a:gd name="connsiteY2" fmla="*/ 514592 h 518992"/>
                <a:gd name="connsiteX3" fmla="*/ 3372651 w 3377986"/>
                <a:gd name="connsiteY3" fmla="*/ 514592 h 518992"/>
              </a:gdLst>
              <a:ahLst/>
              <a:cxnLst>
                <a:cxn ang="0">
                  <a:pos x="connsiteX0" y="connsiteY0"/>
                </a:cxn>
                <a:cxn ang="0">
                  <a:pos x="connsiteX1" y="connsiteY1"/>
                </a:cxn>
                <a:cxn ang="0">
                  <a:pos x="connsiteX2" y="connsiteY2"/>
                </a:cxn>
                <a:cxn ang="0">
                  <a:pos x="connsiteX3" y="connsiteY3"/>
                </a:cxn>
              </a:cxnLst>
              <a:rect l="l" t="t" r="r" b="b"/>
              <a:pathLst>
                <a:path w="3377986" h="518992">
                  <a:moveTo>
                    <a:pt x="-382" y="5101"/>
                  </a:moveTo>
                  <a:cubicBezTo>
                    <a:pt x="22775" y="3998"/>
                    <a:pt x="-11273" y="-15714"/>
                    <a:pt x="-382" y="5101"/>
                  </a:cubicBezTo>
                  <a:close/>
                  <a:moveTo>
                    <a:pt x="3372651" y="514592"/>
                  </a:moveTo>
                  <a:cubicBezTo>
                    <a:pt x="3376304" y="510870"/>
                    <a:pt x="3376304" y="510870"/>
                    <a:pt x="3372651" y="514592"/>
                  </a:cubicBezTo>
                </a:path>
              </a:pathLst>
            </a:custGeom>
            <a:grpFill/>
            <a:ln w="689" cap="flat">
              <a:noFill/>
              <a:prstDash val="solid"/>
              <a:miter/>
            </a:ln>
          </p:spPr>
          <p:txBody>
            <a:bodyPr rtlCol="0" anchor="ctr"/>
            <a:lstStyle/>
            <a:p>
              <a:endParaRPr lang="en-US" sz="2400" dirty="0"/>
            </a:p>
          </p:txBody>
        </p:sp>
        <p:sp>
          <p:nvSpPr>
            <p:cNvPr id="224" name="Graphic 8">
              <a:extLst>
                <a:ext uri="{FF2B5EF4-FFF2-40B4-BE49-F238E27FC236}">
                  <a16:creationId xmlns:a16="http://schemas.microsoft.com/office/drawing/2014/main" id="{D0E5BA81-A70B-442F-848C-28D3657F432E}"/>
                </a:ext>
              </a:extLst>
            </p:cNvPr>
            <p:cNvSpPr/>
            <p:nvPr/>
          </p:nvSpPr>
          <p:spPr>
            <a:xfrm flipV="1">
              <a:off x="616450" y="1608356"/>
              <a:ext cx="82020" cy="92221"/>
            </a:xfrm>
            <a:custGeom>
              <a:avLst/>
              <a:gdLst>
                <a:gd name="connsiteX0" fmla="*/ 23551 w 82020"/>
                <a:gd name="connsiteY0" fmla="*/ 65081 h 92221"/>
                <a:gd name="connsiteX1" fmla="*/ 50779 w 82020"/>
                <a:gd name="connsiteY1" fmla="*/ 87481 h 92221"/>
                <a:gd name="connsiteX2" fmla="*/ 39611 w 82020"/>
                <a:gd name="connsiteY2" fmla="*/ 58188 h 92221"/>
                <a:gd name="connsiteX3" fmla="*/ 41816 w 82020"/>
                <a:gd name="connsiteY3" fmla="*/ 3049 h 92221"/>
                <a:gd name="connsiteX4" fmla="*/ 81310 w 82020"/>
                <a:gd name="connsiteY4" fmla="*/ 498 h 92221"/>
                <a:gd name="connsiteX5" fmla="*/ -710 w 82020"/>
                <a:gd name="connsiteY5" fmla="*/ -4740 h 92221"/>
                <a:gd name="connsiteX6" fmla="*/ 32923 w 82020"/>
                <a:gd name="connsiteY6" fmla="*/ 12009 h 92221"/>
                <a:gd name="connsiteX7" fmla="*/ 36231 w 82020"/>
                <a:gd name="connsiteY7" fmla="*/ 14146 h 92221"/>
                <a:gd name="connsiteX8" fmla="*/ 18592 w 82020"/>
                <a:gd name="connsiteY8" fmla="*/ 27586 h 92221"/>
                <a:gd name="connsiteX9" fmla="*/ 7561 w 82020"/>
                <a:gd name="connsiteY9" fmla="*/ 65564 h 92221"/>
                <a:gd name="connsiteX10" fmla="*/ 22380 w 82020"/>
                <a:gd name="connsiteY10" fmla="*/ 68458 h 92221"/>
                <a:gd name="connsiteX11" fmla="*/ 23551 w 82020"/>
                <a:gd name="connsiteY11" fmla="*/ 65081 h 92221"/>
                <a:gd name="connsiteX12" fmla="*/ 23551 w 82020"/>
                <a:gd name="connsiteY12" fmla="*/ 65081 h 9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020" h="92221">
                  <a:moveTo>
                    <a:pt x="23551" y="65081"/>
                  </a:moveTo>
                  <a:cubicBezTo>
                    <a:pt x="30785" y="74661"/>
                    <a:pt x="39196" y="83415"/>
                    <a:pt x="50779" y="87481"/>
                  </a:cubicBezTo>
                  <a:cubicBezTo>
                    <a:pt x="49123" y="77143"/>
                    <a:pt x="48501" y="65426"/>
                    <a:pt x="39611" y="58188"/>
                  </a:cubicBezTo>
                  <a:cubicBezTo>
                    <a:pt x="39196" y="39785"/>
                    <a:pt x="40300" y="21452"/>
                    <a:pt x="41816" y="3049"/>
                  </a:cubicBezTo>
                  <a:cubicBezTo>
                    <a:pt x="54982" y="2153"/>
                    <a:pt x="68141" y="1119"/>
                    <a:pt x="81310" y="498"/>
                  </a:cubicBezTo>
                  <a:cubicBezTo>
                    <a:pt x="54152" y="-3499"/>
                    <a:pt x="26582" y="-2603"/>
                    <a:pt x="-710" y="-4740"/>
                  </a:cubicBezTo>
                  <a:cubicBezTo>
                    <a:pt x="10937" y="16"/>
                    <a:pt x="22584" y="4841"/>
                    <a:pt x="32923" y="12009"/>
                  </a:cubicBezTo>
                  <a:lnTo>
                    <a:pt x="36231" y="14146"/>
                  </a:lnTo>
                  <a:cubicBezTo>
                    <a:pt x="31824" y="17523"/>
                    <a:pt x="22999" y="24209"/>
                    <a:pt x="18592" y="27586"/>
                  </a:cubicBezTo>
                  <a:cubicBezTo>
                    <a:pt x="14593" y="40130"/>
                    <a:pt x="11007" y="52881"/>
                    <a:pt x="7561" y="65564"/>
                  </a:cubicBezTo>
                  <a:cubicBezTo>
                    <a:pt x="11279" y="66253"/>
                    <a:pt x="18656" y="67700"/>
                    <a:pt x="22380" y="68458"/>
                  </a:cubicBezTo>
                  <a:cubicBezTo>
                    <a:pt x="22654" y="67631"/>
                    <a:pt x="23276" y="65908"/>
                    <a:pt x="23551" y="65081"/>
                  </a:cubicBezTo>
                  <a:lnTo>
                    <a:pt x="23551" y="65081"/>
                  </a:lnTo>
                </a:path>
              </a:pathLst>
            </a:custGeom>
            <a:grpFill/>
            <a:ln w="689" cap="flat">
              <a:noFill/>
              <a:prstDash val="solid"/>
              <a:miter/>
            </a:ln>
          </p:spPr>
          <p:txBody>
            <a:bodyPr rtlCol="0" anchor="ctr"/>
            <a:lstStyle/>
            <a:p>
              <a:endParaRPr lang="en-US" sz="2400" dirty="0"/>
            </a:p>
          </p:txBody>
        </p:sp>
        <p:sp>
          <p:nvSpPr>
            <p:cNvPr id="225" name="Graphic 8">
              <a:extLst>
                <a:ext uri="{FF2B5EF4-FFF2-40B4-BE49-F238E27FC236}">
                  <a16:creationId xmlns:a16="http://schemas.microsoft.com/office/drawing/2014/main" id="{7A0DA74F-35ED-43B3-BD7F-297EF4511C0D}"/>
                </a:ext>
              </a:extLst>
            </p:cNvPr>
            <p:cNvSpPr/>
            <p:nvPr/>
          </p:nvSpPr>
          <p:spPr>
            <a:xfrm flipV="1">
              <a:off x="2496970" y="1617592"/>
              <a:ext cx="6347011" cy="1349286"/>
            </a:xfrm>
            <a:custGeom>
              <a:avLst/>
              <a:gdLst>
                <a:gd name="connsiteX0" fmla="*/ 3676338 w 6347011"/>
                <a:gd name="connsiteY0" fmla="*/ 16454 h 1349286"/>
                <a:gd name="connsiteX1" fmla="*/ 3685436 w 6347011"/>
                <a:gd name="connsiteY1" fmla="*/ -709 h 1349286"/>
                <a:gd name="connsiteX2" fmla="*/ 3676338 w 6347011"/>
                <a:gd name="connsiteY2" fmla="*/ 16454 h 1349286"/>
                <a:gd name="connsiteX3" fmla="*/ 2627994 w 6347011"/>
                <a:gd name="connsiteY3" fmla="*/ 87997 h 1349286"/>
                <a:gd name="connsiteX4" fmla="*/ 2627994 w 6347011"/>
                <a:gd name="connsiteY4" fmla="*/ 87997 h 1349286"/>
                <a:gd name="connsiteX5" fmla="*/ -4926 w 6347011"/>
                <a:gd name="connsiteY5" fmla="*/ 86412 h 1349286"/>
                <a:gd name="connsiteX6" fmla="*/ -4926 w 6347011"/>
                <a:gd name="connsiteY6" fmla="*/ 86412 h 1349286"/>
                <a:gd name="connsiteX7" fmla="*/ 5378707 w 6347011"/>
                <a:gd name="connsiteY7" fmla="*/ 424970 h 1349286"/>
                <a:gd name="connsiteX8" fmla="*/ 5378707 w 6347011"/>
                <a:gd name="connsiteY8" fmla="*/ 424970 h 1349286"/>
                <a:gd name="connsiteX9" fmla="*/ 2442036 w 6347011"/>
                <a:gd name="connsiteY9" fmla="*/ 558063 h 1349286"/>
                <a:gd name="connsiteX10" fmla="*/ 2467745 w 6347011"/>
                <a:gd name="connsiteY10" fmla="*/ 564129 h 1349286"/>
                <a:gd name="connsiteX11" fmla="*/ 2469054 w 6347011"/>
                <a:gd name="connsiteY11" fmla="*/ 535180 h 1349286"/>
                <a:gd name="connsiteX12" fmla="*/ 2442036 w 6347011"/>
                <a:gd name="connsiteY12" fmla="*/ 558063 h 1349286"/>
                <a:gd name="connsiteX13" fmla="*/ 6337311 w 6347011"/>
                <a:gd name="connsiteY13" fmla="*/ 645667 h 1349286"/>
                <a:gd name="connsiteX14" fmla="*/ 6337311 w 6347011"/>
                <a:gd name="connsiteY14" fmla="*/ 645667 h 1349286"/>
                <a:gd name="connsiteX15" fmla="*/ 2449893 w 6347011"/>
                <a:gd name="connsiteY15" fmla="*/ 645529 h 1349286"/>
                <a:gd name="connsiteX16" fmla="*/ 2449893 w 6347011"/>
                <a:gd name="connsiteY16" fmla="*/ 645529 h 1349286"/>
                <a:gd name="connsiteX17" fmla="*/ 442394 w 6347011"/>
                <a:gd name="connsiteY17" fmla="*/ 1340013 h 1349286"/>
                <a:gd name="connsiteX18" fmla="*/ 529102 w 6347011"/>
                <a:gd name="connsiteY18" fmla="*/ 1345596 h 1349286"/>
                <a:gd name="connsiteX19" fmla="*/ 511319 w 6347011"/>
                <a:gd name="connsiteY19" fmla="*/ 1293627 h 1349286"/>
                <a:gd name="connsiteX20" fmla="*/ 499050 w 6347011"/>
                <a:gd name="connsiteY20" fmla="*/ 1333052 h 1349286"/>
                <a:gd name="connsiteX21" fmla="*/ 473686 w 6347011"/>
                <a:gd name="connsiteY21" fmla="*/ 1334293 h 1349286"/>
                <a:gd name="connsiteX22" fmla="*/ 464864 w 6347011"/>
                <a:gd name="connsiteY22" fmla="*/ 1308928 h 1349286"/>
                <a:gd name="connsiteX23" fmla="*/ 442394 w 6347011"/>
                <a:gd name="connsiteY23" fmla="*/ 1340013 h 134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47011" h="1349286">
                  <a:moveTo>
                    <a:pt x="3676338" y="16454"/>
                  </a:moveTo>
                  <a:cubicBezTo>
                    <a:pt x="3684126" y="17556"/>
                    <a:pt x="3688882" y="5426"/>
                    <a:pt x="3685436" y="-709"/>
                  </a:cubicBezTo>
                  <a:cubicBezTo>
                    <a:pt x="3673926" y="-11599"/>
                    <a:pt x="3664689" y="10388"/>
                    <a:pt x="3676338" y="16454"/>
                  </a:cubicBezTo>
                  <a:close/>
                  <a:moveTo>
                    <a:pt x="2627994" y="87997"/>
                  </a:moveTo>
                  <a:cubicBezTo>
                    <a:pt x="2650602" y="86550"/>
                    <a:pt x="2617104" y="67389"/>
                    <a:pt x="2627994" y="87997"/>
                  </a:cubicBezTo>
                  <a:moveTo>
                    <a:pt x="-4926" y="86412"/>
                  </a:moveTo>
                  <a:cubicBezTo>
                    <a:pt x="17750" y="85585"/>
                    <a:pt x="-15334" y="65597"/>
                    <a:pt x="-4926" y="86412"/>
                  </a:cubicBezTo>
                  <a:moveTo>
                    <a:pt x="5378707" y="424970"/>
                  </a:moveTo>
                  <a:cubicBezTo>
                    <a:pt x="5401383" y="423523"/>
                    <a:pt x="5367886" y="404430"/>
                    <a:pt x="5378707" y="424970"/>
                  </a:cubicBezTo>
                  <a:moveTo>
                    <a:pt x="2442036" y="558063"/>
                  </a:moveTo>
                  <a:cubicBezTo>
                    <a:pt x="2450513" y="560131"/>
                    <a:pt x="2459129" y="562130"/>
                    <a:pt x="2467745" y="564129"/>
                  </a:cubicBezTo>
                  <a:cubicBezTo>
                    <a:pt x="2468158" y="554479"/>
                    <a:pt x="2468641" y="544830"/>
                    <a:pt x="2469054" y="535180"/>
                  </a:cubicBezTo>
                  <a:cubicBezTo>
                    <a:pt x="2459956" y="542762"/>
                    <a:pt x="2450927" y="550413"/>
                    <a:pt x="2442036" y="558063"/>
                  </a:cubicBezTo>
                  <a:moveTo>
                    <a:pt x="6337311" y="645667"/>
                  </a:moveTo>
                  <a:cubicBezTo>
                    <a:pt x="6340895" y="642289"/>
                    <a:pt x="6340895" y="642289"/>
                    <a:pt x="6337311" y="645667"/>
                  </a:cubicBezTo>
                  <a:moveTo>
                    <a:pt x="2449893" y="645529"/>
                  </a:moveTo>
                  <a:cubicBezTo>
                    <a:pt x="2453615" y="642151"/>
                    <a:pt x="2453615" y="642151"/>
                    <a:pt x="2449893" y="645529"/>
                  </a:cubicBezTo>
                  <a:moveTo>
                    <a:pt x="442394" y="1340013"/>
                  </a:moveTo>
                  <a:cubicBezTo>
                    <a:pt x="471274" y="1342908"/>
                    <a:pt x="500429" y="1340771"/>
                    <a:pt x="529102" y="1345596"/>
                  </a:cubicBezTo>
                  <a:cubicBezTo>
                    <a:pt x="522898" y="1329123"/>
                    <a:pt x="530342" y="1301346"/>
                    <a:pt x="511319" y="1293627"/>
                  </a:cubicBezTo>
                  <a:cubicBezTo>
                    <a:pt x="506908" y="1306654"/>
                    <a:pt x="502566" y="1319749"/>
                    <a:pt x="499050" y="1333052"/>
                  </a:cubicBezTo>
                  <a:cubicBezTo>
                    <a:pt x="490573" y="1333534"/>
                    <a:pt x="482095" y="1333879"/>
                    <a:pt x="473686" y="1334293"/>
                  </a:cubicBezTo>
                  <a:cubicBezTo>
                    <a:pt x="470722" y="1325884"/>
                    <a:pt x="467759" y="1317406"/>
                    <a:pt x="464864" y="1308928"/>
                  </a:cubicBezTo>
                  <a:cubicBezTo>
                    <a:pt x="456041" y="1318302"/>
                    <a:pt x="444876" y="1326642"/>
                    <a:pt x="442394" y="1340013"/>
                  </a:cubicBezTo>
                </a:path>
              </a:pathLst>
            </a:custGeom>
            <a:grpFill/>
            <a:ln w="689" cap="flat">
              <a:noFill/>
              <a:prstDash val="solid"/>
              <a:miter/>
            </a:ln>
          </p:spPr>
          <p:txBody>
            <a:bodyPr rtlCol="0" anchor="ctr"/>
            <a:lstStyle/>
            <a:p>
              <a:endParaRPr lang="en-US" sz="2400" dirty="0"/>
            </a:p>
          </p:txBody>
        </p:sp>
        <p:sp>
          <p:nvSpPr>
            <p:cNvPr id="226" name="Graphic 8">
              <a:extLst>
                <a:ext uri="{FF2B5EF4-FFF2-40B4-BE49-F238E27FC236}">
                  <a16:creationId xmlns:a16="http://schemas.microsoft.com/office/drawing/2014/main" id="{ED87E2F7-782F-42D2-A0C9-6E7C962FE6DB}"/>
                </a:ext>
              </a:extLst>
            </p:cNvPr>
            <p:cNvSpPr/>
            <p:nvPr/>
          </p:nvSpPr>
          <p:spPr>
            <a:xfrm flipV="1">
              <a:off x="566491" y="1618326"/>
              <a:ext cx="5465261" cy="1813118"/>
            </a:xfrm>
            <a:custGeom>
              <a:avLst/>
              <a:gdLst>
                <a:gd name="connsiteX0" fmla="*/ 3412344 w 5465261"/>
                <a:gd name="connsiteY0" fmla="*/ 10095 h 1813118"/>
                <a:gd name="connsiteX1" fmla="*/ 3423578 w 5465261"/>
                <a:gd name="connsiteY1" fmla="*/ -2311 h 1813118"/>
                <a:gd name="connsiteX2" fmla="*/ 3412344 w 5465261"/>
                <a:gd name="connsiteY2" fmla="*/ 10095 h 1813118"/>
                <a:gd name="connsiteX3" fmla="*/ 5372636 w 5465261"/>
                <a:gd name="connsiteY3" fmla="*/ 137537 h 1813118"/>
                <a:gd name="connsiteX4" fmla="*/ 5398889 w 5465261"/>
                <a:gd name="connsiteY4" fmla="*/ 139536 h 1813118"/>
                <a:gd name="connsiteX5" fmla="*/ 5399579 w 5465261"/>
                <a:gd name="connsiteY5" fmla="*/ 124510 h 1813118"/>
                <a:gd name="connsiteX6" fmla="*/ 5415500 w 5465261"/>
                <a:gd name="connsiteY6" fmla="*/ 143878 h 1813118"/>
                <a:gd name="connsiteX7" fmla="*/ 5439417 w 5465261"/>
                <a:gd name="connsiteY7" fmla="*/ 123407 h 1813118"/>
                <a:gd name="connsiteX8" fmla="*/ 5457199 w 5465261"/>
                <a:gd name="connsiteY8" fmla="*/ 131334 h 1813118"/>
                <a:gd name="connsiteX9" fmla="*/ 5421979 w 5465261"/>
                <a:gd name="connsiteY9" fmla="*/ 118169 h 1813118"/>
                <a:gd name="connsiteX10" fmla="*/ 5437349 w 5465261"/>
                <a:gd name="connsiteY10" fmla="*/ 93287 h 1813118"/>
                <a:gd name="connsiteX11" fmla="*/ 5383864 w 5465261"/>
                <a:gd name="connsiteY11" fmla="*/ 90599 h 1813118"/>
                <a:gd name="connsiteX12" fmla="*/ 5394685 w 5465261"/>
                <a:gd name="connsiteY12" fmla="*/ 114929 h 1813118"/>
                <a:gd name="connsiteX13" fmla="*/ 5372009 w 5465261"/>
                <a:gd name="connsiteY13" fmla="*/ 129473 h 1813118"/>
                <a:gd name="connsiteX14" fmla="*/ 5365736 w 5465261"/>
                <a:gd name="connsiteY14" fmla="*/ 129059 h 1813118"/>
                <a:gd name="connsiteX15" fmla="*/ 5347541 w 5465261"/>
                <a:gd name="connsiteY15" fmla="*/ 131540 h 1813118"/>
                <a:gd name="connsiteX16" fmla="*/ 5372636 w 5465261"/>
                <a:gd name="connsiteY16" fmla="*/ 137537 h 1813118"/>
                <a:gd name="connsiteX17" fmla="*/ 2277500 w 5465261"/>
                <a:gd name="connsiteY17" fmla="*/ 306540 h 1813118"/>
                <a:gd name="connsiteX18" fmla="*/ 2291905 w 5465261"/>
                <a:gd name="connsiteY18" fmla="*/ 317982 h 1813118"/>
                <a:gd name="connsiteX19" fmla="*/ 2296385 w 5465261"/>
                <a:gd name="connsiteY19" fmla="*/ 291446 h 1813118"/>
                <a:gd name="connsiteX20" fmla="*/ 2301348 w 5465261"/>
                <a:gd name="connsiteY20" fmla="*/ 305782 h 1813118"/>
                <a:gd name="connsiteX21" fmla="*/ 2315960 w 5465261"/>
                <a:gd name="connsiteY21" fmla="*/ 303301 h 1813118"/>
                <a:gd name="connsiteX22" fmla="*/ 2320785 w 5465261"/>
                <a:gd name="connsiteY22" fmla="*/ 302404 h 1813118"/>
                <a:gd name="connsiteX23" fmla="*/ 2324093 w 5465261"/>
                <a:gd name="connsiteY23" fmla="*/ 258431 h 1813118"/>
                <a:gd name="connsiteX24" fmla="*/ 2295834 w 5465261"/>
                <a:gd name="connsiteY24" fmla="*/ 272215 h 1813118"/>
                <a:gd name="connsiteX25" fmla="*/ 2292319 w 5465261"/>
                <a:gd name="connsiteY25" fmla="*/ 277385 h 1813118"/>
                <a:gd name="connsiteX26" fmla="*/ 2286736 w 5465261"/>
                <a:gd name="connsiteY26" fmla="*/ 279039 h 1813118"/>
                <a:gd name="connsiteX27" fmla="*/ 2265162 w 5465261"/>
                <a:gd name="connsiteY27" fmla="*/ 286276 h 1813118"/>
                <a:gd name="connsiteX28" fmla="*/ 2277500 w 5465261"/>
                <a:gd name="connsiteY28" fmla="*/ 306540 h 1813118"/>
                <a:gd name="connsiteX29" fmla="*/ -1700 w 5465261"/>
                <a:gd name="connsiteY29" fmla="*/ 1075463 h 1813118"/>
                <a:gd name="connsiteX30" fmla="*/ 1679 w 5465261"/>
                <a:gd name="connsiteY30" fmla="*/ 1075670 h 1813118"/>
                <a:gd name="connsiteX31" fmla="*/ 10017 w 5465261"/>
                <a:gd name="connsiteY31" fmla="*/ 1068571 h 1813118"/>
                <a:gd name="connsiteX32" fmla="*/ 298 w 5465261"/>
                <a:gd name="connsiteY32" fmla="*/ 1050374 h 1813118"/>
                <a:gd name="connsiteX33" fmla="*/ -1700 w 5465261"/>
                <a:gd name="connsiteY33" fmla="*/ 1075463 h 1813118"/>
                <a:gd name="connsiteX34" fmla="*/ 2835583 w 5465261"/>
                <a:gd name="connsiteY34" fmla="*/ 1809648 h 1813118"/>
                <a:gd name="connsiteX35" fmla="*/ 2847713 w 5465261"/>
                <a:gd name="connsiteY35" fmla="*/ 1788213 h 1813118"/>
                <a:gd name="connsiteX36" fmla="*/ 2835583 w 5465261"/>
                <a:gd name="connsiteY36" fmla="*/ 1809648 h 1813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465261" h="1813118">
                  <a:moveTo>
                    <a:pt x="3412344" y="10095"/>
                  </a:moveTo>
                  <a:cubicBezTo>
                    <a:pt x="3423441" y="13335"/>
                    <a:pt x="3427231" y="9199"/>
                    <a:pt x="3423578" y="-2311"/>
                  </a:cubicBezTo>
                  <a:cubicBezTo>
                    <a:pt x="3412550" y="-5413"/>
                    <a:pt x="3408828" y="-1277"/>
                    <a:pt x="3412344" y="10095"/>
                  </a:cubicBezTo>
                  <a:close/>
                  <a:moveTo>
                    <a:pt x="5372636" y="137537"/>
                  </a:moveTo>
                  <a:cubicBezTo>
                    <a:pt x="5381244" y="138364"/>
                    <a:pt x="5389998" y="138984"/>
                    <a:pt x="5398889" y="139536"/>
                  </a:cubicBezTo>
                  <a:cubicBezTo>
                    <a:pt x="5399096" y="135814"/>
                    <a:pt x="5399441" y="128301"/>
                    <a:pt x="5399579" y="124510"/>
                  </a:cubicBezTo>
                  <a:cubicBezTo>
                    <a:pt x="5409297" y="126991"/>
                    <a:pt x="5414535" y="133470"/>
                    <a:pt x="5415500" y="143878"/>
                  </a:cubicBezTo>
                  <a:cubicBezTo>
                    <a:pt x="5424330" y="138226"/>
                    <a:pt x="5432525" y="131471"/>
                    <a:pt x="5439417" y="123407"/>
                  </a:cubicBezTo>
                  <a:cubicBezTo>
                    <a:pt x="5445276" y="126095"/>
                    <a:pt x="5451203" y="128714"/>
                    <a:pt x="5457199" y="131334"/>
                  </a:cubicBezTo>
                  <a:cubicBezTo>
                    <a:pt x="5474431" y="101007"/>
                    <a:pt x="5431422" y="105211"/>
                    <a:pt x="5421979" y="118169"/>
                  </a:cubicBezTo>
                  <a:cubicBezTo>
                    <a:pt x="5427287" y="109967"/>
                    <a:pt x="5432318" y="101765"/>
                    <a:pt x="5437349" y="93287"/>
                  </a:cubicBezTo>
                  <a:cubicBezTo>
                    <a:pt x="5419429" y="92391"/>
                    <a:pt x="5401646" y="91495"/>
                    <a:pt x="5383864" y="90599"/>
                  </a:cubicBezTo>
                  <a:cubicBezTo>
                    <a:pt x="5386552" y="96664"/>
                    <a:pt x="5391997" y="108864"/>
                    <a:pt x="5394685" y="114929"/>
                  </a:cubicBezTo>
                  <a:cubicBezTo>
                    <a:pt x="5384209" y="115412"/>
                    <a:pt x="5376627" y="120237"/>
                    <a:pt x="5372009" y="129473"/>
                  </a:cubicBezTo>
                  <a:lnTo>
                    <a:pt x="5365736" y="129059"/>
                  </a:lnTo>
                  <a:cubicBezTo>
                    <a:pt x="5358982" y="127405"/>
                    <a:pt x="5352848" y="128232"/>
                    <a:pt x="5347541" y="131540"/>
                  </a:cubicBezTo>
                  <a:cubicBezTo>
                    <a:pt x="5357190" y="129886"/>
                    <a:pt x="5365530" y="131885"/>
                    <a:pt x="5372636" y="137537"/>
                  </a:cubicBezTo>
                  <a:moveTo>
                    <a:pt x="2277500" y="306540"/>
                  </a:moveTo>
                  <a:cubicBezTo>
                    <a:pt x="2280326" y="313984"/>
                    <a:pt x="2285082" y="317775"/>
                    <a:pt x="2291905" y="317982"/>
                  </a:cubicBezTo>
                  <a:cubicBezTo>
                    <a:pt x="2294455" y="309366"/>
                    <a:pt x="2295972" y="300544"/>
                    <a:pt x="2296385" y="291446"/>
                  </a:cubicBezTo>
                  <a:cubicBezTo>
                    <a:pt x="2297626" y="295030"/>
                    <a:pt x="2300107" y="302198"/>
                    <a:pt x="2301348" y="305782"/>
                  </a:cubicBezTo>
                  <a:cubicBezTo>
                    <a:pt x="2305001" y="305161"/>
                    <a:pt x="2312307" y="303921"/>
                    <a:pt x="2315960" y="303301"/>
                  </a:cubicBezTo>
                  <a:lnTo>
                    <a:pt x="2320785" y="302404"/>
                  </a:lnTo>
                  <a:cubicBezTo>
                    <a:pt x="2318992" y="287655"/>
                    <a:pt x="2320302" y="272836"/>
                    <a:pt x="2324093" y="258431"/>
                  </a:cubicBezTo>
                  <a:cubicBezTo>
                    <a:pt x="2314581" y="262911"/>
                    <a:pt x="2305001" y="267184"/>
                    <a:pt x="2295834" y="272215"/>
                  </a:cubicBezTo>
                  <a:lnTo>
                    <a:pt x="2292319" y="277385"/>
                  </a:lnTo>
                  <a:lnTo>
                    <a:pt x="2286736" y="279039"/>
                  </a:lnTo>
                  <a:cubicBezTo>
                    <a:pt x="2279499" y="281451"/>
                    <a:pt x="2272330" y="283864"/>
                    <a:pt x="2265162" y="286276"/>
                  </a:cubicBezTo>
                  <a:cubicBezTo>
                    <a:pt x="2269229" y="293031"/>
                    <a:pt x="2273364" y="299785"/>
                    <a:pt x="2277500" y="306540"/>
                  </a:cubicBezTo>
                  <a:moveTo>
                    <a:pt x="-1700" y="1075463"/>
                  </a:moveTo>
                  <a:lnTo>
                    <a:pt x="1679" y="1075670"/>
                  </a:lnTo>
                  <a:cubicBezTo>
                    <a:pt x="3744" y="1073878"/>
                    <a:pt x="7952" y="1070363"/>
                    <a:pt x="10017" y="1068571"/>
                  </a:cubicBezTo>
                  <a:cubicBezTo>
                    <a:pt x="16840" y="1062367"/>
                    <a:pt x="10499" y="1041828"/>
                    <a:pt x="298" y="1050374"/>
                  </a:cubicBezTo>
                  <a:cubicBezTo>
                    <a:pt x="-4732" y="1058714"/>
                    <a:pt x="-5354" y="1067054"/>
                    <a:pt x="-1700" y="1075463"/>
                  </a:cubicBezTo>
                  <a:moveTo>
                    <a:pt x="2835583" y="1809648"/>
                  </a:moveTo>
                  <a:cubicBezTo>
                    <a:pt x="2845025" y="1811578"/>
                    <a:pt x="2852538" y="1795794"/>
                    <a:pt x="2847713" y="1788213"/>
                  </a:cubicBezTo>
                  <a:cubicBezTo>
                    <a:pt x="2837030" y="1784077"/>
                    <a:pt x="2830620" y="1802066"/>
                    <a:pt x="2835583" y="1809648"/>
                  </a:cubicBezTo>
                </a:path>
              </a:pathLst>
            </a:custGeom>
            <a:grpFill/>
            <a:ln w="689" cap="flat">
              <a:noFill/>
              <a:prstDash val="solid"/>
              <a:miter/>
            </a:ln>
          </p:spPr>
          <p:txBody>
            <a:bodyPr rtlCol="0" anchor="ctr"/>
            <a:lstStyle/>
            <a:p>
              <a:endParaRPr lang="en-US" sz="2400" dirty="0"/>
            </a:p>
          </p:txBody>
        </p:sp>
        <p:sp>
          <p:nvSpPr>
            <p:cNvPr id="227" name="Graphic 8">
              <a:extLst>
                <a:ext uri="{FF2B5EF4-FFF2-40B4-BE49-F238E27FC236}">
                  <a16:creationId xmlns:a16="http://schemas.microsoft.com/office/drawing/2014/main" id="{3E8E9030-D312-42CE-B862-4BC94849DA27}"/>
                </a:ext>
              </a:extLst>
            </p:cNvPr>
            <p:cNvSpPr/>
            <p:nvPr/>
          </p:nvSpPr>
          <p:spPr>
            <a:xfrm flipV="1">
              <a:off x="974169" y="1627586"/>
              <a:ext cx="83260" cy="41217"/>
            </a:xfrm>
            <a:custGeom>
              <a:avLst/>
              <a:gdLst>
                <a:gd name="connsiteX0" fmla="*/ 50257 w 83260"/>
                <a:gd name="connsiteY0" fmla="*/ 36467 h 41217"/>
                <a:gd name="connsiteX1" fmla="*/ 82100 w 83260"/>
                <a:gd name="connsiteY1" fmla="*/ 20684 h 41217"/>
                <a:gd name="connsiteX2" fmla="*/ 80997 w 83260"/>
                <a:gd name="connsiteY2" fmla="*/ 13171 h 41217"/>
                <a:gd name="connsiteX3" fmla="*/ 50877 w 83260"/>
                <a:gd name="connsiteY3" fmla="*/ 14480 h 41217"/>
                <a:gd name="connsiteX4" fmla="*/ 47500 w 83260"/>
                <a:gd name="connsiteY4" fmla="*/ -4750 h 41217"/>
                <a:gd name="connsiteX5" fmla="*/ 47156 w 83260"/>
                <a:gd name="connsiteY5" fmla="*/ 9380 h 41217"/>
                <a:gd name="connsiteX6" fmla="*/ -1161 w 83260"/>
                <a:gd name="connsiteY6" fmla="*/ -338 h 41217"/>
                <a:gd name="connsiteX7" fmla="*/ 25996 w 83260"/>
                <a:gd name="connsiteY7" fmla="*/ 13653 h 41217"/>
                <a:gd name="connsiteX8" fmla="*/ 52601 w 83260"/>
                <a:gd name="connsiteY8" fmla="*/ 26611 h 41217"/>
                <a:gd name="connsiteX9" fmla="*/ 50257 w 83260"/>
                <a:gd name="connsiteY9" fmla="*/ 36467 h 41217"/>
                <a:gd name="connsiteX10" fmla="*/ 50257 w 83260"/>
                <a:gd name="connsiteY10" fmla="*/ 36467 h 41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260" h="41217">
                  <a:moveTo>
                    <a:pt x="50257" y="36467"/>
                  </a:moveTo>
                  <a:cubicBezTo>
                    <a:pt x="60940" y="31367"/>
                    <a:pt x="71486" y="25991"/>
                    <a:pt x="82100" y="20684"/>
                  </a:cubicBezTo>
                  <a:cubicBezTo>
                    <a:pt x="81825" y="18822"/>
                    <a:pt x="81273" y="15032"/>
                    <a:pt x="80997" y="13171"/>
                  </a:cubicBezTo>
                  <a:cubicBezTo>
                    <a:pt x="70935" y="13584"/>
                    <a:pt x="60940" y="13998"/>
                    <a:pt x="50877" y="14480"/>
                  </a:cubicBezTo>
                  <a:cubicBezTo>
                    <a:pt x="50050" y="9656"/>
                    <a:pt x="48327" y="75"/>
                    <a:pt x="47500" y="-4750"/>
                  </a:cubicBezTo>
                  <a:cubicBezTo>
                    <a:pt x="47431" y="-1235"/>
                    <a:pt x="47224" y="5865"/>
                    <a:pt x="47156" y="9380"/>
                  </a:cubicBezTo>
                  <a:cubicBezTo>
                    <a:pt x="31372" y="4555"/>
                    <a:pt x="15174" y="1522"/>
                    <a:pt x="-1161" y="-338"/>
                  </a:cubicBezTo>
                  <a:cubicBezTo>
                    <a:pt x="6559" y="6623"/>
                    <a:pt x="16622" y="9724"/>
                    <a:pt x="25996" y="13653"/>
                  </a:cubicBezTo>
                  <a:cubicBezTo>
                    <a:pt x="31923" y="23923"/>
                    <a:pt x="39229" y="32469"/>
                    <a:pt x="52601" y="26611"/>
                  </a:cubicBezTo>
                  <a:lnTo>
                    <a:pt x="50257" y="36467"/>
                  </a:lnTo>
                  <a:lnTo>
                    <a:pt x="50257" y="36467"/>
                  </a:lnTo>
                </a:path>
              </a:pathLst>
            </a:custGeom>
            <a:grpFill/>
            <a:ln w="689" cap="flat">
              <a:noFill/>
              <a:prstDash val="solid"/>
              <a:miter/>
            </a:ln>
          </p:spPr>
          <p:txBody>
            <a:bodyPr rtlCol="0" anchor="ctr"/>
            <a:lstStyle/>
            <a:p>
              <a:endParaRPr lang="en-US" sz="2400" dirty="0"/>
            </a:p>
          </p:txBody>
        </p:sp>
        <p:sp>
          <p:nvSpPr>
            <p:cNvPr id="228" name="Graphic 8">
              <a:extLst>
                <a:ext uri="{FF2B5EF4-FFF2-40B4-BE49-F238E27FC236}">
                  <a16:creationId xmlns:a16="http://schemas.microsoft.com/office/drawing/2014/main" id="{07A7ED56-3CC5-4929-A87E-B6BA7BF9CB76}"/>
                </a:ext>
              </a:extLst>
            </p:cNvPr>
            <p:cNvSpPr/>
            <p:nvPr/>
          </p:nvSpPr>
          <p:spPr>
            <a:xfrm flipV="1">
              <a:off x="1562992" y="1628344"/>
              <a:ext cx="275256" cy="808590"/>
            </a:xfrm>
            <a:custGeom>
              <a:avLst/>
              <a:gdLst>
                <a:gd name="connsiteX0" fmla="*/ 265199 w 275256"/>
                <a:gd name="connsiteY0" fmla="*/ 5430 h 808590"/>
                <a:gd name="connsiteX1" fmla="*/ 265199 w 275256"/>
                <a:gd name="connsiteY1" fmla="*/ 5430 h 808590"/>
                <a:gd name="connsiteX2" fmla="*/ -2022 w 275256"/>
                <a:gd name="connsiteY2" fmla="*/ 804473 h 808590"/>
                <a:gd name="connsiteX3" fmla="*/ -2022 w 275256"/>
                <a:gd name="connsiteY3" fmla="*/ 804473 h 808590"/>
              </a:gdLst>
              <a:ahLst/>
              <a:cxnLst>
                <a:cxn ang="0">
                  <a:pos x="connsiteX0" y="connsiteY0"/>
                </a:cxn>
                <a:cxn ang="0">
                  <a:pos x="connsiteX1" y="connsiteY1"/>
                </a:cxn>
                <a:cxn ang="0">
                  <a:pos x="connsiteX2" y="connsiteY2"/>
                </a:cxn>
                <a:cxn ang="0">
                  <a:pos x="connsiteX3" y="connsiteY3"/>
                </a:cxn>
              </a:cxnLst>
              <a:rect l="l" t="t" r="r" b="b"/>
              <a:pathLst>
                <a:path w="275256" h="808590">
                  <a:moveTo>
                    <a:pt x="265199" y="5430"/>
                  </a:moveTo>
                  <a:cubicBezTo>
                    <a:pt x="287737" y="4258"/>
                    <a:pt x="254584" y="-15454"/>
                    <a:pt x="265199" y="5430"/>
                  </a:cubicBezTo>
                  <a:close/>
                  <a:moveTo>
                    <a:pt x="-2022" y="804473"/>
                  </a:moveTo>
                  <a:cubicBezTo>
                    <a:pt x="1700" y="800751"/>
                    <a:pt x="1700" y="800751"/>
                    <a:pt x="-2022" y="804473"/>
                  </a:cubicBezTo>
                </a:path>
              </a:pathLst>
            </a:custGeom>
            <a:grpFill/>
            <a:ln w="689" cap="flat">
              <a:noFill/>
              <a:prstDash val="solid"/>
              <a:miter/>
            </a:ln>
          </p:spPr>
          <p:txBody>
            <a:bodyPr rtlCol="0" anchor="ctr"/>
            <a:lstStyle/>
            <a:p>
              <a:endParaRPr lang="en-US" sz="2400" dirty="0"/>
            </a:p>
          </p:txBody>
        </p:sp>
        <p:sp>
          <p:nvSpPr>
            <p:cNvPr id="229" name="Graphic 8">
              <a:extLst>
                <a:ext uri="{FF2B5EF4-FFF2-40B4-BE49-F238E27FC236}">
                  <a16:creationId xmlns:a16="http://schemas.microsoft.com/office/drawing/2014/main" id="{0B1001BF-9EF8-4D9C-B2CA-CA4B6BF1B8D3}"/>
                </a:ext>
              </a:extLst>
            </p:cNvPr>
            <p:cNvSpPr/>
            <p:nvPr/>
          </p:nvSpPr>
          <p:spPr>
            <a:xfrm flipV="1">
              <a:off x="2927355" y="1625965"/>
              <a:ext cx="9389" cy="10456"/>
            </a:xfrm>
            <a:custGeom>
              <a:avLst/>
              <a:gdLst>
                <a:gd name="connsiteX0" fmla="*/ -3570 w 9389"/>
                <a:gd name="connsiteY0" fmla="*/ 3783 h 10456"/>
                <a:gd name="connsiteX1" fmla="*/ -3570 w 9389"/>
                <a:gd name="connsiteY1" fmla="*/ 3783 h 10456"/>
                <a:gd name="connsiteX2" fmla="*/ -3570 w 9389"/>
                <a:gd name="connsiteY2" fmla="*/ 3783 h 10456"/>
              </a:gdLst>
              <a:ahLst/>
              <a:cxnLst>
                <a:cxn ang="0">
                  <a:pos x="connsiteX0" y="connsiteY0"/>
                </a:cxn>
                <a:cxn ang="0">
                  <a:pos x="connsiteX1" y="connsiteY1"/>
                </a:cxn>
                <a:cxn ang="0">
                  <a:pos x="connsiteX2" y="connsiteY2"/>
                </a:cxn>
              </a:cxnLst>
              <a:rect l="l" t="t" r="r" b="b"/>
              <a:pathLst>
                <a:path w="9389" h="10456">
                  <a:moveTo>
                    <a:pt x="-3570" y="3783"/>
                  </a:moveTo>
                  <a:cubicBezTo>
                    <a:pt x="17383" y="13708"/>
                    <a:pt x="-3226" y="-19720"/>
                    <a:pt x="-3570" y="3783"/>
                  </a:cubicBezTo>
                  <a:lnTo>
                    <a:pt x="-3570" y="3783"/>
                  </a:lnTo>
                </a:path>
              </a:pathLst>
            </a:custGeom>
            <a:grpFill/>
            <a:ln w="689" cap="flat">
              <a:noFill/>
              <a:prstDash val="solid"/>
              <a:miter/>
            </a:ln>
          </p:spPr>
          <p:txBody>
            <a:bodyPr rtlCol="0" anchor="ctr"/>
            <a:lstStyle/>
            <a:p>
              <a:endParaRPr lang="en-US" sz="2400" dirty="0"/>
            </a:p>
          </p:txBody>
        </p:sp>
        <p:sp>
          <p:nvSpPr>
            <p:cNvPr id="230" name="Graphic 8">
              <a:extLst>
                <a:ext uri="{FF2B5EF4-FFF2-40B4-BE49-F238E27FC236}">
                  <a16:creationId xmlns:a16="http://schemas.microsoft.com/office/drawing/2014/main" id="{0071ECB8-944B-46D8-9E95-7DD55113BDB5}"/>
                </a:ext>
              </a:extLst>
            </p:cNvPr>
            <p:cNvSpPr/>
            <p:nvPr/>
          </p:nvSpPr>
          <p:spPr>
            <a:xfrm flipV="1">
              <a:off x="3127856" y="1635995"/>
              <a:ext cx="2688" cy="2843"/>
            </a:xfrm>
            <a:custGeom>
              <a:avLst/>
              <a:gdLst>
                <a:gd name="connsiteX0" fmla="*/ -3818 w 2688"/>
                <a:gd name="connsiteY0" fmla="*/ -1924 h 2843"/>
                <a:gd name="connsiteX1" fmla="*/ -3818 w 2688"/>
                <a:gd name="connsiteY1" fmla="*/ -1924 h 2843"/>
                <a:gd name="connsiteX2" fmla="*/ -3818 w 2688"/>
                <a:gd name="connsiteY2" fmla="*/ -1924 h 2843"/>
              </a:gdLst>
              <a:ahLst/>
              <a:cxnLst>
                <a:cxn ang="0">
                  <a:pos x="connsiteX0" y="connsiteY0"/>
                </a:cxn>
                <a:cxn ang="0">
                  <a:pos x="connsiteX1" y="connsiteY1"/>
                </a:cxn>
                <a:cxn ang="0">
                  <a:pos x="connsiteX2" y="connsiteY2"/>
                </a:cxn>
              </a:cxnLst>
              <a:rect l="l" t="t" r="r" b="b"/>
              <a:pathLst>
                <a:path w="2688" h="2843">
                  <a:moveTo>
                    <a:pt x="-3818" y="-1924"/>
                  </a:moveTo>
                  <a:cubicBezTo>
                    <a:pt x="-234" y="-5715"/>
                    <a:pt x="-234" y="-5715"/>
                    <a:pt x="-3818" y="-1924"/>
                  </a:cubicBezTo>
                  <a:lnTo>
                    <a:pt x="-3818" y="-1924"/>
                  </a:lnTo>
                </a:path>
              </a:pathLst>
            </a:custGeom>
            <a:grpFill/>
            <a:ln w="689" cap="flat">
              <a:noFill/>
              <a:prstDash val="solid"/>
              <a:miter/>
            </a:ln>
          </p:spPr>
          <p:txBody>
            <a:bodyPr rtlCol="0" anchor="ctr"/>
            <a:lstStyle/>
            <a:p>
              <a:endParaRPr lang="en-US" sz="2400" dirty="0"/>
            </a:p>
          </p:txBody>
        </p:sp>
        <p:sp>
          <p:nvSpPr>
            <p:cNvPr id="231" name="Graphic 8">
              <a:extLst>
                <a:ext uri="{FF2B5EF4-FFF2-40B4-BE49-F238E27FC236}">
                  <a16:creationId xmlns:a16="http://schemas.microsoft.com/office/drawing/2014/main" id="{294DC8C5-D8A2-4F97-A33A-74C12EEEE8D0}"/>
                </a:ext>
              </a:extLst>
            </p:cNvPr>
            <p:cNvSpPr/>
            <p:nvPr/>
          </p:nvSpPr>
          <p:spPr>
            <a:xfrm flipV="1">
              <a:off x="2451913" y="1632273"/>
              <a:ext cx="330631" cy="69544"/>
            </a:xfrm>
            <a:custGeom>
              <a:avLst/>
              <a:gdLst>
                <a:gd name="connsiteX0" fmla="*/ 95939 w 330631"/>
                <a:gd name="connsiteY0" fmla="*/ 48767 h 69544"/>
                <a:gd name="connsiteX1" fmla="*/ 276384 w 330631"/>
                <a:gd name="connsiteY1" fmla="*/ 58899 h 69544"/>
                <a:gd name="connsiteX2" fmla="*/ 261979 w 330631"/>
                <a:gd name="connsiteY2" fmla="*/ 47044 h 69544"/>
                <a:gd name="connsiteX3" fmla="*/ 241095 w 330631"/>
                <a:gd name="connsiteY3" fmla="*/ 50352 h 69544"/>
                <a:gd name="connsiteX4" fmla="*/ 225724 w 330631"/>
                <a:gd name="connsiteY4" fmla="*/ 28020 h 69544"/>
                <a:gd name="connsiteX5" fmla="*/ 251571 w 330631"/>
                <a:gd name="connsiteY5" fmla="*/ 38911 h 69544"/>
                <a:gd name="connsiteX6" fmla="*/ 260600 w 330631"/>
                <a:gd name="connsiteY6" fmla="*/ 20714 h 69544"/>
                <a:gd name="connsiteX7" fmla="*/ 283897 w 330631"/>
                <a:gd name="connsiteY7" fmla="*/ 45872 h 69544"/>
                <a:gd name="connsiteX8" fmla="*/ 289686 w 330631"/>
                <a:gd name="connsiteY8" fmla="*/ 64826 h 69544"/>
                <a:gd name="connsiteX9" fmla="*/ 313052 w 330631"/>
                <a:gd name="connsiteY9" fmla="*/ 53109 h 69544"/>
                <a:gd name="connsiteX10" fmla="*/ 319738 w 330631"/>
                <a:gd name="connsiteY10" fmla="*/ 27469 h 69544"/>
                <a:gd name="connsiteX11" fmla="*/ 327457 w 330631"/>
                <a:gd name="connsiteY11" fmla="*/ 20577 h 69544"/>
                <a:gd name="connsiteX12" fmla="*/ 298233 w 330631"/>
                <a:gd name="connsiteY12" fmla="*/ 14166 h 69544"/>
                <a:gd name="connsiteX13" fmla="*/ 282656 w 330631"/>
                <a:gd name="connsiteY13" fmla="*/ 31536 h 69544"/>
                <a:gd name="connsiteX14" fmla="*/ 281071 w 330631"/>
                <a:gd name="connsiteY14" fmla="*/ 12581 h 69544"/>
                <a:gd name="connsiteX15" fmla="*/ 124681 w 330631"/>
                <a:gd name="connsiteY15" fmla="*/ 5000 h 69544"/>
                <a:gd name="connsiteX16" fmla="*/ 120890 w 330631"/>
                <a:gd name="connsiteY16" fmla="*/ 32294 h 69544"/>
                <a:gd name="connsiteX17" fmla="*/ 132400 w 330631"/>
                <a:gd name="connsiteY17" fmla="*/ 32500 h 69544"/>
                <a:gd name="connsiteX18" fmla="*/ 109793 w 330631"/>
                <a:gd name="connsiteY18" fmla="*/ 23954 h 69544"/>
                <a:gd name="connsiteX19" fmla="*/ 123027 w 330631"/>
                <a:gd name="connsiteY19" fmla="*/ 5482 h 69544"/>
                <a:gd name="connsiteX20" fmla="*/ -3174 w 330631"/>
                <a:gd name="connsiteY20" fmla="*/ -4719 h 69544"/>
                <a:gd name="connsiteX21" fmla="*/ 13919 w 330631"/>
                <a:gd name="connsiteY21" fmla="*/ 12306 h 69544"/>
                <a:gd name="connsiteX22" fmla="*/ 10886 w 330631"/>
                <a:gd name="connsiteY22" fmla="*/ 14649 h 69544"/>
                <a:gd name="connsiteX23" fmla="*/ 3374 w 330631"/>
                <a:gd name="connsiteY23" fmla="*/ 41116 h 69544"/>
                <a:gd name="connsiteX24" fmla="*/ 32529 w 330631"/>
                <a:gd name="connsiteY24" fmla="*/ 45320 h 69544"/>
                <a:gd name="connsiteX25" fmla="*/ 29978 w 330631"/>
                <a:gd name="connsiteY25" fmla="*/ 29881 h 69544"/>
                <a:gd name="connsiteX26" fmla="*/ 33700 w 330631"/>
                <a:gd name="connsiteY26" fmla="*/ 29261 h 69544"/>
                <a:gd name="connsiteX27" fmla="*/ 74435 w 330631"/>
                <a:gd name="connsiteY27" fmla="*/ 48008 h 69544"/>
                <a:gd name="connsiteX28" fmla="*/ 72850 w 330631"/>
                <a:gd name="connsiteY28" fmla="*/ 20783 h 69544"/>
                <a:gd name="connsiteX29" fmla="*/ 79949 w 330631"/>
                <a:gd name="connsiteY29" fmla="*/ 41116 h 69544"/>
                <a:gd name="connsiteX30" fmla="*/ 100213 w 330631"/>
                <a:gd name="connsiteY30" fmla="*/ 4655 h 69544"/>
                <a:gd name="connsiteX31" fmla="*/ 96215 w 330631"/>
                <a:gd name="connsiteY31" fmla="*/ 46768 h 69544"/>
                <a:gd name="connsiteX32" fmla="*/ 95939 w 330631"/>
                <a:gd name="connsiteY32" fmla="*/ 48767 h 69544"/>
                <a:gd name="connsiteX33" fmla="*/ 95939 w 330631"/>
                <a:gd name="connsiteY33" fmla="*/ 48767 h 6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30631" h="69544">
                  <a:moveTo>
                    <a:pt x="95939" y="48767"/>
                  </a:moveTo>
                  <a:cubicBezTo>
                    <a:pt x="156110" y="50972"/>
                    <a:pt x="216144" y="57589"/>
                    <a:pt x="276384" y="58899"/>
                  </a:cubicBezTo>
                  <a:lnTo>
                    <a:pt x="261979" y="47044"/>
                  </a:lnTo>
                  <a:cubicBezTo>
                    <a:pt x="256740" y="47871"/>
                    <a:pt x="246333" y="49525"/>
                    <a:pt x="241095" y="50352"/>
                  </a:cubicBezTo>
                  <a:cubicBezTo>
                    <a:pt x="234684" y="43873"/>
                    <a:pt x="229240" y="36498"/>
                    <a:pt x="225724" y="28020"/>
                  </a:cubicBezTo>
                  <a:cubicBezTo>
                    <a:pt x="234340" y="31536"/>
                    <a:pt x="242955" y="35188"/>
                    <a:pt x="251571" y="38911"/>
                  </a:cubicBezTo>
                  <a:cubicBezTo>
                    <a:pt x="254604" y="32914"/>
                    <a:pt x="257568" y="26780"/>
                    <a:pt x="260600" y="20714"/>
                  </a:cubicBezTo>
                  <a:cubicBezTo>
                    <a:pt x="264460" y="32431"/>
                    <a:pt x="274178" y="39324"/>
                    <a:pt x="283897" y="45872"/>
                  </a:cubicBezTo>
                  <a:cubicBezTo>
                    <a:pt x="285344" y="50628"/>
                    <a:pt x="288239" y="60070"/>
                    <a:pt x="289686" y="64826"/>
                  </a:cubicBezTo>
                  <a:cubicBezTo>
                    <a:pt x="294235" y="53316"/>
                    <a:pt x="302024" y="49387"/>
                    <a:pt x="313052" y="53109"/>
                  </a:cubicBezTo>
                  <a:cubicBezTo>
                    <a:pt x="308296" y="42012"/>
                    <a:pt x="310502" y="33465"/>
                    <a:pt x="319738" y="27469"/>
                  </a:cubicBezTo>
                  <a:cubicBezTo>
                    <a:pt x="321667" y="25746"/>
                    <a:pt x="325527" y="22300"/>
                    <a:pt x="327457" y="20577"/>
                  </a:cubicBezTo>
                  <a:cubicBezTo>
                    <a:pt x="317877" y="16923"/>
                    <a:pt x="308158" y="14787"/>
                    <a:pt x="298233" y="14166"/>
                  </a:cubicBezTo>
                  <a:cubicBezTo>
                    <a:pt x="294304" y="18509"/>
                    <a:pt x="286585" y="27193"/>
                    <a:pt x="282656" y="31536"/>
                  </a:cubicBezTo>
                  <a:cubicBezTo>
                    <a:pt x="282311" y="26780"/>
                    <a:pt x="281484" y="17268"/>
                    <a:pt x="281071" y="12581"/>
                  </a:cubicBezTo>
                  <a:cubicBezTo>
                    <a:pt x="229033" y="9273"/>
                    <a:pt x="176926" y="3138"/>
                    <a:pt x="124681" y="5000"/>
                  </a:cubicBezTo>
                  <a:cubicBezTo>
                    <a:pt x="123716" y="11823"/>
                    <a:pt x="121855" y="25470"/>
                    <a:pt x="120890" y="32294"/>
                  </a:cubicBezTo>
                  <a:lnTo>
                    <a:pt x="132400" y="32500"/>
                  </a:lnTo>
                  <a:cubicBezTo>
                    <a:pt x="124198" y="32018"/>
                    <a:pt x="106554" y="38566"/>
                    <a:pt x="109793" y="23954"/>
                  </a:cubicBezTo>
                  <a:cubicBezTo>
                    <a:pt x="113102" y="19336"/>
                    <a:pt x="119718" y="10100"/>
                    <a:pt x="123027" y="5482"/>
                  </a:cubicBezTo>
                  <a:cubicBezTo>
                    <a:pt x="81465" y="-3547"/>
                    <a:pt x="38870" y="-721"/>
                    <a:pt x="-3174" y="-4719"/>
                  </a:cubicBezTo>
                  <a:cubicBezTo>
                    <a:pt x="2408" y="1002"/>
                    <a:pt x="8129" y="6723"/>
                    <a:pt x="13919" y="12306"/>
                  </a:cubicBezTo>
                  <a:cubicBezTo>
                    <a:pt x="13161" y="12926"/>
                    <a:pt x="11644" y="14098"/>
                    <a:pt x="10886" y="14649"/>
                  </a:cubicBezTo>
                  <a:cubicBezTo>
                    <a:pt x="8060" y="23403"/>
                    <a:pt x="5717" y="32294"/>
                    <a:pt x="3374" y="41116"/>
                  </a:cubicBezTo>
                  <a:cubicBezTo>
                    <a:pt x="13023" y="42563"/>
                    <a:pt x="22741" y="44011"/>
                    <a:pt x="32529" y="45320"/>
                  </a:cubicBezTo>
                  <a:cubicBezTo>
                    <a:pt x="31908" y="41461"/>
                    <a:pt x="30668" y="33741"/>
                    <a:pt x="29978" y="29881"/>
                  </a:cubicBezTo>
                  <a:lnTo>
                    <a:pt x="33700" y="29261"/>
                  </a:lnTo>
                  <a:cubicBezTo>
                    <a:pt x="30599" y="53522"/>
                    <a:pt x="59754" y="43597"/>
                    <a:pt x="74435" y="48008"/>
                  </a:cubicBezTo>
                  <a:cubicBezTo>
                    <a:pt x="74090" y="41185"/>
                    <a:pt x="73263" y="27607"/>
                    <a:pt x="72850" y="20783"/>
                  </a:cubicBezTo>
                  <a:cubicBezTo>
                    <a:pt x="75469" y="27538"/>
                    <a:pt x="77881" y="34293"/>
                    <a:pt x="79949" y="41116"/>
                  </a:cubicBezTo>
                  <a:cubicBezTo>
                    <a:pt x="84360" y="27814"/>
                    <a:pt x="90356" y="14925"/>
                    <a:pt x="100213" y="4655"/>
                  </a:cubicBezTo>
                  <a:cubicBezTo>
                    <a:pt x="99523" y="18785"/>
                    <a:pt x="98007" y="32776"/>
                    <a:pt x="96215" y="46768"/>
                  </a:cubicBezTo>
                  <a:lnTo>
                    <a:pt x="95939" y="48767"/>
                  </a:lnTo>
                  <a:lnTo>
                    <a:pt x="95939" y="48767"/>
                  </a:lnTo>
                </a:path>
              </a:pathLst>
            </a:custGeom>
            <a:grpFill/>
            <a:ln w="689" cap="flat">
              <a:noFill/>
              <a:prstDash val="solid"/>
              <a:miter/>
            </a:ln>
          </p:spPr>
          <p:txBody>
            <a:bodyPr rtlCol="0" anchor="ctr"/>
            <a:lstStyle/>
            <a:p>
              <a:endParaRPr lang="en-US" sz="2400" dirty="0"/>
            </a:p>
          </p:txBody>
        </p:sp>
        <p:sp>
          <p:nvSpPr>
            <p:cNvPr id="232" name="Graphic 8">
              <a:extLst>
                <a:ext uri="{FF2B5EF4-FFF2-40B4-BE49-F238E27FC236}">
                  <a16:creationId xmlns:a16="http://schemas.microsoft.com/office/drawing/2014/main" id="{06447CFA-31C8-4608-9C43-CB700CC5E53F}"/>
                </a:ext>
              </a:extLst>
            </p:cNvPr>
            <p:cNvSpPr/>
            <p:nvPr/>
          </p:nvSpPr>
          <p:spPr>
            <a:xfrm flipV="1">
              <a:off x="2810527" y="1642542"/>
              <a:ext cx="2739" cy="2532"/>
            </a:xfrm>
            <a:custGeom>
              <a:avLst/>
              <a:gdLst>
                <a:gd name="connsiteX0" fmla="*/ -3419 w 2739"/>
                <a:gd name="connsiteY0" fmla="*/ -2224 h 2532"/>
                <a:gd name="connsiteX1" fmla="*/ -3419 w 2739"/>
                <a:gd name="connsiteY1" fmla="*/ -2224 h 2532"/>
                <a:gd name="connsiteX2" fmla="*/ -3419 w 2739"/>
                <a:gd name="connsiteY2" fmla="*/ -2224 h 2532"/>
              </a:gdLst>
              <a:ahLst/>
              <a:cxnLst>
                <a:cxn ang="0">
                  <a:pos x="connsiteX0" y="connsiteY0"/>
                </a:cxn>
                <a:cxn ang="0">
                  <a:pos x="connsiteX1" y="connsiteY1"/>
                </a:cxn>
                <a:cxn ang="0">
                  <a:pos x="connsiteX2" y="connsiteY2"/>
                </a:cxn>
              </a:cxnLst>
              <a:rect l="l" t="t" r="r" b="b"/>
              <a:pathLst>
                <a:path w="2739" h="2532">
                  <a:moveTo>
                    <a:pt x="-3419" y="-2224"/>
                  </a:moveTo>
                  <a:cubicBezTo>
                    <a:pt x="234" y="-5601"/>
                    <a:pt x="234" y="-5601"/>
                    <a:pt x="-3419" y="-2224"/>
                  </a:cubicBezTo>
                  <a:lnTo>
                    <a:pt x="-3419" y="-2224"/>
                  </a:lnTo>
                </a:path>
              </a:pathLst>
            </a:custGeom>
            <a:grpFill/>
            <a:ln w="689" cap="flat">
              <a:noFill/>
              <a:prstDash val="solid"/>
              <a:miter/>
            </a:ln>
          </p:spPr>
          <p:txBody>
            <a:bodyPr rtlCol="0" anchor="ctr"/>
            <a:lstStyle/>
            <a:p>
              <a:endParaRPr lang="en-US" sz="2400" dirty="0"/>
            </a:p>
          </p:txBody>
        </p:sp>
        <p:sp>
          <p:nvSpPr>
            <p:cNvPr id="233" name="Graphic 8">
              <a:extLst>
                <a:ext uri="{FF2B5EF4-FFF2-40B4-BE49-F238E27FC236}">
                  <a16:creationId xmlns:a16="http://schemas.microsoft.com/office/drawing/2014/main" id="{B9DE6504-1CA3-4436-B2D8-2133DB958716}"/>
                </a:ext>
              </a:extLst>
            </p:cNvPr>
            <p:cNvSpPr/>
            <p:nvPr/>
          </p:nvSpPr>
          <p:spPr>
            <a:xfrm flipV="1">
              <a:off x="2535035" y="1650331"/>
              <a:ext cx="20263" cy="42113"/>
            </a:xfrm>
            <a:custGeom>
              <a:avLst/>
              <a:gdLst>
                <a:gd name="connsiteX0" fmla="*/ -3084 w 20263"/>
                <a:gd name="connsiteY0" fmla="*/ 31749 h 42113"/>
                <a:gd name="connsiteX1" fmla="*/ 13183 w 20263"/>
                <a:gd name="connsiteY1" fmla="*/ 37401 h 42113"/>
                <a:gd name="connsiteX2" fmla="*/ 17180 w 20263"/>
                <a:gd name="connsiteY2" fmla="*/ -4712 h 42113"/>
                <a:gd name="connsiteX3" fmla="*/ -3084 w 20263"/>
                <a:gd name="connsiteY3" fmla="*/ 31749 h 42113"/>
                <a:gd name="connsiteX4" fmla="*/ -3084 w 20263"/>
                <a:gd name="connsiteY4" fmla="*/ 31749 h 421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63" h="42113">
                  <a:moveTo>
                    <a:pt x="-3084" y="31749"/>
                  </a:moveTo>
                  <a:cubicBezTo>
                    <a:pt x="983" y="33197"/>
                    <a:pt x="9116" y="35954"/>
                    <a:pt x="13183" y="37401"/>
                  </a:cubicBezTo>
                  <a:cubicBezTo>
                    <a:pt x="14975" y="23409"/>
                    <a:pt x="16491" y="9418"/>
                    <a:pt x="17180" y="-4712"/>
                  </a:cubicBezTo>
                  <a:cubicBezTo>
                    <a:pt x="7324" y="5558"/>
                    <a:pt x="1328" y="18447"/>
                    <a:pt x="-3084" y="31749"/>
                  </a:cubicBezTo>
                  <a:lnTo>
                    <a:pt x="-3084" y="31749"/>
                  </a:lnTo>
                </a:path>
              </a:pathLst>
            </a:custGeom>
            <a:grpFill/>
            <a:ln w="689" cap="flat">
              <a:noFill/>
              <a:prstDash val="solid"/>
              <a:miter/>
            </a:ln>
          </p:spPr>
          <p:txBody>
            <a:bodyPr rtlCol="0" anchor="ctr"/>
            <a:lstStyle/>
            <a:p>
              <a:endParaRPr lang="en-US" sz="2400" dirty="0"/>
            </a:p>
          </p:txBody>
        </p:sp>
        <p:sp>
          <p:nvSpPr>
            <p:cNvPr id="234" name="Graphic 8">
              <a:extLst>
                <a:ext uri="{FF2B5EF4-FFF2-40B4-BE49-F238E27FC236}">
                  <a16:creationId xmlns:a16="http://schemas.microsoft.com/office/drawing/2014/main" id="{B7179CA7-A921-4B2A-916B-6F51AF85B969}"/>
                </a:ext>
              </a:extLst>
            </p:cNvPr>
            <p:cNvSpPr/>
            <p:nvPr/>
          </p:nvSpPr>
          <p:spPr>
            <a:xfrm flipV="1">
              <a:off x="928885" y="1659239"/>
              <a:ext cx="909336" cy="2062759"/>
            </a:xfrm>
            <a:custGeom>
              <a:avLst/>
              <a:gdLst>
                <a:gd name="connsiteX0" fmla="*/ 896534 w 909336"/>
                <a:gd name="connsiteY0" fmla="*/ 16815 h 2062759"/>
                <a:gd name="connsiteX1" fmla="*/ 900187 w 909336"/>
                <a:gd name="connsiteY1" fmla="*/ -3036 h 2062759"/>
                <a:gd name="connsiteX2" fmla="*/ 896534 w 909336"/>
                <a:gd name="connsiteY2" fmla="*/ 16815 h 2062759"/>
                <a:gd name="connsiteX3" fmla="*/ -1623 w 909336"/>
                <a:gd name="connsiteY3" fmla="*/ 2057535 h 2062759"/>
                <a:gd name="connsiteX4" fmla="*/ -1623 w 909336"/>
                <a:gd name="connsiteY4" fmla="*/ 2057535 h 2062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9336" h="2062759">
                  <a:moveTo>
                    <a:pt x="896534" y="16815"/>
                  </a:moveTo>
                  <a:cubicBezTo>
                    <a:pt x="908458" y="21364"/>
                    <a:pt x="912593" y="-1864"/>
                    <a:pt x="900187" y="-3036"/>
                  </a:cubicBezTo>
                  <a:cubicBezTo>
                    <a:pt x="890468" y="-2622"/>
                    <a:pt x="890951" y="11921"/>
                    <a:pt x="896534" y="16815"/>
                  </a:cubicBezTo>
                  <a:close/>
                  <a:moveTo>
                    <a:pt x="-1623" y="2057535"/>
                  </a:moveTo>
                  <a:cubicBezTo>
                    <a:pt x="18917" y="2068287"/>
                    <a:pt x="-382" y="2034721"/>
                    <a:pt x="-1623" y="2057535"/>
                  </a:cubicBezTo>
                </a:path>
              </a:pathLst>
            </a:custGeom>
            <a:grpFill/>
            <a:ln w="689" cap="flat">
              <a:noFill/>
              <a:prstDash val="solid"/>
              <a:miter/>
            </a:ln>
          </p:spPr>
          <p:txBody>
            <a:bodyPr rtlCol="0" anchor="ctr"/>
            <a:lstStyle/>
            <a:p>
              <a:endParaRPr lang="en-US" sz="2400" dirty="0"/>
            </a:p>
          </p:txBody>
        </p:sp>
        <p:sp>
          <p:nvSpPr>
            <p:cNvPr id="235" name="Graphic 8">
              <a:extLst>
                <a:ext uri="{FF2B5EF4-FFF2-40B4-BE49-F238E27FC236}">
                  <a16:creationId xmlns:a16="http://schemas.microsoft.com/office/drawing/2014/main" id="{ED120FD0-116A-4230-86A7-907C35D51F0F}"/>
                </a:ext>
              </a:extLst>
            </p:cNvPr>
            <p:cNvSpPr/>
            <p:nvPr/>
          </p:nvSpPr>
          <p:spPr>
            <a:xfrm flipV="1">
              <a:off x="2287270" y="1659980"/>
              <a:ext cx="133776" cy="52245"/>
            </a:xfrm>
            <a:custGeom>
              <a:avLst/>
              <a:gdLst>
                <a:gd name="connsiteX0" fmla="*/ 85430 w 133776"/>
                <a:gd name="connsiteY0" fmla="*/ 15439 h 52245"/>
                <a:gd name="connsiteX1" fmla="*/ 97906 w 133776"/>
                <a:gd name="connsiteY1" fmla="*/ 29568 h 52245"/>
                <a:gd name="connsiteX2" fmla="*/ 85430 w 133776"/>
                <a:gd name="connsiteY2" fmla="*/ 15439 h 52245"/>
                <a:gd name="connsiteX3" fmla="*/ 49382 w 133776"/>
                <a:gd name="connsiteY3" fmla="*/ 46041 h 52245"/>
                <a:gd name="connsiteX4" fmla="*/ 68406 w 133776"/>
                <a:gd name="connsiteY4" fmla="*/ 43904 h 52245"/>
                <a:gd name="connsiteX5" fmla="*/ 77504 w 133776"/>
                <a:gd name="connsiteY5" fmla="*/ 43008 h 52245"/>
                <a:gd name="connsiteX6" fmla="*/ 93839 w 133776"/>
                <a:gd name="connsiteY6" fmla="*/ 44594 h 52245"/>
                <a:gd name="connsiteX7" fmla="*/ 116515 w 133776"/>
                <a:gd name="connsiteY7" fmla="*/ 29293 h 52245"/>
                <a:gd name="connsiteX8" fmla="*/ 121409 w 133776"/>
                <a:gd name="connsiteY8" fmla="*/ 47558 h 52245"/>
                <a:gd name="connsiteX9" fmla="*/ 124924 w 133776"/>
                <a:gd name="connsiteY9" fmla="*/ 31774 h 52245"/>
                <a:gd name="connsiteX10" fmla="*/ 119479 w 133776"/>
                <a:gd name="connsiteY10" fmla="*/ 21573 h 52245"/>
                <a:gd name="connsiteX11" fmla="*/ 115757 w 133776"/>
                <a:gd name="connsiteY11" fmla="*/ 482 h 52245"/>
                <a:gd name="connsiteX12" fmla="*/ 115826 w 133776"/>
                <a:gd name="connsiteY12" fmla="*/ 17093 h 52245"/>
                <a:gd name="connsiteX13" fmla="*/ 107210 w 133776"/>
                <a:gd name="connsiteY13" fmla="*/ 17920 h 52245"/>
                <a:gd name="connsiteX14" fmla="*/ 110794 w 133776"/>
                <a:gd name="connsiteY14" fmla="*/ 1516 h 52245"/>
                <a:gd name="connsiteX15" fmla="*/ 7545 w 133776"/>
                <a:gd name="connsiteY15" fmla="*/ -4688 h 52245"/>
                <a:gd name="connsiteX16" fmla="*/ 8235 w 133776"/>
                <a:gd name="connsiteY16" fmla="*/ 5996 h 52245"/>
                <a:gd name="connsiteX17" fmla="*/ 16161 w 133776"/>
                <a:gd name="connsiteY17" fmla="*/ 4273 h 52245"/>
                <a:gd name="connsiteX18" fmla="*/ 15816 w 133776"/>
                <a:gd name="connsiteY18" fmla="*/ 8891 h 52245"/>
                <a:gd name="connsiteX19" fmla="*/ -2724 w 133776"/>
                <a:gd name="connsiteY19" fmla="*/ 19850 h 52245"/>
                <a:gd name="connsiteX20" fmla="*/ 14369 w 133776"/>
                <a:gd name="connsiteY20" fmla="*/ 43284 h 52245"/>
                <a:gd name="connsiteX21" fmla="*/ 14369 w 133776"/>
                <a:gd name="connsiteY21" fmla="*/ 25295 h 52245"/>
                <a:gd name="connsiteX22" fmla="*/ 52002 w 133776"/>
                <a:gd name="connsiteY22" fmla="*/ 28465 h 52245"/>
                <a:gd name="connsiteX23" fmla="*/ 52071 w 133776"/>
                <a:gd name="connsiteY23" fmla="*/ 6272 h 52245"/>
                <a:gd name="connsiteX24" fmla="*/ 59170 w 133776"/>
                <a:gd name="connsiteY24" fmla="*/ 5996 h 52245"/>
                <a:gd name="connsiteX25" fmla="*/ 62892 w 133776"/>
                <a:gd name="connsiteY25" fmla="*/ 30464 h 52245"/>
                <a:gd name="connsiteX26" fmla="*/ 49382 w 133776"/>
                <a:gd name="connsiteY26" fmla="*/ 46041 h 52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3776" h="52245">
                  <a:moveTo>
                    <a:pt x="85430" y="15439"/>
                  </a:moveTo>
                  <a:cubicBezTo>
                    <a:pt x="92943" y="10821"/>
                    <a:pt x="104660" y="22676"/>
                    <a:pt x="97906" y="29568"/>
                  </a:cubicBezTo>
                  <a:cubicBezTo>
                    <a:pt x="90186" y="34462"/>
                    <a:pt x="79434" y="22400"/>
                    <a:pt x="85430" y="15439"/>
                  </a:cubicBezTo>
                  <a:close/>
                  <a:moveTo>
                    <a:pt x="49382" y="46041"/>
                  </a:moveTo>
                  <a:cubicBezTo>
                    <a:pt x="54138" y="45490"/>
                    <a:pt x="63650" y="44387"/>
                    <a:pt x="68406" y="43904"/>
                  </a:cubicBezTo>
                  <a:cubicBezTo>
                    <a:pt x="70680" y="43629"/>
                    <a:pt x="75229" y="43215"/>
                    <a:pt x="77504" y="43008"/>
                  </a:cubicBezTo>
                  <a:cubicBezTo>
                    <a:pt x="82880" y="43491"/>
                    <a:pt x="88325" y="43973"/>
                    <a:pt x="93839" y="44594"/>
                  </a:cubicBezTo>
                  <a:cubicBezTo>
                    <a:pt x="101076" y="39149"/>
                    <a:pt x="108451" y="33704"/>
                    <a:pt x="116515" y="29293"/>
                  </a:cubicBezTo>
                  <a:cubicBezTo>
                    <a:pt x="117687" y="33842"/>
                    <a:pt x="120168" y="43008"/>
                    <a:pt x="121409" y="47558"/>
                  </a:cubicBezTo>
                  <a:cubicBezTo>
                    <a:pt x="122305" y="43629"/>
                    <a:pt x="124028" y="35702"/>
                    <a:pt x="124924" y="31774"/>
                  </a:cubicBezTo>
                  <a:lnTo>
                    <a:pt x="119479" y="21573"/>
                  </a:lnTo>
                  <a:cubicBezTo>
                    <a:pt x="139260" y="30326"/>
                    <a:pt x="130369" y="-7445"/>
                    <a:pt x="115757" y="482"/>
                  </a:cubicBezTo>
                  <a:cubicBezTo>
                    <a:pt x="115757" y="4617"/>
                    <a:pt x="115826" y="12957"/>
                    <a:pt x="115826" y="17093"/>
                  </a:cubicBezTo>
                  <a:cubicBezTo>
                    <a:pt x="113689" y="17300"/>
                    <a:pt x="109347" y="17713"/>
                    <a:pt x="107210" y="17920"/>
                  </a:cubicBezTo>
                  <a:cubicBezTo>
                    <a:pt x="108106" y="13853"/>
                    <a:pt x="109898" y="5651"/>
                    <a:pt x="110794" y="1516"/>
                  </a:cubicBezTo>
                  <a:cubicBezTo>
                    <a:pt x="76263" y="2274"/>
                    <a:pt x="42077" y="-4619"/>
                    <a:pt x="7545" y="-4688"/>
                  </a:cubicBezTo>
                  <a:lnTo>
                    <a:pt x="8235" y="5996"/>
                  </a:lnTo>
                  <a:lnTo>
                    <a:pt x="16161" y="4273"/>
                  </a:lnTo>
                  <a:lnTo>
                    <a:pt x="15816" y="8891"/>
                  </a:lnTo>
                  <a:cubicBezTo>
                    <a:pt x="11198" y="11579"/>
                    <a:pt x="1893" y="17093"/>
                    <a:pt x="-2724" y="19850"/>
                  </a:cubicBezTo>
                  <a:cubicBezTo>
                    <a:pt x="-4241" y="30671"/>
                    <a:pt x="9131" y="35427"/>
                    <a:pt x="14369" y="43284"/>
                  </a:cubicBezTo>
                  <a:cubicBezTo>
                    <a:pt x="14369" y="38804"/>
                    <a:pt x="14369" y="29775"/>
                    <a:pt x="14369" y="25295"/>
                  </a:cubicBezTo>
                  <a:cubicBezTo>
                    <a:pt x="26155" y="31774"/>
                    <a:pt x="39182" y="31222"/>
                    <a:pt x="52002" y="28465"/>
                  </a:cubicBezTo>
                  <a:cubicBezTo>
                    <a:pt x="52002" y="22882"/>
                    <a:pt x="52002" y="11854"/>
                    <a:pt x="52071" y="6272"/>
                  </a:cubicBezTo>
                  <a:cubicBezTo>
                    <a:pt x="53863" y="6203"/>
                    <a:pt x="57378" y="6065"/>
                    <a:pt x="59170" y="5996"/>
                  </a:cubicBezTo>
                  <a:cubicBezTo>
                    <a:pt x="60342" y="14198"/>
                    <a:pt x="61582" y="22331"/>
                    <a:pt x="62892" y="30464"/>
                  </a:cubicBezTo>
                  <a:cubicBezTo>
                    <a:pt x="59514" y="34324"/>
                    <a:pt x="52760" y="42181"/>
                    <a:pt x="49382" y="46041"/>
                  </a:cubicBezTo>
                </a:path>
              </a:pathLst>
            </a:custGeom>
            <a:grpFill/>
            <a:ln w="689" cap="flat">
              <a:noFill/>
              <a:prstDash val="solid"/>
              <a:miter/>
            </a:ln>
          </p:spPr>
          <p:txBody>
            <a:bodyPr rtlCol="0" anchor="ctr"/>
            <a:lstStyle/>
            <a:p>
              <a:endParaRPr lang="en-US" sz="2400" dirty="0"/>
            </a:p>
          </p:txBody>
        </p:sp>
        <p:sp>
          <p:nvSpPr>
            <p:cNvPr id="236" name="Graphic 8">
              <a:extLst>
                <a:ext uri="{FF2B5EF4-FFF2-40B4-BE49-F238E27FC236}">
                  <a16:creationId xmlns:a16="http://schemas.microsoft.com/office/drawing/2014/main" id="{48750A08-C258-4E56-856E-2E6F35B103AB}"/>
                </a:ext>
              </a:extLst>
            </p:cNvPr>
            <p:cNvSpPr/>
            <p:nvPr/>
          </p:nvSpPr>
          <p:spPr>
            <a:xfrm flipV="1">
              <a:off x="7446121" y="1668243"/>
              <a:ext cx="12418" cy="12092"/>
            </a:xfrm>
            <a:custGeom>
              <a:avLst/>
              <a:gdLst>
                <a:gd name="connsiteX0" fmla="*/ -7461 w 12418"/>
                <a:gd name="connsiteY0" fmla="*/ 5929 h 12092"/>
                <a:gd name="connsiteX1" fmla="*/ 1499 w 12418"/>
                <a:gd name="connsiteY1" fmla="*/ -3169 h 12092"/>
                <a:gd name="connsiteX2" fmla="*/ -7461 w 12418"/>
                <a:gd name="connsiteY2" fmla="*/ 5929 h 12092"/>
                <a:gd name="connsiteX3" fmla="*/ -7461 w 12418"/>
                <a:gd name="connsiteY3" fmla="*/ 5929 h 12092"/>
              </a:gdLst>
              <a:ahLst/>
              <a:cxnLst>
                <a:cxn ang="0">
                  <a:pos x="connsiteX0" y="connsiteY0"/>
                </a:cxn>
                <a:cxn ang="0">
                  <a:pos x="connsiteX1" y="connsiteY1"/>
                </a:cxn>
                <a:cxn ang="0">
                  <a:pos x="connsiteX2" y="connsiteY2"/>
                </a:cxn>
                <a:cxn ang="0">
                  <a:pos x="connsiteX3" y="connsiteY3"/>
                </a:cxn>
              </a:cxnLst>
              <a:rect l="l" t="t" r="r" b="b"/>
              <a:pathLst>
                <a:path w="12418" h="12092">
                  <a:moveTo>
                    <a:pt x="-7461" y="5929"/>
                  </a:moveTo>
                  <a:cubicBezTo>
                    <a:pt x="2395" y="9514"/>
                    <a:pt x="5428" y="6481"/>
                    <a:pt x="1499" y="-3169"/>
                  </a:cubicBezTo>
                  <a:cubicBezTo>
                    <a:pt x="-8564" y="-6891"/>
                    <a:pt x="-11597" y="-3858"/>
                    <a:pt x="-7461" y="5929"/>
                  </a:cubicBezTo>
                  <a:lnTo>
                    <a:pt x="-7461" y="5929"/>
                  </a:lnTo>
                </a:path>
              </a:pathLst>
            </a:custGeom>
            <a:grpFill/>
            <a:ln w="689" cap="flat">
              <a:noFill/>
              <a:prstDash val="solid"/>
              <a:miter/>
            </a:ln>
          </p:spPr>
          <p:txBody>
            <a:bodyPr rtlCol="0" anchor="ctr"/>
            <a:lstStyle/>
            <a:p>
              <a:endParaRPr lang="en-US" sz="2400" dirty="0"/>
            </a:p>
          </p:txBody>
        </p:sp>
        <p:sp>
          <p:nvSpPr>
            <p:cNvPr id="237" name="Graphic 8">
              <a:extLst>
                <a:ext uri="{FF2B5EF4-FFF2-40B4-BE49-F238E27FC236}">
                  <a16:creationId xmlns:a16="http://schemas.microsoft.com/office/drawing/2014/main" id="{A22BE646-3C47-40B6-AA9E-F41160BB7704}"/>
                </a:ext>
              </a:extLst>
            </p:cNvPr>
            <p:cNvSpPr/>
            <p:nvPr/>
          </p:nvSpPr>
          <p:spPr>
            <a:xfrm flipV="1">
              <a:off x="1093339" y="1674937"/>
              <a:ext cx="6804501" cy="2041476"/>
            </a:xfrm>
            <a:custGeom>
              <a:avLst/>
              <a:gdLst>
                <a:gd name="connsiteX0" fmla="*/ -5536 w 6804501"/>
                <a:gd name="connsiteY0" fmla="*/ 4966 h 2041476"/>
                <a:gd name="connsiteX1" fmla="*/ -5536 w 6804501"/>
                <a:gd name="connsiteY1" fmla="*/ 4966 h 2041476"/>
                <a:gd name="connsiteX2" fmla="*/ 6789329 w 6804501"/>
                <a:gd name="connsiteY2" fmla="*/ 1293098 h 2041476"/>
                <a:gd name="connsiteX3" fmla="*/ 6789329 w 6804501"/>
                <a:gd name="connsiteY3" fmla="*/ 1293098 h 2041476"/>
                <a:gd name="connsiteX4" fmla="*/ 1115661 w 6804501"/>
                <a:gd name="connsiteY4" fmla="*/ 2038449 h 2041476"/>
                <a:gd name="connsiteX5" fmla="*/ 1137234 w 6804501"/>
                <a:gd name="connsiteY5" fmla="*/ 1999231 h 2041476"/>
                <a:gd name="connsiteX6" fmla="*/ 1115316 w 6804501"/>
                <a:gd name="connsiteY6" fmla="*/ 1996819 h 2041476"/>
                <a:gd name="connsiteX7" fmla="*/ 1104426 w 6804501"/>
                <a:gd name="connsiteY7" fmla="*/ 2007640 h 2041476"/>
                <a:gd name="connsiteX8" fmla="*/ 1120072 w 6804501"/>
                <a:gd name="connsiteY8" fmla="*/ 2006193 h 2041476"/>
                <a:gd name="connsiteX9" fmla="*/ 1115661 w 6804501"/>
                <a:gd name="connsiteY9" fmla="*/ 2038449 h 204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04501" h="2041476">
                  <a:moveTo>
                    <a:pt x="-5536" y="4966"/>
                  </a:moveTo>
                  <a:cubicBezTo>
                    <a:pt x="15417" y="15856"/>
                    <a:pt x="-4364" y="-17572"/>
                    <a:pt x="-5536" y="4966"/>
                  </a:cubicBezTo>
                  <a:close/>
                  <a:moveTo>
                    <a:pt x="6789329" y="1293098"/>
                  </a:moveTo>
                  <a:cubicBezTo>
                    <a:pt x="6809938" y="1304264"/>
                    <a:pt x="6791397" y="1270629"/>
                    <a:pt x="6789329" y="1293098"/>
                  </a:cubicBezTo>
                  <a:moveTo>
                    <a:pt x="1115661" y="2038449"/>
                  </a:moveTo>
                  <a:cubicBezTo>
                    <a:pt x="1125241" y="2026801"/>
                    <a:pt x="1134270" y="2014326"/>
                    <a:pt x="1137234" y="1999231"/>
                  </a:cubicBezTo>
                  <a:cubicBezTo>
                    <a:pt x="1129377" y="1996199"/>
                    <a:pt x="1122071" y="1995371"/>
                    <a:pt x="1115316" y="1996819"/>
                  </a:cubicBezTo>
                  <a:cubicBezTo>
                    <a:pt x="1112559" y="1999507"/>
                    <a:pt x="1107114" y="2004883"/>
                    <a:pt x="1104426" y="2007640"/>
                  </a:cubicBezTo>
                  <a:cubicBezTo>
                    <a:pt x="1108355" y="2007227"/>
                    <a:pt x="1116212" y="2006537"/>
                    <a:pt x="1120072" y="2006193"/>
                  </a:cubicBezTo>
                  <a:cubicBezTo>
                    <a:pt x="1118762" y="2017014"/>
                    <a:pt x="1117246" y="2027697"/>
                    <a:pt x="1115661" y="2038449"/>
                  </a:cubicBezTo>
                </a:path>
              </a:pathLst>
            </a:custGeom>
            <a:grpFill/>
            <a:ln w="689" cap="flat">
              <a:noFill/>
              <a:prstDash val="solid"/>
              <a:miter/>
            </a:ln>
          </p:spPr>
          <p:txBody>
            <a:bodyPr rtlCol="0" anchor="ctr"/>
            <a:lstStyle/>
            <a:p>
              <a:endParaRPr lang="en-US" sz="2400" dirty="0"/>
            </a:p>
          </p:txBody>
        </p:sp>
        <p:sp>
          <p:nvSpPr>
            <p:cNvPr id="238" name="Graphic 8">
              <a:extLst>
                <a:ext uri="{FF2B5EF4-FFF2-40B4-BE49-F238E27FC236}">
                  <a16:creationId xmlns:a16="http://schemas.microsoft.com/office/drawing/2014/main" id="{2073A44F-8A85-47B0-8C8B-04F26591DB29}"/>
                </a:ext>
              </a:extLst>
            </p:cNvPr>
            <p:cNvSpPr/>
            <p:nvPr/>
          </p:nvSpPr>
          <p:spPr>
            <a:xfrm flipV="1">
              <a:off x="557450" y="1678108"/>
              <a:ext cx="1520271" cy="222212"/>
            </a:xfrm>
            <a:custGeom>
              <a:avLst/>
              <a:gdLst>
                <a:gd name="connsiteX0" fmla="*/ -1540 w 1520271"/>
                <a:gd name="connsiteY0" fmla="*/ 9543 h 222212"/>
                <a:gd name="connsiteX1" fmla="*/ 23962 w 1520271"/>
                <a:gd name="connsiteY1" fmla="*/ 64269 h 222212"/>
                <a:gd name="connsiteX2" fmla="*/ 59111 w 1520271"/>
                <a:gd name="connsiteY2" fmla="*/ 58341 h 222212"/>
                <a:gd name="connsiteX3" fmla="*/ 64353 w 1520271"/>
                <a:gd name="connsiteY3" fmla="*/ 31116 h 222212"/>
                <a:gd name="connsiteX4" fmla="*/ 52910 w 1520271"/>
                <a:gd name="connsiteY4" fmla="*/ 33804 h 222212"/>
                <a:gd name="connsiteX5" fmla="*/ 43813 w 1520271"/>
                <a:gd name="connsiteY5" fmla="*/ -4518 h 222212"/>
                <a:gd name="connsiteX6" fmla="*/ 23273 w 1520271"/>
                <a:gd name="connsiteY6" fmla="*/ 34011 h 222212"/>
                <a:gd name="connsiteX7" fmla="*/ 10732 w 1520271"/>
                <a:gd name="connsiteY7" fmla="*/ 5821 h 222212"/>
                <a:gd name="connsiteX8" fmla="*/ -1540 w 1520271"/>
                <a:gd name="connsiteY8" fmla="*/ 9543 h 222212"/>
                <a:gd name="connsiteX9" fmla="*/ 1453253 w 1520271"/>
                <a:gd name="connsiteY9" fmla="*/ 214180 h 222212"/>
                <a:gd name="connsiteX10" fmla="*/ 1518731 w 1520271"/>
                <a:gd name="connsiteY10" fmla="*/ 217695 h 222212"/>
                <a:gd name="connsiteX11" fmla="*/ 1512390 w 1520271"/>
                <a:gd name="connsiteY11" fmla="*/ 210113 h 222212"/>
                <a:gd name="connsiteX12" fmla="*/ 1497158 w 1520271"/>
                <a:gd name="connsiteY12" fmla="*/ 207150 h 222212"/>
                <a:gd name="connsiteX13" fmla="*/ 1491575 w 1520271"/>
                <a:gd name="connsiteY13" fmla="*/ 199982 h 222212"/>
                <a:gd name="connsiteX14" fmla="*/ 1471724 w 1520271"/>
                <a:gd name="connsiteY14" fmla="*/ 205702 h 222212"/>
                <a:gd name="connsiteX15" fmla="*/ 1469932 w 1520271"/>
                <a:gd name="connsiteY15" fmla="*/ 165795 h 222212"/>
                <a:gd name="connsiteX16" fmla="*/ 1446360 w 1520271"/>
                <a:gd name="connsiteY16" fmla="*/ 167587 h 222212"/>
                <a:gd name="connsiteX17" fmla="*/ 1436021 w 1520271"/>
                <a:gd name="connsiteY17" fmla="*/ 180820 h 222212"/>
                <a:gd name="connsiteX18" fmla="*/ 1429405 w 1520271"/>
                <a:gd name="connsiteY18" fmla="*/ 183715 h 222212"/>
                <a:gd name="connsiteX19" fmla="*/ 1394460 w 1520271"/>
                <a:gd name="connsiteY19" fmla="*/ 191711 h 222212"/>
                <a:gd name="connsiteX20" fmla="*/ 1391496 w 1520271"/>
                <a:gd name="connsiteY20" fmla="*/ 205013 h 222212"/>
                <a:gd name="connsiteX21" fmla="*/ 1402524 w 1520271"/>
                <a:gd name="connsiteY21" fmla="*/ 205633 h 222212"/>
                <a:gd name="connsiteX22" fmla="*/ 1431266 w 1520271"/>
                <a:gd name="connsiteY22" fmla="*/ 201291 h 222212"/>
                <a:gd name="connsiteX23" fmla="*/ 1448083 w 1520271"/>
                <a:gd name="connsiteY23" fmla="*/ 214731 h 222212"/>
                <a:gd name="connsiteX24" fmla="*/ 1454080 w 1520271"/>
                <a:gd name="connsiteY24" fmla="*/ 188333 h 222212"/>
                <a:gd name="connsiteX25" fmla="*/ 1453253 w 1520271"/>
                <a:gd name="connsiteY25" fmla="*/ 214180 h 22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20271" h="222212">
                  <a:moveTo>
                    <a:pt x="-1540" y="9543"/>
                  </a:moveTo>
                  <a:cubicBezTo>
                    <a:pt x="5563" y="28704"/>
                    <a:pt x="8524" y="49312"/>
                    <a:pt x="23962" y="64269"/>
                  </a:cubicBezTo>
                  <a:cubicBezTo>
                    <a:pt x="35679" y="62201"/>
                    <a:pt x="47327" y="59789"/>
                    <a:pt x="59111" y="58341"/>
                  </a:cubicBezTo>
                  <a:cubicBezTo>
                    <a:pt x="60425" y="51518"/>
                    <a:pt x="63042" y="37940"/>
                    <a:pt x="64353" y="31116"/>
                  </a:cubicBezTo>
                  <a:cubicBezTo>
                    <a:pt x="61526" y="31805"/>
                    <a:pt x="55807" y="33115"/>
                    <a:pt x="52910" y="33804"/>
                  </a:cubicBezTo>
                  <a:cubicBezTo>
                    <a:pt x="51947" y="20640"/>
                    <a:pt x="47741" y="8095"/>
                    <a:pt x="43813" y="-4518"/>
                  </a:cubicBezTo>
                  <a:cubicBezTo>
                    <a:pt x="32648" y="5890"/>
                    <a:pt x="24444" y="18434"/>
                    <a:pt x="23273" y="34011"/>
                  </a:cubicBezTo>
                  <a:cubicBezTo>
                    <a:pt x="24654" y="21604"/>
                    <a:pt x="20446" y="12231"/>
                    <a:pt x="10732" y="5821"/>
                  </a:cubicBezTo>
                  <a:cubicBezTo>
                    <a:pt x="7628" y="6786"/>
                    <a:pt x="1492" y="8647"/>
                    <a:pt x="-1540" y="9543"/>
                  </a:cubicBezTo>
                  <a:close/>
                  <a:moveTo>
                    <a:pt x="1453253" y="214180"/>
                  </a:moveTo>
                  <a:cubicBezTo>
                    <a:pt x="1475033" y="214938"/>
                    <a:pt x="1496882" y="216385"/>
                    <a:pt x="1518731" y="217695"/>
                  </a:cubicBezTo>
                  <a:lnTo>
                    <a:pt x="1512390" y="210113"/>
                  </a:lnTo>
                  <a:cubicBezTo>
                    <a:pt x="1508530" y="209355"/>
                    <a:pt x="1500949" y="207839"/>
                    <a:pt x="1497158" y="207150"/>
                  </a:cubicBezTo>
                  <a:cubicBezTo>
                    <a:pt x="1495779" y="205358"/>
                    <a:pt x="1493022" y="201774"/>
                    <a:pt x="1491575" y="199982"/>
                  </a:cubicBezTo>
                  <a:cubicBezTo>
                    <a:pt x="1481994" y="191780"/>
                    <a:pt x="1474619" y="192400"/>
                    <a:pt x="1471724" y="205702"/>
                  </a:cubicBezTo>
                  <a:cubicBezTo>
                    <a:pt x="1470691" y="192400"/>
                    <a:pt x="1470139" y="179097"/>
                    <a:pt x="1469932" y="165795"/>
                  </a:cubicBezTo>
                  <a:cubicBezTo>
                    <a:pt x="1462075" y="166415"/>
                    <a:pt x="1454149" y="167035"/>
                    <a:pt x="1446360" y="167587"/>
                  </a:cubicBezTo>
                  <a:cubicBezTo>
                    <a:pt x="1443741" y="170895"/>
                    <a:pt x="1438572" y="177512"/>
                    <a:pt x="1436021" y="180820"/>
                  </a:cubicBezTo>
                  <a:cubicBezTo>
                    <a:pt x="1434367" y="181579"/>
                    <a:pt x="1431059" y="182957"/>
                    <a:pt x="1429405" y="183715"/>
                  </a:cubicBezTo>
                  <a:cubicBezTo>
                    <a:pt x="1417825" y="186679"/>
                    <a:pt x="1406177" y="189229"/>
                    <a:pt x="1394460" y="191711"/>
                  </a:cubicBezTo>
                  <a:lnTo>
                    <a:pt x="1391496" y="205013"/>
                  </a:lnTo>
                  <a:cubicBezTo>
                    <a:pt x="1394253" y="205220"/>
                    <a:pt x="1399767" y="205495"/>
                    <a:pt x="1402524" y="205633"/>
                  </a:cubicBezTo>
                  <a:cubicBezTo>
                    <a:pt x="1409141" y="213008"/>
                    <a:pt x="1434988" y="218316"/>
                    <a:pt x="1431266" y="201291"/>
                  </a:cubicBezTo>
                  <a:cubicBezTo>
                    <a:pt x="1435470" y="204668"/>
                    <a:pt x="1443879" y="211354"/>
                    <a:pt x="1448083" y="214731"/>
                  </a:cubicBezTo>
                  <a:cubicBezTo>
                    <a:pt x="1450427" y="206391"/>
                    <a:pt x="1445740" y="194468"/>
                    <a:pt x="1454080" y="188333"/>
                  </a:cubicBezTo>
                  <a:cubicBezTo>
                    <a:pt x="1454424" y="196949"/>
                    <a:pt x="1454080" y="205564"/>
                    <a:pt x="1453253" y="214180"/>
                  </a:cubicBezTo>
                </a:path>
              </a:pathLst>
            </a:custGeom>
            <a:grpFill/>
            <a:ln w="689" cap="flat">
              <a:noFill/>
              <a:prstDash val="solid"/>
              <a:miter/>
            </a:ln>
          </p:spPr>
          <p:txBody>
            <a:bodyPr rtlCol="0" anchor="ctr"/>
            <a:lstStyle/>
            <a:p>
              <a:endParaRPr lang="en-US" sz="2400" dirty="0"/>
            </a:p>
          </p:txBody>
        </p:sp>
        <p:sp>
          <p:nvSpPr>
            <p:cNvPr id="239" name="Graphic 8">
              <a:extLst>
                <a:ext uri="{FF2B5EF4-FFF2-40B4-BE49-F238E27FC236}">
                  <a16:creationId xmlns:a16="http://schemas.microsoft.com/office/drawing/2014/main" id="{FD1F75D0-231B-4173-84C3-09DE8D8FED9F}"/>
                </a:ext>
              </a:extLst>
            </p:cNvPr>
            <p:cNvSpPr/>
            <p:nvPr/>
          </p:nvSpPr>
          <p:spPr>
            <a:xfrm flipV="1">
              <a:off x="1815238" y="1688377"/>
              <a:ext cx="5586013" cy="1659015"/>
            </a:xfrm>
            <a:custGeom>
              <a:avLst/>
              <a:gdLst>
                <a:gd name="connsiteX0" fmla="*/ 3566704 w 5586013"/>
                <a:gd name="connsiteY0" fmla="*/ -632 h 1659015"/>
                <a:gd name="connsiteX1" fmla="*/ 3566704 w 5586013"/>
                <a:gd name="connsiteY1" fmla="*/ -632 h 1659015"/>
                <a:gd name="connsiteX2" fmla="*/ 5493009 w 5586013"/>
                <a:gd name="connsiteY2" fmla="*/ 135701 h 1659015"/>
                <a:gd name="connsiteX3" fmla="*/ 5578476 w 5586013"/>
                <a:gd name="connsiteY3" fmla="*/ 146453 h 1659015"/>
                <a:gd name="connsiteX4" fmla="*/ 5580336 w 5586013"/>
                <a:gd name="connsiteY4" fmla="*/ 136252 h 1659015"/>
                <a:gd name="connsiteX5" fmla="*/ 5565104 w 5586013"/>
                <a:gd name="connsiteY5" fmla="*/ 139009 h 1659015"/>
                <a:gd name="connsiteX6" fmla="*/ 5517546 w 5586013"/>
                <a:gd name="connsiteY6" fmla="*/ 125224 h 1659015"/>
                <a:gd name="connsiteX7" fmla="*/ 5540360 w 5586013"/>
                <a:gd name="connsiteY7" fmla="*/ 97861 h 1659015"/>
                <a:gd name="connsiteX8" fmla="*/ 5558212 w 5586013"/>
                <a:gd name="connsiteY8" fmla="*/ 96276 h 1659015"/>
                <a:gd name="connsiteX9" fmla="*/ 5509069 w 5586013"/>
                <a:gd name="connsiteY9" fmla="*/ 90831 h 1659015"/>
                <a:gd name="connsiteX10" fmla="*/ 5508999 w 5586013"/>
                <a:gd name="connsiteY10" fmla="*/ 109785 h 1659015"/>
                <a:gd name="connsiteX11" fmla="*/ 5526713 w 5586013"/>
                <a:gd name="connsiteY11" fmla="*/ 96276 h 1659015"/>
                <a:gd name="connsiteX12" fmla="*/ 5524715 w 5586013"/>
                <a:gd name="connsiteY12" fmla="*/ 118539 h 1659015"/>
                <a:gd name="connsiteX13" fmla="*/ 5495214 w 5586013"/>
                <a:gd name="connsiteY13" fmla="*/ 126121 h 1659015"/>
                <a:gd name="connsiteX14" fmla="*/ 5493009 w 5586013"/>
                <a:gd name="connsiteY14" fmla="*/ 135701 h 1659015"/>
                <a:gd name="connsiteX15" fmla="*/ 4894123 w 5586013"/>
                <a:gd name="connsiteY15" fmla="*/ 431388 h 1659015"/>
                <a:gd name="connsiteX16" fmla="*/ 4917971 w 5586013"/>
                <a:gd name="connsiteY16" fmla="*/ 422083 h 1659015"/>
                <a:gd name="connsiteX17" fmla="*/ 4916937 w 5586013"/>
                <a:gd name="connsiteY17" fmla="*/ 390033 h 1659015"/>
                <a:gd name="connsiteX18" fmla="*/ 4912112 w 5586013"/>
                <a:gd name="connsiteY18" fmla="*/ 395340 h 1659015"/>
                <a:gd name="connsiteX19" fmla="*/ 4900188 w 5586013"/>
                <a:gd name="connsiteY19" fmla="*/ 414432 h 1659015"/>
                <a:gd name="connsiteX20" fmla="*/ 4894123 w 5586013"/>
                <a:gd name="connsiteY20" fmla="*/ 431388 h 1659015"/>
                <a:gd name="connsiteX21" fmla="*/ 3551816 w 5586013"/>
                <a:gd name="connsiteY21" fmla="*/ 805511 h 1659015"/>
                <a:gd name="connsiteX22" fmla="*/ 3561810 w 5586013"/>
                <a:gd name="connsiteY22" fmla="*/ 794483 h 1659015"/>
                <a:gd name="connsiteX23" fmla="*/ 3551816 w 5586013"/>
                <a:gd name="connsiteY23" fmla="*/ 805511 h 1659015"/>
                <a:gd name="connsiteX24" fmla="*/ 15224 w 5586013"/>
                <a:gd name="connsiteY24" fmla="*/ 1653490 h 1659015"/>
                <a:gd name="connsiteX25" fmla="*/ 79531 w 5586013"/>
                <a:gd name="connsiteY25" fmla="*/ 1655696 h 1659015"/>
                <a:gd name="connsiteX26" fmla="*/ 74982 w 5586013"/>
                <a:gd name="connsiteY26" fmla="*/ 1624059 h 1659015"/>
                <a:gd name="connsiteX27" fmla="*/ 49135 w 5586013"/>
                <a:gd name="connsiteY27" fmla="*/ 1645977 h 1659015"/>
                <a:gd name="connsiteX28" fmla="*/ 43621 w 5586013"/>
                <a:gd name="connsiteY28" fmla="*/ 1616891 h 1659015"/>
                <a:gd name="connsiteX29" fmla="*/ 65815 w 5586013"/>
                <a:gd name="connsiteY29" fmla="*/ 1612549 h 1659015"/>
                <a:gd name="connsiteX30" fmla="*/ -5384 w 5586013"/>
                <a:gd name="connsiteY30" fmla="*/ 1599453 h 1659015"/>
                <a:gd name="connsiteX31" fmla="*/ 16603 w 5586013"/>
                <a:gd name="connsiteY31" fmla="*/ 1620958 h 1659015"/>
                <a:gd name="connsiteX32" fmla="*/ 26597 w 5586013"/>
                <a:gd name="connsiteY32" fmla="*/ 1632675 h 1659015"/>
                <a:gd name="connsiteX33" fmla="*/ 15224 w 5586013"/>
                <a:gd name="connsiteY33" fmla="*/ 1653490 h 1659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586013" h="1659015">
                  <a:moveTo>
                    <a:pt x="3566704" y="-632"/>
                  </a:moveTo>
                  <a:cubicBezTo>
                    <a:pt x="3570357" y="-4216"/>
                    <a:pt x="3570357" y="-4216"/>
                    <a:pt x="3566704" y="-632"/>
                  </a:cubicBezTo>
                  <a:close/>
                  <a:moveTo>
                    <a:pt x="5493009" y="135701"/>
                  </a:moveTo>
                  <a:cubicBezTo>
                    <a:pt x="5518787" y="147625"/>
                    <a:pt x="5550354" y="141835"/>
                    <a:pt x="5578476" y="146453"/>
                  </a:cubicBezTo>
                  <a:lnTo>
                    <a:pt x="5580336" y="136252"/>
                  </a:lnTo>
                  <a:cubicBezTo>
                    <a:pt x="5576545" y="136942"/>
                    <a:pt x="5568895" y="138320"/>
                    <a:pt x="5565104" y="139009"/>
                  </a:cubicBezTo>
                  <a:cubicBezTo>
                    <a:pt x="5548356" y="140250"/>
                    <a:pt x="5523473" y="147005"/>
                    <a:pt x="5517546" y="125224"/>
                  </a:cubicBezTo>
                  <a:cubicBezTo>
                    <a:pt x="5536983" y="127913"/>
                    <a:pt x="5539809" y="113232"/>
                    <a:pt x="5540360" y="97861"/>
                  </a:cubicBezTo>
                  <a:cubicBezTo>
                    <a:pt x="5544840" y="97448"/>
                    <a:pt x="5553732" y="96690"/>
                    <a:pt x="5558212" y="96276"/>
                  </a:cubicBezTo>
                  <a:cubicBezTo>
                    <a:pt x="5542083" y="92347"/>
                    <a:pt x="5525611" y="89315"/>
                    <a:pt x="5509069" y="90831"/>
                  </a:cubicBezTo>
                  <a:cubicBezTo>
                    <a:pt x="5509069" y="95587"/>
                    <a:pt x="5508999" y="105030"/>
                    <a:pt x="5508999" y="109785"/>
                  </a:cubicBezTo>
                  <a:cubicBezTo>
                    <a:pt x="5514927" y="105443"/>
                    <a:pt x="5520854" y="100963"/>
                    <a:pt x="5526713" y="96276"/>
                  </a:cubicBezTo>
                  <a:cubicBezTo>
                    <a:pt x="5526230" y="101859"/>
                    <a:pt x="5525197" y="112956"/>
                    <a:pt x="5524715" y="118539"/>
                  </a:cubicBezTo>
                  <a:cubicBezTo>
                    <a:pt x="5514996" y="121778"/>
                    <a:pt x="5505002" y="123846"/>
                    <a:pt x="5495214" y="126121"/>
                  </a:cubicBezTo>
                  <a:cubicBezTo>
                    <a:pt x="5494663" y="128533"/>
                    <a:pt x="5493561" y="133289"/>
                    <a:pt x="5493009" y="135701"/>
                  </a:cubicBezTo>
                  <a:moveTo>
                    <a:pt x="4894123" y="431388"/>
                  </a:moveTo>
                  <a:cubicBezTo>
                    <a:pt x="4902049" y="428493"/>
                    <a:pt x="4909976" y="425391"/>
                    <a:pt x="4917971" y="422083"/>
                  </a:cubicBezTo>
                  <a:cubicBezTo>
                    <a:pt x="4917557" y="411468"/>
                    <a:pt x="4917281" y="400785"/>
                    <a:pt x="4916937" y="390033"/>
                  </a:cubicBezTo>
                  <a:lnTo>
                    <a:pt x="4912112" y="395340"/>
                  </a:lnTo>
                  <a:cubicBezTo>
                    <a:pt x="4915834" y="403956"/>
                    <a:pt x="4911699" y="430216"/>
                    <a:pt x="4900188" y="414432"/>
                  </a:cubicBezTo>
                  <a:cubicBezTo>
                    <a:pt x="4898672" y="418637"/>
                    <a:pt x="4895640" y="427114"/>
                    <a:pt x="4894123" y="431388"/>
                  </a:cubicBezTo>
                  <a:moveTo>
                    <a:pt x="3551816" y="805511"/>
                  </a:moveTo>
                  <a:cubicBezTo>
                    <a:pt x="3561396" y="807578"/>
                    <a:pt x="3564705" y="803925"/>
                    <a:pt x="3561810" y="794483"/>
                  </a:cubicBezTo>
                  <a:cubicBezTo>
                    <a:pt x="3551954" y="792277"/>
                    <a:pt x="3548645" y="795930"/>
                    <a:pt x="3551816" y="805511"/>
                  </a:cubicBezTo>
                  <a:moveTo>
                    <a:pt x="15224" y="1653490"/>
                  </a:moveTo>
                  <a:cubicBezTo>
                    <a:pt x="36660" y="1653214"/>
                    <a:pt x="58164" y="1653490"/>
                    <a:pt x="79531" y="1655696"/>
                  </a:cubicBezTo>
                  <a:cubicBezTo>
                    <a:pt x="77670" y="1645219"/>
                    <a:pt x="75947" y="1634674"/>
                    <a:pt x="74982" y="1624059"/>
                  </a:cubicBezTo>
                  <a:cubicBezTo>
                    <a:pt x="64230" y="1628471"/>
                    <a:pt x="56855" y="1637775"/>
                    <a:pt x="49135" y="1645977"/>
                  </a:cubicBezTo>
                  <a:cubicBezTo>
                    <a:pt x="43070" y="1637431"/>
                    <a:pt x="44173" y="1626747"/>
                    <a:pt x="43621" y="1616891"/>
                  </a:cubicBezTo>
                  <a:cubicBezTo>
                    <a:pt x="49204" y="1615788"/>
                    <a:pt x="60301" y="1613652"/>
                    <a:pt x="65815" y="1612549"/>
                  </a:cubicBezTo>
                  <a:cubicBezTo>
                    <a:pt x="44449" y="1600280"/>
                    <a:pt x="18257" y="1602831"/>
                    <a:pt x="-5384" y="1599453"/>
                  </a:cubicBezTo>
                  <a:cubicBezTo>
                    <a:pt x="-8003" y="1614272"/>
                    <a:pt x="7505" y="1616202"/>
                    <a:pt x="16603" y="1620958"/>
                  </a:cubicBezTo>
                  <a:cubicBezTo>
                    <a:pt x="19911" y="1624887"/>
                    <a:pt x="23220" y="1628815"/>
                    <a:pt x="26597" y="1632675"/>
                  </a:cubicBezTo>
                  <a:cubicBezTo>
                    <a:pt x="22737" y="1639636"/>
                    <a:pt x="19015" y="1646598"/>
                    <a:pt x="15224" y="1653490"/>
                  </a:cubicBezTo>
                </a:path>
              </a:pathLst>
            </a:custGeom>
            <a:grpFill/>
            <a:ln w="689" cap="flat">
              <a:noFill/>
              <a:prstDash val="solid"/>
              <a:miter/>
            </a:ln>
          </p:spPr>
          <p:txBody>
            <a:bodyPr rtlCol="0" anchor="ctr"/>
            <a:lstStyle/>
            <a:p>
              <a:endParaRPr lang="en-US" sz="2400" dirty="0"/>
            </a:p>
          </p:txBody>
        </p:sp>
        <p:sp>
          <p:nvSpPr>
            <p:cNvPr id="240" name="Graphic 8">
              <a:extLst>
                <a:ext uri="{FF2B5EF4-FFF2-40B4-BE49-F238E27FC236}">
                  <a16:creationId xmlns:a16="http://schemas.microsoft.com/office/drawing/2014/main" id="{A4720F8D-857E-45A7-AC31-DC8248A0CDE0}"/>
                </a:ext>
              </a:extLst>
            </p:cNvPr>
            <p:cNvSpPr/>
            <p:nvPr/>
          </p:nvSpPr>
          <p:spPr>
            <a:xfrm flipV="1">
              <a:off x="1928026" y="1683139"/>
              <a:ext cx="1188233" cy="1529368"/>
            </a:xfrm>
            <a:custGeom>
              <a:avLst/>
              <a:gdLst>
                <a:gd name="connsiteX0" fmla="*/ 72477 w 1188233"/>
                <a:gd name="connsiteY0" fmla="*/ 10763 h 1529368"/>
                <a:gd name="connsiteX1" fmla="*/ 71168 w 1188233"/>
                <a:gd name="connsiteY1" fmla="*/ -3435 h 1529368"/>
                <a:gd name="connsiteX2" fmla="*/ 72477 w 1188233"/>
                <a:gd name="connsiteY2" fmla="*/ 10763 h 1529368"/>
                <a:gd name="connsiteX3" fmla="*/ 1182646 w 1188233"/>
                <a:gd name="connsiteY3" fmla="*/ 843304 h 1529368"/>
                <a:gd name="connsiteX4" fmla="*/ 1182646 w 1188233"/>
                <a:gd name="connsiteY4" fmla="*/ 843304 h 1529368"/>
                <a:gd name="connsiteX5" fmla="*/ 375608 w 1188233"/>
                <a:gd name="connsiteY5" fmla="*/ 885555 h 1529368"/>
                <a:gd name="connsiteX6" fmla="*/ 387187 w 1188233"/>
                <a:gd name="connsiteY6" fmla="*/ 867841 h 1529368"/>
                <a:gd name="connsiteX7" fmla="*/ 375608 w 1188233"/>
                <a:gd name="connsiteY7" fmla="*/ 885555 h 1529368"/>
                <a:gd name="connsiteX8" fmla="*/ 4449 w 1188233"/>
                <a:gd name="connsiteY8" fmla="*/ 1471483 h 1529368"/>
                <a:gd name="connsiteX9" fmla="*/ 13685 w 1188233"/>
                <a:gd name="connsiteY9" fmla="*/ 1525933 h 1529368"/>
                <a:gd name="connsiteX10" fmla="*/ 4724 w 1188233"/>
                <a:gd name="connsiteY10" fmla="*/ 1486646 h 1529368"/>
                <a:gd name="connsiteX11" fmla="*/ 22369 w 1188233"/>
                <a:gd name="connsiteY11" fmla="*/ 1504980 h 1529368"/>
                <a:gd name="connsiteX12" fmla="*/ 57314 w 1188233"/>
                <a:gd name="connsiteY12" fmla="*/ 1496985 h 1529368"/>
                <a:gd name="connsiteX13" fmla="*/ 63931 w 1188233"/>
                <a:gd name="connsiteY13" fmla="*/ 1494090 h 1529368"/>
                <a:gd name="connsiteX14" fmla="*/ 61449 w 1188233"/>
                <a:gd name="connsiteY14" fmla="*/ 1475963 h 1529368"/>
                <a:gd name="connsiteX15" fmla="*/ 29882 w 1188233"/>
                <a:gd name="connsiteY15" fmla="*/ 1475549 h 1529368"/>
                <a:gd name="connsiteX16" fmla="*/ 16304 w 1188233"/>
                <a:gd name="connsiteY16" fmla="*/ 1484510 h 1529368"/>
                <a:gd name="connsiteX17" fmla="*/ 4449 w 1188233"/>
                <a:gd name="connsiteY17" fmla="*/ 1471483 h 152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8233" h="1529368">
                  <a:moveTo>
                    <a:pt x="72477" y="10763"/>
                  </a:moveTo>
                  <a:cubicBezTo>
                    <a:pt x="81024" y="6421"/>
                    <a:pt x="80611" y="1665"/>
                    <a:pt x="71168" y="-3435"/>
                  </a:cubicBezTo>
                  <a:cubicBezTo>
                    <a:pt x="62621" y="907"/>
                    <a:pt x="63035" y="5663"/>
                    <a:pt x="72477" y="10763"/>
                  </a:cubicBezTo>
                  <a:close/>
                  <a:moveTo>
                    <a:pt x="1182646" y="843304"/>
                  </a:moveTo>
                  <a:cubicBezTo>
                    <a:pt x="1186024" y="839651"/>
                    <a:pt x="1186024" y="839651"/>
                    <a:pt x="1182646" y="843304"/>
                  </a:cubicBezTo>
                  <a:moveTo>
                    <a:pt x="375608" y="885555"/>
                  </a:moveTo>
                  <a:cubicBezTo>
                    <a:pt x="385188" y="891758"/>
                    <a:pt x="393528" y="874871"/>
                    <a:pt x="387187" y="867841"/>
                  </a:cubicBezTo>
                  <a:cubicBezTo>
                    <a:pt x="377813" y="862051"/>
                    <a:pt x="369198" y="878731"/>
                    <a:pt x="375608" y="885555"/>
                  </a:cubicBezTo>
                  <a:moveTo>
                    <a:pt x="4449" y="1471483"/>
                  </a:moveTo>
                  <a:cubicBezTo>
                    <a:pt x="244" y="1488921"/>
                    <a:pt x="-14230" y="1521936"/>
                    <a:pt x="13685" y="1525933"/>
                  </a:cubicBezTo>
                  <a:cubicBezTo>
                    <a:pt x="11824" y="1512562"/>
                    <a:pt x="7895" y="1499742"/>
                    <a:pt x="4724" y="1486646"/>
                  </a:cubicBezTo>
                  <a:cubicBezTo>
                    <a:pt x="9894" y="1494573"/>
                    <a:pt x="15821" y="1500638"/>
                    <a:pt x="22369" y="1504980"/>
                  </a:cubicBezTo>
                  <a:cubicBezTo>
                    <a:pt x="34086" y="1502499"/>
                    <a:pt x="45735" y="1499949"/>
                    <a:pt x="57314" y="1496985"/>
                  </a:cubicBezTo>
                  <a:cubicBezTo>
                    <a:pt x="58968" y="1496227"/>
                    <a:pt x="62276" y="1494848"/>
                    <a:pt x="63931" y="1494090"/>
                  </a:cubicBezTo>
                  <a:cubicBezTo>
                    <a:pt x="63310" y="1489541"/>
                    <a:pt x="62070" y="1480512"/>
                    <a:pt x="61449" y="1475963"/>
                  </a:cubicBezTo>
                  <a:cubicBezTo>
                    <a:pt x="50904" y="1475825"/>
                    <a:pt x="40358" y="1475687"/>
                    <a:pt x="29882" y="1475549"/>
                  </a:cubicBezTo>
                  <a:cubicBezTo>
                    <a:pt x="26505" y="1477755"/>
                    <a:pt x="19681" y="1482304"/>
                    <a:pt x="16304" y="1484510"/>
                  </a:cubicBezTo>
                  <a:cubicBezTo>
                    <a:pt x="13340" y="1481270"/>
                    <a:pt x="7412" y="1474723"/>
                    <a:pt x="4449" y="1471483"/>
                  </a:cubicBezTo>
                </a:path>
              </a:pathLst>
            </a:custGeom>
            <a:grpFill/>
            <a:ln w="689" cap="flat">
              <a:noFill/>
              <a:prstDash val="solid"/>
              <a:miter/>
            </a:ln>
          </p:spPr>
          <p:txBody>
            <a:bodyPr rtlCol="0" anchor="ctr"/>
            <a:lstStyle/>
            <a:p>
              <a:endParaRPr lang="en-US" sz="2400" dirty="0"/>
            </a:p>
          </p:txBody>
        </p:sp>
        <p:sp>
          <p:nvSpPr>
            <p:cNvPr id="241" name="Graphic 8">
              <a:extLst>
                <a:ext uri="{FF2B5EF4-FFF2-40B4-BE49-F238E27FC236}">
                  <a16:creationId xmlns:a16="http://schemas.microsoft.com/office/drawing/2014/main" id="{BCDEB8F9-3F01-4812-9BC9-79218B8C2F3A}"/>
                </a:ext>
              </a:extLst>
            </p:cNvPr>
            <p:cNvSpPr/>
            <p:nvPr/>
          </p:nvSpPr>
          <p:spPr>
            <a:xfrm flipV="1">
              <a:off x="1983087" y="1687770"/>
              <a:ext cx="6856309" cy="791513"/>
            </a:xfrm>
            <a:custGeom>
              <a:avLst/>
              <a:gdLst>
                <a:gd name="connsiteX0" fmla="*/ 3114219 w 6856309"/>
                <a:gd name="connsiteY0" fmla="*/ 5405 h 791513"/>
                <a:gd name="connsiteX1" fmla="*/ 3114219 w 6856309"/>
                <a:gd name="connsiteY1" fmla="*/ 5405 h 791513"/>
                <a:gd name="connsiteX2" fmla="*/ -6688 w 6856309"/>
                <a:gd name="connsiteY2" fmla="*/ 81498 h 791513"/>
                <a:gd name="connsiteX3" fmla="*/ -6688 w 6856309"/>
                <a:gd name="connsiteY3" fmla="*/ 81498 h 791513"/>
                <a:gd name="connsiteX4" fmla="*/ 6113682 w 6856309"/>
                <a:gd name="connsiteY4" fmla="*/ 137878 h 791513"/>
                <a:gd name="connsiteX5" fmla="*/ 6130016 w 6856309"/>
                <a:gd name="connsiteY5" fmla="*/ 126643 h 791513"/>
                <a:gd name="connsiteX6" fmla="*/ 6113682 w 6856309"/>
                <a:gd name="connsiteY6" fmla="*/ 137878 h 791513"/>
                <a:gd name="connsiteX7" fmla="*/ 6320248 w 6856309"/>
                <a:gd name="connsiteY7" fmla="*/ 619316 h 791513"/>
                <a:gd name="connsiteX8" fmla="*/ 6320248 w 6856309"/>
                <a:gd name="connsiteY8" fmla="*/ 619316 h 791513"/>
                <a:gd name="connsiteX9" fmla="*/ 5430639 w 6856309"/>
                <a:gd name="connsiteY9" fmla="*/ 654261 h 791513"/>
                <a:gd name="connsiteX10" fmla="*/ 5430639 w 6856309"/>
                <a:gd name="connsiteY10" fmla="*/ 654261 h 791513"/>
                <a:gd name="connsiteX11" fmla="*/ 6843800 w 6856309"/>
                <a:gd name="connsiteY11" fmla="*/ 676386 h 791513"/>
                <a:gd name="connsiteX12" fmla="*/ 6845316 w 6856309"/>
                <a:gd name="connsiteY12" fmla="*/ 570656 h 791513"/>
                <a:gd name="connsiteX13" fmla="*/ 6843455 w 6856309"/>
                <a:gd name="connsiteY13" fmla="*/ 586646 h 791513"/>
                <a:gd name="connsiteX14" fmla="*/ 6822433 w 6856309"/>
                <a:gd name="connsiteY14" fmla="*/ 586784 h 791513"/>
                <a:gd name="connsiteX15" fmla="*/ 6823950 w 6856309"/>
                <a:gd name="connsiteY15" fmla="*/ 592022 h 791513"/>
                <a:gd name="connsiteX16" fmla="*/ 6844834 w 6856309"/>
                <a:gd name="connsiteY16" fmla="*/ 592918 h 791513"/>
                <a:gd name="connsiteX17" fmla="*/ 6821123 w 6856309"/>
                <a:gd name="connsiteY17" fmla="*/ 616559 h 791513"/>
                <a:gd name="connsiteX18" fmla="*/ 6827671 w 6856309"/>
                <a:gd name="connsiteY18" fmla="*/ 622900 h 791513"/>
                <a:gd name="connsiteX19" fmla="*/ 6840284 w 6856309"/>
                <a:gd name="connsiteY19" fmla="*/ 633032 h 791513"/>
                <a:gd name="connsiteX20" fmla="*/ 6843800 w 6856309"/>
                <a:gd name="connsiteY20" fmla="*/ 676386 h 791513"/>
                <a:gd name="connsiteX21" fmla="*/ 6767914 w 6856309"/>
                <a:gd name="connsiteY21" fmla="*/ 785356 h 791513"/>
                <a:gd name="connsiteX22" fmla="*/ 6767914 w 6856309"/>
                <a:gd name="connsiteY22" fmla="*/ 785356 h 79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56309" h="791513">
                  <a:moveTo>
                    <a:pt x="3114219" y="5405"/>
                  </a:moveTo>
                  <a:cubicBezTo>
                    <a:pt x="3136896" y="4440"/>
                    <a:pt x="3103192" y="-15342"/>
                    <a:pt x="3114219" y="5405"/>
                  </a:cubicBezTo>
                  <a:close/>
                  <a:moveTo>
                    <a:pt x="-6688" y="81498"/>
                  </a:moveTo>
                  <a:cubicBezTo>
                    <a:pt x="-2966" y="77913"/>
                    <a:pt x="-2966" y="77913"/>
                    <a:pt x="-6688" y="81498"/>
                  </a:cubicBezTo>
                  <a:moveTo>
                    <a:pt x="6113682" y="137878"/>
                  </a:moveTo>
                  <a:cubicBezTo>
                    <a:pt x="6120091" y="143392"/>
                    <a:pt x="6134221" y="134983"/>
                    <a:pt x="6130016" y="126643"/>
                  </a:cubicBezTo>
                  <a:cubicBezTo>
                    <a:pt x="6123331" y="121474"/>
                    <a:pt x="6108994" y="129400"/>
                    <a:pt x="6113682" y="137878"/>
                  </a:cubicBezTo>
                  <a:moveTo>
                    <a:pt x="6320248" y="619316"/>
                  </a:moveTo>
                  <a:cubicBezTo>
                    <a:pt x="6323626" y="615457"/>
                    <a:pt x="6323626" y="615457"/>
                    <a:pt x="6320248" y="619316"/>
                  </a:cubicBezTo>
                  <a:moveTo>
                    <a:pt x="5430639" y="654261"/>
                  </a:moveTo>
                  <a:cubicBezTo>
                    <a:pt x="5453452" y="653779"/>
                    <a:pt x="5420782" y="633308"/>
                    <a:pt x="5430639" y="654261"/>
                  </a:cubicBezTo>
                  <a:moveTo>
                    <a:pt x="6843800" y="676386"/>
                  </a:moveTo>
                  <a:cubicBezTo>
                    <a:pt x="6846970" y="641372"/>
                    <a:pt x="6854277" y="605394"/>
                    <a:pt x="6845316" y="570656"/>
                  </a:cubicBezTo>
                  <a:cubicBezTo>
                    <a:pt x="6844834" y="574653"/>
                    <a:pt x="6843938" y="582649"/>
                    <a:pt x="6843455" y="586646"/>
                  </a:cubicBezTo>
                  <a:cubicBezTo>
                    <a:pt x="6838217" y="586715"/>
                    <a:pt x="6827671" y="586784"/>
                    <a:pt x="6822433" y="586784"/>
                  </a:cubicBezTo>
                  <a:lnTo>
                    <a:pt x="6823950" y="592022"/>
                  </a:lnTo>
                  <a:cubicBezTo>
                    <a:pt x="6829188" y="592229"/>
                    <a:pt x="6839595" y="592643"/>
                    <a:pt x="6844834" y="592918"/>
                  </a:cubicBezTo>
                  <a:cubicBezTo>
                    <a:pt x="6855655" y="608495"/>
                    <a:pt x="6830566" y="612217"/>
                    <a:pt x="6821123" y="616559"/>
                  </a:cubicBezTo>
                  <a:cubicBezTo>
                    <a:pt x="6822778" y="618145"/>
                    <a:pt x="6826086" y="621315"/>
                    <a:pt x="6827671" y="622900"/>
                  </a:cubicBezTo>
                  <a:cubicBezTo>
                    <a:pt x="6830842" y="625451"/>
                    <a:pt x="6837114" y="630482"/>
                    <a:pt x="6840284" y="633032"/>
                  </a:cubicBezTo>
                  <a:cubicBezTo>
                    <a:pt x="6843041" y="647300"/>
                    <a:pt x="6843800" y="661912"/>
                    <a:pt x="6843800" y="676386"/>
                  </a:cubicBezTo>
                  <a:moveTo>
                    <a:pt x="6767914" y="785356"/>
                  </a:moveTo>
                  <a:cubicBezTo>
                    <a:pt x="6788454" y="795901"/>
                    <a:pt x="6769085" y="762542"/>
                    <a:pt x="6767914" y="785356"/>
                  </a:cubicBezTo>
                </a:path>
              </a:pathLst>
            </a:custGeom>
            <a:grpFill/>
            <a:ln w="689" cap="flat">
              <a:noFill/>
              <a:prstDash val="solid"/>
              <a:miter/>
            </a:ln>
          </p:spPr>
          <p:txBody>
            <a:bodyPr rtlCol="0" anchor="ctr"/>
            <a:lstStyle/>
            <a:p>
              <a:endParaRPr lang="en-US" sz="2400" dirty="0"/>
            </a:p>
          </p:txBody>
        </p:sp>
        <p:sp>
          <p:nvSpPr>
            <p:cNvPr id="242" name="Graphic 8">
              <a:extLst>
                <a:ext uri="{FF2B5EF4-FFF2-40B4-BE49-F238E27FC236}">
                  <a16:creationId xmlns:a16="http://schemas.microsoft.com/office/drawing/2014/main" id="{1D958F93-C103-47E9-9BF3-C8840EF53DE4}"/>
                </a:ext>
              </a:extLst>
            </p:cNvPr>
            <p:cNvSpPr/>
            <p:nvPr/>
          </p:nvSpPr>
          <p:spPr>
            <a:xfrm flipV="1">
              <a:off x="2059042" y="1693202"/>
              <a:ext cx="19229" cy="16210"/>
            </a:xfrm>
            <a:custGeom>
              <a:avLst/>
              <a:gdLst>
                <a:gd name="connsiteX0" fmla="*/ 5442 w 19229"/>
                <a:gd name="connsiteY0" fmla="*/ 11548 h 16210"/>
                <a:gd name="connsiteX1" fmla="*/ 16745 w 19229"/>
                <a:gd name="connsiteY1" fmla="*/ 9136 h 16210"/>
                <a:gd name="connsiteX2" fmla="*/ -2485 w 19229"/>
                <a:gd name="connsiteY2" fmla="*/ -4649 h 16210"/>
                <a:gd name="connsiteX3" fmla="*/ 5442 w 19229"/>
                <a:gd name="connsiteY3" fmla="*/ 11548 h 16210"/>
                <a:gd name="connsiteX4" fmla="*/ 5442 w 19229"/>
                <a:gd name="connsiteY4" fmla="*/ 11548 h 16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9" h="16210">
                  <a:moveTo>
                    <a:pt x="5442" y="11548"/>
                  </a:moveTo>
                  <a:cubicBezTo>
                    <a:pt x="8268" y="10928"/>
                    <a:pt x="13920" y="9756"/>
                    <a:pt x="16745" y="9136"/>
                  </a:cubicBezTo>
                  <a:cubicBezTo>
                    <a:pt x="13575" y="1210"/>
                    <a:pt x="6338" y="-4993"/>
                    <a:pt x="-2485" y="-4649"/>
                  </a:cubicBezTo>
                  <a:cubicBezTo>
                    <a:pt x="-486" y="-651"/>
                    <a:pt x="3443" y="7482"/>
                    <a:pt x="5442" y="11548"/>
                  </a:cubicBezTo>
                  <a:lnTo>
                    <a:pt x="5442" y="11548"/>
                  </a:lnTo>
                </a:path>
              </a:pathLst>
            </a:custGeom>
            <a:grpFill/>
            <a:ln w="689" cap="flat">
              <a:noFill/>
              <a:prstDash val="solid"/>
              <a:miter/>
            </a:ln>
          </p:spPr>
          <p:txBody>
            <a:bodyPr rtlCol="0" anchor="ctr"/>
            <a:lstStyle/>
            <a:p>
              <a:endParaRPr lang="en-US" sz="2400" dirty="0"/>
            </a:p>
          </p:txBody>
        </p:sp>
        <p:sp>
          <p:nvSpPr>
            <p:cNvPr id="243" name="Graphic 8">
              <a:extLst>
                <a:ext uri="{FF2B5EF4-FFF2-40B4-BE49-F238E27FC236}">
                  <a16:creationId xmlns:a16="http://schemas.microsoft.com/office/drawing/2014/main" id="{BC638A23-15AB-432C-B20C-40B98C7C2C45}"/>
                </a:ext>
              </a:extLst>
            </p:cNvPr>
            <p:cNvSpPr/>
            <p:nvPr/>
          </p:nvSpPr>
          <p:spPr>
            <a:xfrm flipV="1">
              <a:off x="369285" y="1694513"/>
              <a:ext cx="6729440" cy="1911967"/>
            </a:xfrm>
            <a:custGeom>
              <a:avLst/>
              <a:gdLst>
                <a:gd name="connsiteX0" fmla="*/ 1331388 w 6729440"/>
                <a:gd name="connsiteY0" fmla="*/ 47971 h 1911967"/>
                <a:gd name="connsiteX1" fmla="*/ 1408928 w 6729440"/>
                <a:gd name="connsiteY1" fmla="*/ 53485 h 1911967"/>
                <a:gd name="connsiteX2" fmla="*/ 1415201 w 6729440"/>
                <a:gd name="connsiteY2" fmla="*/ 44594 h 1911967"/>
                <a:gd name="connsiteX3" fmla="*/ 1385976 w 6729440"/>
                <a:gd name="connsiteY3" fmla="*/ 52176 h 1911967"/>
                <a:gd name="connsiteX4" fmla="*/ 1377223 w 6729440"/>
                <a:gd name="connsiteY4" fmla="*/ 30947 h 1911967"/>
                <a:gd name="connsiteX5" fmla="*/ 1368194 w 6729440"/>
                <a:gd name="connsiteY5" fmla="*/ 45076 h 1911967"/>
                <a:gd name="connsiteX6" fmla="*/ 1366195 w 6729440"/>
                <a:gd name="connsiteY6" fmla="*/ 25364 h 1911967"/>
                <a:gd name="connsiteX7" fmla="*/ 1364196 w 6729440"/>
                <a:gd name="connsiteY7" fmla="*/ 2481 h 1911967"/>
                <a:gd name="connsiteX8" fmla="*/ 1354892 w 6729440"/>
                <a:gd name="connsiteY8" fmla="*/ 13165 h 1911967"/>
                <a:gd name="connsiteX9" fmla="*/ 1337591 w 6729440"/>
                <a:gd name="connsiteY9" fmla="*/ -3102 h 1911967"/>
                <a:gd name="connsiteX10" fmla="*/ 1336695 w 6729440"/>
                <a:gd name="connsiteY10" fmla="*/ 10408 h 1911967"/>
                <a:gd name="connsiteX11" fmla="*/ 1320843 w 6729440"/>
                <a:gd name="connsiteY11" fmla="*/ 9511 h 1911967"/>
                <a:gd name="connsiteX12" fmla="*/ 1314571 w 6729440"/>
                <a:gd name="connsiteY12" fmla="*/ 12889 h 1911967"/>
                <a:gd name="connsiteX13" fmla="*/ 1312779 w 6729440"/>
                <a:gd name="connsiteY13" fmla="*/ 44525 h 1911967"/>
                <a:gd name="connsiteX14" fmla="*/ 1320153 w 6729440"/>
                <a:gd name="connsiteY14" fmla="*/ 42940 h 1911967"/>
                <a:gd name="connsiteX15" fmla="*/ 1359165 w 6729440"/>
                <a:gd name="connsiteY15" fmla="*/ 16611 h 1911967"/>
                <a:gd name="connsiteX16" fmla="*/ 1356408 w 6729440"/>
                <a:gd name="connsiteY16" fmla="*/ 47558 h 1911967"/>
                <a:gd name="connsiteX17" fmla="*/ 1331388 w 6729440"/>
                <a:gd name="connsiteY17" fmla="*/ 47971 h 1911967"/>
                <a:gd name="connsiteX18" fmla="*/ 5454873 w 6729440"/>
                <a:gd name="connsiteY18" fmla="*/ 176585 h 1911967"/>
                <a:gd name="connsiteX19" fmla="*/ 5466728 w 6729440"/>
                <a:gd name="connsiteY19" fmla="*/ 164868 h 1911967"/>
                <a:gd name="connsiteX20" fmla="*/ 5454873 w 6729440"/>
                <a:gd name="connsiteY20" fmla="*/ 176585 h 1911967"/>
                <a:gd name="connsiteX21" fmla="*/ 55178 w 6729440"/>
                <a:gd name="connsiteY21" fmla="*/ 1498215 h 1911967"/>
                <a:gd name="connsiteX22" fmla="*/ 80888 w 6729440"/>
                <a:gd name="connsiteY22" fmla="*/ 1488703 h 1911967"/>
                <a:gd name="connsiteX23" fmla="*/ 90193 w 6729440"/>
                <a:gd name="connsiteY23" fmla="*/ 1465475 h 1911967"/>
                <a:gd name="connsiteX24" fmla="*/ 70549 w 6729440"/>
                <a:gd name="connsiteY24" fmla="*/ 1472505 h 1911967"/>
                <a:gd name="connsiteX25" fmla="*/ 62349 w 6729440"/>
                <a:gd name="connsiteY25" fmla="*/ 1436734 h 1911967"/>
                <a:gd name="connsiteX26" fmla="*/ 63520 w 6729440"/>
                <a:gd name="connsiteY26" fmla="*/ 1420536 h 1911967"/>
                <a:gd name="connsiteX27" fmla="*/ 93502 w 6729440"/>
                <a:gd name="connsiteY27" fmla="*/ 1417504 h 1911967"/>
                <a:gd name="connsiteX28" fmla="*/ 79994 w 6729440"/>
                <a:gd name="connsiteY28" fmla="*/ 1405718 h 1911967"/>
                <a:gd name="connsiteX29" fmla="*/ 72477 w 6729440"/>
                <a:gd name="connsiteY29" fmla="*/ 1402065 h 1911967"/>
                <a:gd name="connsiteX30" fmla="*/ 79647 w 6729440"/>
                <a:gd name="connsiteY30" fmla="*/ 1373530 h 1911967"/>
                <a:gd name="connsiteX31" fmla="*/ 74963 w 6729440"/>
                <a:gd name="connsiteY31" fmla="*/ 1369463 h 1911967"/>
                <a:gd name="connsiteX32" fmla="*/ 64209 w 6729440"/>
                <a:gd name="connsiteY32" fmla="*/ 1382972 h 1911967"/>
                <a:gd name="connsiteX33" fmla="*/ 58076 w 6729440"/>
                <a:gd name="connsiteY33" fmla="*/ 1386005 h 1911967"/>
                <a:gd name="connsiteX34" fmla="*/ 60626 w 6729440"/>
                <a:gd name="connsiteY34" fmla="*/ 1402133 h 1911967"/>
                <a:gd name="connsiteX35" fmla="*/ 47322 w 6729440"/>
                <a:gd name="connsiteY35" fmla="*/ 1413644 h 1911967"/>
                <a:gd name="connsiteX36" fmla="*/ 53663 w 6729440"/>
                <a:gd name="connsiteY36" fmla="*/ 1424741 h 1911967"/>
                <a:gd name="connsiteX37" fmla="*/ 36087 w 6729440"/>
                <a:gd name="connsiteY37" fmla="*/ 1425361 h 1911967"/>
                <a:gd name="connsiteX38" fmla="*/ 41052 w 6729440"/>
                <a:gd name="connsiteY38" fmla="*/ 1442317 h 1911967"/>
                <a:gd name="connsiteX39" fmla="*/ 28853 w 6729440"/>
                <a:gd name="connsiteY39" fmla="*/ 1441214 h 1911967"/>
                <a:gd name="connsiteX40" fmla="*/ 16721 w 6729440"/>
                <a:gd name="connsiteY40" fmla="*/ 1375942 h 1911967"/>
                <a:gd name="connsiteX41" fmla="*/ 2106 w 6729440"/>
                <a:gd name="connsiteY41" fmla="*/ 1398067 h 1911967"/>
                <a:gd name="connsiteX42" fmla="*/ 661 w 6729440"/>
                <a:gd name="connsiteY42" fmla="*/ 1369808 h 1911967"/>
                <a:gd name="connsiteX43" fmla="*/ -4579 w 6729440"/>
                <a:gd name="connsiteY43" fmla="*/ 1460857 h 1911967"/>
                <a:gd name="connsiteX44" fmla="*/ 6447 w 6729440"/>
                <a:gd name="connsiteY44" fmla="*/ 1404477 h 1911967"/>
                <a:gd name="connsiteX45" fmla="*/ 12860 w 6729440"/>
                <a:gd name="connsiteY45" fmla="*/ 1442523 h 1911967"/>
                <a:gd name="connsiteX46" fmla="*/ 60970 w 6729440"/>
                <a:gd name="connsiteY46" fmla="*/ 1453620 h 1911967"/>
                <a:gd name="connsiteX47" fmla="*/ 69515 w 6729440"/>
                <a:gd name="connsiteY47" fmla="*/ 1482844 h 1911967"/>
                <a:gd name="connsiteX48" fmla="*/ 55178 w 6729440"/>
                <a:gd name="connsiteY48" fmla="*/ 1498215 h 1911967"/>
                <a:gd name="connsiteX49" fmla="*/ 5764896 w 6729440"/>
                <a:gd name="connsiteY49" fmla="*/ 1768468 h 1911967"/>
                <a:gd name="connsiteX50" fmla="*/ 5764896 w 6729440"/>
                <a:gd name="connsiteY50" fmla="*/ 1768468 h 1911967"/>
                <a:gd name="connsiteX51" fmla="*/ 4413973 w 6729440"/>
                <a:gd name="connsiteY51" fmla="*/ 1768950 h 1911967"/>
                <a:gd name="connsiteX52" fmla="*/ 4426035 w 6729440"/>
                <a:gd name="connsiteY52" fmla="*/ 1757095 h 1911967"/>
                <a:gd name="connsiteX53" fmla="*/ 4413973 w 6729440"/>
                <a:gd name="connsiteY53" fmla="*/ 1768950 h 1911967"/>
                <a:gd name="connsiteX54" fmla="*/ 6715504 w 6729440"/>
                <a:gd name="connsiteY54" fmla="*/ 1907006 h 1911967"/>
                <a:gd name="connsiteX55" fmla="*/ 6715504 w 6729440"/>
                <a:gd name="connsiteY55" fmla="*/ 1907006 h 1911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6729440" h="1911967">
                  <a:moveTo>
                    <a:pt x="1331388" y="47971"/>
                  </a:moveTo>
                  <a:cubicBezTo>
                    <a:pt x="1356959" y="52658"/>
                    <a:pt x="1383013" y="54312"/>
                    <a:pt x="1408928" y="53485"/>
                  </a:cubicBezTo>
                  <a:cubicBezTo>
                    <a:pt x="1410514" y="51280"/>
                    <a:pt x="1413684" y="46800"/>
                    <a:pt x="1415201" y="44594"/>
                  </a:cubicBezTo>
                  <a:cubicBezTo>
                    <a:pt x="1405482" y="47144"/>
                    <a:pt x="1395695" y="49695"/>
                    <a:pt x="1385976" y="52176"/>
                  </a:cubicBezTo>
                  <a:cubicBezTo>
                    <a:pt x="1383082" y="45145"/>
                    <a:pt x="1380118" y="38046"/>
                    <a:pt x="1377223" y="30947"/>
                  </a:cubicBezTo>
                  <a:cubicBezTo>
                    <a:pt x="1374948" y="34462"/>
                    <a:pt x="1370468" y="41561"/>
                    <a:pt x="1368194" y="45076"/>
                  </a:cubicBezTo>
                  <a:cubicBezTo>
                    <a:pt x="1367711" y="40114"/>
                    <a:pt x="1366678" y="30327"/>
                    <a:pt x="1366195" y="25364"/>
                  </a:cubicBezTo>
                  <a:cubicBezTo>
                    <a:pt x="1365713" y="19643"/>
                    <a:pt x="1364748" y="8202"/>
                    <a:pt x="1364196" y="2481"/>
                  </a:cubicBezTo>
                  <a:cubicBezTo>
                    <a:pt x="1361922" y="5169"/>
                    <a:pt x="1357235" y="10545"/>
                    <a:pt x="1354892" y="13165"/>
                  </a:cubicBezTo>
                  <a:cubicBezTo>
                    <a:pt x="1353789" y="2757"/>
                    <a:pt x="1348068" y="-2688"/>
                    <a:pt x="1337591" y="-3102"/>
                  </a:cubicBezTo>
                  <a:cubicBezTo>
                    <a:pt x="1337385" y="275"/>
                    <a:pt x="1336902" y="7030"/>
                    <a:pt x="1336695" y="10408"/>
                  </a:cubicBezTo>
                  <a:cubicBezTo>
                    <a:pt x="1332698" y="10201"/>
                    <a:pt x="1324771" y="9718"/>
                    <a:pt x="1320843" y="9511"/>
                  </a:cubicBezTo>
                  <a:cubicBezTo>
                    <a:pt x="1319257" y="10339"/>
                    <a:pt x="1316156" y="12062"/>
                    <a:pt x="1314571" y="12889"/>
                  </a:cubicBezTo>
                  <a:cubicBezTo>
                    <a:pt x="1314364" y="23503"/>
                    <a:pt x="1313950" y="34049"/>
                    <a:pt x="1312779" y="44525"/>
                  </a:cubicBezTo>
                  <a:cubicBezTo>
                    <a:pt x="1314639" y="44112"/>
                    <a:pt x="1318361" y="43353"/>
                    <a:pt x="1320153" y="42940"/>
                  </a:cubicBezTo>
                  <a:cubicBezTo>
                    <a:pt x="1332560" y="33359"/>
                    <a:pt x="1345173" y="23848"/>
                    <a:pt x="1359165" y="16611"/>
                  </a:cubicBezTo>
                  <a:cubicBezTo>
                    <a:pt x="1358269" y="26949"/>
                    <a:pt x="1357373" y="37219"/>
                    <a:pt x="1356408" y="47558"/>
                  </a:cubicBezTo>
                  <a:cubicBezTo>
                    <a:pt x="1348068" y="47833"/>
                    <a:pt x="1339728" y="47971"/>
                    <a:pt x="1331388" y="47971"/>
                  </a:cubicBezTo>
                  <a:close/>
                  <a:moveTo>
                    <a:pt x="5454873" y="176585"/>
                  </a:moveTo>
                  <a:cubicBezTo>
                    <a:pt x="5466176" y="179755"/>
                    <a:pt x="5470174" y="175827"/>
                    <a:pt x="5466728" y="164868"/>
                  </a:cubicBezTo>
                  <a:cubicBezTo>
                    <a:pt x="5455217" y="161835"/>
                    <a:pt x="5451289" y="165764"/>
                    <a:pt x="5454873" y="176585"/>
                  </a:cubicBezTo>
                  <a:moveTo>
                    <a:pt x="55178" y="1498215"/>
                  </a:moveTo>
                  <a:cubicBezTo>
                    <a:pt x="63724" y="1495113"/>
                    <a:pt x="72345" y="1492011"/>
                    <a:pt x="80888" y="1488703"/>
                  </a:cubicBezTo>
                  <a:cubicBezTo>
                    <a:pt x="88333" y="1484292"/>
                    <a:pt x="91504" y="1476572"/>
                    <a:pt x="90193" y="1465475"/>
                  </a:cubicBezTo>
                  <a:cubicBezTo>
                    <a:pt x="85301" y="1467198"/>
                    <a:pt x="75444" y="1470782"/>
                    <a:pt x="70549" y="1472505"/>
                  </a:cubicBezTo>
                  <a:cubicBezTo>
                    <a:pt x="67381" y="1460719"/>
                    <a:pt x="64276" y="1448864"/>
                    <a:pt x="62349" y="1436734"/>
                  </a:cubicBezTo>
                  <a:cubicBezTo>
                    <a:pt x="62623" y="1432667"/>
                    <a:pt x="63178" y="1424534"/>
                    <a:pt x="63520" y="1420536"/>
                  </a:cubicBezTo>
                  <a:cubicBezTo>
                    <a:pt x="73517" y="1419640"/>
                    <a:pt x="83508" y="1418607"/>
                    <a:pt x="93502" y="1417504"/>
                  </a:cubicBezTo>
                  <a:cubicBezTo>
                    <a:pt x="90123" y="1414540"/>
                    <a:pt x="83371" y="1408681"/>
                    <a:pt x="79994" y="1405718"/>
                  </a:cubicBezTo>
                  <a:cubicBezTo>
                    <a:pt x="78131" y="1404822"/>
                    <a:pt x="74340" y="1403030"/>
                    <a:pt x="72477" y="1402065"/>
                  </a:cubicBezTo>
                  <a:cubicBezTo>
                    <a:pt x="75029" y="1392622"/>
                    <a:pt x="77579" y="1383179"/>
                    <a:pt x="79647" y="1373530"/>
                  </a:cubicBezTo>
                  <a:lnTo>
                    <a:pt x="74963" y="1369463"/>
                  </a:lnTo>
                  <a:cubicBezTo>
                    <a:pt x="72272" y="1372840"/>
                    <a:pt x="66898" y="1379595"/>
                    <a:pt x="64209" y="1382972"/>
                  </a:cubicBezTo>
                  <a:lnTo>
                    <a:pt x="58076" y="1386005"/>
                  </a:lnTo>
                  <a:cubicBezTo>
                    <a:pt x="58902" y="1391381"/>
                    <a:pt x="59732" y="1396757"/>
                    <a:pt x="60626" y="1402133"/>
                  </a:cubicBezTo>
                  <a:cubicBezTo>
                    <a:pt x="56145" y="1405993"/>
                    <a:pt x="51732" y="1409853"/>
                    <a:pt x="47322" y="1413644"/>
                  </a:cubicBezTo>
                  <a:cubicBezTo>
                    <a:pt x="48908" y="1416470"/>
                    <a:pt x="52077" y="1421984"/>
                    <a:pt x="53663" y="1424741"/>
                  </a:cubicBezTo>
                  <a:cubicBezTo>
                    <a:pt x="49253" y="1424878"/>
                    <a:pt x="40500" y="1425223"/>
                    <a:pt x="36087" y="1425361"/>
                  </a:cubicBezTo>
                  <a:cubicBezTo>
                    <a:pt x="37331" y="1429635"/>
                    <a:pt x="39811" y="1438112"/>
                    <a:pt x="41052" y="1442317"/>
                  </a:cubicBezTo>
                  <a:lnTo>
                    <a:pt x="28853" y="1441214"/>
                  </a:lnTo>
                  <a:cubicBezTo>
                    <a:pt x="23956" y="1419640"/>
                    <a:pt x="14101" y="1398549"/>
                    <a:pt x="16721" y="1375942"/>
                  </a:cubicBezTo>
                  <a:cubicBezTo>
                    <a:pt x="11963" y="1383386"/>
                    <a:pt x="6999" y="1390830"/>
                    <a:pt x="2106" y="1398067"/>
                  </a:cubicBezTo>
                  <a:cubicBezTo>
                    <a:pt x="1692" y="1390968"/>
                    <a:pt x="1006" y="1376838"/>
                    <a:pt x="661" y="1369808"/>
                  </a:cubicBezTo>
                  <a:cubicBezTo>
                    <a:pt x="-5472" y="1399790"/>
                    <a:pt x="-2716" y="1430530"/>
                    <a:pt x="-4579" y="1460857"/>
                  </a:cubicBezTo>
                  <a:cubicBezTo>
                    <a:pt x="-2163" y="1441834"/>
                    <a:pt x="869" y="1422880"/>
                    <a:pt x="6447" y="1404477"/>
                  </a:cubicBezTo>
                  <a:cubicBezTo>
                    <a:pt x="19823" y="1412679"/>
                    <a:pt x="12308" y="1429910"/>
                    <a:pt x="12860" y="1442523"/>
                  </a:cubicBezTo>
                  <a:cubicBezTo>
                    <a:pt x="29676" y="1442041"/>
                    <a:pt x="45807" y="1446590"/>
                    <a:pt x="60970" y="1453620"/>
                  </a:cubicBezTo>
                  <a:cubicBezTo>
                    <a:pt x="63794" y="1463408"/>
                    <a:pt x="66624" y="1473126"/>
                    <a:pt x="69515" y="1482844"/>
                  </a:cubicBezTo>
                  <a:cubicBezTo>
                    <a:pt x="64691" y="1487944"/>
                    <a:pt x="59936" y="1493114"/>
                    <a:pt x="55178" y="1498215"/>
                  </a:cubicBezTo>
                  <a:moveTo>
                    <a:pt x="5764896" y="1768468"/>
                  </a:moveTo>
                  <a:cubicBezTo>
                    <a:pt x="5768549" y="1764746"/>
                    <a:pt x="5768549" y="1764746"/>
                    <a:pt x="5764896" y="1768468"/>
                  </a:cubicBezTo>
                  <a:moveTo>
                    <a:pt x="4413973" y="1768950"/>
                  </a:moveTo>
                  <a:cubicBezTo>
                    <a:pt x="4425415" y="1771983"/>
                    <a:pt x="4429412" y="1768054"/>
                    <a:pt x="4426035" y="1757095"/>
                  </a:cubicBezTo>
                  <a:cubicBezTo>
                    <a:pt x="4414456" y="1754201"/>
                    <a:pt x="4410458" y="1758198"/>
                    <a:pt x="4413973" y="1768950"/>
                  </a:cubicBezTo>
                  <a:moveTo>
                    <a:pt x="6715504" y="1907006"/>
                  </a:moveTo>
                  <a:cubicBezTo>
                    <a:pt x="6736595" y="1916725"/>
                    <a:pt x="6715435" y="1884054"/>
                    <a:pt x="6715504" y="1907006"/>
                  </a:cubicBezTo>
                </a:path>
              </a:pathLst>
            </a:custGeom>
            <a:grpFill/>
            <a:ln w="689" cap="flat">
              <a:noFill/>
              <a:prstDash val="solid"/>
              <a:miter/>
            </a:ln>
          </p:spPr>
          <p:txBody>
            <a:bodyPr rtlCol="0" anchor="ctr"/>
            <a:lstStyle/>
            <a:p>
              <a:endParaRPr lang="en-US" sz="2400" dirty="0"/>
            </a:p>
          </p:txBody>
        </p:sp>
        <p:sp>
          <p:nvSpPr>
            <p:cNvPr id="244" name="Graphic 8">
              <a:extLst>
                <a:ext uri="{FF2B5EF4-FFF2-40B4-BE49-F238E27FC236}">
                  <a16:creationId xmlns:a16="http://schemas.microsoft.com/office/drawing/2014/main" id="{B98D784E-2588-422C-AE3C-C0E744F86A94}"/>
                </a:ext>
              </a:extLst>
            </p:cNvPr>
            <p:cNvSpPr/>
            <p:nvPr/>
          </p:nvSpPr>
          <p:spPr>
            <a:xfrm flipV="1">
              <a:off x="1762666" y="1717946"/>
              <a:ext cx="7108575" cy="1071708"/>
            </a:xfrm>
            <a:custGeom>
              <a:avLst/>
              <a:gdLst>
                <a:gd name="connsiteX0" fmla="*/ 7099422 w 7108575"/>
                <a:gd name="connsiteY0" fmla="*/ -1066 h 1071708"/>
                <a:gd name="connsiteX1" fmla="*/ 7099422 w 7108575"/>
                <a:gd name="connsiteY1" fmla="*/ -1066 h 1071708"/>
                <a:gd name="connsiteX2" fmla="*/ -6569 w 7108575"/>
                <a:gd name="connsiteY2" fmla="*/ 736496 h 1071708"/>
                <a:gd name="connsiteX3" fmla="*/ -6569 w 7108575"/>
                <a:gd name="connsiteY3" fmla="*/ 736496 h 1071708"/>
                <a:gd name="connsiteX4" fmla="*/ 7003272 w 7108575"/>
                <a:gd name="connsiteY4" fmla="*/ 1067955 h 1071708"/>
                <a:gd name="connsiteX5" fmla="*/ 7003272 w 7108575"/>
                <a:gd name="connsiteY5" fmla="*/ 1067955 h 107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08575" h="1071708">
                  <a:moveTo>
                    <a:pt x="7099422" y="-1066"/>
                  </a:moveTo>
                  <a:cubicBezTo>
                    <a:pt x="7102868" y="-4650"/>
                    <a:pt x="7102868" y="-4650"/>
                    <a:pt x="7099422" y="-1066"/>
                  </a:cubicBezTo>
                  <a:close/>
                  <a:moveTo>
                    <a:pt x="-6569" y="736496"/>
                  </a:moveTo>
                  <a:cubicBezTo>
                    <a:pt x="-2847" y="733050"/>
                    <a:pt x="-2847" y="733050"/>
                    <a:pt x="-6569" y="736496"/>
                  </a:cubicBezTo>
                  <a:moveTo>
                    <a:pt x="7003272" y="1067955"/>
                  </a:moveTo>
                  <a:cubicBezTo>
                    <a:pt x="7006649" y="1064302"/>
                    <a:pt x="7006649" y="1064302"/>
                    <a:pt x="7003272" y="1067955"/>
                  </a:cubicBezTo>
                </a:path>
              </a:pathLst>
            </a:custGeom>
            <a:grpFill/>
            <a:ln w="689" cap="flat">
              <a:noFill/>
              <a:prstDash val="solid"/>
              <a:miter/>
            </a:ln>
          </p:spPr>
          <p:txBody>
            <a:bodyPr rtlCol="0" anchor="ctr"/>
            <a:lstStyle/>
            <a:p>
              <a:endParaRPr lang="en-US" sz="2400" dirty="0"/>
            </a:p>
          </p:txBody>
        </p:sp>
        <p:sp>
          <p:nvSpPr>
            <p:cNvPr id="245" name="Graphic 8">
              <a:extLst>
                <a:ext uri="{FF2B5EF4-FFF2-40B4-BE49-F238E27FC236}">
                  <a16:creationId xmlns:a16="http://schemas.microsoft.com/office/drawing/2014/main" id="{25ECE9D1-7AB7-471E-9C2A-793BFCF0AAF3}"/>
                </a:ext>
              </a:extLst>
            </p:cNvPr>
            <p:cNvSpPr/>
            <p:nvPr/>
          </p:nvSpPr>
          <p:spPr>
            <a:xfrm flipV="1">
              <a:off x="1429416" y="1734901"/>
              <a:ext cx="7419779" cy="640323"/>
            </a:xfrm>
            <a:custGeom>
              <a:avLst/>
              <a:gdLst>
                <a:gd name="connsiteX0" fmla="*/ 7405946 w 7419779"/>
                <a:gd name="connsiteY0" fmla="*/ 18954 h 640323"/>
                <a:gd name="connsiteX1" fmla="*/ 7406084 w 7419779"/>
                <a:gd name="connsiteY1" fmla="*/ -4067 h 640323"/>
                <a:gd name="connsiteX2" fmla="*/ 7405946 w 7419779"/>
                <a:gd name="connsiteY2" fmla="*/ 18954 h 640323"/>
                <a:gd name="connsiteX3" fmla="*/ 478 w 7419779"/>
                <a:gd name="connsiteY3" fmla="*/ 628730 h 640323"/>
                <a:gd name="connsiteX4" fmla="*/ 38111 w 7419779"/>
                <a:gd name="connsiteY4" fmla="*/ 631487 h 640323"/>
                <a:gd name="connsiteX5" fmla="*/ 49552 w 7419779"/>
                <a:gd name="connsiteY5" fmla="*/ 614118 h 640323"/>
                <a:gd name="connsiteX6" fmla="*/ 64371 w 7419779"/>
                <a:gd name="connsiteY6" fmla="*/ 636243 h 640323"/>
                <a:gd name="connsiteX7" fmla="*/ 67128 w 7419779"/>
                <a:gd name="connsiteY7" fmla="*/ 633280 h 640323"/>
                <a:gd name="connsiteX8" fmla="*/ 58788 w 7419779"/>
                <a:gd name="connsiteY8" fmla="*/ 607157 h 640323"/>
                <a:gd name="connsiteX9" fmla="*/ -6346 w 7419779"/>
                <a:gd name="connsiteY9" fmla="*/ 605434 h 640323"/>
                <a:gd name="connsiteX10" fmla="*/ 478 w 7419779"/>
                <a:gd name="connsiteY10" fmla="*/ 628730 h 640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419779" h="640323">
                  <a:moveTo>
                    <a:pt x="7405946" y="18954"/>
                  </a:moveTo>
                  <a:cubicBezTo>
                    <a:pt x="7415734" y="19781"/>
                    <a:pt x="7416078" y="-4756"/>
                    <a:pt x="7406084" y="-4067"/>
                  </a:cubicBezTo>
                  <a:cubicBezTo>
                    <a:pt x="7400915" y="3584"/>
                    <a:pt x="7400915" y="11304"/>
                    <a:pt x="7405946" y="18954"/>
                  </a:cubicBezTo>
                  <a:close/>
                  <a:moveTo>
                    <a:pt x="478" y="628730"/>
                  </a:moveTo>
                  <a:cubicBezTo>
                    <a:pt x="13022" y="629971"/>
                    <a:pt x="25566" y="630867"/>
                    <a:pt x="38111" y="631487"/>
                  </a:cubicBezTo>
                  <a:cubicBezTo>
                    <a:pt x="41006" y="627145"/>
                    <a:pt x="46726" y="618461"/>
                    <a:pt x="49552" y="614118"/>
                  </a:cubicBezTo>
                  <a:cubicBezTo>
                    <a:pt x="54377" y="621562"/>
                    <a:pt x="59271" y="628937"/>
                    <a:pt x="64371" y="636243"/>
                  </a:cubicBezTo>
                  <a:cubicBezTo>
                    <a:pt x="65060" y="635485"/>
                    <a:pt x="66439" y="633969"/>
                    <a:pt x="67128" y="633280"/>
                  </a:cubicBezTo>
                  <a:cubicBezTo>
                    <a:pt x="63130" y="624940"/>
                    <a:pt x="60373" y="616255"/>
                    <a:pt x="58788" y="607157"/>
                  </a:cubicBezTo>
                  <a:cubicBezTo>
                    <a:pt x="39282" y="626594"/>
                    <a:pt x="15297" y="612464"/>
                    <a:pt x="-6346" y="605434"/>
                  </a:cubicBezTo>
                  <a:cubicBezTo>
                    <a:pt x="-4002" y="613153"/>
                    <a:pt x="-1728" y="620942"/>
                    <a:pt x="478" y="628730"/>
                  </a:cubicBezTo>
                </a:path>
              </a:pathLst>
            </a:custGeom>
            <a:grpFill/>
            <a:ln w="689" cap="flat">
              <a:noFill/>
              <a:prstDash val="solid"/>
              <a:miter/>
            </a:ln>
          </p:spPr>
          <p:txBody>
            <a:bodyPr rtlCol="0" anchor="ctr"/>
            <a:lstStyle/>
            <a:p>
              <a:endParaRPr lang="en-US" sz="2400" dirty="0"/>
            </a:p>
          </p:txBody>
        </p:sp>
        <p:sp>
          <p:nvSpPr>
            <p:cNvPr id="246" name="Graphic 8">
              <a:extLst>
                <a:ext uri="{FF2B5EF4-FFF2-40B4-BE49-F238E27FC236}">
                  <a16:creationId xmlns:a16="http://schemas.microsoft.com/office/drawing/2014/main" id="{A0996392-731A-49C0-8734-FBF6996F0D95}"/>
                </a:ext>
              </a:extLst>
            </p:cNvPr>
            <p:cNvSpPr/>
            <p:nvPr/>
          </p:nvSpPr>
          <p:spPr>
            <a:xfrm flipV="1">
              <a:off x="4333210" y="1740346"/>
              <a:ext cx="4287143" cy="855974"/>
            </a:xfrm>
            <a:custGeom>
              <a:avLst/>
              <a:gdLst>
                <a:gd name="connsiteX0" fmla="*/ -8027 w 4287143"/>
                <a:gd name="connsiteY0" fmla="*/ -1000 h 855974"/>
                <a:gd name="connsiteX1" fmla="*/ -8027 w 4287143"/>
                <a:gd name="connsiteY1" fmla="*/ -1000 h 855974"/>
                <a:gd name="connsiteX2" fmla="*/ 4271365 w 4287143"/>
                <a:gd name="connsiteY2" fmla="*/ 852080 h 855974"/>
                <a:gd name="connsiteX3" fmla="*/ 4275638 w 4287143"/>
                <a:gd name="connsiteY3" fmla="*/ 836159 h 855974"/>
                <a:gd name="connsiteX4" fmla="*/ 4271365 w 4287143"/>
                <a:gd name="connsiteY4" fmla="*/ 852080 h 855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7143" h="855974">
                  <a:moveTo>
                    <a:pt x="-8027" y="-1000"/>
                  </a:moveTo>
                  <a:cubicBezTo>
                    <a:pt x="-3961" y="-4860"/>
                    <a:pt x="-3961" y="-4860"/>
                    <a:pt x="-8027" y="-1000"/>
                  </a:cubicBezTo>
                  <a:close/>
                  <a:moveTo>
                    <a:pt x="4271365" y="852080"/>
                  </a:moveTo>
                  <a:cubicBezTo>
                    <a:pt x="4279980" y="850219"/>
                    <a:pt x="4281428" y="844912"/>
                    <a:pt x="4275638" y="836159"/>
                  </a:cubicBezTo>
                  <a:cubicBezTo>
                    <a:pt x="4266678" y="838020"/>
                    <a:pt x="4265231" y="843327"/>
                    <a:pt x="4271365" y="852080"/>
                  </a:cubicBezTo>
                </a:path>
              </a:pathLst>
            </a:custGeom>
            <a:grpFill/>
            <a:ln w="689" cap="flat">
              <a:noFill/>
              <a:prstDash val="solid"/>
              <a:miter/>
            </a:ln>
          </p:spPr>
          <p:txBody>
            <a:bodyPr rtlCol="0" anchor="ctr"/>
            <a:lstStyle/>
            <a:p>
              <a:endParaRPr lang="en-US" sz="2400" dirty="0"/>
            </a:p>
          </p:txBody>
        </p:sp>
        <p:sp>
          <p:nvSpPr>
            <p:cNvPr id="247" name="Graphic 8">
              <a:extLst>
                <a:ext uri="{FF2B5EF4-FFF2-40B4-BE49-F238E27FC236}">
                  <a16:creationId xmlns:a16="http://schemas.microsoft.com/office/drawing/2014/main" id="{3AADB668-F278-4B7F-A69E-CF17BF79FBA2}"/>
                </a:ext>
              </a:extLst>
            </p:cNvPr>
            <p:cNvSpPr/>
            <p:nvPr/>
          </p:nvSpPr>
          <p:spPr>
            <a:xfrm flipV="1">
              <a:off x="1008838" y="1743359"/>
              <a:ext cx="7341779" cy="1558543"/>
            </a:xfrm>
            <a:custGeom>
              <a:avLst/>
              <a:gdLst>
                <a:gd name="connsiteX0" fmla="*/ 5388136 w 7341779"/>
                <a:gd name="connsiteY0" fmla="*/ 37354 h 1558543"/>
                <a:gd name="connsiteX1" fmla="*/ 5410950 w 7341779"/>
                <a:gd name="connsiteY1" fmla="*/ 38801 h 1558543"/>
                <a:gd name="connsiteX2" fmla="*/ 5419289 w 7341779"/>
                <a:gd name="connsiteY2" fmla="*/ 19985 h 1558543"/>
                <a:gd name="connsiteX3" fmla="*/ 5447342 w 7341779"/>
                <a:gd name="connsiteY3" fmla="*/ 42523 h 1558543"/>
                <a:gd name="connsiteX4" fmla="*/ 5444240 w 7341779"/>
                <a:gd name="connsiteY4" fmla="*/ 20950 h 1558543"/>
                <a:gd name="connsiteX5" fmla="*/ 5428043 w 7341779"/>
                <a:gd name="connsiteY5" fmla="*/ 15367 h 1558543"/>
                <a:gd name="connsiteX6" fmla="*/ 5413569 w 7341779"/>
                <a:gd name="connsiteY6" fmla="*/ -3312 h 1558543"/>
                <a:gd name="connsiteX7" fmla="*/ 5388136 w 7341779"/>
                <a:gd name="connsiteY7" fmla="*/ 37354 h 1558543"/>
                <a:gd name="connsiteX8" fmla="*/ 7324435 w 7341779"/>
                <a:gd name="connsiteY8" fmla="*/ 817511 h 1558543"/>
                <a:gd name="connsiteX9" fmla="*/ 7327467 w 7341779"/>
                <a:gd name="connsiteY9" fmla="*/ 826609 h 1558543"/>
                <a:gd name="connsiteX10" fmla="*/ 7324435 w 7341779"/>
                <a:gd name="connsiteY10" fmla="*/ 817511 h 1558543"/>
                <a:gd name="connsiteX11" fmla="*/ 5054 w 7341779"/>
                <a:gd name="connsiteY11" fmla="*/ 1554936 h 1558543"/>
                <a:gd name="connsiteX12" fmla="*/ 27730 w 7341779"/>
                <a:gd name="connsiteY12" fmla="*/ 1555005 h 1558543"/>
                <a:gd name="connsiteX13" fmla="*/ 45099 w 7341779"/>
                <a:gd name="connsiteY13" fmla="*/ 1524609 h 1558543"/>
                <a:gd name="connsiteX14" fmla="*/ 32761 w 7341779"/>
                <a:gd name="connsiteY14" fmla="*/ 1517785 h 1558543"/>
                <a:gd name="connsiteX15" fmla="*/ 25248 w 7341779"/>
                <a:gd name="connsiteY15" fmla="*/ 1513305 h 1558543"/>
                <a:gd name="connsiteX16" fmla="*/ 22147 w 7341779"/>
                <a:gd name="connsiteY16" fmla="*/ 1511376 h 1558543"/>
                <a:gd name="connsiteX17" fmla="*/ -1908 w 7341779"/>
                <a:gd name="connsiteY17" fmla="*/ 1508067 h 1558543"/>
                <a:gd name="connsiteX18" fmla="*/ -5768 w 7341779"/>
                <a:gd name="connsiteY18" fmla="*/ 1518130 h 1558543"/>
                <a:gd name="connsiteX19" fmla="*/ 12015 w 7341779"/>
                <a:gd name="connsiteY19" fmla="*/ 1513926 h 1558543"/>
                <a:gd name="connsiteX20" fmla="*/ 5054 w 7341779"/>
                <a:gd name="connsiteY20" fmla="*/ 1554936 h 155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41779" h="1558543">
                  <a:moveTo>
                    <a:pt x="5388136" y="37354"/>
                  </a:moveTo>
                  <a:cubicBezTo>
                    <a:pt x="5395648" y="37836"/>
                    <a:pt x="5403299" y="38319"/>
                    <a:pt x="5410950" y="38801"/>
                  </a:cubicBezTo>
                  <a:cubicBezTo>
                    <a:pt x="5413017" y="34045"/>
                    <a:pt x="5417222" y="24671"/>
                    <a:pt x="5419289" y="19985"/>
                  </a:cubicBezTo>
                  <a:cubicBezTo>
                    <a:pt x="5429766" y="26326"/>
                    <a:pt x="5434039" y="40042"/>
                    <a:pt x="5447342" y="42523"/>
                  </a:cubicBezTo>
                  <a:cubicBezTo>
                    <a:pt x="5446584" y="37147"/>
                    <a:pt x="5444999" y="26326"/>
                    <a:pt x="5444240" y="20950"/>
                  </a:cubicBezTo>
                  <a:cubicBezTo>
                    <a:pt x="5438796" y="19088"/>
                    <a:pt x="5433350" y="17228"/>
                    <a:pt x="5428043" y="15367"/>
                  </a:cubicBezTo>
                  <a:cubicBezTo>
                    <a:pt x="5424390" y="10680"/>
                    <a:pt x="5417222" y="1375"/>
                    <a:pt x="5413569" y="-3312"/>
                  </a:cubicBezTo>
                  <a:cubicBezTo>
                    <a:pt x="5409365" y="13092"/>
                    <a:pt x="5411088" y="36940"/>
                    <a:pt x="5388136" y="37354"/>
                  </a:cubicBezTo>
                  <a:close/>
                  <a:moveTo>
                    <a:pt x="7324435" y="817511"/>
                  </a:moveTo>
                  <a:cubicBezTo>
                    <a:pt x="7325193" y="819786"/>
                    <a:pt x="7326710" y="824335"/>
                    <a:pt x="7327467" y="826609"/>
                  </a:cubicBezTo>
                  <a:cubicBezTo>
                    <a:pt x="7346008" y="825713"/>
                    <a:pt x="7329329" y="797247"/>
                    <a:pt x="7324435" y="817511"/>
                  </a:cubicBezTo>
                  <a:moveTo>
                    <a:pt x="5054" y="1554936"/>
                  </a:moveTo>
                  <a:cubicBezTo>
                    <a:pt x="12635" y="1555281"/>
                    <a:pt x="20148" y="1555349"/>
                    <a:pt x="27730" y="1555005"/>
                  </a:cubicBezTo>
                  <a:cubicBezTo>
                    <a:pt x="33864" y="1545080"/>
                    <a:pt x="39447" y="1534810"/>
                    <a:pt x="45099" y="1524609"/>
                  </a:cubicBezTo>
                  <a:cubicBezTo>
                    <a:pt x="41997" y="1522886"/>
                    <a:pt x="35863" y="1519440"/>
                    <a:pt x="32761" y="1517785"/>
                  </a:cubicBezTo>
                  <a:cubicBezTo>
                    <a:pt x="30900" y="1516614"/>
                    <a:pt x="27109" y="1514408"/>
                    <a:pt x="25248" y="1513305"/>
                  </a:cubicBezTo>
                  <a:lnTo>
                    <a:pt x="22147" y="1511376"/>
                  </a:lnTo>
                  <a:cubicBezTo>
                    <a:pt x="14496" y="1505586"/>
                    <a:pt x="6432" y="1504483"/>
                    <a:pt x="-1908" y="1508067"/>
                  </a:cubicBezTo>
                  <a:cubicBezTo>
                    <a:pt x="-2873" y="1510548"/>
                    <a:pt x="-4803" y="1515649"/>
                    <a:pt x="-5768" y="1518130"/>
                  </a:cubicBezTo>
                  <a:cubicBezTo>
                    <a:pt x="-1288" y="1517096"/>
                    <a:pt x="7535" y="1514960"/>
                    <a:pt x="12015" y="1513926"/>
                  </a:cubicBezTo>
                  <a:cubicBezTo>
                    <a:pt x="9878" y="1527642"/>
                    <a:pt x="7466" y="1541289"/>
                    <a:pt x="5054" y="1554936"/>
                  </a:cubicBezTo>
                </a:path>
              </a:pathLst>
            </a:custGeom>
            <a:grpFill/>
            <a:ln w="689" cap="flat">
              <a:noFill/>
              <a:prstDash val="solid"/>
              <a:miter/>
            </a:ln>
          </p:spPr>
          <p:txBody>
            <a:bodyPr rtlCol="0" anchor="ctr"/>
            <a:lstStyle/>
            <a:p>
              <a:endParaRPr lang="en-US" sz="2400" dirty="0"/>
            </a:p>
          </p:txBody>
        </p:sp>
        <p:sp>
          <p:nvSpPr>
            <p:cNvPr id="248" name="Graphic 8">
              <a:extLst>
                <a:ext uri="{FF2B5EF4-FFF2-40B4-BE49-F238E27FC236}">
                  <a16:creationId xmlns:a16="http://schemas.microsoft.com/office/drawing/2014/main" id="{D7E96D03-06EA-4609-9121-1B0E68DDE054}"/>
                </a:ext>
              </a:extLst>
            </p:cNvPr>
            <p:cNvSpPr/>
            <p:nvPr/>
          </p:nvSpPr>
          <p:spPr>
            <a:xfrm flipV="1">
              <a:off x="1042335" y="1740484"/>
              <a:ext cx="3889683" cy="1175302"/>
            </a:xfrm>
            <a:custGeom>
              <a:avLst/>
              <a:gdLst>
                <a:gd name="connsiteX0" fmla="*/ 3879367 w 3889683"/>
                <a:gd name="connsiteY0" fmla="*/ 10498 h 1175302"/>
                <a:gd name="connsiteX1" fmla="*/ 3879229 w 3889683"/>
                <a:gd name="connsiteY1" fmla="*/ -3632 h 1175302"/>
                <a:gd name="connsiteX2" fmla="*/ 3879367 w 3889683"/>
                <a:gd name="connsiteY2" fmla="*/ 10498 h 1175302"/>
                <a:gd name="connsiteX3" fmla="*/ -3639 w 3889683"/>
                <a:gd name="connsiteY3" fmla="*/ 1168569 h 1175302"/>
                <a:gd name="connsiteX4" fmla="*/ 20898 w 3889683"/>
                <a:gd name="connsiteY4" fmla="*/ 1171671 h 1175302"/>
                <a:gd name="connsiteX5" fmla="*/ 30134 w 3889683"/>
                <a:gd name="connsiteY5" fmla="*/ 1146651 h 1175302"/>
                <a:gd name="connsiteX6" fmla="*/ 41437 w 3889683"/>
                <a:gd name="connsiteY6" fmla="*/ 1125354 h 1175302"/>
                <a:gd name="connsiteX7" fmla="*/ 1392 w 3889683"/>
                <a:gd name="connsiteY7" fmla="*/ 1131350 h 1175302"/>
                <a:gd name="connsiteX8" fmla="*/ 13730 w 3889683"/>
                <a:gd name="connsiteY8" fmla="*/ 1138174 h 1175302"/>
                <a:gd name="connsiteX9" fmla="*/ -3639 w 3889683"/>
                <a:gd name="connsiteY9" fmla="*/ 1168569 h 117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9683" h="1175302">
                  <a:moveTo>
                    <a:pt x="3879367" y="10498"/>
                  </a:moveTo>
                  <a:cubicBezTo>
                    <a:pt x="3888327" y="6362"/>
                    <a:pt x="3888258" y="1675"/>
                    <a:pt x="3879229" y="-3632"/>
                  </a:cubicBezTo>
                  <a:cubicBezTo>
                    <a:pt x="3870269" y="572"/>
                    <a:pt x="3870338" y="5259"/>
                    <a:pt x="3879367" y="10498"/>
                  </a:cubicBezTo>
                  <a:close/>
                  <a:moveTo>
                    <a:pt x="-3639" y="1168569"/>
                  </a:moveTo>
                  <a:cubicBezTo>
                    <a:pt x="2495" y="1169327"/>
                    <a:pt x="14763" y="1170913"/>
                    <a:pt x="20898" y="1171671"/>
                  </a:cubicBezTo>
                  <a:cubicBezTo>
                    <a:pt x="23861" y="1163331"/>
                    <a:pt x="26963" y="1154991"/>
                    <a:pt x="30134" y="1146651"/>
                  </a:cubicBezTo>
                  <a:cubicBezTo>
                    <a:pt x="36199" y="1140586"/>
                    <a:pt x="39990" y="1133487"/>
                    <a:pt x="41437" y="1125354"/>
                  </a:cubicBezTo>
                  <a:cubicBezTo>
                    <a:pt x="27790" y="1122941"/>
                    <a:pt x="12971" y="1122321"/>
                    <a:pt x="1392" y="1131350"/>
                  </a:cubicBezTo>
                  <a:cubicBezTo>
                    <a:pt x="4494" y="1133004"/>
                    <a:pt x="10628" y="1136450"/>
                    <a:pt x="13730" y="1138174"/>
                  </a:cubicBezTo>
                  <a:cubicBezTo>
                    <a:pt x="8078" y="1148374"/>
                    <a:pt x="2495" y="1158644"/>
                    <a:pt x="-3639" y="1168569"/>
                  </a:cubicBezTo>
                </a:path>
              </a:pathLst>
            </a:custGeom>
            <a:grpFill/>
            <a:ln w="689" cap="flat">
              <a:noFill/>
              <a:prstDash val="solid"/>
              <a:miter/>
            </a:ln>
          </p:spPr>
          <p:txBody>
            <a:bodyPr rtlCol="0" anchor="ctr"/>
            <a:lstStyle/>
            <a:p>
              <a:endParaRPr lang="en-US" sz="2400" dirty="0"/>
            </a:p>
          </p:txBody>
        </p:sp>
        <p:sp>
          <p:nvSpPr>
            <p:cNvPr id="249" name="Graphic 8">
              <a:extLst>
                <a:ext uri="{FF2B5EF4-FFF2-40B4-BE49-F238E27FC236}">
                  <a16:creationId xmlns:a16="http://schemas.microsoft.com/office/drawing/2014/main" id="{59718FE2-77B7-45D8-A245-9657533437CB}"/>
                </a:ext>
              </a:extLst>
            </p:cNvPr>
            <p:cNvSpPr/>
            <p:nvPr/>
          </p:nvSpPr>
          <p:spPr>
            <a:xfrm flipV="1">
              <a:off x="1324603" y="1742582"/>
              <a:ext cx="5861328" cy="1870032"/>
            </a:xfrm>
            <a:custGeom>
              <a:avLst/>
              <a:gdLst>
                <a:gd name="connsiteX0" fmla="*/ 2385740 w 5861328"/>
                <a:gd name="connsiteY0" fmla="*/ 44639 h 1870032"/>
                <a:gd name="connsiteX1" fmla="*/ 2449632 w 5861328"/>
                <a:gd name="connsiteY1" fmla="*/ 27890 h 1870032"/>
                <a:gd name="connsiteX2" fmla="*/ 2435227 w 5861328"/>
                <a:gd name="connsiteY2" fmla="*/ 33059 h 1870032"/>
                <a:gd name="connsiteX3" fmla="*/ 2419788 w 5861328"/>
                <a:gd name="connsiteY3" fmla="*/ 19619 h 1870032"/>
                <a:gd name="connsiteX4" fmla="*/ 2421236 w 5861328"/>
                <a:gd name="connsiteY4" fmla="*/ -3057 h 1870032"/>
                <a:gd name="connsiteX5" fmla="*/ 2411517 w 5861328"/>
                <a:gd name="connsiteY5" fmla="*/ 15346 h 1870032"/>
                <a:gd name="connsiteX6" fmla="*/ 2377606 w 5861328"/>
                <a:gd name="connsiteY6" fmla="*/ 17689 h 1870032"/>
                <a:gd name="connsiteX7" fmla="*/ 2385740 w 5861328"/>
                <a:gd name="connsiteY7" fmla="*/ 44639 h 1870032"/>
                <a:gd name="connsiteX8" fmla="*/ 5847823 w 5861328"/>
                <a:gd name="connsiteY8" fmla="*/ 707556 h 1870032"/>
                <a:gd name="connsiteX9" fmla="*/ 5854923 w 5861328"/>
                <a:gd name="connsiteY9" fmla="*/ 715206 h 1870032"/>
                <a:gd name="connsiteX10" fmla="*/ 5856094 w 5861328"/>
                <a:gd name="connsiteY10" fmla="*/ 702455 h 1870032"/>
                <a:gd name="connsiteX11" fmla="*/ 5850304 w 5861328"/>
                <a:gd name="connsiteY11" fmla="*/ 702317 h 1870032"/>
                <a:gd name="connsiteX12" fmla="*/ 5847823 w 5861328"/>
                <a:gd name="connsiteY12" fmla="*/ 707556 h 1870032"/>
                <a:gd name="connsiteX13" fmla="*/ -3395 w 5861328"/>
                <a:gd name="connsiteY13" fmla="*/ 1863904 h 1870032"/>
                <a:gd name="connsiteX14" fmla="*/ 15490 w 5861328"/>
                <a:gd name="connsiteY14" fmla="*/ 1853428 h 1870032"/>
                <a:gd name="connsiteX15" fmla="*/ -3395 w 5861328"/>
                <a:gd name="connsiteY15" fmla="*/ 1863904 h 187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61328" h="1870032">
                  <a:moveTo>
                    <a:pt x="2385740" y="44639"/>
                  </a:moveTo>
                  <a:cubicBezTo>
                    <a:pt x="2401937" y="24581"/>
                    <a:pt x="2431023" y="45397"/>
                    <a:pt x="2449632" y="27890"/>
                  </a:cubicBezTo>
                  <a:cubicBezTo>
                    <a:pt x="2446049" y="29199"/>
                    <a:pt x="2438811" y="31750"/>
                    <a:pt x="2435227" y="33059"/>
                  </a:cubicBezTo>
                  <a:cubicBezTo>
                    <a:pt x="2430127" y="28579"/>
                    <a:pt x="2424958" y="24099"/>
                    <a:pt x="2419788" y="19619"/>
                  </a:cubicBezTo>
                  <a:cubicBezTo>
                    <a:pt x="2420133" y="13967"/>
                    <a:pt x="2420891" y="2595"/>
                    <a:pt x="2421236" y="-3057"/>
                  </a:cubicBezTo>
                  <a:cubicBezTo>
                    <a:pt x="2417927" y="3077"/>
                    <a:pt x="2414688" y="9211"/>
                    <a:pt x="2411517" y="15346"/>
                  </a:cubicBezTo>
                  <a:cubicBezTo>
                    <a:pt x="2400145" y="15828"/>
                    <a:pt x="2388841" y="16586"/>
                    <a:pt x="2377606" y="17689"/>
                  </a:cubicBezTo>
                  <a:cubicBezTo>
                    <a:pt x="2380294" y="26718"/>
                    <a:pt x="2382983" y="35678"/>
                    <a:pt x="2385740" y="44639"/>
                  </a:cubicBezTo>
                  <a:close/>
                  <a:moveTo>
                    <a:pt x="5847823" y="707556"/>
                  </a:moveTo>
                  <a:cubicBezTo>
                    <a:pt x="5849615" y="709485"/>
                    <a:pt x="5853131" y="713276"/>
                    <a:pt x="5854923" y="715206"/>
                  </a:cubicBezTo>
                  <a:cubicBezTo>
                    <a:pt x="5855198" y="712036"/>
                    <a:pt x="5855750" y="705626"/>
                    <a:pt x="5856094" y="702455"/>
                  </a:cubicBezTo>
                  <a:lnTo>
                    <a:pt x="5850304" y="702317"/>
                  </a:lnTo>
                  <a:lnTo>
                    <a:pt x="5847823" y="707556"/>
                  </a:lnTo>
                  <a:moveTo>
                    <a:pt x="-3395" y="1863904"/>
                  </a:moveTo>
                  <a:cubicBezTo>
                    <a:pt x="3360" y="1871348"/>
                    <a:pt x="22865" y="1864249"/>
                    <a:pt x="15490" y="1853428"/>
                  </a:cubicBezTo>
                  <a:cubicBezTo>
                    <a:pt x="8874" y="1844674"/>
                    <a:pt x="-11390" y="1853083"/>
                    <a:pt x="-3395" y="1863904"/>
                  </a:cubicBezTo>
                </a:path>
              </a:pathLst>
            </a:custGeom>
            <a:grpFill/>
            <a:ln w="689" cap="flat">
              <a:noFill/>
              <a:prstDash val="solid"/>
              <a:miter/>
            </a:ln>
          </p:spPr>
          <p:txBody>
            <a:bodyPr rtlCol="0" anchor="ctr"/>
            <a:lstStyle/>
            <a:p>
              <a:endParaRPr lang="en-US" sz="2400" dirty="0"/>
            </a:p>
          </p:txBody>
        </p:sp>
        <p:sp>
          <p:nvSpPr>
            <p:cNvPr id="250" name="Graphic 8">
              <a:extLst>
                <a:ext uri="{FF2B5EF4-FFF2-40B4-BE49-F238E27FC236}">
                  <a16:creationId xmlns:a16="http://schemas.microsoft.com/office/drawing/2014/main" id="{EE81EAD0-A30A-4599-A24A-66DCC5FA5EED}"/>
                </a:ext>
              </a:extLst>
            </p:cNvPr>
            <p:cNvSpPr/>
            <p:nvPr/>
          </p:nvSpPr>
          <p:spPr>
            <a:xfrm flipV="1">
              <a:off x="4915896" y="1752202"/>
              <a:ext cx="1567953" cy="596037"/>
            </a:xfrm>
            <a:custGeom>
              <a:avLst/>
              <a:gdLst>
                <a:gd name="connsiteX0" fmla="*/ -5117 w 1567953"/>
                <a:gd name="connsiteY0" fmla="*/ 5331 h 596037"/>
                <a:gd name="connsiteX1" fmla="*/ -5117 w 1567953"/>
                <a:gd name="connsiteY1" fmla="*/ 5331 h 596037"/>
                <a:gd name="connsiteX2" fmla="*/ 1553751 w 1567953"/>
                <a:gd name="connsiteY2" fmla="*/ 591948 h 596037"/>
                <a:gd name="connsiteX3" fmla="*/ 1553889 w 1567953"/>
                <a:gd name="connsiteY3" fmla="*/ 573959 h 596037"/>
                <a:gd name="connsiteX4" fmla="*/ 1553751 w 1567953"/>
                <a:gd name="connsiteY4" fmla="*/ 591948 h 596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7953" h="596037">
                  <a:moveTo>
                    <a:pt x="-5117" y="5331"/>
                  </a:moveTo>
                  <a:cubicBezTo>
                    <a:pt x="17628" y="5262"/>
                    <a:pt x="-15042" y="-15829"/>
                    <a:pt x="-5117" y="5331"/>
                  </a:cubicBezTo>
                  <a:close/>
                  <a:moveTo>
                    <a:pt x="1553751" y="591948"/>
                  </a:moveTo>
                  <a:cubicBezTo>
                    <a:pt x="1563056" y="591535"/>
                    <a:pt x="1563469" y="574304"/>
                    <a:pt x="1553889" y="573959"/>
                  </a:cubicBezTo>
                  <a:cubicBezTo>
                    <a:pt x="1544653" y="575131"/>
                    <a:pt x="1544170" y="591052"/>
                    <a:pt x="1553751" y="591948"/>
                  </a:cubicBezTo>
                </a:path>
              </a:pathLst>
            </a:custGeom>
            <a:grpFill/>
            <a:ln w="689" cap="flat">
              <a:noFill/>
              <a:prstDash val="solid"/>
              <a:miter/>
            </a:ln>
          </p:spPr>
          <p:txBody>
            <a:bodyPr rtlCol="0" anchor="ctr"/>
            <a:lstStyle/>
            <a:p>
              <a:endParaRPr lang="en-US" sz="2400" dirty="0"/>
            </a:p>
          </p:txBody>
        </p:sp>
        <p:sp>
          <p:nvSpPr>
            <p:cNvPr id="251" name="Graphic 8">
              <a:extLst>
                <a:ext uri="{FF2B5EF4-FFF2-40B4-BE49-F238E27FC236}">
                  <a16:creationId xmlns:a16="http://schemas.microsoft.com/office/drawing/2014/main" id="{FC55C5BF-37B6-4E78-B985-E2524AC4B1DA}"/>
                </a:ext>
              </a:extLst>
            </p:cNvPr>
            <p:cNvSpPr/>
            <p:nvPr/>
          </p:nvSpPr>
          <p:spPr>
            <a:xfrm flipV="1">
              <a:off x="444597" y="1764733"/>
              <a:ext cx="9465" cy="16364"/>
            </a:xfrm>
            <a:custGeom>
              <a:avLst/>
              <a:gdLst>
                <a:gd name="connsiteX0" fmla="*/ 8603 w 9465"/>
                <a:gd name="connsiteY0" fmla="*/ -3562 h 16364"/>
                <a:gd name="connsiteX1" fmla="*/ 9017 w 9465"/>
                <a:gd name="connsiteY1" fmla="*/ 11463 h 16364"/>
                <a:gd name="connsiteX2" fmla="*/ 8603 w 9465"/>
                <a:gd name="connsiteY2" fmla="*/ -3562 h 16364"/>
                <a:gd name="connsiteX3" fmla="*/ 8603 w 9465"/>
                <a:gd name="connsiteY3" fmla="*/ -3562 h 16364"/>
              </a:gdLst>
              <a:ahLst/>
              <a:cxnLst>
                <a:cxn ang="0">
                  <a:pos x="connsiteX0" y="connsiteY0"/>
                </a:cxn>
                <a:cxn ang="0">
                  <a:pos x="connsiteX1" y="connsiteY1"/>
                </a:cxn>
                <a:cxn ang="0">
                  <a:pos x="connsiteX2" y="connsiteY2"/>
                </a:cxn>
                <a:cxn ang="0">
                  <a:pos x="connsiteX3" y="connsiteY3"/>
                </a:cxn>
              </a:cxnLst>
              <a:rect l="l" t="t" r="r" b="b"/>
              <a:pathLst>
                <a:path w="9465" h="16364">
                  <a:moveTo>
                    <a:pt x="8603" y="-3562"/>
                  </a:moveTo>
                  <a:cubicBezTo>
                    <a:pt x="-4005" y="-9697"/>
                    <a:pt x="-3045" y="15047"/>
                    <a:pt x="9017" y="11463"/>
                  </a:cubicBezTo>
                  <a:cubicBezTo>
                    <a:pt x="8880" y="7741"/>
                    <a:pt x="8743" y="160"/>
                    <a:pt x="8603" y="-3562"/>
                  </a:cubicBezTo>
                  <a:lnTo>
                    <a:pt x="8603" y="-3562"/>
                  </a:lnTo>
                </a:path>
              </a:pathLst>
            </a:custGeom>
            <a:grpFill/>
            <a:ln w="689" cap="flat">
              <a:noFill/>
              <a:prstDash val="solid"/>
              <a:miter/>
            </a:ln>
          </p:spPr>
          <p:txBody>
            <a:bodyPr rtlCol="0" anchor="ctr"/>
            <a:lstStyle/>
            <a:p>
              <a:endParaRPr lang="en-US" sz="2400" dirty="0"/>
            </a:p>
          </p:txBody>
        </p:sp>
        <p:sp>
          <p:nvSpPr>
            <p:cNvPr id="252" name="Graphic 8">
              <a:extLst>
                <a:ext uri="{FF2B5EF4-FFF2-40B4-BE49-F238E27FC236}">
                  <a16:creationId xmlns:a16="http://schemas.microsoft.com/office/drawing/2014/main" id="{3F69836F-94F9-402E-A7B2-DEB1D072D055}"/>
                </a:ext>
              </a:extLst>
            </p:cNvPr>
            <p:cNvSpPr/>
            <p:nvPr/>
          </p:nvSpPr>
          <p:spPr>
            <a:xfrm flipV="1">
              <a:off x="6565540" y="1763409"/>
              <a:ext cx="9712" cy="9982"/>
            </a:xfrm>
            <a:custGeom>
              <a:avLst/>
              <a:gdLst>
                <a:gd name="connsiteX0" fmla="*/ -8145 w 9712"/>
                <a:gd name="connsiteY0" fmla="*/ 3473 h 9982"/>
                <a:gd name="connsiteX1" fmla="*/ -8145 w 9712"/>
                <a:gd name="connsiteY1" fmla="*/ 3473 h 9982"/>
                <a:gd name="connsiteX2" fmla="*/ -8145 w 9712"/>
                <a:gd name="connsiteY2" fmla="*/ 3473 h 9982"/>
              </a:gdLst>
              <a:ahLst/>
              <a:cxnLst>
                <a:cxn ang="0">
                  <a:pos x="connsiteX0" y="connsiteY0"/>
                </a:cxn>
                <a:cxn ang="0">
                  <a:pos x="connsiteX1" y="connsiteY1"/>
                </a:cxn>
                <a:cxn ang="0">
                  <a:pos x="connsiteX2" y="connsiteY2"/>
                </a:cxn>
              </a:cxnLst>
              <a:rect l="l" t="t" r="r" b="b"/>
              <a:pathLst>
                <a:path w="9712" h="9982">
                  <a:moveTo>
                    <a:pt x="-8145" y="3473"/>
                  </a:moveTo>
                  <a:cubicBezTo>
                    <a:pt x="13429" y="13398"/>
                    <a:pt x="-7593" y="-18790"/>
                    <a:pt x="-8145" y="3473"/>
                  </a:cubicBezTo>
                  <a:lnTo>
                    <a:pt x="-8145" y="3473"/>
                  </a:lnTo>
                </a:path>
              </a:pathLst>
            </a:custGeom>
            <a:grpFill/>
            <a:ln w="689" cap="flat">
              <a:noFill/>
              <a:prstDash val="solid"/>
              <a:miter/>
            </a:ln>
          </p:spPr>
          <p:txBody>
            <a:bodyPr rtlCol="0" anchor="ctr"/>
            <a:lstStyle/>
            <a:p>
              <a:endParaRPr lang="en-US" sz="2400" dirty="0"/>
            </a:p>
          </p:txBody>
        </p:sp>
        <p:sp>
          <p:nvSpPr>
            <p:cNvPr id="253" name="Graphic 8">
              <a:extLst>
                <a:ext uri="{FF2B5EF4-FFF2-40B4-BE49-F238E27FC236}">
                  <a16:creationId xmlns:a16="http://schemas.microsoft.com/office/drawing/2014/main" id="{B8969C0F-AA1D-4880-A394-E3E4968AA93C}"/>
                </a:ext>
              </a:extLst>
            </p:cNvPr>
            <p:cNvSpPr/>
            <p:nvPr/>
          </p:nvSpPr>
          <p:spPr>
            <a:xfrm flipV="1">
              <a:off x="787934" y="1769975"/>
              <a:ext cx="9300" cy="10648"/>
            </a:xfrm>
            <a:custGeom>
              <a:avLst/>
              <a:gdLst>
                <a:gd name="connsiteX0" fmla="*/ -880 w 9300"/>
                <a:gd name="connsiteY0" fmla="*/ 3824 h 10648"/>
                <a:gd name="connsiteX1" fmla="*/ -880 w 9300"/>
                <a:gd name="connsiteY1" fmla="*/ 3824 h 10648"/>
                <a:gd name="connsiteX2" fmla="*/ -880 w 9300"/>
                <a:gd name="connsiteY2" fmla="*/ 3824 h 10648"/>
              </a:gdLst>
              <a:ahLst/>
              <a:cxnLst>
                <a:cxn ang="0">
                  <a:pos x="connsiteX0" y="connsiteY0"/>
                </a:cxn>
                <a:cxn ang="0">
                  <a:pos x="connsiteX1" y="connsiteY1"/>
                </a:cxn>
                <a:cxn ang="0">
                  <a:pos x="connsiteX2" y="connsiteY2"/>
                </a:cxn>
              </a:cxnLst>
              <a:rect l="l" t="t" r="r" b="b"/>
              <a:pathLst>
                <a:path w="9300" h="10648">
                  <a:moveTo>
                    <a:pt x="-880" y="3824"/>
                  </a:moveTo>
                  <a:cubicBezTo>
                    <a:pt x="19591" y="14990"/>
                    <a:pt x="16" y="-19679"/>
                    <a:pt x="-880" y="3824"/>
                  </a:cubicBezTo>
                  <a:lnTo>
                    <a:pt x="-880" y="3824"/>
                  </a:lnTo>
                </a:path>
              </a:pathLst>
            </a:custGeom>
            <a:grpFill/>
            <a:ln w="689" cap="flat">
              <a:noFill/>
              <a:prstDash val="solid"/>
              <a:miter/>
            </a:ln>
          </p:spPr>
          <p:txBody>
            <a:bodyPr rtlCol="0" anchor="ctr"/>
            <a:lstStyle/>
            <a:p>
              <a:endParaRPr lang="en-US" sz="2400" dirty="0"/>
            </a:p>
          </p:txBody>
        </p:sp>
        <p:sp>
          <p:nvSpPr>
            <p:cNvPr id="254" name="Graphic 8">
              <a:extLst>
                <a:ext uri="{FF2B5EF4-FFF2-40B4-BE49-F238E27FC236}">
                  <a16:creationId xmlns:a16="http://schemas.microsoft.com/office/drawing/2014/main" id="{0931BC3F-A2B5-46F4-9206-7F8150F1EA4F}"/>
                </a:ext>
              </a:extLst>
            </p:cNvPr>
            <p:cNvSpPr/>
            <p:nvPr/>
          </p:nvSpPr>
          <p:spPr>
            <a:xfrm flipV="1">
              <a:off x="811369" y="1770226"/>
              <a:ext cx="9509" cy="10284"/>
            </a:xfrm>
            <a:custGeom>
              <a:avLst/>
              <a:gdLst>
                <a:gd name="connsiteX0" fmla="*/ -910 w 9509"/>
                <a:gd name="connsiteY0" fmla="*/ 3574 h 10284"/>
                <a:gd name="connsiteX1" fmla="*/ -910 w 9509"/>
                <a:gd name="connsiteY1" fmla="*/ 3574 h 10284"/>
                <a:gd name="connsiteX2" fmla="*/ -910 w 9509"/>
                <a:gd name="connsiteY2" fmla="*/ 3574 h 10284"/>
              </a:gdLst>
              <a:ahLst/>
              <a:cxnLst>
                <a:cxn ang="0">
                  <a:pos x="connsiteX0" y="connsiteY0"/>
                </a:cxn>
                <a:cxn ang="0">
                  <a:pos x="connsiteX1" y="connsiteY1"/>
                </a:cxn>
                <a:cxn ang="0">
                  <a:pos x="connsiteX2" y="connsiteY2"/>
                </a:cxn>
              </a:cxnLst>
              <a:rect l="l" t="t" r="r" b="b"/>
              <a:pathLst>
                <a:path w="9509" h="10284">
                  <a:moveTo>
                    <a:pt x="-910" y="3574"/>
                  </a:moveTo>
                  <a:cubicBezTo>
                    <a:pt x="19561" y="14257"/>
                    <a:pt x="882" y="-19172"/>
                    <a:pt x="-910" y="3574"/>
                  </a:cubicBezTo>
                  <a:lnTo>
                    <a:pt x="-910" y="3574"/>
                  </a:lnTo>
                </a:path>
              </a:pathLst>
            </a:custGeom>
            <a:grpFill/>
            <a:ln w="689" cap="flat">
              <a:noFill/>
              <a:prstDash val="solid"/>
              <a:miter/>
            </a:ln>
          </p:spPr>
          <p:txBody>
            <a:bodyPr rtlCol="0" anchor="ctr"/>
            <a:lstStyle/>
            <a:p>
              <a:endParaRPr lang="en-US" sz="2400" dirty="0"/>
            </a:p>
          </p:txBody>
        </p:sp>
        <p:sp>
          <p:nvSpPr>
            <p:cNvPr id="255" name="Graphic 8">
              <a:extLst>
                <a:ext uri="{FF2B5EF4-FFF2-40B4-BE49-F238E27FC236}">
                  <a16:creationId xmlns:a16="http://schemas.microsoft.com/office/drawing/2014/main" id="{574287F9-401A-4DFE-9AD7-933521A71445}"/>
                </a:ext>
              </a:extLst>
            </p:cNvPr>
            <p:cNvSpPr/>
            <p:nvPr/>
          </p:nvSpPr>
          <p:spPr>
            <a:xfrm flipV="1">
              <a:off x="1159163" y="1772741"/>
              <a:ext cx="4999793" cy="71688"/>
            </a:xfrm>
            <a:custGeom>
              <a:avLst/>
              <a:gdLst>
                <a:gd name="connsiteX0" fmla="*/ 4987244 w 4999793"/>
                <a:gd name="connsiteY0" fmla="*/ 5032 h 71688"/>
                <a:gd name="connsiteX1" fmla="*/ 4987244 w 4999793"/>
                <a:gd name="connsiteY1" fmla="*/ 5032 h 71688"/>
                <a:gd name="connsiteX2" fmla="*/ -2003 w 4999793"/>
                <a:gd name="connsiteY2" fmla="*/ 67202 h 71688"/>
                <a:gd name="connsiteX3" fmla="*/ -2003 w 4999793"/>
                <a:gd name="connsiteY3" fmla="*/ 67202 h 71688"/>
              </a:gdLst>
              <a:ahLst/>
              <a:cxnLst>
                <a:cxn ang="0">
                  <a:pos x="connsiteX0" y="connsiteY0"/>
                </a:cxn>
                <a:cxn ang="0">
                  <a:pos x="connsiteX1" y="connsiteY1"/>
                </a:cxn>
                <a:cxn ang="0">
                  <a:pos x="connsiteX2" y="connsiteY2"/>
                </a:cxn>
                <a:cxn ang="0">
                  <a:pos x="connsiteX3" y="connsiteY3"/>
                </a:cxn>
              </a:cxnLst>
              <a:rect l="l" t="t" r="r" b="b"/>
              <a:pathLst>
                <a:path w="4999793" h="71688">
                  <a:moveTo>
                    <a:pt x="4987244" y="5032"/>
                  </a:moveTo>
                  <a:cubicBezTo>
                    <a:pt x="5009851" y="3723"/>
                    <a:pt x="4976629" y="-15714"/>
                    <a:pt x="4987244" y="5032"/>
                  </a:cubicBezTo>
                  <a:close/>
                  <a:moveTo>
                    <a:pt x="-2003" y="67202"/>
                  </a:moveTo>
                  <a:cubicBezTo>
                    <a:pt x="21155" y="64928"/>
                    <a:pt x="-13720" y="47283"/>
                    <a:pt x="-2003" y="67202"/>
                  </a:cubicBezTo>
                </a:path>
              </a:pathLst>
            </a:custGeom>
            <a:grpFill/>
            <a:ln w="689" cap="flat">
              <a:noFill/>
              <a:prstDash val="solid"/>
              <a:miter/>
            </a:ln>
          </p:spPr>
          <p:txBody>
            <a:bodyPr rtlCol="0" anchor="ctr"/>
            <a:lstStyle/>
            <a:p>
              <a:endParaRPr lang="en-US" sz="2400" dirty="0"/>
            </a:p>
          </p:txBody>
        </p:sp>
        <p:sp>
          <p:nvSpPr>
            <p:cNvPr id="256" name="Graphic 8">
              <a:extLst>
                <a:ext uri="{FF2B5EF4-FFF2-40B4-BE49-F238E27FC236}">
                  <a16:creationId xmlns:a16="http://schemas.microsoft.com/office/drawing/2014/main" id="{558E5B1C-F962-4C2A-B1E5-C0F9C97CC31D}"/>
                </a:ext>
              </a:extLst>
            </p:cNvPr>
            <p:cNvSpPr/>
            <p:nvPr/>
          </p:nvSpPr>
          <p:spPr>
            <a:xfrm flipV="1">
              <a:off x="7927164" y="1772396"/>
              <a:ext cx="692802" cy="333679"/>
            </a:xfrm>
            <a:custGeom>
              <a:avLst/>
              <a:gdLst>
                <a:gd name="connsiteX0" fmla="*/ -7754 w 692802"/>
                <a:gd name="connsiteY0" fmla="*/ 5187 h 333679"/>
                <a:gd name="connsiteX1" fmla="*/ -7754 w 692802"/>
                <a:gd name="connsiteY1" fmla="*/ 5187 h 333679"/>
                <a:gd name="connsiteX2" fmla="*/ 674737 w 692802"/>
                <a:gd name="connsiteY2" fmla="*/ 329408 h 333679"/>
                <a:gd name="connsiteX3" fmla="*/ 674737 w 692802"/>
                <a:gd name="connsiteY3" fmla="*/ 329408 h 333679"/>
              </a:gdLst>
              <a:ahLst/>
              <a:cxnLst>
                <a:cxn ang="0">
                  <a:pos x="connsiteX0" y="connsiteY0"/>
                </a:cxn>
                <a:cxn ang="0">
                  <a:pos x="connsiteX1" y="connsiteY1"/>
                </a:cxn>
                <a:cxn ang="0">
                  <a:pos x="connsiteX2" y="connsiteY2"/>
                </a:cxn>
                <a:cxn ang="0">
                  <a:pos x="connsiteX3" y="connsiteY3"/>
                </a:cxn>
              </a:cxnLst>
              <a:rect l="l" t="t" r="r" b="b"/>
              <a:pathLst>
                <a:path w="692802" h="333679">
                  <a:moveTo>
                    <a:pt x="-7754" y="5187"/>
                  </a:moveTo>
                  <a:cubicBezTo>
                    <a:pt x="14922" y="2844"/>
                    <a:pt x="-19540" y="-14870"/>
                    <a:pt x="-7754" y="5187"/>
                  </a:cubicBezTo>
                  <a:close/>
                  <a:moveTo>
                    <a:pt x="674737" y="329408"/>
                  </a:moveTo>
                  <a:cubicBezTo>
                    <a:pt x="697138" y="326996"/>
                    <a:pt x="662813" y="309282"/>
                    <a:pt x="674737" y="329408"/>
                  </a:cubicBezTo>
                </a:path>
              </a:pathLst>
            </a:custGeom>
            <a:grpFill/>
            <a:ln w="689" cap="flat">
              <a:noFill/>
              <a:prstDash val="solid"/>
              <a:miter/>
            </a:ln>
          </p:spPr>
          <p:txBody>
            <a:bodyPr rtlCol="0" anchor="ctr"/>
            <a:lstStyle/>
            <a:p>
              <a:endParaRPr lang="en-US" sz="2400" dirty="0"/>
            </a:p>
          </p:txBody>
        </p:sp>
        <p:sp>
          <p:nvSpPr>
            <p:cNvPr id="257" name="Graphic 8">
              <a:extLst>
                <a:ext uri="{FF2B5EF4-FFF2-40B4-BE49-F238E27FC236}">
                  <a16:creationId xmlns:a16="http://schemas.microsoft.com/office/drawing/2014/main" id="{FD632B9A-2BA3-412E-8161-2134535D8093}"/>
                </a:ext>
              </a:extLst>
            </p:cNvPr>
            <p:cNvSpPr/>
            <p:nvPr/>
          </p:nvSpPr>
          <p:spPr>
            <a:xfrm flipV="1">
              <a:off x="618726" y="1786801"/>
              <a:ext cx="6240037" cy="1795182"/>
            </a:xfrm>
            <a:custGeom>
              <a:avLst/>
              <a:gdLst>
                <a:gd name="connsiteX0" fmla="*/ 3752840 w 6240037"/>
                <a:gd name="connsiteY0" fmla="*/ 8781 h 1795182"/>
                <a:gd name="connsiteX1" fmla="*/ 3762765 w 6240037"/>
                <a:gd name="connsiteY1" fmla="*/ -2523 h 1795182"/>
                <a:gd name="connsiteX2" fmla="*/ 3752840 w 6240037"/>
                <a:gd name="connsiteY2" fmla="*/ 8781 h 1795182"/>
                <a:gd name="connsiteX3" fmla="*/ -4585 w 6240037"/>
                <a:gd name="connsiteY3" fmla="*/ 1006120 h 1795182"/>
                <a:gd name="connsiteX4" fmla="*/ -4585 w 6240037"/>
                <a:gd name="connsiteY4" fmla="*/ 1006120 h 1795182"/>
                <a:gd name="connsiteX5" fmla="*/ 4483166 w 6240037"/>
                <a:gd name="connsiteY5" fmla="*/ 1132321 h 1795182"/>
                <a:gd name="connsiteX6" fmla="*/ 4493366 w 6240037"/>
                <a:gd name="connsiteY6" fmla="*/ 1121155 h 1795182"/>
                <a:gd name="connsiteX7" fmla="*/ 4483166 w 6240037"/>
                <a:gd name="connsiteY7" fmla="*/ 1132321 h 1795182"/>
                <a:gd name="connsiteX8" fmla="*/ 6232817 w 6240037"/>
                <a:gd name="connsiteY8" fmla="*/ 1792136 h 1795182"/>
                <a:gd name="connsiteX9" fmla="*/ 6232817 w 6240037"/>
                <a:gd name="connsiteY9" fmla="*/ 1792136 h 1795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0037" h="1795182">
                  <a:moveTo>
                    <a:pt x="3752840" y="8781"/>
                  </a:moveTo>
                  <a:cubicBezTo>
                    <a:pt x="3762352" y="11055"/>
                    <a:pt x="3765660" y="7264"/>
                    <a:pt x="3762765" y="-2523"/>
                  </a:cubicBezTo>
                  <a:cubicBezTo>
                    <a:pt x="3753254" y="-4522"/>
                    <a:pt x="3749945" y="-800"/>
                    <a:pt x="3752840" y="8781"/>
                  </a:cubicBezTo>
                  <a:close/>
                  <a:moveTo>
                    <a:pt x="-4585" y="1006120"/>
                  </a:moveTo>
                  <a:cubicBezTo>
                    <a:pt x="-727" y="1002812"/>
                    <a:pt x="-727" y="1002812"/>
                    <a:pt x="-4585" y="1006120"/>
                  </a:cubicBezTo>
                  <a:moveTo>
                    <a:pt x="4483166" y="1132321"/>
                  </a:moveTo>
                  <a:cubicBezTo>
                    <a:pt x="4492608" y="1134733"/>
                    <a:pt x="4495985" y="1131011"/>
                    <a:pt x="4493366" y="1121155"/>
                  </a:cubicBezTo>
                  <a:cubicBezTo>
                    <a:pt x="4483855" y="1118950"/>
                    <a:pt x="4480477" y="1122672"/>
                    <a:pt x="4483166" y="1132321"/>
                  </a:cubicBezTo>
                  <a:moveTo>
                    <a:pt x="6232817" y="1792136"/>
                  </a:moveTo>
                  <a:cubicBezTo>
                    <a:pt x="6236332" y="1788277"/>
                    <a:pt x="6236332" y="1788277"/>
                    <a:pt x="6232817" y="1792136"/>
                  </a:cubicBezTo>
                </a:path>
              </a:pathLst>
            </a:custGeom>
            <a:grpFill/>
            <a:ln w="689" cap="flat">
              <a:noFill/>
              <a:prstDash val="solid"/>
              <a:miter/>
            </a:ln>
          </p:spPr>
          <p:txBody>
            <a:bodyPr rtlCol="0" anchor="ctr"/>
            <a:lstStyle/>
            <a:p>
              <a:endParaRPr lang="en-US" sz="2400" dirty="0"/>
            </a:p>
          </p:txBody>
        </p:sp>
        <p:sp>
          <p:nvSpPr>
            <p:cNvPr id="258" name="Graphic 8">
              <a:extLst>
                <a:ext uri="{FF2B5EF4-FFF2-40B4-BE49-F238E27FC236}">
                  <a16:creationId xmlns:a16="http://schemas.microsoft.com/office/drawing/2014/main" id="{BDABC00E-449C-4FA7-8B09-8B66FB0AE591}"/>
                </a:ext>
              </a:extLst>
            </p:cNvPr>
            <p:cNvSpPr/>
            <p:nvPr/>
          </p:nvSpPr>
          <p:spPr>
            <a:xfrm flipV="1">
              <a:off x="3712475" y="1806079"/>
              <a:ext cx="2376301" cy="808164"/>
            </a:xfrm>
            <a:custGeom>
              <a:avLst/>
              <a:gdLst>
                <a:gd name="connsiteX0" fmla="*/ -6045 w 2376301"/>
                <a:gd name="connsiteY0" fmla="*/ 4516 h 808164"/>
                <a:gd name="connsiteX1" fmla="*/ -6045 w 2376301"/>
                <a:gd name="connsiteY1" fmla="*/ 4516 h 808164"/>
                <a:gd name="connsiteX2" fmla="*/ 76664 w 2376301"/>
                <a:gd name="connsiteY2" fmla="*/ 194954 h 808164"/>
                <a:gd name="connsiteX3" fmla="*/ 76664 w 2376301"/>
                <a:gd name="connsiteY3" fmla="*/ 194954 h 808164"/>
                <a:gd name="connsiteX4" fmla="*/ 2357035 w 2376301"/>
                <a:gd name="connsiteY4" fmla="*/ 803007 h 808164"/>
                <a:gd name="connsiteX5" fmla="*/ 2369097 w 2376301"/>
                <a:gd name="connsiteY5" fmla="*/ 792048 h 808164"/>
                <a:gd name="connsiteX6" fmla="*/ 2357035 w 2376301"/>
                <a:gd name="connsiteY6" fmla="*/ 803007 h 80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76301" h="808164">
                  <a:moveTo>
                    <a:pt x="-6045" y="4516"/>
                  </a:moveTo>
                  <a:cubicBezTo>
                    <a:pt x="14977" y="14510"/>
                    <a:pt x="-6114" y="-18505"/>
                    <a:pt x="-6045" y="4516"/>
                  </a:cubicBezTo>
                  <a:close/>
                  <a:moveTo>
                    <a:pt x="76664" y="194954"/>
                  </a:moveTo>
                  <a:cubicBezTo>
                    <a:pt x="99478" y="193714"/>
                    <a:pt x="65912" y="174346"/>
                    <a:pt x="76664" y="194954"/>
                  </a:cubicBezTo>
                  <a:moveTo>
                    <a:pt x="2357035" y="803007"/>
                  </a:moveTo>
                  <a:cubicBezTo>
                    <a:pt x="2368477" y="806591"/>
                    <a:pt x="2372474" y="802938"/>
                    <a:pt x="2369097" y="792048"/>
                  </a:cubicBezTo>
                  <a:cubicBezTo>
                    <a:pt x="2357449" y="788464"/>
                    <a:pt x="2353451" y="792117"/>
                    <a:pt x="2357035" y="803007"/>
                  </a:cubicBezTo>
                </a:path>
              </a:pathLst>
            </a:custGeom>
            <a:grpFill/>
            <a:ln w="689" cap="flat">
              <a:noFill/>
              <a:prstDash val="solid"/>
              <a:miter/>
            </a:ln>
          </p:spPr>
          <p:txBody>
            <a:bodyPr rtlCol="0" anchor="ctr"/>
            <a:lstStyle/>
            <a:p>
              <a:endParaRPr lang="en-US" sz="2400" dirty="0"/>
            </a:p>
          </p:txBody>
        </p:sp>
        <p:sp>
          <p:nvSpPr>
            <p:cNvPr id="259" name="Graphic 8">
              <a:extLst>
                <a:ext uri="{FF2B5EF4-FFF2-40B4-BE49-F238E27FC236}">
                  <a16:creationId xmlns:a16="http://schemas.microsoft.com/office/drawing/2014/main" id="{1CFFF0EE-E36C-49E2-BE31-9C11639660B7}"/>
                </a:ext>
              </a:extLst>
            </p:cNvPr>
            <p:cNvSpPr/>
            <p:nvPr/>
          </p:nvSpPr>
          <p:spPr>
            <a:xfrm flipV="1">
              <a:off x="6565421" y="1805550"/>
              <a:ext cx="12507" cy="11987"/>
            </a:xfrm>
            <a:custGeom>
              <a:avLst/>
              <a:gdLst>
                <a:gd name="connsiteX0" fmla="*/ -6442 w 12507"/>
                <a:gd name="connsiteY0" fmla="*/ 5923 h 11987"/>
                <a:gd name="connsiteX1" fmla="*/ 2656 w 12507"/>
                <a:gd name="connsiteY1" fmla="*/ -2969 h 11987"/>
                <a:gd name="connsiteX2" fmla="*/ -6442 w 12507"/>
                <a:gd name="connsiteY2" fmla="*/ 5923 h 11987"/>
                <a:gd name="connsiteX3" fmla="*/ -6442 w 12507"/>
                <a:gd name="connsiteY3" fmla="*/ 5923 h 11987"/>
              </a:gdLst>
              <a:ahLst/>
              <a:cxnLst>
                <a:cxn ang="0">
                  <a:pos x="connsiteX0" y="connsiteY0"/>
                </a:cxn>
                <a:cxn ang="0">
                  <a:pos x="connsiteX1" y="connsiteY1"/>
                </a:cxn>
                <a:cxn ang="0">
                  <a:pos x="connsiteX2" y="connsiteY2"/>
                </a:cxn>
                <a:cxn ang="0">
                  <a:pos x="connsiteX3" y="connsiteY3"/>
                </a:cxn>
              </a:cxnLst>
              <a:rect l="l" t="t" r="r" b="b"/>
              <a:pathLst>
                <a:path w="12507" h="11987">
                  <a:moveTo>
                    <a:pt x="-6442" y="5923"/>
                  </a:moveTo>
                  <a:cubicBezTo>
                    <a:pt x="3621" y="9713"/>
                    <a:pt x="6654" y="6681"/>
                    <a:pt x="2656" y="-2969"/>
                  </a:cubicBezTo>
                  <a:cubicBezTo>
                    <a:pt x="-7407" y="-6622"/>
                    <a:pt x="-10440" y="-3658"/>
                    <a:pt x="-6442" y="5923"/>
                  </a:cubicBezTo>
                  <a:lnTo>
                    <a:pt x="-6442" y="5923"/>
                  </a:lnTo>
                </a:path>
              </a:pathLst>
            </a:custGeom>
            <a:grpFill/>
            <a:ln w="689" cap="flat">
              <a:noFill/>
              <a:prstDash val="solid"/>
              <a:miter/>
            </a:ln>
          </p:spPr>
          <p:txBody>
            <a:bodyPr rtlCol="0" anchor="ctr"/>
            <a:lstStyle/>
            <a:p>
              <a:endParaRPr lang="en-US" sz="2400" dirty="0"/>
            </a:p>
          </p:txBody>
        </p:sp>
        <p:sp>
          <p:nvSpPr>
            <p:cNvPr id="260" name="Graphic 8">
              <a:extLst>
                <a:ext uri="{FF2B5EF4-FFF2-40B4-BE49-F238E27FC236}">
                  <a16:creationId xmlns:a16="http://schemas.microsoft.com/office/drawing/2014/main" id="{158F3F6C-5A2D-4C86-89D6-F00710AEEE31}"/>
                </a:ext>
              </a:extLst>
            </p:cNvPr>
            <p:cNvSpPr/>
            <p:nvPr/>
          </p:nvSpPr>
          <p:spPr>
            <a:xfrm flipV="1">
              <a:off x="6869843" y="1807479"/>
              <a:ext cx="3377" cy="113708"/>
            </a:xfrm>
            <a:custGeom>
              <a:avLst/>
              <a:gdLst>
                <a:gd name="connsiteX0" fmla="*/ -8524 w 3377"/>
                <a:gd name="connsiteY0" fmla="*/ -1448 h 113708"/>
                <a:gd name="connsiteX1" fmla="*/ -8524 w 3377"/>
                <a:gd name="connsiteY1" fmla="*/ -1448 h 113708"/>
                <a:gd name="connsiteX2" fmla="*/ -8041 w 3377"/>
                <a:gd name="connsiteY2" fmla="*/ 109314 h 113708"/>
                <a:gd name="connsiteX3" fmla="*/ -8041 w 3377"/>
                <a:gd name="connsiteY3" fmla="*/ 109314 h 113708"/>
              </a:gdLst>
              <a:ahLst/>
              <a:cxnLst>
                <a:cxn ang="0">
                  <a:pos x="connsiteX0" y="connsiteY0"/>
                </a:cxn>
                <a:cxn ang="0">
                  <a:pos x="connsiteX1" y="connsiteY1"/>
                </a:cxn>
                <a:cxn ang="0">
                  <a:pos x="connsiteX2" y="connsiteY2"/>
                </a:cxn>
                <a:cxn ang="0">
                  <a:pos x="connsiteX3" y="connsiteY3"/>
                </a:cxn>
              </a:cxnLst>
              <a:rect l="l" t="t" r="r" b="b"/>
              <a:pathLst>
                <a:path w="3377" h="113708">
                  <a:moveTo>
                    <a:pt x="-8524" y="-1448"/>
                  </a:moveTo>
                  <a:cubicBezTo>
                    <a:pt x="-5008" y="-5377"/>
                    <a:pt x="-5008" y="-5377"/>
                    <a:pt x="-8524" y="-1448"/>
                  </a:cubicBezTo>
                  <a:close/>
                  <a:moveTo>
                    <a:pt x="-8041" y="109314"/>
                  </a:moveTo>
                  <a:cubicBezTo>
                    <a:pt x="-4181" y="105730"/>
                    <a:pt x="-4181" y="105730"/>
                    <a:pt x="-8041" y="109314"/>
                  </a:cubicBezTo>
                </a:path>
              </a:pathLst>
            </a:custGeom>
            <a:grpFill/>
            <a:ln w="689" cap="flat">
              <a:noFill/>
              <a:prstDash val="solid"/>
              <a:miter/>
            </a:ln>
          </p:spPr>
          <p:txBody>
            <a:bodyPr rtlCol="0" anchor="ctr"/>
            <a:lstStyle/>
            <a:p>
              <a:endParaRPr lang="en-US" sz="2400" dirty="0"/>
            </a:p>
          </p:txBody>
        </p:sp>
        <p:sp>
          <p:nvSpPr>
            <p:cNvPr id="261" name="Graphic 8">
              <a:extLst>
                <a:ext uri="{FF2B5EF4-FFF2-40B4-BE49-F238E27FC236}">
                  <a16:creationId xmlns:a16="http://schemas.microsoft.com/office/drawing/2014/main" id="{2A5D8A33-689C-4FB0-A8A6-9F063CBA1392}"/>
                </a:ext>
              </a:extLst>
            </p:cNvPr>
            <p:cNvSpPr/>
            <p:nvPr/>
          </p:nvSpPr>
          <p:spPr>
            <a:xfrm flipV="1">
              <a:off x="6232151" y="1815957"/>
              <a:ext cx="2578953" cy="549155"/>
            </a:xfrm>
            <a:custGeom>
              <a:avLst/>
              <a:gdLst>
                <a:gd name="connsiteX0" fmla="*/ 2536873 w 2578953"/>
                <a:gd name="connsiteY0" fmla="*/ -819 h 549155"/>
                <a:gd name="connsiteX1" fmla="*/ 2549556 w 2578953"/>
                <a:gd name="connsiteY1" fmla="*/ 22891 h 549155"/>
                <a:gd name="connsiteX2" fmla="*/ 2553760 w 2578953"/>
                <a:gd name="connsiteY2" fmla="*/ -2473 h 549155"/>
                <a:gd name="connsiteX3" fmla="*/ 2569613 w 2578953"/>
                <a:gd name="connsiteY3" fmla="*/ 1386 h 549155"/>
                <a:gd name="connsiteX4" fmla="*/ 2536873 w 2578953"/>
                <a:gd name="connsiteY4" fmla="*/ -819 h 549155"/>
                <a:gd name="connsiteX5" fmla="*/ 1820195 w 2578953"/>
                <a:gd name="connsiteY5" fmla="*/ 126692 h 549155"/>
                <a:gd name="connsiteX6" fmla="*/ 1820195 w 2578953"/>
                <a:gd name="connsiteY6" fmla="*/ 126692 h 549155"/>
                <a:gd name="connsiteX7" fmla="*/ -5480 w 2578953"/>
                <a:gd name="connsiteY7" fmla="*/ 545133 h 549155"/>
                <a:gd name="connsiteX8" fmla="*/ -1413 w 2578953"/>
                <a:gd name="connsiteY8" fmla="*/ 529280 h 549155"/>
                <a:gd name="connsiteX9" fmla="*/ -5480 w 2578953"/>
                <a:gd name="connsiteY9" fmla="*/ 545133 h 54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8953" h="549155">
                  <a:moveTo>
                    <a:pt x="2536873" y="-819"/>
                  </a:moveTo>
                  <a:cubicBezTo>
                    <a:pt x="2539079" y="8072"/>
                    <a:pt x="2541423" y="17239"/>
                    <a:pt x="2549556" y="22891"/>
                  </a:cubicBezTo>
                  <a:cubicBezTo>
                    <a:pt x="2550590" y="16550"/>
                    <a:pt x="2552726" y="3868"/>
                    <a:pt x="2553760" y="-2473"/>
                  </a:cubicBezTo>
                  <a:cubicBezTo>
                    <a:pt x="2557689" y="-1508"/>
                    <a:pt x="2565684" y="422"/>
                    <a:pt x="2569613" y="1386"/>
                  </a:cubicBezTo>
                  <a:cubicBezTo>
                    <a:pt x="2559343" y="-5851"/>
                    <a:pt x="2547971" y="-5023"/>
                    <a:pt x="2536873" y="-819"/>
                  </a:cubicBezTo>
                  <a:close/>
                  <a:moveTo>
                    <a:pt x="1820195" y="126692"/>
                  </a:moveTo>
                  <a:cubicBezTo>
                    <a:pt x="1823711" y="122763"/>
                    <a:pt x="1823711" y="122763"/>
                    <a:pt x="1820195" y="126692"/>
                  </a:cubicBezTo>
                  <a:moveTo>
                    <a:pt x="-5480" y="545133"/>
                  </a:moveTo>
                  <a:cubicBezTo>
                    <a:pt x="3342" y="542858"/>
                    <a:pt x="4721" y="537620"/>
                    <a:pt x="-1413" y="529280"/>
                  </a:cubicBezTo>
                  <a:cubicBezTo>
                    <a:pt x="-10373" y="531486"/>
                    <a:pt x="-11752" y="536793"/>
                    <a:pt x="-5480" y="545133"/>
                  </a:cubicBezTo>
                </a:path>
              </a:pathLst>
            </a:custGeom>
            <a:grpFill/>
            <a:ln w="689" cap="flat">
              <a:noFill/>
              <a:prstDash val="solid"/>
              <a:miter/>
            </a:ln>
          </p:spPr>
          <p:txBody>
            <a:bodyPr rtlCol="0" anchor="ctr"/>
            <a:lstStyle/>
            <a:p>
              <a:endParaRPr lang="en-US" sz="2400" dirty="0"/>
            </a:p>
          </p:txBody>
        </p:sp>
        <p:sp>
          <p:nvSpPr>
            <p:cNvPr id="262" name="Graphic 8">
              <a:extLst>
                <a:ext uri="{FF2B5EF4-FFF2-40B4-BE49-F238E27FC236}">
                  <a16:creationId xmlns:a16="http://schemas.microsoft.com/office/drawing/2014/main" id="{AD13ABF1-1C1A-4CBC-97A9-5E3656974967}"/>
                </a:ext>
              </a:extLst>
            </p:cNvPr>
            <p:cNvSpPr/>
            <p:nvPr/>
          </p:nvSpPr>
          <p:spPr>
            <a:xfrm flipV="1">
              <a:off x="1614747" y="1821264"/>
              <a:ext cx="5660829" cy="1918890"/>
            </a:xfrm>
            <a:custGeom>
              <a:avLst/>
              <a:gdLst>
                <a:gd name="connsiteX0" fmla="*/ -3054 w 5660829"/>
                <a:gd name="connsiteY0" fmla="*/ 6584 h 1918890"/>
                <a:gd name="connsiteX1" fmla="*/ -3054 w 5660829"/>
                <a:gd name="connsiteY1" fmla="*/ 6584 h 1918890"/>
                <a:gd name="connsiteX2" fmla="*/ 3339653 w 5660829"/>
                <a:gd name="connsiteY2" fmla="*/ 187718 h 1918890"/>
                <a:gd name="connsiteX3" fmla="*/ 3339584 w 5660829"/>
                <a:gd name="connsiteY3" fmla="*/ 173520 h 1918890"/>
                <a:gd name="connsiteX4" fmla="*/ 3339653 w 5660829"/>
                <a:gd name="connsiteY4" fmla="*/ 187718 h 1918890"/>
                <a:gd name="connsiteX5" fmla="*/ 4373798 w 5660829"/>
                <a:gd name="connsiteY5" fmla="*/ 288831 h 1918890"/>
                <a:gd name="connsiteX6" fmla="*/ 4373798 w 5660829"/>
                <a:gd name="connsiteY6" fmla="*/ 288831 h 1918890"/>
                <a:gd name="connsiteX7" fmla="*/ 4312248 w 5660829"/>
                <a:gd name="connsiteY7" fmla="*/ 317159 h 1918890"/>
                <a:gd name="connsiteX8" fmla="*/ 4312248 w 5660829"/>
                <a:gd name="connsiteY8" fmla="*/ 317159 h 1918890"/>
                <a:gd name="connsiteX9" fmla="*/ 2926588 w 5660829"/>
                <a:gd name="connsiteY9" fmla="*/ 812589 h 1918890"/>
                <a:gd name="connsiteX10" fmla="*/ 2926588 w 5660829"/>
                <a:gd name="connsiteY10" fmla="*/ 812589 h 1918890"/>
                <a:gd name="connsiteX11" fmla="*/ 2720434 w 5660829"/>
                <a:gd name="connsiteY11" fmla="*/ 1204770 h 1918890"/>
                <a:gd name="connsiteX12" fmla="*/ 2723536 w 5660829"/>
                <a:gd name="connsiteY12" fmla="*/ 1169343 h 1918890"/>
                <a:gd name="connsiteX13" fmla="*/ 2720434 w 5660829"/>
                <a:gd name="connsiteY13" fmla="*/ 1204770 h 1918890"/>
                <a:gd name="connsiteX14" fmla="*/ 2195435 w 5660829"/>
                <a:gd name="connsiteY14" fmla="*/ 1391556 h 1918890"/>
                <a:gd name="connsiteX15" fmla="*/ 2195435 w 5660829"/>
                <a:gd name="connsiteY15" fmla="*/ 1391556 h 1918890"/>
                <a:gd name="connsiteX16" fmla="*/ 5647181 w 5660829"/>
                <a:gd name="connsiteY16" fmla="*/ 1916003 h 1918890"/>
                <a:gd name="connsiteX17" fmla="*/ 5647181 w 5660829"/>
                <a:gd name="connsiteY17" fmla="*/ 1916003 h 191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60829" h="1918890">
                  <a:moveTo>
                    <a:pt x="-3054" y="6584"/>
                  </a:moveTo>
                  <a:cubicBezTo>
                    <a:pt x="19623" y="4310"/>
                    <a:pt x="-14495" y="-13542"/>
                    <a:pt x="-3054" y="6584"/>
                  </a:cubicBezTo>
                  <a:close/>
                  <a:moveTo>
                    <a:pt x="3339653" y="187718"/>
                  </a:moveTo>
                  <a:cubicBezTo>
                    <a:pt x="3348613" y="183996"/>
                    <a:pt x="3348544" y="179241"/>
                    <a:pt x="3339584" y="173520"/>
                  </a:cubicBezTo>
                  <a:cubicBezTo>
                    <a:pt x="3330692" y="177311"/>
                    <a:pt x="3330692" y="182066"/>
                    <a:pt x="3339653" y="187718"/>
                  </a:cubicBezTo>
                  <a:moveTo>
                    <a:pt x="4373798" y="288831"/>
                  </a:moveTo>
                  <a:cubicBezTo>
                    <a:pt x="4396474" y="286832"/>
                    <a:pt x="4362426" y="268498"/>
                    <a:pt x="4373798" y="288831"/>
                  </a:cubicBezTo>
                  <a:moveTo>
                    <a:pt x="4312248" y="317159"/>
                  </a:moveTo>
                  <a:cubicBezTo>
                    <a:pt x="4315694" y="313575"/>
                    <a:pt x="4315694" y="313575"/>
                    <a:pt x="4312248" y="317159"/>
                  </a:cubicBezTo>
                  <a:moveTo>
                    <a:pt x="2926588" y="812589"/>
                  </a:moveTo>
                  <a:cubicBezTo>
                    <a:pt x="2930240" y="809143"/>
                    <a:pt x="2930240" y="809143"/>
                    <a:pt x="2926588" y="812589"/>
                  </a:cubicBezTo>
                  <a:moveTo>
                    <a:pt x="2720434" y="1204770"/>
                  </a:moveTo>
                  <a:cubicBezTo>
                    <a:pt x="2730359" y="1199532"/>
                    <a:pt x="2728498" y="1178855"/>
                    <a:pt x="2723536" y="1169343"/>
                  </a:cubicBezTo>
                  <a:cubicBezTo>
                    <a:pt x="2713266" y="1174926"/>
                    <a:pt x="2715816" y="1195121"/>
                    <a:pt x="2720434" y="1204770"/>
                  </a:cubicBezTo>
                  <a:moveTo>
                    <a:pt x="2195435" y="1391556"/>
                  </a:moveTo>
                  <a:cubicBezTo>
                    <a:pt x="2218111" y="1390109"/>
                    <a:pt x="2184614" y="1370947"/>
                    <a:pt x="2195435" y="1391556"/>
                  </a:cubicBezTo>
                  <a:moveTo>
                    <a:pt x="5647181" y="1916003"/>
                  </a:moveTo>
                  <a:cubicBezTo>
                    <a:pt x="5669994" y="1915521"/>
                    <a:pt x="5636704" y="1895119"/>
                    <a:pt x="5647181" y="1916003"/>
                  </a:cubicBezTo>
                </a:path>
              </a:pathLst>
            </a:custGeom>
            <a:grpFill/>
            <a:ln w="689" cap="flat">
              <a:noFill/>
              <a:prstDash val="solid"/>
              <a:miter/>
            </a:ln>
          </p:spPr>
          <p:txBody>
            <a:bodyPr rtlCol="0" anchor="ctr"/>
            <a:lstStyle/>
            <a:p>
              <a:endParaRPr lang="en-US" sz="2400" dirty="0"/>
            </a:p>
          </p:txBody>
        </p:sp>
        <p:sp>
          <p:nvSpPr>
            <p:cNvPr id="263" name="Graphic 8">
              <a:extLst>
                <a:ext uri="{FF2B5EF4-FFF2-40B4-BE49-F238E27FC236}">
                  <a16:creationId xmlns:a16="http://schemas.microsoft.com/office/drawing/2014/main" id="{F0A94549-B286-4CE9-B5E0-2070063CC6D2}"/>
                </a:ext>
              </a:extLst>
            </p:cNvPr>
            <p:cNvSpPr/>
            <p:nvPr/>
          </p:nvSpPr>
          <p:spPr>
            <a:xfrm flipV="1">
              <a:off x="7109626" y="1827438"/>
              <a:ext cx="12360" cy="12481"/>
            </a:xfrm>
            <a:custGeom>
              <a:avLst/>
              <a:gdLst>
                <a:gd name="connsiteX0" fmla="*/ -8343 w 12360"/>
                <a:gd name="connsiteY0" fmla="*/ 7524 h 12481"/>
                <a:gd name="connsiteX1" fmla="*/ 3098 w 12360"/>
                <a:gd name="connsiteY1" fmla="*/ -3986 h 12481"/>
                <a:gd name="connsiteX2" fmla="*/ -8343 w 12360"/>
                <a:gd name="connsiteY2" fmla="*/ 7524 h 12481"/>
                <a:gd name="connsiteX3" fmla="*/ -8343 w 12360"/>
                <a:gd name="connsiteY3" fmla="*/ 7524 h 12481"/>
              </a:gdLst>
              <a:ahLst/>
              <a:cxnLst>
                <a:cxn ang="0">
                  <a:pos x="connsiteX0" y="connsiteY0"/>
                </a:cxn>
                <a:cxn ang="0">
                  <a:pos x="connsiteX1" y="connsiteY1"/>
                </a:cxn>
                <a:cxn ang="0">
                  <a:pos x="connsiteX2" y="connsiteY2"/>
                </a:cxn>
                <a:cxn ang="0">
                  <a:pos x="connsiteX3" y="connsiteY3"/>
                </a:cxn>
              </a:cxnLst>
              <a:rect l="l" t="t" r="r" b="b"/>
              <a:pathLst>
                <a:path w="12360" h="12481">
                  <a:moveTo>
                    <a:pt x="-8343" y="7524"/>
                  </a:moveTo>
                  <a:cubicBezTo>
                    <a:pt x="1100" y="9523"/>
                    <a:pt x="4891" y="5664"/>
                    <a:pt x="3098" y="-3986"/>
                  </a:cubicBezTo>
                  <a:cubicBezTo>
                    <a:pt x="-6482" y="-5847"/>
                    <a:pt x="-10273" y="-2056"/>
                    <a:pt x="-8343" y="7524"/>
                  </a:cubicBezTo>
                  <a:lnTo>
                    <a:pt x="-8343" y="7524"/>
                  </a:lnTo>
                </a:path>
              </a:pathLst>
            </a:custGeom>
            <a:grpFill/>
            <a:ln w="689" cap="flat">
              <a:noFill/>
              <a:prstDash val="solid"/>
              <a:miter/>
            </a:ln>
          </p:spPr>
          <p:txBody>
            <a:bodyPr rtlCol="0" anchor="ctr"/>
            <a:lstStyle/>
            <a:p>
              <a:endParaRPr lang="en-US" sz="2400" dirty="0"/>
            </a:p>
          </p:txBody>
        </p:sp>
        <p:sp>
          <p:nvSpPr>
            <p:cNvPr id="264" name="Graphic 8">
              <a:extLst>
                <a:ext uri="{FF2B5EF4-FFF2-40B4-BE49-F238E27FC236}">
                  <a16:creationId xmlns:a16="http://schemas.microsoft.com/office/drawing/2014/main" id="{76853D74-333A-4B57-B6AE-291DFE4264D8}"/>
                </a:ext>
              </a:extLst>
            </p:cNvPr>
            <p:cNvSpPr/>
            <p:nvPr/>
          </p:nvSpPr>
          <p:spPr>
            <a:xfrm flipV="1">
              <a:off x="1228605" y="1834704"/>
              <a:ext cx="5097461" cy="1781718"/>
            </a:xfrm>
            <a:custGeom>
              <a:avLst/>
              <a:gdLst>
                <a:gd name="connsiteX0" fmla="*/ 1452329 w 5097461"/>
                <a:gd name="connsiteY0" fmla="*/ -342 h 1781718"/>
                <a:gd name="connsiteX1" fmla="*/ 1452329 w 5097461"/>
                <a:gd name="connsiteY1" fmla="*/ -342 h 1781718"/>
                <a:gd name="connsiteX2" fmla="*/ 5057982 w 5097461"/>
                <a:gd name="connsiteY2" fmla="*/ 200022 h 1781718"/>
                <a:gd name="connsiteX3" fmla="*/ 5057982 w 5097461"/>
                <a:gd name="connsiteY3" fmla="*/ 200022 h 1781718"/>
                <a:gd name="connsiteX4" fmla="*/ -2739 w 5097461"/>
                <a:gd name="connsiteY4" fmla="*/ 350760 h 1781718"/>
                <a:gd name="connsiteX5" fmla="*/ -2739 w 5097461"/>
                <a:gd name="connsiteY5" fmla="*/ 350760 h 1781718"/>
                <a:gd name="connsiteX6" fmla="*/ 3706715 w 5097461"/>
                <a:gd name="connsiteY6" fmla="*/ 993413 h 1781718"/>
                <a:gd name="connsiteX7" fmla="*/ 3717261 w 5097461"/>
                <a:gd name="connsiteY7" fmla="*/ 982316 h 1781718"/>
                <a:gd name="connsiteX8" fmla="*/ 3706715 w 5097461"/>
                <a:gd name="connsiteY8" fmla="*/ 993413 h 1781718"/>
                <a:gd name="connsiteX9" fmla="*/ 5085001 w 5097461"/>
                <a:gd name="connsiteY9" fmla="*/ 1549980 h 1781718"/>
                <a:gd name="connsiteX10" fmla="*/ 5089068 w 5097461"/>
                <a:gd name="connsiteY10" fmla="*/ 1534540 h 1781718"/>
                <a:gd name="connsiteX11" fmla="*/ 5085001 w 5097461"/>
                <a:gd name="connsiteY11" fmla="*/ 1549980 h 1781718"/>
                <a:gd name="connsiteX12" fmla="*/ 3596229 w 5097461"/>
                <a:gd name="connsiteY12" fmla="*/ 1778740 h 1781718"/>
                <a:gd name="connsiteX13" fmla="*/ 3596229 w 5097461"/>
                <a:gd name="connsiteY13" fmla="*/ 1778740 h 178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97461" h="1781718">
                  <a:moveTo>
                    <a:pt x="1452329" y="-342"/>
                  </a:moveTo>
                  <a:cubicBezTo>
                    <a:pt x="1456188" y="-3857"/>
                    <a:pt x="1456188" y="-3857"/>
                    <a:pt x="1452329" y="-342"/>
                  </a:cubicBezTo>
                  <a:close/>
                  <a:moveTo>
                    <a:pt x="5057982" y="200022"/>
                  </a:moveTo>
                  <a:cubicBezTo>
                    <a:pt x="5061567" y="196300"/>
                    <a:pt x="5061567" y="196300"/>
                    <a:pt x="5057982" y="200022"/>
                  </a:cubicBezTo>
                  <a:moveTo>
                    <a:pt x="-2739" y="350760"/>
                  </a:moveTo>
                  <a:cubicBezTo>
                    <a:pt x="19937" y="350140"/>
                    <a:pt x="-12526" y="329669"/>
                    <a:pt x="-2739" y="350760"/>
                  </a:cubicBezTo>
                  <a:moveTo>
                    <a:pt x="3706715" y="993413"/>
                  </a:moveTo>
                  <a:cubicBezTo>
                    <a:pt x="3716434" y="995481"/>
                    <a:pt x="3719949" y="991759"/>
                    <a:pt x="3717261" y="982316"/>
                  </a:cubicBezTo>
                  <a:cubicBezTo>
                    <a:pt x="3707474" y="980318"/>
                    <a:pt x="3703958" y="984040"/>
                    <a:pt x="3706715" y="993413"/>
                  </a:cubicBezTo>
                  <a:moveTo>
                    <a:pt x="5085001" y="1549980"/>
                  </a:moveTo>
                  <a:cubicBezTo>
                    <a:pt x="5093823" y="1548394"/>
                    <a:pt x="5095202" y="1543225"/>
                    <a:pt x="5089068" y="1534540"/>
                  </a:cubicBezTo>
                  <a:cubicBezTo>
                    <a:pt x="5080108" y="1536263"/>
                    <a:pt x="5078729" y="1541433"/>
                    <a:pt x="5085001" y="1549980"/>
                  </a:cubicBezTo>
                  <a:moveTo>
                    <a:pt x="3596229" y="1778740"/>
                  </a:moveTo>
                  <a:cubicBezTo>
                    <a:pt x="3599882" y="1775019"/>
                    <a:pt x="3599882" y="1775019"/>
                    <a:pt x="3596229" y="1778740"/>
                  </a:cubicBezTo>
                </a:path>
              </a:pathLst>
            </a:custGeom>
            <a:grpFill/>
            <a:ln w="689" cap="flat">
              <a:noFill/>
              <a:prstDash val="solid"/>
              <a:miter/>
            </a:ln>
          </p:spPr>
          <p:txBody>
            <a:bodyPr rtlCol="0" anchor="ctr"/>
            <a:lstStyle/>
            <a:p>
              <a:endParaRPr lang="en-US" sz="2400" dirty="0"/>
            </a:p>
          </p:txBody>
        </p:sp>
        <p:sp>
          <p:nvSpPr>
            <p:cNvPr id="265" name="Graphic 8">
              <a:extLst>
                <a:ext uri="{FF2B5EF4-FFF2-40B4-BE49-F238E27FC236}">
                  <a16:creationId xmlns:a16="http://schemas.microsoft.com/office/drawing/2014/main" id="{BF0E46BC-F488-4F97-9FAD-488A0A9971CE}"/>
                </a:ext>
              </a:extLst>
            </p:cNvPr>
            <p:cNvSpPr/>
            <p:nvPr/>
          </p:nvSpPr>
          <p:spPr>
            <a:xfrm flipV="1">
              <a:off x="4840005" y="1833739"/>
              <a:ext cx="10260" cy="9694"/>
            </a:xfrm>
            <a:custGeom>
              <a:avLst/>
              <a:gdLst>
                <a:gd name="connsiteX0" fmla="*/ -3487 w 10260"/>
                <a:gd name="connsiteY0" fmla="*/ 5258 h 9694"/>
                <a:gd name="connsiteX1" fmla="*/ -3487 w 10260"/>
                <a:gd name="connsiteY1" fmla="*/ 5258 h 9694"/>
                <a:gd name="connsiteX2" fmla="*/ -3487 w 10260"/>
                <a:gd name="connsiteY2" fmla="*/ 5258 h 9694"/>
              </a:gdLst>
              <a:ahLst/>
              <a:cxnLst>
                <a:cxn ang="0">
                  <a:pos x="connsiteX0" y="connsiteY0"/>
                </a:cxn>
                <a:cxn ang="0">
                  <a:pos x="connsiteX1" y="connsiteY1"/>
                </a:cxn>
                <a:cxn ang="0">
                  <a:pos x="connsiteX2" y="connsiteY2"/>
                </a:cxn>
              </a:cxnLst>
              <a:rect l="l" t="t" r="r" b="b"/>
              <a:pathLst>
                <a:path w="10260" h="9694">
                  <a:moveTo>
                    <a:pt x="-3487" y="5258"/>
                  </a:moveTo>
                  <a:cubicBezTo>
                    <a:pt x="18776" y="2570"/>
                    <a:pt x="-15066" y="-15144"/>
                    <a:pt x="-3487" y="5258"/>
                  </a:cubicBezTo>
                  <a:lnTo>
                    <a:pt x="-3487" y="5258"/>
                  </a:lnTo>
                </a:path>
              </a:pathLst>
            </a:custGeom>
            <a:grpFill/>
            <a:ln w="689" cap="flat">
              <a:noFill/>
              <a:prstDash val="solid"/>
              <a:miter/>
            </a:ln>
          </p:spPr>
          <p:txBody>
            <a:bodyPr rtlCol="0" anchor="ctr"/>
            <a:lstStyle/>
            <a:p>
              <a:endParaRPr lang="en-US" sz="2400" dirty="0"/>
            </a:p>
          </p:txBody>
        </p:sp>
        <p:sp>
          <p:nvSpPr>
            <p:cNvPr id="266" name="Graphic 8">
              <a:extLst>
                <a:ext uri="{FF2B5EF4-FFF2-40B4-BE49-F238E27FC236}">
                  <a16:creationId xmlns:a16="http://schemas.microsoft.com/office/drawing/2014/main" id="{E04948AF-50D6-4009-997E-76D67A3D0A19}"/>
                </a:ext>
              </a:extLst>
            </p:cNvPr>
            <p:cNvSpPr/>
            <p:nvPr/>
          </p:nvSpPr>
          <p:spPr>
            <a:xfrm flipV="1">
              <a:off x="1613718" y="1842561"/>
              <a:ext cx="4828849" cy="1270531"/>
            </a:xfrm>
            <a:custGeom>
              <a:avLst/>
              <a:gdLst>
                <a:gd name="connsiteX0" fmla="*/ -2671 w 4828849"/>
                <a:gd name="connsiteY0" fmla="*/ 6032 h 1270531"/>
                <a:gd name="connsiteX1" fmla="*/ -2671 w 4828849"/>
                <a:gd name="connsiteY1" fmla="*/ 6032 h 1270531"/>
                <a:gd name="connsiteX2" fmla="*/ 4815711 w 4828849"/>
                <a:gd name="connsiteY2" fmla="*/ 1267146 h 1270531"/>
                <a:gd name="connsiteX3" fmla="*/ 4815711 w 4828849"/>
                <a:gd name="connsiteY3" fmla="*/ 1267146 h 1270531"/>
              </a:gdLst>
              <a:ahLst/>
              <a:cxnLst>
                <a:cxn ang="0">
                  <a:pos x="connsiteX0" y="connsiteY0"/>
                </a:cxn>
                <a:cxn ang="0">
                  <a:pos x="connsiteX1" y="connsiteY1"/>
                </a:cxn>
                <a:cxn ang="0">
                  <a:pos x="connsiteX2" y="connsiteY2"/>
                </a:cxn>
                <a:cxn ang="0">
                  <a:pos x="connsiteX3" y="connsiteY3"/>
                </a:cxn>
              </a:cxnLst>
              <a:rect l="l" t="t" r="r" b="b"/>
              <a:pathLst>
                <a:path w="4828849" h="1270531">
                  <a:moveTo>
                    <a:pt x="-2671" y="6032"/>
                  </a:moveTo>
                  <a:cubicBezTo>
                    <a:pt x="20143" y="4240"/>
                    <a:pt x="-13699" y="-14232"/>
                    <a:pt x="-2671" y="6032"/>
                  </a:cubicBezTo>
                  <a:close/>
                  <a:moveTo>
                    <a:pt x="4815711" y="1267146"/>
                  </a:moveTo>
                  <a:cubicBezTo>
                    <a:pt x="4838456" y="1266663"/>
                    <a:pt x="4805511" y="1246262"/>
                    <a:pt x="4815711" y="1267146"/>
                  </a:cubicBezTo>
                </a:path>
              </a:pathLst>
            </a:custGeom>
            <a:grpFill/>
            <a:ln w="689" cap="flat">
              <a:noFill/>
              <a:prstDash val="solid"/>
              <a:miter/>
            </a:ln>
          </p:spPr>
          <p:txBody>
            <a:bodyPr rtlCol="0" anchor="ctr"/>
            <a:lstStyle/>
            <a:p>
              <a:endParaRPr lang="en-US" sz="2400" dirty="0"/>
            </a:p>
          </p:txBody>
        </p:sp>
        <p:sp>
          <p:nvSpPr>
            <p:cNvPr id="267" name="Graphic 8">
              <a:extLst>
                <a:ext uri="{FF2B5EF4-FFF2-40B4-BE49-F238E27FC236}">
                  <a16:creationId xmlns:a16="http://schemas.microsoft.com/office/drawing/2014/main" id="{03419F6F-76C8-45EA-9808-5054859FAA1B}"/>
                </a:ext>
              </a:extLst>
            </p:cNvPr>
            <p:cNvSpPr/>
            <p:nvPr/>
          </p:nvSpPr>
          <p:spPr>
            <a:xfrm flipV="1">
              <a:off x="6171292" y="1842010"/>
              <a:ext cx="1801357" cy="1140389"/>
            </a:xfrm>
            <a:custGeom>
              <a:avLst/>
              <a:gdLst>
                <a:gd name="connsiteX0" fmla="*/ -6846 w 1801357"/>
                <a:gd name="connsiteY0" fmla="*/ 5912 h 1140389"/>
                <a:gd name="connsiteX1" fmla="*/ -6846 w 1801357"/>
                <a:gd name="connsiteY1" fmla="*/ 5912 h 1140389"/>
                <a:gd name="connsiteX2" fmla="*/ 1784712 w 1801357"/>
                <a:gd name="connsiteY2" fmla="*/ 1136896 h 1140389"/>
                <a:gd name="connsiteX3" fmla="*/ 1784712 w 1801357"/>
                <a:gd name="connsiteY3" fmla="*/ 1136896 h 1140389"/>
              </a:gdLst>
              <a:ahLst/>
              <a:cxnLst>
                <a:cxn ang="0">
                  <a:pos x="connsiteX0" y="connsiteY0"/>
                </a:cxn>
                <a:cxn ang="0">
                  <a:pos x="connsiteX1" y="connsiteY1"/>
                </a:cxn>
                <a:cxn ang="0">
                  <a:pos x="connsiteX2" y="connsiteY2"/>
                </a:cxn>
                <a:cxn ang="0">
                  <a:pos x="connsiteX3" y="connsiteY3"/>
                </a:cxn>
              </a:cxnLst>
              <a:rect l="l" t="t" r="r" b="b"/>
              <a:pathLst>
                <a:path w="1801357" h="1140389">
                  <a:moveTo>
                    <a:pt x="-6846" y="5912"/>
                  </a:moveTo>
                  <a:cubicBezTo>
                    <a:pt x="15968" y="5498"/>
                    <a:pt x="-16771" y="-15042"/>
                    <a:pt x="-6846" y="5912"/>
                  </a:cubicBezTo>
                  <a:close/>
                  <a:moveTo>
                    <a:pt x="1784712" y="1136896"/>
                  </a:moveTo>
                  <a:cubicBezTo>
                    <a:pt x="1807181" y="1134690"/>
                    <a:pt x="1773201" y="1116563"/>
                    <a:pt x="1784712" y="1136896"/>
                  </a:cubicBezTo>
                </a:path>
              </a:pathLst>
            </a:custGeom>
            <a:grpFill/>
            <a:ln w="689" cap="flat">
              <a:noFill/>
              <a:prstDash val="solid"/>
              <a:miter/>
            </a:ln>
          </p:spPr>
          <p:txBody>
            <a:bodyPr rtlCol="0" anchor="ctr"/>
            <a:lstStyle/>
            <a:p>
              <a:endParaRPr lang="en-US" sz="2400" dirty="0"/>
            </a:p>
          </p:txBody>
        </p:sp>
        <p:sp>
          <p:nvSpPr>
            <p:cNvPr id="268" name="Graphic 8">
              <a:extLst>
                <a:ext uri="{FF2B5EF4-FFF2-40B4-BE49-F238E27FC236}">
                  <a16:creationId xmlns:a16="http://schemas.microsoft.com/office/drawing/2014/main" id="{C65EA051-7997-4E92-9DD3-39156D4D94D2}"/>
                </a:ext>
              </a:extLst>
            </p:cNvPr>
            <p:cNvSpPr/>
            <p:nvPr/>
          </p:nvSpPr>
          <p:spPr>
            <a:xfrm flipV="1">
              <a:off x="4763576" y="1847317"/>
              <a:ext cx="4046977" cy="171690"/>
            </a:xfrm>
            <a:custGeom>
              <a:avLst/>
              <a:gdLst>
                <a:gd name="connsiteX0" fmla="*/ 4013817 w 4046977"/>
                <a:gd name="connsiteY0" fmla="*/ 49066 h 171690"/>
                <a:gd name="connsiteX1" fmla="*/ 4038560 w 4046977"/>
                <a:gd name="connsiteY1" fmla="*/ 42863 h 171690"/>
                <a:gd name="connsiteX2" fmla="*/ 4016643 w 4046977"/>
                <a:gd name="connsiteY2" fmla="*/ -4281 h 171690"/>
                <a:gd name="connsiteX3" fmla="*/ 3998998 w 4046977"/>
                <a:gd name="connsiteY3" fmla="*/ -2490 h 171690"/>
                <a:gd name="connsiteX4" fmla="*/ 4014988 w 4046977"/>
                <a:gd name="connsiteY4" fmla="*/ 28665 h 171690"/>
                <a:gd name="connsiteX5" fmla="*/ 4013817 w 4046977"/>
                <a:gd name="connsiteY5" fmla="*/ 49066 h 171690"/>
                <a:gd name="connsiteX6" fmla="*/ 1439 w 4046977"/>
                <a:gd name="connsiteY6" fmla="*/ 167410 h 171690"/>
                <a:gd name="connsiteX7" fmla="*/ 13431 w 4046977"/>
                <a:gd name="connsiteY7" fmla="*/ 158587 h 171690"/>
                <a:gd name="connsiteX8" fmla="*/ -285 w 4046977"/>
                <a:gd name="connsiteY8" fmla="*/ 142873 h 171690"/>
                <a:gd name="connsiteX9" fmla="*/ 37486 w 4046977"/>
                <a:gd name="connsiteY9" fmla="*/ 127158 h 171690"/>
                <a:gd name="connsiteX10" fmla="*/ 36659 w 4046977"/>
                <a:gd name="connsiteY10" fmla="*/ 100071 h 171690"/>
                <a:gd name="connsiteX11" fmla="*/ 18739 w 4046977"/>
                <a:gd name="connsiteY11" fmla="*/ 102621 h 171690"/>
                <a:gd name="connsiteX12" fmla="*/ 13776 w 4046977"/>
                <a:gd name="connsiteY12" fmla="*/ 108410 h 171690"/>
                <a:gd name="connsiteX13" fmla="*/ -2421 w 4046977"/>
                <a:gd name="connsiteY13" fmla="*/ 109651 h 171690"/>
                <a:gd name="connsiteX14" fmla="*/ -8418 w 4046977"/>
                <a:gd name="connsiteY14" fmla="*/ 110134 h 171690"/>
                <a:gd name="connsiteX15" fmla="*/ 11157 w 4046977"/>
                <a:gd name="connsiteY15" fmla="*/ 117233 h 171690"/>
                <a:gd name="connsiteX16" fmla="*/ 1439 w 4046977"/>
                <a:gd name="connsiteY16" fmla="*/ 167410 h 17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46977" h="171690">
                  <a:moveTo>
                    <a:pt x="4013817" y="49066"/>
                  </a:moveTo>
                  <a:cubicBezTo>
                    <a:pt x="4021881" y="46999"/>
                    <a:pt x="4030221" y="44931"/>
                    <a:pt x="4038560" y="42863"/>
                  </a:cubicBezTo>
                  <a:cubicBezTo>
                    <a:pt x="4025052" y="30663"/>
                    <a:pt x="4014575" y="14742"/>
                    <a:pt x="4016643" y="-4281"/>
                  </a:cubicBezTo>
                  <a:cubicBezTo>
                    <a:pt x="4012783" y="7918"/>
                    <a:pt x="4006855" y="8538"/>
                    <a:pt x="3998998" y="-2490"/>
                  </a:cubicBezTo>
                  <a:cubicBezTo>
                    <a:pt x="3976666" y="5024"/>
                    <a:pt x="3999135" y="29974"/>
                    <a:pt x="4014988" y="28665"/>
                  </a:cubicBezTo>
                  <a:cubicBezTo>
                    <a:pt x="4014713" y="33765"/>
                    <a:pt x="4014092" y="43966"/>
                    <a:pt x="4013817" y="49066"/>
                  </a:cubicBezTo>
                  <a:close/>
                  <a:moveTo>
                    <a:pt x="1439" y="167410"/>
                  </a:moveTo>
                  <a:cubicBezTo>
                    <a:pt x="5367" y="164515"/>
                    <a:pt x="9365" y="161551"/>
                    <a:pt x="13431" y="158587"/>
                  </a:cubicBezTo>
                  <a:cubicBezTo>
                    <a:pt x="-423" y="160173"/>
                    <a:pt x="-4971" y="154935"/>
                    <a:pt x="-285" y="142873"/>
                  </a:cubicBezTo>
                  <a:cubicBezTo>
                    <a:pt x="12053" y="137152"/>
                    <a:pt x="24804" y="132258"/>
                    <a:pt x="37486" y="127158"/>
                  </a:cubicBezTo>
                  <a:cubicBezTo>
                    <a:pt x="37141" y="118129"/>
                    <a:pt x="36866" y="109100"/>
                    <a:pt x="36659" y="100071"/>
                  </a:cubicBezTo>
                  <a:cubicBezTo>
                    <a:pt x="32179" y="100691"/>
                    <a:pt x="23219" y="102000"/>
                    <a:pt x="18739" y="102621"/>
                  </a:cubicBezTo>
                  <a:lnTo>
                    <a:pt x="13776" y="108410"/>
                  </a:lnTo>
                  <a:cubicBezTo>
                    <a:pt x="9710" y="108686"/>
                    <a:pt x="1577" y="109375"/>
                    <a:pt x="-2421" y="109651"/>
                  </a:cubicBezTo>
                  <a:cubicBezTo>
                    <a:pt x="-3937" y="109789"/>
                    <a:pt x="-6901" y="110065"/>
                    <a:pt x="-8418" y="110134"/>
                  </a:cubicBezTo>
                  <a:cubicBezTo>
                    <a:pt x="-3524" y="111925"/>
                    <a:pt x="6263" y="115441"/>
                    <a:pt x="11157" y="117233"/>
                  </a:cubicBezTo>
                  <a:cubicBezTo>
                    <a:pt x="-3179" y="129846"/>
                    <a:pt x="-7315" y="150523"/>
                    <a:pt x="1439" y="167410"/>
                  </a:cubicBezTo>
                </a:path>
              </a:pathLst>
            </a:custGeom>
            <a:grpFill/>
            <a:ln w="689" cap="flat">
              <a:noFill/>
              <a:prstDash val="solid"/>
              <a:miter/>
            </a:ln>
          </p:spPr>
          <p:txBody>
            <a:bodyPr rtlCol="0" anchor="ctr"/>
            <a:lstStyle/>
            <a:p>
              <a:endParaRPr lang="en-US" sz="2400" dirty="0"/>
            </a:p>
          </p:txBody>
        </p:sp>
        <p:sp>
          <p:nvSpPr>
            <p:cNvPr id="269" name="Graphic 8">
              <a:extLst>
                <a:ext uri="{FF2B5EF4-FFF2-40B4-BE49-F238E27FC236}">
                  <a16:creationId xmlns:a16="http://schemas.microsoft.com/office/drawing/2014/main" id="{9EF7EAD5-93B1-45E9-839E-4D80B2266196}"/>
                </a:ext>
              </a:extLst>
            </p:cNvPr>
            <p:cNvSpPr/>
            <p:nvPr/>
          </p:nvSpPr>
          <p:spPr>
            <a:xfrm flipV="1">
              <a:off x="2313787" y="1846697"/>
              <a:ext cx="6211279" cy="1505796"/>
            </a:xfrm>
            <a:custGeom>
              <a:avLst/>
              <a:gdLst>
                <a:gd name="connsiteX0" fmla="*/ 6161367 w 6211279"/>
                <a:gd name="connsiteY0" fmla="*/ 28727 h 1505796"/>
                <a:gd name="connsiteX1" fmla="*/ 6178046 w 6211279"/>
                <a:gd name="connsiteY1" fmla="*/ 63740 h 1505796"/>
                <a:gd name="connsiteX2" fmla="*/ 6164606 w 6211279"/>
                <a:gd name="connsiteY2" fmla="*/ 48922 h 1505796"/>
                <a:gd name="connsiteX3" fmla="*/ 6174049 w 6211279"/>
                <a:gd name="connsiteY3" fmla="*/ 35550 h 1505796"/>
                <a:gd name="connsiteX4" fmla="*/ 6204582 w 6211279"/>
                <a:gd name="connsiteY4" fmla="*/ 21421 h 1505796"/>
                <a:gd name="connsiteX5" fmla="*/ 6199138 w 6211279"/>
                <a:gd name="connsiteY5" fmla="*/ -3185 h 1505796"/>
                <a:gd name="connsiteX6" fmla="*/ 6179701 w 6211279"/>
                <a:gd name="connsiteY6" fmla="*/ 5982 h 1505796"/>
                <a:gd name="connsiteX7" fmla="*/ 6161367 w 6211279"/>
                <a:gd name="connsiteY7" fmla="*/ 28727 h 1505796"/>
                <a:gd name="connsiteX8" fmla="*/ -6009 w 6211279"/>
                <a:gd name="connsiteY8" fmla="*/ 856856 h 1505796"/>
                <a:gd name="connsiteX9" fmla="*/ 31418 w 6211279"/>
                <a:gd name="connsiteY9" fmla="*/ 864713 h 1505796"/>
                <a:gd name="connsiteX10" fmla="*/ 36311 w 6211279"/>
                <a:gd name="connsiteY10" fmla="*/ 845483 h 1505796"/>
                <a:gd name="connsiteX11" fmla="*/ -6698 w 6211279"/>
                <a:gd name="connsiteY11" fmla="*/ 834938 h 1505796"/>
                <a:gd name="connsiteX12" fmla="*/ -6009 w 6211279"/>
                <a:gd name="connsiteY12" fmla="*/ 856856 h 1505796"/>
                <a:gd name="connsiteX13" fmla="*/ 3757690 w 6211279"/>
                <a:gd name="connsiteY13" fmla="*/ 1465185 h 1505796"/>
                <a:gd name="connsiteX14" fmla="*/ 3766650 w 6211279"/>
                <a:gd name="connsiteY14" fmla="*/ 1502611 h 1505796"/>
                <a:gd name="connsiteX15" fmla="*/ 3776988 w 6211279"/>
                <a:gd name="connsiteY15" fmla="*/ 1467321 h 1505796"/>
                <a:gd name="connsiteX16" fmla="*/ 3777884 w 6211279"/>
                <a:gd name="connsiteY16" fmla="*/ 1489515 h 1505796"/>
                <a:gd name="connsiteX17" fmla="*/ 3795736 w 6211279"/>
                <a:gd name="connsiteY17" fmla="*/ 1434307 h 1505796"/>
                <a:gd name="connsiteX18" fmla="*/ 3776506 w 6211279"/>
                <a:gd name="connsiteY18" fmla="*/ 1435271 h 1505796"/>
                <a:gd name="connsiteX19" fmla="*/ 3757690 w 6211279"/>
                <a:gd name="connsiteY19" fmla="*/ 1465185 h 1505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211279" h="1505796">
                  <a:moveTo>
                    <a:pt x="6161367" y="28727"/>
                  </a:moveTo>
                  <a:cubicBezTo>
                    <a:pt x="6163366" y="41960"/>
                    <a:pt x="6160953" y="59605"/>
                    <a:pt x="6178046" y="63740"/>
                  </a:cubicBezTo>
                  <a:cubicBezTo>
                    <a:pt x="6174670" y="60018"/>
                    <a:pt x="6167984" y="52643"/>
                    <a:pt x="6164606" y="48922"/>
                  </a:cubicBezTo>
                  <a:cubicBezTo>
                    <a:pt x="6167639" y="44510"/>
                    <a:pt x="6170741" y="40030"/>
                    <a:pt x="6174049" y="35550"/>
                  </a:cubicBezTo>
                  <a:cubicBezTo>
                    <a:pt x="6184112" y="30932"/>
                    <a:pt x="6194313" y="26176"/>
                    <a:pt x="6204582" y="21421"/>
                  </a:cubicBezTo>
                  <a:cubicBezTo>
                    <a:pt x="6203204" y="15286"/>
                    <a:pt x="6200516" y="2949"/>
                    <a:pt x="6199138" y="-3185"/>
                  </a:cubicBezTo>
                  <a:cubicBezTo>
                    <a:pt x="6192452" y="-291"/>
                    <a:pt x="6184388" y="54"/>
                    <a:pt x="6179701" y="5982"/>
                  </a:cubicBezTo>
                  <a:cubicBezTo>
                    <a:pt x="6173566" y="13701"/>
                    <a:pt x="6167639" y="21283"/>
                    <a:pt x="6161367" y="28727"/>
                  </a:cubicBezTo>
                  <a:close/>
                  <a:moveTo>
                    <a:pt x="-6009" y="856856"/>
                  </a:moveTo>
                  <a:cubicBezTo>
                    <a:pt x="5847" y="862232"/>
                    <a:pt x="18529" y="864438"/>
                    <a:pt x="31418" y="864713"/>
                  </a:cubicBezTo>
                  <a:cubicBezTo>
                    <a:pt x="33003" y="858372"/>
                    <a:pt x="34657" y="851893"/>
                    <a:pt x="36311" y="845483"/>
                  </a:cubicBezTo>
                  <a:cubicBezTo>
                    <a:pt x="21768" y="842933"/>
                    <a:pt x="5433" y="844863"/>
                    <a:pt x="-6698" y="834938"/>
                  </a:cubicBezTo>
                  <a:cubicBezTo>
                    <a:pt x="-6422" y="842244"/>
                    <a:pt x="-6215" y="849619"/>
                    <a:pt x="-6009" y="856856"/>
                  </a:cubicBezTo>
                  <a:moveTo>
                    <a:pt x="3757690" y="1465185"/>
                  </a:moveTo>
                  <a:cubicBezTo>
                    <a:pt x="3760378" y="1477315"/>
                    <a:pt x="3754175" y="1494685"/>
                    <a:pt x="3766650" y="1502611"/>
                  </a:cubicBezTo>
                  <a:cubicBezTo>
                    <a:pt x="3765754" y="1488964"/>
                    <a:pt x="3747006" y="1467597"/>
                    <a:pt x="3776988" y="1467321"/>
                  </a:cubicBezTo>
                  <a:cubicBezTo>
                    <a:pt x="3777195" y="1472904"/>
                    <a:pt x="3777678" y="1484001"/>
                    <a:pt x="3777884" y="1489515"/>
                  </a:cubicBezTo>
                  <a:cubicBezTo>
                    <a:pt x="3798493" y="1478418"/>
                    <a:pt x="3793599" y="1453812"/>
                    <a:pt x="3795736" y="1434307"/>
                  </a:cubicBezTo>
                  <a:cubicBezTo>
                    <a:pt x="3790911" y="1434513"/>
                    <a:pt x="3781331" y="1434996"/>
                    <a:pt x="3776506" y="1435271"/>
                  </a:cubicBezTo>
                  <a:cubicBezTo>
                    <a:pt x="3770717" y="1445610"/>
                    <a:pt x="3764927" y="1455880"/>
                    <a:pt x="3757690" y="1465185"/>
                  </a:cubicBezTo>
                </a:path>
              </a:pathLst>
            </a:custGeom>
            <a:grpFill/>
            <a:ln w="689" cap="flat">
              <a:noFill/>
              <a:prstDash val="solid"/>
              <a:miter/>
            </a:ln>
          </p:spPr>
          <p:txBody>
            <a:bodyPr rtlCol="0" anchor="ctr"/>
            <a:lstStyle/>
            <a:p>
              <a:endParaRPr lang="en-US" sz="2400" dirty="0"/>
            </a:p>
          </p:txBody>
        </p:sp>
        <p:sp>
          <p:nvSpPr>
            <p:cNvPr id="270" name="Graphic 8">
              <a:extLst>
                <a:ext uri="{FF2B5EF4-FFF2-40B4-BE49-F238E27FC236}">
                  <a16:creationId xmlns:a16="http://schemas.microsoft.com/office/drawing/2014/main" id="{BD6DC401-91F7-40DF-9EE4-8F872B68AA74}"/>
                </a:ext>
              </a:extLst>
            </p:cNvPr>
            <p:cNvSpPr/>
            <p:nvPr/>
          </p:nvSpPr>
          <p:spPr>
            <a:xfrm flipV="1">
              <a:off x="7041810" y="1848696"/>
              <a:ext cx="31575" cy="68579"/>
            </a:xfrm>
            <a:custGeom>
              <a:avLst/>
              <a:gdLst>
                <a:gd name="connsiteX0" fmla="*/ -8758 w 31575"/>
                <a:gd name="connsiteY0" fmla="*/ 50294 h 68579"/>
                <a:gd name="connsiteX1" fmla="*/ 13506 w 31575"/>
                <a:gd name="connsiteY1" fmla="*/ 64216 h 68579"/>
                <a:gd name="connsiteX2" fmla="*/ 21638 w 31575"/>
                <a:gd name="connsiteY2" fmla="*/ 4183 h 68579"/>
                <a:gd name="connsiteX3" fmla="*/ 14195 w 31575"/>
                <a:gd name="connsiteY3" fmla="*/ 30719 h 68579"/>
                <a:gd name="connsiteX4" fmla="*/ 892 w 31575"/>
                <a:gd name="connsiteY4" fmla="*/ -4364 h 68579"/>
                <a:gd name="connsiteX5" fmla="*/ -8758 w 31575"/>
                <a:gd name="connsiteY5" fmla="*/ 50294 h 68579"/>
                <a:gd name="connsiteX6" fmla="*/ -8758 w 31575"/>
                <a:gd name="connsiteY6" fmla="*/ 50294 h 6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75" h="68579">
                  <a:moveTo>
                    <a:pt x="-8758" y="50294"/>
                  </a:moveTo>
                  <a:cubicBezTo>
                    <a:pt x="-1658" y="55256"/>
                    <a:pt x="5372" y="60770"/>
                    <a:pt x="13506" y="64216"/>
                  </a:cubicBezTo>
                  <a:cubicBezTo>
                    <a:pt x="25085" y="46089"/>
                    <a:pt x="23224" y="24516"/>
                    <a:pt x="21638" y="4183"/>
                  </a:cubicBezTo>
                  <a:cubicBezTo>
                    <a:pt x="19984" y="13281"/>
                    <a:pt x="17572" y="22172"/>
                    <a:pt x="14195" y="30719"/>
                  </a:cubicBezTo>
                  <a:cubicBezTo>
                    <a:pt x="12954" y="17623"/>
                    <a:pt x="8473" y="5906"/>
                    <a:pt x="892" y="-4364"/>
                  </a:cubicBezTo>
                  <a:cubicBezTo>
                    <a:pt x="-3381" y="13695"/>
                    <a:pt x="-5587" y="32098"/>
                    <a:pt x="-8758" y="50294"/>
                  </a:cubicBezTo>
                  <a:lnTo>
                    <a:pt x="-8758" y="50294"/>
                  </a:lnTo>
                </a:path>
              </a:pathLst>
            </a:custGeom>
            <a:grpFill/>
            <a:ln w="689" cap="flat">
              <a:noFill/>
              <a:prstDash val="solid"/>
              <a:miter/>
            </a:ln>
          </p:spPr>
          <p:txBody>
            <a:bodyPr rtlCol="0" anchor="ctr"/>
            <a:lstStyle/>
            <a:p>
              <a:endParaRPr lang="en-US" sz="2400" dirty="0"/>
            </a:p>
          </p:txBody>
        </p:sp>
        <p:sp>
          <p:nvSpPr>
            <p:cNvPr id="271" name="Graphic 8">
              <a:extLst>
                <a:ext uri="{FF2B5EF4-FFF2-40B4-BE49-F238E27FC236}">
                  <a16:creationId xmlns:a16="http://schemas.microsoft.com/office/drawing/2014/main" id="{94952E8F-AAFF-4014-B737-60B68853D6A9}"/>
                </a:ext>
              </a:extLst>
            </p:cNvPr>
            <p:cNvSpPr/>
            <p:nvPr/>
          </p:nvSpPr>
          <p:spPr>
            <a:xfrm flipV="1">
              <a:off x="1338419" y="1848075"/>
              <a:ext cx="5891124" cy="1748221"/>
            </a:xfrm>
            <a:custGeom>
              <a:avLst/>
              <a:gdLst>
                <a:gd name="connsiteX0" fmla="*/ 1962820 w 5891124"/>
                <a:gd name="connsiteY0" fmla="*/ -141 h 1748221"/>
                <a:gd name="connsiteX1" fmla="*/ 1962820 w 5891124"/>
                <a:gd name="connsiteY1" fmla="*/ -141 h 1748221"/>
                <a:gd name="connsiteX2" fmla="*/ 5313590 w 5891124"/>
                <a:gd name="connsiteY2" fmla="*/ 345723 h 1748221"/>
                <a:gd name="connsiteX3" fmla="*/ 5332545 w 5891124"/>
                <a:gd name="connsiteY3" fmla="*/ 344827 h 1748221"/>
                <a:gd name="connsiteX4" fmla="*/ 5320896 w 5891124"/>
                <a:gd name="connsiteY4" fmla="*/ 312364 h 1748221"/>
                <a:gd name="connsiteX5" fmla="*/ 5296704 w 5891124"/>
                <a:gd name="connsiteY5" fmla="*/ 326011 h 1748221"/>
                <a:gd name="connsiteX6" fmla="*/ 5313590 w 5891124"/>
                <a:gd name="connsiteY6" fmla="*/ 345723 h 1748221"/>
                <a:gd name="connsiteX7" fmla="*/ -2153 w 5891124"/>
                <a:gd name="connsiteY7" fmla="*/ 1517510 h 1748221"/>
                <a:gd name="connsiteX8" fmla="*/ 9220 w 5891124"/>
                <a:gd name="connsiteY8" fmla="*/ 1498970 h 1748221"/>
                <a:gd name="connsiteX9" fmla="*/ -2153 w 5891124"/>
                <a:gd name="connsiteY9" fmla="*/ 1517510 h 1748221"/>
                <a:gd name="connsiteX10" fmla="*/ 5877945 w 5891124"/>
                <a:gd name="connsiteY10" fmla="*/ 1745238 h 1748221"/>
                <a:gd name="connsiteX11" fmla="*/ 5877945 w 5891124"/>
                <a:gd name="connsiteY11" fmla="*/ 1745238 h 174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1124" h="1748221">
                  <a:moveTo>
                    <a:pt x="1962820" y="-141"/>
                  </a:moveTo>
                  <a:cubicBezTo>
                    <a:pt x="1966679" y="-3932"/>
                    <a:pt x="1966679" y="-3932"/>
                    <a:pt x="1962820" y="-141"/>
                  </a:cubicBezTo>
                  <a:close/>
                  <a:moveTo>
                    <a:pt x="5313590" y="345723"/>
                  </a:moveTo>
                  <a:cubicBezTo>
                    <a:pt x="5319724" y="343655"/>
                    <a:pt x="5325997" y="343862"/>
                    <a:pt x="5332545" y="344827"/>
                  </a:cubicBezTo>
                  <a:cubicBezTo>
                    <a:pt x="5328684" y="334006"/>
                    <a:pt x="5325101" y="323116"/>
                    <a:pt x="5320896" y="312364"/>
                  </a:cubicBezTo>
                  <a:cubicBezTo>
                    <a:pt x="5312763" y="317051"/>
                    <a:pt x="5304768" y="321599"/>
                    <a:pt x="5296704" y="326011"/>
                  </a:cubicBezTo>
                  <a:cubicBezTo>
                    <a:pt x="5302286" y="332559"/>
                    <a:pt x="5307870" y="339175"/>
                    <a:pt x="5313590" y="345723"/>
                  </a:cubicBezTo>
                  <a:moveTo>
                    <a:pt x="-2153" y="1517510"/>
                  </a:moveTo>
                  <a:cubicBezTo>
                    <a:pt x="8186" y="1524817"/>
                    <a:pt x="16871" y="1506000"/>
                    <a:pt x="9220" y="1498970"/>
                  </a:cubicBezTo>
                  <a:cubicBezTo>
                    <a:pt x="-1463" y="1490768"/>
                    <a:pt x="-10148" y="1510411"/>
                    <a:pt x="-2153" y="1517510"/>
                  </a:cubicBezTo>
                  <a:moveTo>
                    <a:pt x="5877945" y="1745238"/>
                  </a:moveTo>
                  <a:cubicBezTo>
                    <a:pt x="5900483" y="1744341"/>
                    <a:pt x="5866504" y="1724147"/>
                    <a:pt x="5877945" y="1745238"/>
                  </a:cubicBezTo>
                </a:path>
              </a:pathLst>
            </a:custGeom>
            <a:grpFill/>
            <a:ln w="689" cap="flat">
              <a:noFill/>
              <a:prstDash val="solid"/>
              <a:miter/>
            </a:ln>
          </p:spPr>
          <p:txBody>
            <a:bodyPr rtlCol="0" anchor="ctr"/>
            <a:lstStyle/>
            <a:p>
              <a:endParaRPr lang="en-US" sz="2400" dirty="0"/>
            </a:p>
          </p:txBody>
        </p:sp>
        <p:sp>
          <p:nvSpPr>
            <p:cNvPr id="272" name="Graphic 8">
              <a:extLst>
                <a:ext uri="{FF2B5EF4-FFF2-40B4-BE49-F238E27FC236}">
                  <a16:creationId xmlns:a16="http://schemas.microsoft.com/office/drawing/2014/main" id="{E8BAAB16-1046-4C8B-BB03-0A60F82C2CAE}"/>
                </a:ext>
              </a:extLst>
            </p:cNvPr>
            <p:cNvSpPr/>
            <p:nvPr/>
          </p:nvSpPr>
          <p:spPr>
            <a:xfrm flipV="1">
              <a:off x="402024" y="1855519"/>
              <a:ext cx="5854733" cy="1733437"/>
            </a:xfrm>
            <a:custGeom>
              <a:avLst/>
              <a:gdLst>
                <a:gd name="connsiteX0" fmla="*/ 1204593 w 5854733"/>
                <a:gd name="connsiteY0" fmla="*/ 7752 h 1733437"/>
                <a:gd name="connsiteX1" fmla="*/ 1213622 w 5854733"/>
                <a:gd name="connsiteY1" fmla="*/ -1277 h 1733437"/>
                <a:gd name="connsiteX2" fmla="*/ 1204593 w 5854733"/>
                <a:gd name="connsiteY2" fmla="*/ 7752 h 1733437"/>
                <a:gd name="connsiteX3" fmla="*/ 466755 w 5854733"/>
                <a:gd name="connsiteY3" fmla="*/ 435291 h 1733437"/>
                <a:gd name="connsiteX4" fmla="*/ 466755 w 5854733"/>
                <a:gd name="connsiteY4" fmla="*/ 435291 h 1733437"/>
                <a:gd name="connsiteX5" fmla="*/ 2760015 w 5854733"/>
                <a:gd name="connsiteY5" fmla="*/ 436739 h 1733437"/>
                <a:gd name="connsiteX6" fmla="*/ 2794202 w 5854733"/>
                <a:gd name="connsiteY6" fmla="*/ 454521 h 1733437"/>
                <a:gd name="connsiteX7" fmla="*/ 2799027 w 5854733"/>
                <a:gd name="connsiteY7" fmla="*/ 433706 h 1733437"/>
                <a:gd name="connsiteX8" fmla="*/ 2791101 w 5854733"/>
                <a:gd name="connsiteY8" fmla="*/ 403517 h 1733437"/>
                <a:gd name="connsiteX9" fmla="*/ 2775110 w 5854733"/>
                <a:gd name="connsiteY9" fmla="*/ 417509 h 1733437"/>
                <a:gd name="connsiteX10" fmla="*/ 2788275 w 5854733"/>
                <a:gd name="connsiteY10" fmla="*/ 422747 h 1733437"/>
                <a:gd name="connsiteX11" fmla="*/ 2778418 w 5854733"/>
                <a:gd name="connsiteY11" fmla="*/ 403793 h 1733437"/>
                <a:gd name="connsiteX12" fmla="*/ 2739683 w 5854733"/>
                <a:gd name="connsiteY12" fmla="*/ 402070 h 1733437"/>
                <a:gd name="connsiteX13" fmla="*/ 2748160 w 5854733"/>
                <a:gd name="connsiteY13" fmla="*/ 414683 h 1733437"/>
                <a:gd name="connsiteX14" fmla="*/ 2760015 w 5854733"/>
                <a:gd name="connsiteY14" fmla="*/ 436739 h 1733437"/>
                <a:gd name="connsiteX15" fmla="*/ 5506386 w 5854733"/>
                <a:gd name="connsiteY15" fmla="*/ 1227924 h 1733437"/>
                <a:gd name="connsiteX16" fmla="*/ 5506386 w 5854733"/>
                <a:gd name="connsiteY16" fmla="*/ 1227924 h 1733437"/>
                <a:gd name="connsiteX17" fmla="*/ 4299033 w 5854733"/>
                <a:gd name="connsiteY17" fmla="*/ 1339445 h 1733437"/>
                <a:gd name="connsiteX18" fmla="*/ 4299033 w 5854733"/>
                <a:gd name="connsiteY18" fmla="*/ 1339445 h 1733437"/>
                <a:gd name="connsiteX19" fmla="*/ -1654 w 5854733"/>
                <a:gd name="connsiteY19" fmla="*/ 1365429 h 1733437"/>
                <a:gd name="connsiteX20" fmla="*/ -1654 w 5854733"/>
                <a:gd name="connsiteY20" fmla="*/ 1365429 h 1733437"/>
                <a:gd name="connsiteX21" fmla="*/ 1034281 w 5854733"/>
                <a:gd name="connsiteY21" fmla="*/ 1379145 h 1733437"/>
                <a:gd name="connsiteX22" fmla="*/ 1044826 w 5854733"/>
                <a:gd name="connsiteY22" fmla="*/ 1327383 h 1733437"/>
                <a:gd name="connsiteX23" fmla="*/ 1022563 w 5854733"/>
                <a:gd name="connsiteY23" fmla="*/ 1310289 h 1733437"/>
                <a:gd name="connsiteX24" fmla="*/ 1022701 w 5854733"/>
                <a:gd name="connsiteY24" fmla="*/ 1347440 h 1733437"/>
                <a:gd name="connsiteX25" fmla="*/ 1024493 w 5854733"/>
                <a:gd name="connsiteY25" fmla="*/ 1359502 h 1733437"/>
                <a:gd name="connsiteX26" fmla="*/ 1034281 w 5854733"/>
                <a:gd name="connsiteY26" fmla="*/ 1379145 h 1733437"/>
                <a:gd name="connsiteX27" fmla="*/ 5842601 w 5854733"/>
                <a:gd name="connsiteY27" fmla="*/ 1730454 h 1733437"/>
                <a:gd name="connsiteX28" fmla="*/ 5842601 w 5854733"/>
                <a:gd name="connsiteY28" fmla="*/ 1730454 h 17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54733" h="1733437">
                  <a:moveTo>
                    <a:pt x="1204593" y="7752"/>
                  </a:moveTo>
                  <a:cubicBezTo>
                    <a:pt x="1214174" y="11887"/>
                    <a:pt x="1217207" y="8855"/>
                    <a:pt x="1213622" y="-1277"/>
                  </a:cubicBezTo>
                  <a:cubicBezTo>
                    <a:pt x="1204042" y="-5275"/>
                    <a:pt x="1201009" y="-2242"/>
                    <a:pt x="1204593" y="7752"/>
                  </a:cubicBezTo>
                  <a:close/>
                  <a:moveTo>
                    <a:pt x="466755" y="435291"/>
                  </a:moveTo>
                  <a:cubicBezTo>
                    <a:pt x="486743" y="447008"/>
                    <a:pt x="469099" y="412546"/>
                    <a:pt x="466755" y="435291"/>
                  </a:cubicBezTo>
                  <a:moveTo>
                    <a:pt x="2760015" y="436739"/>
                  </a:moveTo>
                  <a:cubicBezTo>
                    <a:pt x="2771388" y="442666"/>
                    <a:pt x="2782761" y="448594"/>
                    <a:pt x="2794202" y="454521"/>
                  </a:cubicBezTo>
                  <a:cubicBezTo>
                    <a:pt x="2795856" y="447629"/>
                    <a:pt x="2797510" y="440667"/>
                    <a:pt x="2799027" y="433706"/>
                  </a:cubicBezTo>
                  <a:cubicBezTo>
                    <a:pt x="2797579" y="423367"/>
                    <a:pt x="2793651" y="413649"/>
                    <a:pt x="2791101" y="403517"/>
                  </a:cubicBezTo>
                  <a:cubicBezTo>
                    <a:pt x="2785656" y="408135"/>
                    <a:pt x="2780279" y="412822"/>
                    <a:pt x="2775110" y="417509"/>
                  </a:cubicBezTo>
                  <a:lnTo>
                    <a:pt x="2788275" y="422747"/>
                  </a:lnTo>
                  <a:cubicBezTo>
                    <a:pt x="2766219" y="432465"/>
                    <a:pt x="2769114" y="413166"/>
                    <a:pt x="2778418" y="403793"/>
                  </a:cubicBezTo>
                  <a:cubicBezTo>
                    <a:pt x="2765460" y="403103"/>
                    <a:pt x="2752572" y="402483"/>
                    <a:pt x="2739683" y="402070"/>
                  </a:cubicBezTo>
                  <a:cubicBezTo>
                    <a:pt x="2741819" y="405240"/>
                    <a:pt x="2746024" y="411512"/>
                    <a:pt x="2748160" y="414683"/>
                  </a:cubicBezTo>
                  <a:cubicBezTo>
                    <a:pt x="2753054" y="421437"/>
                    <a:pt x="2758086" y="428468"/>
                    <a:pt x="2760015" y="436739"/>
                  </a:cubicBezTo>
                  <a:moveTo>
                    <a:pt x="5506386" y="1227924"/>
                  </a:moveTo>
                  <a:cubicBezTo>
                    <a:pt x="5526857" y="1238677"/>
                    <a:pt x="5507696" y="1205042"/>
                    <a:pt x="5506386" y="1227924"/>
                  </a:cubicBezTo>
                  <a:moveTo>
                    <a:pt x="4299033" y="1339445"/>
                  </a:moveTo>
                  <a:cubicBezTo>
                    <a:pt x="4320262" y="1348611"/>
                    <a:pt x="4298482" y="1316492"/>
                    <a:pt x="4299033" y="1339445"/>
                  </a:cubicBezTo>
                  <a:moveTo>
                    <a:pt x="-1654" y="1365429"/>
                  </a:moveTo>
                  <a:cubicBezTo>
                    <a:pt x="21088" y="1363499"/>
                    <a:pt x="-13097" y="1345234"/>
                    <a:pt x="-1654" y="1365429"/>
                  </a:cubicBezTo>
                  <a:moveTo>
                    <a:pt x="1034281" y="1379145"/>
                  </a:moveTo>
                  <a:cubicBezTo>
                    <a:pt x="1038278" y="1361983"/>
                    <a:pt x="1041931" y="1344752"/>
                    <a:pt x="1044826" y="1327383"/>
                  </a:cubicBezTo>
                  <a:cubicBezTo>
                    <a:pt x="1037382" y="1321662"/>
                    <a:pt x="1030007" y="1315941"/>
                    <a:pt x="1022563" y="1310289"/>
                  </a:cubicBezTo>
                  <a:cubicBezTo>
                    <a:pt x="1020496" y="1322627"/>
                    <a:pt x="1021116" y="1335171"/>
                    <a:pt x="1022701" y="1347440"/>
                  </a:cubicBezTo>
                  <a:cubicBezTo>
                    <a:pt x="1033454" y="1351506"/>
                    <a:pt x="1034005" y="1355573"/>
                    <a:pt x="1024493" y="1359502"/>
                  </a:cubicBezTo>
                  <a:cubicBezTo>
                    <a:pt x="1027802" y="1366049"/>
                    <a:pt x="1031041" y="1372597"/>
                    <a:pt x="1034281" y="1379145"/>
                  </a:cubicBezTo>
                  <a:moveTo>
                    <a:pt x="5842601" y="1730454"/>
                  </a:moveTo>
                  <a:cubicBezTo>
                    <a:pt x="5865276" y="1729213"/>
                    <a:pt x="5831779" y="1709845"/>
                    <a:pt x="5842601" y="1730454"/>
                  </a:cubicBezTo>
                </a:path>
              </a:pathLst>
            </a:custGeom>
            <a:grpFill/>
            <a:ln w="689" cap="flat">
              <a:noFill/>
              <a:prstDash val="solid"/>
              <a:miter/>
            </a:ln>
          </p:spPr>
          <p:txBody>
            <a:bodyPr rtlCol="0" anchor="ctr"/>
            <a:lstStyle/>
            <a:p>
              <a:endParaRPr lang="en-US" sz="2400" dirty="0"/>
            </a:p>
          </p:txBody>
        </p:sp>
        <p:sp>
          <p:nvSpPr>
            <p:cNvPr id="273" name="Graphic 8">
              <a:extLst>
                <a:ext uri="{FF2B5EF4-FFF2-40B4-BE49-F238E27FC236}">
                  <a16:creationId xmlns:a16="http://schemas.microsoft.com/office/drawing/2014/main" id="{92915E26-0A2C-4DD0-AAE5-948F041A62F7}"/>
                </a:ext>
              </a:extLst>
            </p:cNvPr>
            <p:cNvSpPr/>
            <p:nvPr/>
          </p:nvSpPr>
          <p:spPr>
            <a:xfrm flipV="1">
              <a:off x="2856236" y="1855795"/>
              <a:ext cx="4023566" cy="1303769"/>
            </a:xfrm>
            <a:custGeom>
              <a:avLst/>
              <a:gdLst>
                <a:gd name="connsiteX0" fmla="*/ -4982 w 4023566"/>
                <a:gd name="connsiteY0" fmla="*/ 7132 h 1303769"/>
                <a:gd name="connsiteX1" fmla="*/ 601 w 4023566"/>
                <a:gd name="connsiteY1" fmla="*/ 5478 h 1303769"/>
                <a:gd name="connsiteX2" fmla="*/ 4116 w 4023566"/>
                <a:gd name="connsiteY2" fmla="*/ 308 h 1303769"/>
                <a:gd name="connsiteX3" fmla="*/ -4982 w 4023566"/>
                <a:gd name="connsiteY3" fmla="*/ 7132 h 1303769"/>
                <a:gd name="connsiteX4" fmla="*/ 1711379 w 4023566"/>
                <a:gd name="connsiteY4" fmla="*/ 128922 h 1303769"/>
                <a:gd name="connsiteX5" fmla="*/ 1711379 w 4023566"/>
                <a:gd name="connsiteY5" fmla="*/ 128922 h 1303769"/>
                <a:gd name="connsiteX6" fmla="*/ 4014771 w 4023566"/>
                <a:gd name="connsiteY6" fmla="*/ 1300433 h 1303769"/>
                <a:gd name="connsiteX7" fmla="*/ 4014771 w 4023566"/>
                <a:gd name="connsiteY7" fmla="*/ 1300433 h 1303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3566" h="1303769">
                  <a:moveTo>
                    <a:pt x="-4982" y="7132"/>
                  </a:moveTo>
                  <a:lnTo>
                    <a:pt x="601" y="5478"/>
                  </a:lnTo>
                  <a:lnTo>
                    <a:pt x="4116" y="308"/>
                  </a:lnTo>
                  <a:cubicBezTo>
                    <a:pt x="-4775" y="-6240"/>
                    <a:pt x="-7808" y="-3965"/>
                    <a:pt x="-4982" y="7132"/>
                  </a:cubicBezTo>
                  <a:close/>
                  <a:moveTo>
                    <a:pt x="1711379" y="128922"/>
                  </a:moveTo>
                  <a:cubicBezTo>
                    <a:pt x="1734055" y="129197"/>
                    <a:pt x="1702556" y="107417"/>
                    <a:pt x="1711379" y="128922"/>
                  </a:cubicBezTo>
                  <a:moveTo>
                    <a:pt x="4014771" y="1300433"/>
                  </a:moveTo>
                  <a:cubicBezTo>
                    <a:pt x="4018493" y="1296781"/>
                    <a:pt x="4018493" y="1296781"/>
                    <a:pt x="4014771" y="1300433"/>
                  </a:cubicBezTo>
                </a:path>
              </a:pathLst>
            </a:custGeom>
            <a:grpFill/>
            <a:ln w="689" cap="flat">
              <a:noFill/>
              <a:prstDash val="solid"/>
              <a:miter/>
            </a:ln>
          </p:spPr>
          <p:txBody>
            <a:bodyPr rtlCol="0" anchor="ctr"/>
            <a:lstStyle/>
            <a:p>
              <a:endParaRPr lang="en-US" sz="2400" dirty="0"/>
            </a:p>
          </p:txBody>
        </p:sp>
        <p:sp>
          <p:nvSpPr>
            <p:cNvPr id="274" name="Graphic 8">
              <a:extLst>
                <a:ext uri="{FF2B5EF4-FFF2-40B4-BE49-F238E27FC236}">
                  <a16:creationId xmlns:a16="http://schemas.microsoft.com/office/drawing/2014/main" id="{D5BDAD6E-81FF-4DDC-B243-2B1AFA2E82A5}"/>
                </a:ext>
              </a:extLst>
            </p:cNvPr>
            <p:cNvSpPr/>
            <p:nvPr/>
          </p:nvSpPr>
          <p:spPr>
            <a:xfrm flipV="1">
              <a:off x="455786" y="1860137"/>
              <a:ext cx="23571" cy="54795"/>
            </a:xfrm>
            <a:custGeom>
              <a:avLst/>
              <a:gdLst>
                <a:gd name="connsiteX0" fmla="*/ 12417 w 23571"/>
                <a:gd name="connsiteY0" fmla="*/ 44718 h 54795"/>
                <a:gd name="connsiteX1" fmla="*/ 16970 w 23571"/>
                <a:gd name="connsiteY1" fmla="*/ 50439 h 54795"/>
                <a:gd name="connsiteX2" fmla="*/ 23100 w 23571"/>
                <a:gd name="connsiteY2" fmla="*/ 1847 h 54795"/>
                <a:gd name="connsiteX3" fmla="*/ 7455 w 23571"/>
                <a:gd name="connsiteY3" fmla="*/ -4356 h 54795"/>
                <a:gd name="connsiteX4" fmla="*/ -471 w 23571"/>
                <a:gd name="connsiteY4" fmla="*/ 27556 h 54795"/>
                <a:gd name="connsiteX5" fmla="*/ 2770 w 23571"/>
                <a:gd name="connsiteY5" fmla="*/ 32656 h 54795"/>
                <a:gd name="connsiteX6" fmla="*/ 12417 w 23571"/>
                <a:gd name="connsiteY6" fmla="*/ 44718 h 54795"/>
                <a:gd name="connsiteX7" fmla="*/ 12417 w 23571"/>
                <a:gd name="connsiteY7" fmla="*/ 44718 h 54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71" h="54795">
                  <a:moveTo>
                    <a:pt x="12417" y="44718"/>
                  </a:moveTo>
                  <a:lnTo>
                    <a:pt x="16970" y="50439"/>
                  </a:lnTo>
                  <a:cubicBezTo>
                    <a:pt x="21655" y="34655"/>
                    <a:pt x="22963" y="18251"/>
                    <a:pt x="23100" y="1847"/>
                  </a:cubicBezTo>
                  <a:cubicBezTo>
                    <a:pt x="17864" y="-221"/>
                    <a:pt x="12695" y="-2289"/>
                    <a:pt x="7455" y="-4356"/>
                  </a:cubicBezTo>
                  <a:cubicBezTo>
                    <a:pt x="4908" y="6258"/>
                    <a:pt x="2219" y="16941"/>
                    <a:pt x="-471" y="27556"/>
                  </a:cubicBezTo>
                  <a:cubicBezTo>
                    <a:pt x="355" y="28796"/>
                    <a:pt x="1941" y="31347"/>
                    <a:pt x="2770" y="32656"/>
                  </a:cubicBezTo>
                  <a:cubicBezTo>
                    <a:pt x="5183" y="35620"/>
                    <a:pt x="10005" y="41685"/>
                    <a:pt x="12417" y="44718"/>
                  </a:cubicBezTo>
                  <a:lnTo>
                    <a:pt x="12417" y="44718"/>
                  </a:lnTo>
                </a:path>
              </a:pathLst>
            </a:custGeom>
            <a:grpFill/>
            <a:ln w="689" cap="flat">
              <a:noFill/>
              <a:prstDash val="solid"/>
              <a:miter/>
            </a:ln>
          </p:spPr>
          <p:txBody>
            <a:bodyPr rtlCol="0" anchor="ctr"/>
            <a:lstStyle/>
            <a:p>
              <a:endParaRPr lang="en-US" sz="2400" dirty="0"/>
            </a:p>
          </p:txBody>
        </p:sp>
        <p:sp>
          <p:nvSpPr>
            <p:cNvPr id="275" name="Graphic 8">
              <a:extLst>
                <a:ext uri="{FF2B5EF4-FFF2-40B4-BE49-F238E27FC236}">
                  <a16:creationId xmlns:a16="http://schemas.microsoft.com/office/drawing/2014/main" id="{484C1379-7E8E-449A-AE2E-D428A2747CBC}"/>
                </a:ext>
              </a:extLst>
            </p:cNvPr>
            <p:cNvSpPr/>
            <p:nvPr/>
          </p:nvSpPr>
          <p:spPr>
            <a:xfrm flipV="1">
              <a:off x="6524462" y="1869718"/>
              <a:ext cx="2843" cy="2584"/>
            </a:xfrm>
            <a:custGeom>
              <a:avLst/>
              <a:gdLst>
                <a:gd name="connsiteX0" fmla="*/ -8089 w 2843"/>
                <a:gd name="connsiteY0" fmla="*/ -1799 h 2584"/>
                <a:gd name="connsiteX1" fmla="*/ -8089 w 2843"/>
                <a:gd name="connsiteY1" fmla="*/ -1799 h 2584"/>
                <a:gd name="connsiteX2" fmla="*/ -8089 w 2843"/>
                <a:gd name="connsiteY2" fmla="*/ -1799 h 2584"/>
              </a:gdLst>
              <a:ahLst/>
              <a:cxnLst>
                <a:cxn ang="0">
                  <a:pos x="connsiteX0" y="connsiteY0"/>
                </a:cxn>
                <a:cxn ang="0">
                  <a:pos x="connsiteX1" y="connsiteY1"/>
                </a:cxn>
                <a:cxn ang="0">
                  <a:pos x="connsiteX2" y="connsiteY2"/>
                </a:cxn>
              </a:cxnLst>
              <a:rect l="l" t="t" r="r" b="b"/>
              <a:pathLst>
                <a:path w="2843" h="2584">
                  <a:moveTo>
                    <a:pt x="-8089" y="-1799"/>
                  </a:moveTo>
                  <a:cubicBezTo>
                    <a:pt x="-4298" y="-5245"/>
                    <a:pt x="-4298" y="-5245"/>
                    <a:pt x="-8089" y="-1799"/>
                  </a:cubicBezTo>
                  <a:lnTo>
                    <a:pt x="-8089" y="-1799"/>
                  </a:lnTo>
                </a:path>
              </a:pathLst>
            </a:custGeom>
            <a:grpFill/>
            <a:ln w="689" cap="flat">
              <a:noFill/>
              <a:prstDash val="solid"/>
              <a:miter/>
            </a:ln>
          </p:spPr>
          <p:txBody>
            <a:bodyPr rtlCol="0" anchor="ctr"/>
            <a:lstStyle/>
            <a:p>
              <a:endParaRPr lang="en-US" sz="2400" dirty="0"/>
            </a:p>
          </p:txBody>
        </p:sp>
        <p:sp>
          <p:nvSpPr>
            <p:cNvPr id="276" name="Graphic 8">
              <a:extLst>
                <a:ext uri="{FF2B5EF4-FFF2-40B4-BE49-F238E27FC236}">
                  <a16:creationId xmlns:a16="http://schemas.microsoft.com/office/drawing/2014/main" id="{1B54E4C7-1B0F-4EE3-8AAD-7FE0D830CD7A}"/>
                </a:ext>
              </a:extLst>
            </p:cNvPr>
            <p:cNvSpPr/>
            <p:nvPr/>
          </p:nvSpPr>
          <p:spPr>
            <a:xfrm flipV="1">
              <a:off x="541875" y="1870063"/>
              <a:ext cx="8121320" cy="1650003"/>
            </a:xfrm>
            <a:custGeom>
              <a:avLst/>
              <a:gdLst>
                <a:gd name="connsiteX0" fmla="*/ 3654295 w 8121320"/>
                <a:gd name="connsiteY0" fmla="*/ -392 h 1650003"/>
                <a:gd name="connsiteX1" fmla="*/ 3654295 w 8121320"/>
                <a:gd name="connsiteY1" fmla="*/ -392 h 1650003"/>
                <a:gd name="connsiteX2" fmla="*/ 5336124 w 8121320"/>
                <a:gd name="connsiteY2" fmla="*/ 90795 h 1650003"/>
                <a:gd name="connsiteX3" fmla="*/ 5340536 w 8121320"/>
                <a:gd name="connsiteY3" fmla="*/ 74046 h 1650003"/>
                <a:gd name="connsiteX4" fmla="*/ 5336124 w 8121320"/>
                <a:gd name="connsiteY4" fmla="*/ 90795 h 1650003"/>
                <a:gd name="connsiteX5" fmla="*/ -5671 w 8121320"/>
                <a:gd name="connsiteY5" fmla="*/ 200661 h 1650003"/>
                <a:gd name="connsiteX6" fmla="*/ -5671 w 8121320"/>
                <a:gd name="connsiteY6" fmla="*/ 200661 h 1650003"/>
                <a:gd name="connsiteX7" fmla="*/ 5820734 w 8121320"/>
                <a:gd name="connsiteY7" fmla="*/ 248426 h 1650003"/>
                <a:gd name="connsiteX8" fmla="*/ 5824386 w 8121320"/>
                <a:gd name="connsiteY8" fmla="*/ 223682 h 1650003"/>
                <a:gd name="connsiteX9" fmla="*/ 5820734 w 8121320"/>
                <a:gd name="connsiteY9" fmla="*/ 248426 h 1650003"/>
                <a:gd name="connsiteX10" fmla="*/ 5795438 w 8121320"/>
                <a:gd name="connsiteY10" fmla="*/ 252975 h 1650003"/>
                <a:gd name="connsiteX11" fmla="*/ 5845546 w 8121320"/>
                <a:gd name="connsiteY11" fmla="*/ 253250 h 1650003"/>
                <a:gd name="connsiteX12" fmla="*/ 5851887 w 8121320"/>
                <a:gd name="connsiteY12" fmla="*/ 229678 h 1650003"/>
                <a:gd name="connsiteX13" fmla="*/ 5853955 w 8121320"/>
                <a:gd name="connsiteY13" fmla="*/ 221407 h 1650003"/>
                <a:gd name="connsiteX14" fmla="*/ 5846304 w 8121320"/>
                <a:gd name="connsiteY14" fmla="*/ 210104 h 1650003"/>
                <a:gd name="connsiteX15" fmla="*/ 5816943 w 8121320"/>
                <a:gd name="connsiteY15" fmla="*/ 208656 h 1650003"/>
                <a:gd name="connsiteX16" fmla="*/ 5816391 w 8121320"/>
                <a:gd name="connsiteY16" fmla="*/ 222786 h 1650003"/>
                <a:gd name="connsiteX17" fmla="*/ 5794128 w 8121320"/>
                <a:gd name="connsiteY17" fmla="*/ 215549 h 1650003"/>
                <a:gd name="connsiteX18" fmla="*/ 5797644 w 8121320"/>
                <a:gd name="connsiteY18" fmla="*/ 228920 h 1650003"/>
                <a:gd name="connsiteX19" fmla="*/ 5799504 w 8121320"/>
                <a:gd name="connsiteY19" fmla="*/ 251458 h 1650003"/>
                <a:gd name="connsiteX20" fmla="*/ 5795438 w 8121320"/>
                <a:gd name="connsiteY20" fmla="*/ 252975 h 1650003"/>
                <a:gd name="connsiteX21" fmla="*/ 711764 w 8121320"/>
                <a:gd name="connsiteY21" fmla="*/ 599321 h 1650003"/>
                <a:gd name="connsiteX22" fmla="*/ 711764 w 8121320"/>
                <a:gd name="connsiteY22" fmla="*/ 599321 h 1650003"/>
                <a:gd name="connsiteX23" fmla="*/ 5026584 w 8121320"/>
                <a:gd name="connsiteY23" fmla="*/ 688923 h 1650003"/>
                <a:gd name="connsiteX24" fmla="*/ 5026584 w 8121320"/>
                <a:gd name="connsiteY24" fmla="*/ 688923 h 1650003"/>
                <a:gd name="connsiteX25" fmla="*/ 1091608 w 8121320"/>
                <a:gd name="connsiteY25" fmla="*/ 861441 h 1650003"/>
                <a:gd name="connsiteX26" fmla="*/ 1091608 w 8121320"/>
                <a:gd name="connsiteY26" fmla="*/ 861441 h 1650003"/>
                <a:gd name="connsiteX27" fmla="*/ 7567214 w 8121320"/>
                <a:gd name="connsiteY27" fmla="*/ 872400 h 1650003"/>
                <a:gd name="connsiteX28" fmla="*/ 7575072 w 8121320"/>
                <a:gd name="connsiteY28" fmla="*/ 907897 h 1650003"/>
                <a:gd name="connsiteX29" fmla="*/ 7578725 w 8121320"/>
                <a:gd name="connsiteY29" fmla="*/ 907897 h 1650003"/>
                <a:gd name="connsiteX30" fmla="*/ 7576106 w 8121320"/>
                <a:gd name="connsiteY30" fmla="*/ 891079 h 1650003"/>
                <a:gd name="connsiteX31" fmla="*/ 7581550 w 8121320"/>
                <a:gd name="connsiteY31" fmla="*/ 882601 h 1650003"/>
                <a:gd name="connsiteX32" fmla="*/ 7573969 w 8121320"/>
                <a:gd name="connsiteY32" fmla="*/ 883428 h 1650003"/>
                <a:gd name="connsiteX33" fmla="*/ 7583205 w 8121320"/>
                <a:gd name="connsiteY33" fmla="*/ 850620 h 1650003"/>
                <a:gd name="connsiteX34" fmla="*/ 7602642 w 8121320"/>
                <a:gd name="connsiteY34" fmla="*/ 845037 h 1650003"/>
                <a:gd name="connsiteX35" fmla="*/ 7600229 w 8121320"/>
                <a:gd name="connsiteY35" fmla="*/ 836560 h 1650003"/>
                <a:gd name="connsiteX36" fmla="*/ 7592303 w 8121320"/>
                <a:gd name="connsiteY36" fmla="*/ 799961 h 1650003"/>
                <a:gd name="connsiteX37" fmla="*/ 7582929 w 8121320"/>
                <a:gd name="connsiteY37" fmla="*/ 807473 h 1650003"/>
                <a:gd name="connsiteX38" fmla="*/ 7580103 w 8121320"/>
                <a:gd name="connsiteY38" fmla="*/ 841591 h 1650003"/>
                <a:gd name="connsiteX39" fmla="*/ 7571488 w 8121320"/>
                <a:gd name="connsiteY39" fmla="*/ 825325 h 1650003"/>
                <a:gd name="connsiteX40" fmla="*/ 7566180 w 8121320"/>
                <a:gd name="connsiteY40" fmla="*/ 850827 h 1650003"/>
                <a:gd name="connsiteX41" fmla="*/ 7560391 w 8121320"/>
                <a:gd name="connsiteY41" fmla="*/ 851103 h 1650003"/>
                <a:gd name="connsiteX42" fmla="*/ 7564940 w 8121320"/>
                <a:gd name="connsiteY42" fmla="*/ 821603 h 1650003"/>
                <a:gd name="connsiteX43" fmla="*/ 7545986 w 8121320"/>
                <a:gd name="connsiteY43" fmla="*/ 823533 h 1650003"/>
                <a:gd name="connsiteX44" fmla="*/ 7543642 w 8121320"/>
                <a:gd name="connsiteY44" fmla="*/ 824773 h 1650003"/>
                <a:gd name="connsiteX45" fmla="*/ 7545572 w 8121320"/>
                <a:gd name="connsiteY45" fmla="*/ 849655 h 1650003"/>
                <a:gd name="connsiteX46" fmla="*/ 7528065 w 8121320"/>
                <a:gd name="connsiteY46" fmla="*/ 844141 h 1650003"/>
                <a:gd name="connsiteX47" fmla="*/ 7520690 w 8121320"/>
                <a:gd name="connsiteY47" fmla="*/ 877983 h 1650003"/>
                <a:gd name="connsiteX48" fmla="*/ 7540954 w 8121320"/>
                <a:gd name="connsiteY48" fmla="*/ 869506 h 1650003"/>
                <a:gd name="connsiteX49" fmla="*/ 7539024 w 8121320"/>
                <a:gd name="connsiteY49" fmla="*/ 865163 h 1650003"/>
                <a:gd name="connsiteX50" fmla="*/ 7535096 w 8121320"/>
                <a:gd name="connsiteY50" fmla="*/ 857306 h 1650003"/>
                <a:gd name="connsiteX51" fmla="*/ 7558737 w 8121320"/>
                <a:gd name="connsiteY51" fmla="*/ 856754 h 1650003"/>
                <a:gd name="connsiteX52" fmla="*/ 7554808 w 8121320"/>
                <a:gd name="connsiteY52" fmla="*/ 864819 h 1650003"/>
                <a:gd name="connsiteX53" fmla="*/ 7551637 w 8121320"/>
                <a:gd name="connsiteY53" fmla="*/ 877570 h 1650003"/>
                <a:gd name="connsiteX54" fmla="*/ 7567214 w 8121320"/>
                <a:gd name="connsiteY54" fmla="*/ 872400 h 1650003"/>
                <a:gd name="connsiteX55" fmla="*/ 7375673 w 8121320"/>
                <a:gd name="connsiteY55" fmla="*/ 1538419 h 1650003"/>
                <a:gd name="connsiteX56" fmla="*/ 7375673 w 8121320"/>
                <a:gd name="connsiteY56" fmla="*/ 1538419 h 1650003"/>
                <a:gd name="connsiteX57" fmla="*/ 8072983 w 8121320"/>
                <a:gd name="connsiteY57" fmla="*/ 1624782 h 1650003"/>
                <a:gd name="connsiteX58" fmla="*/ 8071536 w 8121320"/>
                <a:gd name="connsiteY58" fmla="*/ 1646975 h 1650003"/>
                <a:gd name="connsiteX59" fmla="*/ 8093798 w 8121320"/>
                <a:gd name="connsiteY59" fmla="*/ 1633673 h 1650003"/>
                <a:gd name="connsiteX60" fmla="*/ 8100897 w 8121320"/>
                <a:gd name="connsiteY60" fmla="*/ 1637739 h 1650003"/>
                <a:gd name="connsiteX61" fmla="*/ 8110272 w 8121320"/>
                <a:gd name="connsiteY61" fmla="*/ 1643116 h 1650003"/>
                <a:gd name="connsiteX62" fmla="*/ 8109789 w 8121320"/>
                <a:gd name="connsiteY62" fmla="*/ 1584874 h 1650003"/>
                <a:gd name="connsiteX63" fmla="*/ 8102414 w 8121320"/>
                <a:gd name="connsiteY63" fmla="*/ 1591904 h 1650003"/>
                <a:gd name="connsiteX64" fmla="*/ 8072983 w 8121320"/>
                <a:gd name="connsiteY64" fmla="*/ 1624782 h 16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8121320" h="1650003">
                  <a:moveTo>
                    <a:pt x="3654295" y="-392"/>
                  </a:moveTo>
                  <a:cubicBezTo>
                    <a:pt x="3658085" y="-3907"/>
                    <a:pt x="3658085" y="-3907"/>
                    <a:pt x="3654295" y="-392"/>
                  </a:cubicBezTo>
                  <a:close/>
                  <a:moveTo>
                    <a:pt x="5336124" y="90795"/>
                  </a:moveTo>
                  <a:cubicBezTo>
                    <a:pt x="5344602" y="88658"/>
                    <a:pt x="5346118" y="83076"/>
                    <a:pt x="5340536" y="74046"/>
                  </a:cubicBezTo>
                  <a:cubicBezTo>
                    <a:pt x="5331920" y="76390"/>
                    <a:pt x="5330404" y="81973"/>
                    <a:pt x="5336124" y="90795"/>
                  </a:cubicBezTo>
                  <a:moveTo>
                    <a:pt x="-5671" y="200661"/>
                  </a:moveTo>
                  <a:cubicBezTo>
                    <a:pt x="-2087" y="196939"/>
                    <a:pt x="-2087" y="196939"/>
                    <a:pt x="-5671" y="200661"/>
                  </a:cubicBezTo>
                  <a:moveTo>
                    <a:pt x="5820734" y="248426"/>
                  </a:moveTo>
                  <a:cubicBezTo>
                    <a:pt x="5816116" y="241258"/>
                    <a:pt x="5816529" y="228507"/>
                    <a:pt x="5824386" y="223682"/>
                  </a:cubicBezTo>
                  <a:cubicBezTo>
                    <a:pt x="5836793" y="225405"/>
                    <a:pt x="5834105" y="255456"/>
                    <a:pt x="5820734" y="248426"/>
                  </a:cubicBezTo>
                  <a:moveTo>
                    <a:pt x="5795438" y="252975"/>
                  </a:moveTo>
                  <a:cubicBezTo>
                    <a:pt x="5811980" y="255939"/>
                    <a:pt x="5828935" y="256766"/>
                    <a:pt x="5845546" y="253250"/>
                  </a:cubicBezTo>
                  <a:cubicBezTo>
                    <a:pt x="5835552" y="246151"/>
                    <a:pt x="5846718" y="235812"/>
                    <a:pt x="5851887" y="229678"/>
                  </a:cubicBezTo>
                  <a:lnTo>
                    <a:pt x="5853955" y="221407"/>
                  </a:lnTo>
                  <a:cubicBezTo>
                    <a:pt x="5844443" y="227473"/>
                    <a:pt x="5832795" y="214584"/>
                    <a:pt x="5846304" y="210104"/>
                  </a:cubicBezTo>
                  <a:cubicBezTo>
                    <a:pt x="5836448" y="209828"/>
                    <a:pt x="5826661" y="209345"/>
                    <a:pt x="5816943" y="208656"/>
                  </a:cubicBezTo>
                  <a:cubicBezTo>
                    <a:pt x="5816805" y="212171"/>
                    <a:pt x="5816529" y="219202"/>
                    <a:pt x="5816391" y="222786"/>
                  </a:cubicBezTo>
                  <a:cubicBezTo>
                    <a:pt x="5808878" y="220511"/>
                    <a:pt x="5801435" y="218099"/>
                    <a:pt x="5794128" y="215549"/>
                  </a:cubicBezTo>
                  <a:cubicBezTo>
                    <a:pt x="5795024" y="218926"/>
                    <a:pt x="5796817" y="225612"/>
                    <a:pt x="5797644" y="228920"/>
                  </a:cubicBezTo>
                  <a:cubicBezTo>
                    <a:pt x="5815840" y="224509"/>
                    <a:pt x="5815909" y="250425"/>
                    <a:pt x="5799504" y="251458"/>
                  </a:cubicBezTo>
                  <a:lnTo>
                    <a:pt x="5795438" y="252975"/>
                  </a:lnTo>
                  <a:moveTo>
                    <a:pt x="711764" y="599321"/>
                  </a:moveTo>
                  <a:cubicBezTo>
                    <a:pt x="715486" y="595668"/>
                    <a:pt x="715486" y="595668"/>
                    <a:pt x="711764" y="599321"/>
                  </a:cubicBezTo>
                  <a:moveTo>
                    <a:pt x="5026584" y="688923"/>
                  </a:moveTo>
                  <a:cubicBezTo>
                    <a:pt x="5030375" y="685408"/>
                    <a:pt x="5030375" y="685408"/>
                    <a:pt x="5026584" y="688923"/>
                  </a:cubicBezTo>
                  <a:moveTo>
                    <a:pt x="1091608" y="861441"/>
                  </a:moveTo>
                  <a:cubicBezTo>
                    <a:pt x="1095330" y="857857"/>
                    <a:pt x="1095330" y="857857"/>
                    <a:pt x="1091608" y="861441"/>
                  </a:cubicBezTo>
                  <a:moveTo>
                    <a:pt x="7567214" y="872400"/>
                  </a:moveTo>
                  <a:cubicBezTo>
                    <a:pt x="7569213" y="884393"/>
                    <a:pt x="7571488" y="896317"/>
                    <a:pt x="7575072" y="907897"/>
                  </a:cubicBezTo>
                  <a:lnTo>
                    <a:pt x="7578725" y="907897"/>
                  </a:lnTo>
                  <a:cubicBezTo>
                    <a:pt x="7578104" y="903692"/>
                    <a:pt x="7576795" y="895283"/>
                    <a:pt x="7576106" y="891079"/>
                  </a:cubicBezTo>
                  <a:cubicBezTo>
                    <a:pt x="7577484" y="888942"/>
                    <a:pt x="7580172" y="884738"/>
                    <a:pt x="7581550" y="882601"/>
                  </a:cubicBezTo>
                  <a:lnTo>
                    <a:pt x="7573969" y="883428"/>
                  </a:lnTo>
                  <a:cubicBezTo>
                    <a:pt x="7575692" y="872331"/>
                    <a:pt x="7573142" y="858546"/>
                    <a:pt x="7583205" y="850620"/>
                  </a:cubicBezTo>
                  <a:cubicBezTo>
                    <a:pt x="7588030" y="849242"/>
                    <a:pt x="7597748" y="846416"/>
                    <a:pt x="7602642" y="845037"/>
                  </a:cubicBezTo>
                  <a:cubicBezTo>
                    <a:pt x="7602021" y="842901"/>
                    <a:pt x="7600849" y="838696"/>
                    <a:pt x="7600229" y="836560"/>
                  </a:cubicBezTo>
                  <a:cubicBezTo>
                    <a:pt x="7596507" y="824636"/>
                    <a:pt x="7593888" y="812436"/>
                    <a:pt x="7592303" y="799961"/>
                  </a:cubicBezTo>
                  <a:cubicBezTo>
                    <a:pt x="7589959" y="801890"/>
                    <a:pt x="7585273" y="805612"/>
                    <a:pt x="7582929" y="807473"/>
                  </a:cubicBezTo>
                  <a:cubicBezTo>
                    <a:pt x="7585204" y="818915"/>
                    <a:pt x="7584239" y="830701"/>
                    <a:pt x="7580103" y="841591"/>
                  </a:cubicBezTo>
                  <a:cubicBezTo>
                    <a:pt x="7577967" y="837524"/>
                    <a:pt x="7573624" y="829391"/>
                    <a:pt x="7571488" y="825325"/>
                  </a:cubicBezTo>
                  <a:cubicBezTo>
                    <a:pt x="7568110" y="833527"/>
                    <a:pt x="7566387" y="842005"/>
                    <a:pt x="7566180" y="850827"/>
                  </a:cubicBezTo>
                  <a:lnTo>
                    <a:pt x="7560391" y="851103"/>
                  </a:lnTo>
                  <a:cubicBezTo>
                    <a:pt x="7561562" y="843728"/>
                    <a:pt x="7563837" y="828978"/>
                    <a:pt x="7564940" y="821603"/>
                  </a:cubicBezTo>
                  <a:cubicBezTo>
                    <a:pt x="7560184" y="822085"/>
                    <a:pt x="7550742" y="823050"/>
                    <a:pt x="7545986" y="823533"/>
                  </a:cubicBezTo>
                  <a:lnTo>
                    <a:pt x="7543642" y="824773"/>
                  </a:lnTo>
                  <a:cubicBezTo>
                    <a:pt x="7544124" y="831046"/>
                    <a:pt x="7545090" y="843452"/>
                    <a:pt x="7545572" y="849655"/>
                  </a:cubicBezTo>
                  <a:cubicBezTo>
                    <a:pt x="7539644" y="847863"/>
                    <a:pt x="7533786" y="846002"/>
                    <a:pt x="7528065" y="844141"/>
                  </a:cubicBezTo>
                  <a:cubicBezTo>
                    <a:pt x="7525584" y="855445"/>
                    <a:pt x="7523102" y="866749"/>
                    <a:pt x="7520690" y="877983"/>
                  </a:cubicBezTo>
                  <a:cubicBezTo>
                    <a:pt x="7525791" y="875847"/>
                    <a:pt x="7535853" y="871642"/>
                    <a:pt x="7540954" y="869506"/>
                  </a:cubicBezTo>
                  <a:lnTo>
                    <a:pt x="7539024" y="865163"/>
                  </a:lnTo>
                  <a:cubicBezTo>
                    <a:pt x="7538059" y="863165"/>
                    <a:pt x="7536060" y="859236"/>
                    <a:pt x="7535096" y="857306"/>
                  </a:cubicBezTo>
                  <a:cubicBezTo>
                    <a:pt x="7542815" y="855789"/>
                    <a:pt x="7550672" y="855583"/>
                    <a:pt x="7558737" y="856754"/>
                  </a:cubicBezTo>
                  <a:cubicBezTo>
                    <a:pt x="7557771" y="858753"/>
                    <a:pt x="7555773" y="862820"/>
                    <a:pt x="7554808" y="864819"/>
                  </a:cubicBezTo>
                  <a:cubicBezTo>
                    <a:pt x="7553981" y="867989"/>
                    <a:pt x="7552395" y="874399"/>
                    <a:pt x="7551637" y="877570"/>
                  </a:cubicBezTo>
                  <a:cubicBezTo>
                    <a:pt x="7555566" y="876260"/>
                    <a:pt x="7563285" y="873710"/>
                    <a:pt x="7567214" y="872400"/>
                  </a:cubicBezTo>
                  <a:moveTo>
                    <a:pt x="7375673" y="1538419"/>
                  </a:moveTo>
                  <a:cubicBezTo>
                    <a:pt x="7398211" y="1536972"/>
                    <a:pt x="7364782" y="1517673"/>
                    <a:pt x="7375673" y="1538419"/>
                  </a:cubicBezTo>
                  <a:moveTo>
                    <a:pt x="8072983" y="1624782"/>
                  </a:moveTo>
                  <a:cubicBezTo>
                    <a:pt x="8072363" y="1632225"/>
                    <a:pt x="8071949" y="1639600"/>
                    <a:pt x="8071536" y="1646975"/>
                  </a:cubicBezTo>
                  <a:cubicBezTo>
                    <a:pt x="8078773" y="1642426"/>
                    <a:pt x="8086217" y="1638015"/>
                    <a:pt x="8093798" y="1633673"/>
                  </a:cubicBezTo>
                  <a:lnTo>
                    <a:pt x="8100897" y="1637739"/>
                  </a:lnTo>
                  <a:lnTo>
                    <a:pt x="8110272" y="1643116"/>
                  </a:lnTo>
                  <a:cubicBezTo>
                    <a:pt x="8120955" y="1624575"/>
                    <a:pt x="8112959" y="1604104"/>
                    <a:pt x="8109789" y="1584874"/>
                  </a:cubicBezTo>
                  <a:cubicBezTo>
                    <a:pt x="8107928" y="1586597"/>
                    <a:pt x="8104206" y="1590181"/>
                    <a:pt x="8102414" y="1591904"/>
                  </a:cubicBezTo>
                  <a:cubicBezTo>
                    <a:pt x="8094694" y="1604793"/>
                    <a:pt x="8092282" y="1625678"/>
                    <a:pt x="8072983" y="1624782"/>
                  </a:cubicBezTo>
                </a:path>
              </a:pathLst>
            </a:custGeom>
            <a:grpFill/>
            <a:ln w="689" cap="flat">
              <a:noFill/>
              <a:prstDash val="solid"/>
              <a:miter/>
            </a:ln>
          </p:spPr>
          <p:txBody>
            <a:bodyPr rtlCol="0" anchor="ctr"/>
            <a:lstStyle/>
            <a:p>
              <a:endParaRPr lang="en-US" sz="2400" dirty="0"/>
            </a:p>
          </p:txBody>
        </p:sp>
        <p:sp>
          <p:nvSpPr>
            <p:cNvPr id="277" name="Graphic 8">
              <a:extLst>
                <a:ext uri="{FF2B5EF4-FFF2-40B4-BE49-F238E27FC236}">
                  <a16:creationId xmlns:a16="http://schemas.microsoft.com/office/drawing/2014/main" id="{39070DC0-2946-4B48-9DC7-FA5BDA671371}"/>
                </a:ext>
              </a:extLst>
            </p:cNvPr>
            <p:cNvSpPr/>
            <p:nvPr/>
          </p:nvSpPr>
          <p:spPr>
            <a:xfrm flipV="1">
              <a:off x="1194007" y="1875393"/>
              <a:ext cx="4535875" cy="1754982"/>
            </a:xfrm>
            <a:custGeom>
              <a:avLst/>
              <a:gdLst>
                <a:gd name="connsiteX0" fmla="*/ -2000 w 4535875"/>
                <a:gd name="connsiteY0" fmla="*/ 6695 h 1754982"/>
                <a:gd name="connsiteX1" fmla="*/ -2000 w 4535875"/>
                <a:gd name="connsiteY1" fmla="*/ 6695 h 1754982"/>
                <a:gd name="connsiteX2" fmla="*/ 428710 w 4535875"/>
                <a:gd name="connsiteY2" fmla="*/ 1171107 h 1754982"/>
                <a:gd name="connsiteX3" fmla="*/ 442495 w 4535875"/>
                <a:gd name="connsiteY3" fmla="*/ 1186133 h 1754982"/>
                <a:gd name="connsiteX4" fmla="*/ 428710 w 4535875"/>
                <a:gd name="connsiteY4" fmla="*/ 1171107 h 1754982"/>
                <a:gd name="connsiteX5" fmla="*/ 4521385 w 4535875"/>
                <a:gd name="connsiteY5" fmla="*/ 1751039 h 1754982"/>
                <a:gd name="connsiteX6" fmla="*/ 4518560 w 4535875"/>
                <a:gd name="connsiteY6" fmla="*/ 1731189 h 1754982"/>
                <a:gd name="connsiteX7" fmla="*/ 4521385 w 4535875"/>
                <a:gd name="connsiteY7" fmla="*/ 1751039 h 1754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5875" h="1754982">
                  <a:moveTo>
                    <a:pt x="-2000" y="6695"/>
                  </a:moveTo>
                  <a:cubicBezTo>
                    <a:pt x="20745" y="5178"/>
                    <a:pt x="-12890" y="-14190"/>
                    <a:pt x="-2000" y="6695"/>
                  </a:cubicBezTo>
                  <a:close/>
                  <a:moveTo>
                    <a:pt x="428710" y="1171107"/>
                  </a:moveTo>
                  <a:cubicBezTo>
                    <a:pt x="420439" y="1178827"/>
                    <a:pt x="434155" y="1192543"/>
                    <a:pt x="442495" y="1186133"/>
                  </a:cubicBezTo>
                  <a:cubicBezTo>
                    <a:pt x="447940" y="1178620"/>
                    <a:pt x="436981" y="1164697"/>
                    <a:pt x="428710" y="1171107"/>
                  </a:cubicBezTo>
                  <a:moveTo>
                    <a:pt x="4521385" y="1751039"/>
                  </a:moveTo>
                  <a:cubicBezTo>
                    <a:pt x="4538065" y="1757794"/>
                    <a:pt x="4532413" y="1728363"/>
                    <a:pt x="4518560" y="1731189"/>
                  </a:cubicBezTo>
                  <a:cubicBezTo>
                    <a:pt x="4508152" y="1733808"/>
                    <a:pt x="4514493" y="1748075"/>
                    <a:pt x="4521385" y="1751039"/>
                  </a:cubicBezTo>
                </a:path>
              </a:pathLst>
            </a:custGeom>
            <a:grpFill/>
            <a:ln w="689" cap="flat">
              <a:noFill/>
              <a:prstDash val="solid"/>
              <a:miter/>
            </a:ln>
          </p:spPr>
          <p:txBody>
            <a:bodyPr rtlCol="0" anchor="ctr"/>
            <a:lstStyle/>
            <a:p>
              <a:endParaRPr lang="en-US" sz="2400" dirty="0"/>
            </a:p>
          </p:txBody>
        </p:sp>
        <p:sp>
          <p:nvSpPr>
            <p:cNvPr id="278" name="Graphic 8">
              <a:extLst>
                <a:ext uri="{FF2B5EF4-FFF2-40B4-BE49-F238E27FC236}">
                  <a16:creationId xmlns:a16="http://schemas.microsoft.com/office/drawing/2014/main" id="{42FFA9A2-6528-4171-A506-00BA5BBE52F3}"/>
                </a:ext>
              </a:extLst>
            </p:cNvPr>
            <p:cNvSpPr/>
            <p:nvPr/>
          </p:nvSpPr>
          <p:spPr>
            <a:xfrm flipV="1">
              <a:off x="541263" y="1884123"/>
              <a:ext cx="57127" cy="161283"/>
            </a:xfrm>
            <a:custGeom>
              <a:avLst/>
              <a:gdLst>
                <a:gd name="connsiteX0" fmla="*/ 16828 w 57127"/>
                <a:gd name="connsiteY0" fmla="*/ 121765 h 161283"/>
                <a:gd name="connsiteX1" fmla="*/ 9314 w 57127"/>
                <a:gd name="connsiteY1" fmla="*/ 63110 h 161283"/>
                <a:gd name="connsiteX2" fmla="*/ 28475 w 57127"/>
                <a:gd name="connsiteY2" fmla="*/ 79376 h 161283"/>
                <a:gd name="connsiteX3" fmla="*/ 30406 w 57127"/>
                <a:gd name="connsiteY3" fmla="*/ 123901 h 161283"/>
                <a:gd name="connsiteX4" fmla="*/ 16828 w 57127"/>
                <a:gd name="connsiteY4" fmla="*/ 121765 h 161283"/>
                <a:gd name="connsiteX5" fmla="*/ 9247 w 57127"/>
                <a:gd name="connsiteY5" fmla="*/ 157054 h 161283"/>
                <a:gd name="connsiteX6" fmla="*/ 15587 w 57127"/>
                <a:gd name="connsiteY6" fmla="*/ 154918 h 161283"/>
                <a:gd name="connsiteX7" fmla="*/ 27859 w 57127"/>
                <a:gd name="connsiteY7" fmla="*/ 151196 h 161283"/>
                <a:gd name="connsiteX8" fmla="*/ 43157 w 57127"/>
                <a:gd name="connsiteY8" fmla="*/ 147336 h 161283"/>
                <a:gd name="connsiteX9" fmla="*/ 56528 w 57127"/>
                <a:gd name="connsiteY9" fmla="*/ 135826 h 161283"/>
                <a:gd name="connsiteX10" fmla="*/ 52120 w 57127"/>
                <a:gd name="connsiteY10" fmla="*/ 49670 h 161283"/>
                <a:gd name="connsiteX11" fmla="*/ 54737 w 57127"/>
                <a:gd name="connsiteY11" fmla="*/ -4229 h 161283"/>
                <a:gd name="connsiteX12" fmla="*/ 33233 w 57127"/>
                <a:gd name="connsiteY12" fmla="*/ -3678 h 161283"/>
                <a:gd name="connsiteX13" fmla="*/ 40467 w 57127"/>
                <a:gd name="connsiteY13" fmla="*/ 19412 h 161283"/>
                <a:gd name="connsiteX14" fmla="*/ 3458 w 57127"/>
                <a:gd name="connsiteY14" fmla="*/ 21962 h 161283"/>
                <a:gd name="connsiteX15" fmla="*/ 9247 w 57127"/>
                <a:gd name="connsiteY15" fmla="*/ 157054 h 16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27" h="161283">
                  <a:moveTo>
                    <a:pt x="16828" y="121765"/>
                  </a:moveTo>
                  <a:cubicBezTo>
                    <a:pt x="14831" y="102122"/>
                    <a:pt x="8005" y="83098"/>
                    <a:pt x="9314" y="63110"/>
                  </a:cubicBezTo>
                  <a:cubicBezTo>
                    <a:pt x="16349" y="67728"/>
                    <a:pt x="22690" y="73311"/>
                    <a:pt x="28475" y="79376"/>
                  </a:cubicBezTo>
                  <a:cubicBezTo>
                    <a:pt x="27374" y="94264"/>
                    <a:pt x="28820" y="109152"/>
                    <a:pt x="30406" y="123901"/>
                  </a:cubicBezTo>
                  <a:cubicBezTo>
                    <a:pt x="26960" y="123419"/>
                    <a:pt x="20204" y="122316"/>
                    <a:pt x="16828" y="121765"/>
                  </a:cubicBezTo>
                  <a:close/>
                  <a:moveTo>
                    <a:pt x="9247" y="157054"/>
                  </a:moveTo>
                  <a:cubicBezTo>
                    <a:pt x="10833" y="156572"/>
                    <a:pt x="14001" y="155469"/>
                    <a:pt x="15587" y="154918"/>
                  </a:cubicBezTo>
                  <a:cubicBezTo>
                    <a:pt x="18619" y="154022"/>
                    <a:pt x="24755" y="152161"/>
                    <a:pt x="27859" y="151196"/>
                  </a:cubicBezTo>
                  <a:cubicBezTo>
                    <a:pt x="31715" y="150231"/>
                    <a:pt x="39366" y="148301"/>
                    <a:pt x="43157" y="147336"/>
                  </a:cubicBezTo>
                  <a:cubicBezTo>
                    <a:pt x="47637" y="143545"/>
                    <a:pt x="52050" y="139685"/>
                    <a:pt x="56528" y="135826"/>
                  </a:cubicBezTo>
                  <a:cubicBezTo>
                    <a:pt x="45984" y="108187"/>
                    <a:pt x="50601" y="78411"/>
                    <a:pt x="52120" y="49670"/>
                  </a:cubicBezTo>
                  <a:cubicBezTo>
                    <a:pt x="53980" y="31680"/>
                    <a:pt x="47707" y="13209"/>
                    <a:pt x="54737" y="-4229"/>
                  </a:cubicBezTo>
                  <a:cubicBezTo>
                    <a:pt x="49360" y="-4091"/>
                    <a:pt x="38607" y="-3816"/>
                    <a:pt x="33233" y="-3678"/>
                  </a:cubicBezTo>
                  <a:cubicBezTo>
                    <a:pt x="35026" y="2112"/>
                    <a:pt x="38677" y="13622"/>
                    <a:pt x="40467" y="19412"/>
                  </a:cubicBezTo>
                  <a:cubicBezTo>
                    <a:pt x="30613" y="8453"/>
                    <a:pt x="7798" y="2250"/>
                    <a:pt x="3458" y="21962"/>
                  </a:cubicBezTo>
                  <a:cubicBezTo>
                    <a:pt x="-1092" y="66901"/>
                    <a:pt x="-4675" y="113287"/>
                    <a:pt x="9247" y="157054"/>
                  </a:cubicBezTo>
                </a:path>
              </a:pathLst>
            </a:custGeom>
            <a:grpFill/>
            <a:ln w="689" cap="flat">
              <a:noFill/>
              <a:prstDash val="solid"/>
              <a:miter/>
            </a:ln>
          </p:spPr>
          <p:txBody>
            <a:bodyPr rtlCol="0" anchor="ctr"/>
            <a:lstStyle/>
            <a:p>
              <a:endParaRPr lang="en-US" sz="2400" dirty="0"/>
            </a:p>
          </p:txBody>
        </p:sp>
        <p:sp>
          <p:nvSpPr>
            <p:cNvPr id="279" name="Graphic 8">
              <a:extLst>
                <a:ext uri="{FF2B5EF4-FFF2-40B4-BE49-F238E27FC236}">
                  <a16:creationId xmlns:a16="http://schemas.microsoft.com/office/drawing/2014/main" id="{E138B746-6147-4A87-8C6B-4D587595F807}"/>
                </a:ext>
              </a:extLst>
            </p:cNvPr>
            <p:cNvSpPr/>
            <p:nvPr/>
          </p:nvSpPr>
          <p:spPr>
            <a:xfrm flipV="1">
              <a:off x="4732835" y="1883089"/>
              <a:ext cx="1609320" cy="644066"/>
            </a:xfrm>
            <a:custGeom>
              <a:avLst/>
              <a:gdLst>
                <a:gd name="connsiteX0" fmla="*/ 1599786 w 1609320"/>
                <a:gd name="connsiteY0" fmla="*/ -836 h 644066"/>
                <a:gd name="connsiteX1" fmla="*/ 1599786 w 1609320"/>
                <a:gd name="connsiteY1" fmla="*/ -836 h 644066"/>
                <a:gd name="connsiteX2" fmla="*/ -6846 w 1609320"/>
                <a:gd name="connsiteY2" fmla="*/ 640232 h 644066"/>
                <a:gd name="connsiteX3" fmla="*/ -6846 w 1609320"/>
                <a:gd name="connsiteY3" fmla="*/ 640232 h 644066"/>
              </a:gdLst>
              <a:ahLst/>
              <a:cxnLst>
                <a:cxn ang="0">
                  <a:pos x="connsiteX0" y="connsiteY0"/>
                </a:cxn>
                <a:cxn ang="0">
                  <a:pos x="connsiteX1" y="connsiteY1"/>
                </a:cxn>
                <a:cxn ang="0">
                  <a:pos x="connsiteX2" y="connsiteY2"/>
                </a:cxn>
                <a:cxn ang="0">
                  <a:pos x="connsiteX3" y="connsiteY3"/>
                </a:cxn>
              </a:cxnLst>
              <a:rect l="l" t="t" r="r" b="b"/>
              <a:pathLst>
                <a:path w="1609320" h="644066">
                  <a:moveTo>
                    <a:pt x="1599786" y="-836"/>
                  </a:moveTo>
                  <a:cubicBezTo>
                    <a:pt x="1603371" y="-4834"/>
                    <a:pt x="1603371" y="-4834"/>
                    <a:pt x="1599786" y="-836"/>
                  </a:cubicBezTo>
                  <a:close/>
                  <a:moveTo>
                    <a:pt x="-6846" y="640232"/>
                  </a:moveTo>
                  <a:cubicBezTo>
                    <a:pt x="-2918" y="636648"/>
                    <a:pt x="-2918" y="636648"/>
                    <a:pt x="-6846" y="640232"/>
                  </a:cubicBezTo>
                </a:path>
              </a:pathLst>
            </a:custGeom>
            <a:grpFill/>
            <a:ln w="689" cap="flat">
              <a:noFill/>
              <a:prstDash val="solid"/>
              <a:miter/>
            </a:ln>
          </p:spPr>
          <p:txBody>
            <a:bodyPr rtlCol="0" anchor="ctr"/>
            <a:lstStyle/>
            <a:p>
              <a:endParaRPr lang="en-US" sz="2400" dirty="0"/>
            </a:p>
          </p:txBody>
        </p:sp>
        <p:sp>
          <p:nvSpPr>
            <p:cNvPr id="280" name="Graphic 8">
              <a:extLst>
                <a:ext uri="{FF2B5EF4-FFF2-40B4-BE49-F238E27FC236}">
                  <a16:creationId xmlns:a16="http://schemas.microsoft.com/office/drawing/2014/main" id="{4292F605-8B0F-44AE-9181-8B6C8E1ED412}"/>
                </a:ext>
              </a:extLst>
            </p:cNvPr>
            <p:cNvSpPr/>
            <p:nvPr/>
          </p:nvSpPr>
          <p:spPr>
            <a:xfrm flipV="1">
              <a:off x="4829950" y="1889155"/>
              <a:ext cx="2739" cy="2739"/>
            </a:xfrm>
            <a:custGeom>
              <a:avLst/>
              <a:gdLst>
                <a:gd name="connsiteX0" fmla="*/ -5958 w 2739"/>
                <a:gd name="connsiteY0" fmla="*/ -1611 h 2739"/>
                <a:gd name="connsiteX1" fmla="*/ -5958 w 2739"/>
                <a:gd name="connsiteY1" fmla="*/ -1611 h 2739"/>
                <a:gd name="connsiteX2" fmla="*/ -5958 w 2739"/>
                <a:gd name="connsiteY2" fmla="*/ -1611 h 2739"/>
              </a:gdLst>
              <a:ahLst/>
              <a:cxnLst>
                <a:cxn ang="0">
                  <a:pos x="connsiteX0" y="connsiteY0"/>
                </a:cxn>
                <a:cxn ang="0">
                  <a:pos x="connsiteX1" y="connsiteY1"/>
                </a:cxn>
                <a:cxn ang="0">
                  <a:pos x="connsiteX2" y="connsiteY2"/>
                </a:cxn>
              </a:cxnLst>
              <a:rect l="l" t="t" r="r" b="b"/>
              <a:pathLst>
                <a:path w="2739" h="2739">
                  <a:moveTo>
                    <a:pt x="-5958" y="-1611"/>
                  </a:moveTo>
                  <a:cubicBezTo>
                    <a:pt x="-2305" y="-5265"/>
                    <a:pt x="-2305" y="-5265"/>
                    <a:pt x="-5958" y="-1611"/>
                  </a:cubicBezTo>
                  <a:lnTo>
                    <a:pt x="-5958" y="-1611"/>
                  </a:lnTo>
                </a:path>
              </a:pathLst>
            </a:custGeom>
            <a:grpFill/>
            <a:ln w="689" cap="flat">
              <a:noFill/>
              <a:prstDash val="solid"/>
              <a:miter/>
            </a:ln>
          </p:spPr>
          <p:txBody>
            <a:bodyPr rtlCol="0" anchor="ctr"/>
            <a:lstStyle/>
            <a:p>
              <a:endParaRPr lang="en-US" sz="2400" dirty="0"/>
            </a:p>
          </p:txBody>
        </p:sp>
        <p:sp>
          <p:nvSpPr>
            <p:cNvPr id="281" name="Graphic 8">
              <a:extLst>
                <a:ext uri="{FF2B5EF4-FFF2-40B4-BE49-F238E27FC236}">
                  <a16:creationId xmlns:a16="http://schemas.microsoft.com/office/drawing/2014/main" id="{F029054F-8F72-4921-A07C-3166092553E3}"/>
                </a:ext>
              </a:extLst>
            </p:cNvPr>
            <p:cNvSpPr/>
            <p:nvPr/>
          </p:nvSpPr>
          <p:spPr>
            <a:xfrm flipV="1">
              <a:off x="5591550" y="1890395"/>
              <a:ext cx="1285062" cy="926268"/>
            </a:xfrm>
            <a:custGeom>
              <a:avLst/>
              <a:gdLst>
                <a:gd name="connsiteX0" fmla="*/ -5500 w 1285062"/>
                <a:gd name="connsiteY0" fmla="*/ 5912 h 926268"/>
                <a:gd name="connsiteX1" fmla="*/ -5500 w 1285062"/>
                <a:gd name="connsiteY1" fmla="*/ 5912 h 926268"/>
                <a:gd name="connsiteX2" fmla="*/ 1269330 w 1285062"/>
                <a:gd name="connsiteY2" fmla="*/ 922679 h 926268"/>
                <a:gd name="connsiteX3" fmla="*/ 1269330 w 1285062"/>
                <a:gd name="connsiteY3" fmla="*/ 922679 h 926268"/>
              </a:gdLst>
              <a:ahLst/>
              <a:cxnLst>
                <a:cxn ang="0">
                  <a:pos x="connsiteX0" y="connsiteY0"/>
                </a:cxn>
                <a:cxn ang="0">
                  <a:pos x="connsiteX1" y="connsiteY1"/>
                </a:cxn>
                <a:cxn ang="0">
                  <a:pos x="connsiteX2" y="connsiteY2"/>
                </a:cxn>
                <a:cxn ang="0">
                  <a:pos x="connsiteX3" y="connsiteY3"/>
                </a:cxn>
              </a:cxnLst>
              <a:rect l="l" t="t" r="r" b="b"/>
              <a:pathLst>
                <a:path w="1285062" h="926268">
                  <a:moveTo>
                    <a:pt x="-5500" y="5912"/>
                  </a:moveTo>
                  <a:cubicBezTo>
                    <a:pt x="17107" y="4672"/>
                    <a:pt x="-16321" y="-14834"/>
                    <a:pt x="-5500" y="5912"/>
                  </a:cubicBezTo>
                  <a:close/>
                  <a:moveTo>
                    <a:pt x="1269330" y="922679"/>
                  </a:moveTo>
                  <a:cubicBezTo>
                    <a:pt x="1292006" y="920818"/>
                    <a:pt x="1258164" y="902277"/>
                    <a:pt x="1269330" y="922679"/>
                  </a:cubicBezTo>
                </a:path>
              </a:pathLst>
            </a:custGeom>
            <a:grpFill/>
            <a:ln w="689" cap="flat">
              <a:noFill/>
              <a:prstDash val="solid"/>
              <a:miter/>
            </a:ln>
          </p:spPr>
          <p:txBody>
            <a:bodyPr rtlCol="0" anchor="ctr"/>
            <a:lstStyle/>
            <a:p>
              <a:endParaRPr lang="en-US" sz="2400" dirty="0"/>
            </a:p>
          </p:txBody>
        </p:sp>
        <p:sp>
          <p:nvSpPr>
            <p:cNvPr id="282" name="Graphic 8">
              <a:extLst>
                <a:ext uri="{FF2B5EF4-FFF2-40B4-BE49-F238E27FC236}">
                  <a16:creationId xmlns:a16="http://schemas.microsoft.com/office/drawing/2014/main" id="{DE251632-56F2-4A7C-A1E7-97173A10912E}"/>
                </a:ext>
              </a:extLst>
            </p:cNvPr>
            <p:cNvSpPr/>
            <p:nvPr/>
          </p:nvSpPr>
          <p:spPr>
            <a:xfrm flipV="1">
              <a:off x="5525399" y="1893869"/>
              <a:ext cx="9421" cy="10219"/>
            </a:xfrm>
            <a:custGeom>
              <a:avLst/>
              <a:gdLst>
                <a:gd name="connsiteX0" fmla="*/ -6837 w 9421"/>
                <a:gd name="connsiteY0" fmla="*/ 3841 h 10219"/>
                <a:gd name="connsiteX1" fmla="*/ -6837 w 9421"/>
                <a:gd name="connsiteY1" fmla="*/ 3841 h 10219"/>
                <a:gd name="connsiteX2" fmla="*/ -6837 w 9421"/>
                <a:gd name="connsiteY2" fmla="*/ 3841 h 10219"/>
              </a:gdLst>
              <a:ahLst/>
              <a:cxnLst>
                <a:cxn ang="0">
                  <a:pos x="connsiteX0" y="connsiteY0"/>
                </a:cxn>
                <a:cxn ang="0">
                  <a:pos x="connsiteX1" y="connsiteY1"/>
                </a:cxn>
                <a:cxn ang="0">
                  <a:pos x="connsiteX2" y="connsiteY2"/>
                </a:cxn>
              </a:cxnLst>
              <a:rect l="l" t="t" r="r" b="b"/>
              <a:pathLst>
                <a:path w="9421" h="10219">
                  <a:moveTo>
                    <a:pt x="-6837" y="3841"/>
                  </a:moveTo>
                  <a:cubicBezTo>
                    <a:pt x="14047" y="14111"/>
                    <a:pt x="-6217" y="-18904"/>
                    <a:pt x="-6837" y="3841"/>
                  </a:cubicBezTo>
                  <a:lnTo>
                    <a:pt x="-6837" y="3841"/>
                  </a:lnTo>
                </a:path>
              </a:pathLst>
            </a:custGeom>
            <a:grpFill/>
            <a:ln w="689" cap="flat">
              <a:noFill/>
              <a:prstDash val="solid"/>
              <a:miter/>
            </a:ln>
          </p:spPr>
          <p:txBody>
            <a:bodyPr rtlCol="0" anchor="ctr"/>
            <a:lstStyle/>
            <a:p>
              <a:endParaRPr lang="en-US" sz="2400" dirty="0"/>
            </a:p>
          </p:txBody>
        </p:sp>
        <p:sp>
          <p:nvSpPr>
            <p:cNvPr id="283" name="Graphic 8">
              <a:extLst>
                <a:ext uri="{FF2B5EF4-FFF2-40B4-BE49-F238E27FC236}">
                  <a16:creationId xmlns:a16="http://schemas.microsoft.com/office/drawing/2014/main" id="{20C8A7DD-02EC-4F30-B810-13C0E8850498}"/>
                </a:ext>
              </a:extLst>
            </p:cNvPr>
            <p:cNvSpPr/>
            <p:nvPr/>
          </p:nvSpPr>
          <p:spPr>
            <a:xfrm flipV="1">
              <a:off x="7873051" y="1892601"/>
              <a:ext cx="21139" cy="81331"/>
            </a:xfrm>
            <a:custGeom>
              <a:avLst/>
              <a:gdLst>
                <a:gd name="connsiteX0" fmla="*/ -8152 w 21139"/>
                <a:gd name="connsiteY0" fmla="*/ 75947 h 81331"/>
                <a:gd name="connsiteX1" fmla="*/ 7287 w 21139"/>
                <a:gd name="connsiteY1" fmla="*/ 77050 h 81331"/>
                <a:gd name="connsiteX2" fmla="*/ 7632 w 21139"/>
                <a:gd name="connsiteY2" fmla="*/ 30319 h 81331"/>
                <a:gd name="connsiteX3" fmla="*/ 1635 w 21139"/>
                <a:gd name="connsiteY3" fmla="*/ 31697 h 81331"/>
                <a:gd name="connsiteX4" fmla="*/ -1673 w 21139"/>
                <a:gd name="connsiteY4" fmla="*/ 26873 h 81331"/>
                <a:gd name="connsiteX5" fmla="*/ 3910 w 21139"/>
                <a:gd name="connsiteY5" fmla="*/ 18050 h 81331"/>
                <a:gd name="connsiteX6" fmla="*/ 3289 w 21139"/>
                <a:gd name="connsiteY6" fmla="*/ -4281 h 81331"/>
                <a:gd name="connsiteX7" fmla="*/ -8635 w 21139"/>
                <a:gd name="connsiteY7" fmla="*/ 6540 h 81331"/>
                <a:gd name="connsiteX8" fmla="*/ -8152 w 21139"/>
                <a:gd name="connsiteY8" fmla="*/ 75947 h 81331"/>
                <a:gd name="connsiteX9" fmla="*/ -8152 w 21139"/>
                <a:gd name="connsiteY9" fmla="*/ 75947 h 81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39" h="81331">
                  <a:moveTo>
                    <a:pt x="-8152" y="75947"/>
                  </a:moveTo>
                  <a:cubicBezTo>
                    <a:pt x="-4292" y="76223"/>
                    <a:pt x="3427" y="76774"/>
                    <a:pt x="7287" y="77050"/>
                  </a:cubicBezTo>
                  <a:cubicBezTo>
                    <a:pt x="10664" y="61611"/>
                    <a:pt x="14249" y="45482"/>
                    <a:pt x="7632" y="30319"/>
                  </a:cubicBezTo>
                  <a:lnTo>
                    <a:pt x="1635" y="31697"/>
                  </a:lnTo>
                  <a:lnTo>
                    <a:pt x="-1673" y="26873"/>
                  </a:lnTo>
                  <a:cubicBezTo>
                    <a:pt x="-294" y="24667"/>
                    <a:pt x="2531" y="20256"/>
                    <a:pt x="3910" y="18050"/>
                  </a:cubicBezTo>
                  <a:cubicBezTo>
                    <a:pt x="3772" y="12467"/>
                    <a:pt x="3427" y="1302"/>
                    <a:pt x="3289" y="-4281"/>
                  </a:cubicBezTo>
                  <a:cubicBezTo>
                    <a:pt x="326" y="-1593"/>
                    <a:pt x="-5671" y="3852"/>
                    <a:pt x="-8635" y="6540"/>
                  </a:cubicBezTo>
                  <a:cubicBezTo>
                    <a:pt x="-9737" y="29699"/>
                    <a:pt x="-10771" y="52926"/>
                    <a:pt x="-8152" y="75947"/>
                  </a:cubicBezTo>
                  <a:lnTo>
                    <a:pt x="-8152" y="75947"/>
                  </a:lnTo>
                </a:path>
              </a:pathLst>
            </a:custGeom>
            <a:grpFill/>
            <a:ln w="689" cap="flat">
              <a:noFill/>
              <a:prstDash val="solid"/>
              <a:miter/>
            </a:ln>
          </p:spPr>
          <p:txBody>
            <a:bodyPr rtlCol="0" anchor="ctr"/>
            <a:lstStyle/>
            <a:p>
              <a:endParaRPr lang="en-US" sz="2400" dirty="0"/>
            </a:p>
          </p:txBody>
        </p:sp>
        <p:sp>
          <p:nvSpPr>
            <p:cNvPr id="284" name="Graphic 8">
              <a:extLst>
                <a:ext uri="{FF2B5EF4-FFF2-40B4-BE49-F238E27FC236}">
                  <a16:creationId xmlns:a16="http://schemas.microsoft.com/office/drawing/2014/main" id="{7B40724F-0C93-4EC0-B665-86086C1BE6C9}"/>
                </a:ext>
              </a:extLst>
            </p:cNvPr>
            <p:cNvSpPr/>
            <p:nvPr/>
          </p:nvSpPr>
          <p:spPr>
            <a:xfrm flipV="1">
              <a:off x="8038678" y="1902453"/>
              <a:ext cx="16400" cy="19718"/>
            </a:xfrm>
            <a:custGeom>
              <a:avLst/>
              <a:gdLst>
                <a:gd name="connsiteX0" fmla="*/ -7119 w 16400"/>
                <a:gd name="connsiteY0" fmla="*/ 13814 h 19718"/>
                <a:gd name="connsiteX1" fmla="*/ 3634 w 16400"/>
                <a:gd name="connsiteY1" fmla="*/ -2866 h 19718"/>
                <a:gd name="connsiteX2" fmla="*/ -7119 w 16400"/>
                <a:gd name="connsiteY2" fmla="*/ 13814 h 19718"/>
                <a:gd name="connsiteX3" fmla="*/ -7119 w 16400"/>
                <a:gd name="connsiteY3" fmla="*/ 13814 h 19718"/>
              </a:gdLst>
              <a:ahLst/>
              <a:cxnLst>
                <a:cxn ang="0">
                  <a:pos x="connsiteX0" y="connsiteY0"/>
                </a:cxn>
                <a:cxn ang="0">
                  <a:pos x="connsiteX1" y="connsiteY1"/>
                </a:cxn>
                <a:cxn ang="0">
                  <a:pos x="connsiteX2" y="connsiteY2"/>
                </a:cxn>
                <a:cxn ang="0">
                  <a:pos x="connsiteX3" y="connsiteY3"/>
                </a:cxn>
              </a:cxnLst>
              <a:rect l="l" t="t" r="r" b="b"/>
              <a:pathLst>
                <a:path w="16400" h="19718">
                  <a:moveTo>
                    <a:pt x="-7119" y="13814"/>
                  </a:moveTo>
                  <a:cubicBezTo>
                    <a:pt x="2324" y="20637"/>
                    <a:pt x="11009" y="3682"/>
                    <a:pt x="3634" y="-2866"/>
                  </a:cubicBezTo>
                  <a:cubicBezTo>
                    <a:pt x="-5809" y="-9276"/>
                    <a:pt x="-14769" y="7266"/>
                    <a:pt x="-7119" y="13814"/>
                  </a:cubicBezTo>
                  <a:lnTo>
                    <a:pt x="-7119" y="13814"/>
                  </a:lnTo>
                </a:path>
              </a:pathLst>
            </a:custGeom>
            <a:grpFill/>
            <a:ln w="689" cap="flat">
              <a:noFill/>
              <a:prstDash val="solid"/>
              <a:miter/>
            </a:ln>
          </p:spPr>
          <p:txBody>
            <a:bodyPr rtlCol="0" anchor="ctr"/>
            <a:lstStyle/>
            <a:p>
              <a:endParaRPr lang="en-US" sz="2400" dirty="0"/>
            </a:p>
          </p:txBody>
        </p:sp>
        <p:sp>
          <p:nvSpPr>
            <p:cNvPr id="285" name="Graphic 8">
              <a:extLst>
                <a:ext uri="{FF2B5EF4-FFF2-40B4-BE49-F238E27FC236}">
                  <a16:creationId xmlns:a16="http://schemas.microsoft.com/office/drawing/2014/main" id="{47EA608C-15D7-4C1B-AAEC-AF3DE5822A4E}"/>
                </a:ext>
              </a:extLst>
            </p:cNvPr>
            <p:cNvSpPr/>
            <p:nvPr/>
          </p:nvSpPr>
          <p:spPr>
            <a:xfrm flipV="1">
              <a:off x="987907" y="1918103"/>
              <a:ext cx="7046892" cy="1064454"/>
            </a:xfrm>
            <a:custGeom>
              <a:avLst/>
              <a:gdLst>
                <a:gd name="connsiteX0" fmla="*/ 2836598 w 7046892"/>
                <a:gd name="connsiteY0" fmla="*/ -691 h 1064454"/>
                <a:gd name="connsiteX1" fmla="*/ 2836598 w 7046892"/>
                <a:gd name="connsiteY1" fmla="*/ -691 h 1064454"/>
                <a:gd name="connsiteX2" fmla="*/ 4345289 w 7046892"/>
                <a:gd name="connsiteY2" fmla="*/ 422782 h 1064454"/>
                <a:gd name="connsiteX3" fmla="*/ 4353698 w 7046892"/>
                <a:gd name="connsiteY3" fmla="*/ 388595 h 1064454"/>
                <a:gd name="connsiteX4" fmla="*/ 4361004 w 7046892"/>
                <a:gd name="connsiteY4" fmla="*/ 401484 h 1064454"/>
                <a:gd name="connsiteX5" fmla="*/ 4365070 w 7046892"/>
                <a:gd name="connsiteY5" fmla="*/ 352341 h 1064454"/>
                <a:gd name="connsiteX6" fmla="*/ 4345289 w 7046892"/>
                <a:gd name="connsiteY6" fmla="*/ 422782 h 1064454"/>
                <a:gd name="connsiteX7" fmla="*/ 2237781 w 7046892"/>
                <a:gd name="connsiteY7" fmla="*/ 440840 h 1064454"/>
                <a:gd name="connsiteX8" fmla="*/ 2237781 w 7046892"/>
                <a:gd name="connsiteY8" fmla="*/ 440840 h 1064454"/>
                <a:gd name="connsiteX9" fmla="*/ 4600931 w 7046892"/>
                <a:gd name="connsiteY9" fmla="*/ 659951 h 1064454"/>
                <a:gd name="connsiteX10" fmla="*/ 4612441 w 7046892"/>
                <a:gd name="connsiteY10" fmla="*/ 644168 h 1064454"/>
                <a:gd name="connsiteX11" fmla="*/ 4600931 w 7046892"/>
                <a:gd name="connsiteY11" fmla="*/ 659951 h 1064454"/>
                <a:gd name="connsiteX12" fmla="*/ -3235 w 7046892"/>
                <a:gd name="connsiteY12" fmla="*/ 723155 h 1064454"/>
                <a:gd name="connsiteX13" fmla="*/ -3235 w 7046892"/>
                <a:gd name="connsiteY13" fmla="*/ 723155 h 1064454"/>
                <a:gd name="connsiteX14" fmla="*/ 1898120 w 7046892"/>
                <a:gd name="connsiteY14" fmla="*/ 1013052 h 1064454"/>
                <a:gd name="connsiteX15" fmla="*/ 1898120 w 7046892"/>
                <a:gd name="connsiteY15" fmla="*/ 1013052 h 1064454"/>
                <a:gd name="connsiteX16" fmla="*/ 7033487 w 7046892"/>
                <a:gd name="connsiteY16" fmla="*/ 1061024 h 1064454"/>
                <a:gd name="connsiteX17" fmla="*/ 7033487 w 7046892"/>
                <a:gd name="connsiteY17" fmla="*/ 1061024 h 1064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46892" h="1064454">
                  <a:moveTo>
                    <a:pt x="2836598" y="-691"/>
                  </a:moveTo>
                  <a:cubicBezTo>
                    <a:pt x="2840113" y="-4344"/>
                    <a:pt x="2840113" y="-4344"/>
                    <a:pt x="2836598" y="-691"/>
                  </a:cubicBezTo>
                  <a:close/>
                  <a:moveTo>
                    <a:pt x="4345289" y="422782"/>
                  </a:moveTo>
                  <a:cubicBezTo>
                    <a:pt x="4349838" y="411892"/>
                    <a:pt x="4351837" y="400312"/>
                    <a:pt x="4353698" y="388595"/>
                  </a:cubicBezTo>
                  <a:cubicBezTo>
                    <a:pt x="4355490" y="391835"/>
                    <a:pt x="4359143" y="398245"/>
                    <a:pt x="4361004" y="401484"/>
                  </a:cubicBezTo>
                  <a:cubicBezTo>
                    <a:pt x="4363761" y="385287"/>
                    <a:pt x="4364864" y="368814"/>
                    <a:pt x="4365070" y="352341"/>
                  </a:cubicBezTo>
                  <a:cubicBezTo>
                    <a:pt x="4348597" y="372053"/>
                    <a:pt x="4339775" y="397142"/>
                    <a:pt x="4345289" y="422782"/>
                  </a:cubicBezTo>
                  <a:moveTo>
                    <a:pt x="2237781" y="440840"/>
                  </a:moveTo>
                  <a:cubicBezTo>
                    <a:pt x="2241020" y="436980"/>
                    <a:pt x="2241020" y="436980"/>
                    <a:pt x="2237781" y="440840"/>
                  </a:cubicBezTo>
                  <a:moveTo>
                    <a:pt x="4600931" y="659951"/>
                  </a:moveTo>
                  <a:cubicBezTo>
                    <a:pt x="4609133" y="664363"/>
                    <a:pt x="4617748" y="650853"/>
                    <a:pt x="4612441" y="644168"/>
                  </a:cubicBezTo>
                  <a:cubicBezTo>
                    <a:pt x="4604170" y="639550"/>
                    <a:pt x="4595003" y="653404"/>
                    <a:pt x="4600931" y="659951"/>
                  </a:cubicBezTo>
                  <a:moveTo>
                    <a:pt x="-3235" y="723155"/>
                  </a:moveTo>
                  <a:cubicBezTo>
                    <a:pt x="19580" y="721157"/>
                    <a:pt x="-14400" y="702891"/>
                    <a:pt x="-3235" y="723155"/>
                  </a:cubicBezTo>
                  <a:moveTo>
                    <a:pt x="1898120" y="1013052"/>
                  </a:moveTo>
                  <a:cubicBezTo>
                    <a:pt x="1920727" y="1011536"/>
                    <a:pt x="1887368" y="992375"/>
                    <a:pt x="1898120" y="1013052"/>
                  </a:cubicBezTo>
                  <a:moveTo>
                    <a:pt x="7033487" y="1061024"/>
                  </a:moveTo>
                  <a:cubicBezTo>
                    <a:pt x="7055957" y="1058543"/>
                    <a:pt x="7021839" y="1040829"/>
                    <a:pt x="7033487" y="1061024"/>
                  </a:cubicBezTo>
                </a:path>
              </a:pathLst>
            </a:custGeom>
            <a:grpFill/>
            <a:ln w="689" cap="flat">
              <a:noFill/>
              <a:prstDash val="solid"/>
              <a:miter/>
            </a:ln>
          </p:spPr>
          <p:txBody>
            <a:bodyPr rtlCol="0" anchor="ctr"/>
            <a:lstStyle/>
            <a:p>
              <a:endParaRPr lang="en-US" sz="2400" dirty="0"/>
            </a:p>
          </p:txBody>
        </p:sp>
        <p:sp>
          <p:nvSpPr>
            <p:cNvPr id="286" name="Graphic 8">
              <a:extLst>
                <a:ext uri="{FF2B5EF4-FFF2-40B4-BE49-F238E27FC236}">
                  <a16:creationId xmlns:a16="http://schemas.microsoft.com/office/drawing/2014/main" id="{8E747106-4C09-447A-8C7D-3CEB8A0FCC94}"/>
                </a:ext>
              </a:extLst>
            </p:cNvPr>
            <p:cNvSpPr/>
            <p:nvPr/>
          </p:nvSpPr>
          <p:spPr>
            <a:xfrm flipV="1">
              <a:off x="625618" y="1920584"/>
              <a:ext cx="6736471" cy="940407"/>
            </a:xfrm>
            <a:custGeom>
              <a:avLst/>
              <a:gdLst>
                <a:gd name="connsiteX0" fmla="*/ -3387 w 6736471"/>
                <a:gd name="connsiteY0" fmla="*/ 1847 h 940407"/>
                <a:gd name="connsiteX1" fmla="*/ 8465 w 6736471"/>
                <a:gd name="connsiteY1" fmla="*/ 1847 h 940407"/>
                <a:gd name="connsiteX2" fmla="*/ 7913 w 6736471"/>
                <a:gd name="connsiteY2" fmla="*/ -3529 h 940407"/>
                <a:gd name="connsiteX3" fmla="*/ -4905 w 6736471"/>
                <a:gd name="connsiteY3" fmla="*/ -2771 h 940407"/>
                <a:gd name="connsiteX4" fmla="*/ -3387 w 6736471"/>
                <a:gd name="connsiteY4" fmla="*/ 1847 h 940407"/>
                <a:gd name="connsiteX5" fmla="*/ 5307466 w 6736471"/>
                <a:gd name="connsiteY5" fmla="*/ 80697 h 940407"/>
                <a:gd name="connsiteX6" fmla="*/ 5327791 w 6736471"/>
                <a:gd name="connsiteY6" fmla="*/ 101168 h 940407"/>
                <a:gd name="connsiteX7" fmla="*/ 5322277 w 6736471"/>
                <a:gd name="connsiteY7" fmla="*/ 76699 h 940407"/>
                <a:gd name="connsiteX8" fmla="*/ 5359221 w 6736471"/>
                <a:gd name="connsiteY8" fmla="*/ 71185 h 940407"/>
                <a:gd name="connsiteX9" fmla="*/ 5345367 w 6736471"/>
                <a:gd name="connsiteY9" fmla="*/ 35138 h 940407"/>
                <a:gd name="connsiteX10" fmla="*/ 5337855 w 6736471"/>
                <a:gd name="connsiteY10" fmla="*/ 48165 h 940407"/>
                <a:gd name="connsiteX11" fmla="*/ 5305667 w 6736471"/>
                <a:gd name="connsiteY11" fmla="*/ 62570 h 940407"/>
                <a:gd name="connsiteX12" fmla="*/ 5292020 w 6736471"/>
                <a:gd name="connsiteY12" fmla="*/ 62018 h 940407"/>
                <a:gd name="connsiteX13" fmla="*/ 5289538 w 6736471"/>
                <a:gd name="connsiteY13" fmla="*/ 67670 h 940407"/>
                <a:gd name="connsiteX14" fmla="*/ 5307941 w 6736471"/>
                <a:gd name="connsiteY14" fmla="*/ 79250 h 940407"/>
                <a:gd name="connsiteX15" fmla="*/ 5286437 w 6736471"/>
                <a:gd name="connsiteY15" fmla="*/ 82834 h 940407"/>
                <a:gd name="connsiteX16" fmla="*/ 5289745 w 6736471"/>
                <a:gd name="connsiteY16" fmla="*/ 92828 h 940407"/>
                <a:gd name="connsiteX17" fmla="*/ 5307466 w 6736471"/>
                <a:gd name="connsiteY17" fmla="*/ 80697 h 940407"/>
                <a:gd name="connsiteX18" fmla="*/ 6721585 w 6736471"/>
                <a:gd name="connsiteY18" fmla="*/ 929228 h 940407"/>
                <a:gd name="connsiteX19" fmla="*/ 6730201 w 6736471"/>
                <a:gd name="connsiteY19" fmla="*/ 936879 h 940407"/>
                <a:gd name="connsiteX20" fmla="*/ 6721585 w 6736471"/>
                <a:gd name="connsiteY20" fmla="*/ 929228 h 94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36471" h="940407">
                  <a:moveTo>
                    <a:pt x="-3387" y="1847"/>
                  </a:moveTo>
                  <a:cubicBezTo>
                    <a:pt x="-425" y="1847"/>
                    <a:pt x="5500" y="1847"/>
                    <a:pt x="8465" y="1847"/>
                  </a:cubicBezTo>
                  <a:lnTo>
                    <a:pt x="7913" y="-3529"/>
                  </a:lnTo>
                  <a:cubicBezTo>
                    <a:pt x="4677" y="-3322"/>
                    <a:pt x="-1737" y="-2978"/>
                    <a:pt x="-4905" y="-2771"/>
                  </a:cubicBezTo>
                  <a:lnTo>
                    <a:pt x="-3387" y="1847"/>
                  </a:lnTo>
                  <a:close/>
                  <a:moveTo>
                    <a:pt x="5307466" y="80697"/>
                  </a:moveTo>
                  <a:cubicBezTo>
                    <a:pt x="5314076" y="87590"/>
                    <a:pt x="5320899" y="94413"/>
                    <a:pt x="5327791" y="101168"/>
                  </a:cubicBezTo>
                  <a:cubicBezTo>
                    <a:pt x="5326413" y="95033"/>
                    <a:pt x="5323656" y="82834"/>
                    <a:pt x="5322277" y="76699"/>
                  </a:cubicBezTo>
                  <a:cubicBezTo>
                    <a:pt x="5334684" y="75872"/>
                    <a:pt x="5347160" y="74425"/>
                    <a:pt x="5359221" y="71185"/>
                  </a:cubicBezTo>
                  <a:cubicBezTo>
                    <a:pt x="5351157" y="60433"/>
                    <a:pt x="5346608" y="48440"/>
                    <a:pt x="5345367" y="35138"/>
                  </a:cubicBezTo>
                  <a:cubicBezTo>
                    <a:pt x="5343507" y="38377"/>
                    <a:pt x="5339716" y="44925"/>
                    <a:pt x="5337855" y="48165"/>
                  </a:cubicBezTo>
                  <a:cubicBezTo>
                    <a:pt x="5326965" y="52920"/>
                    <a:pt x="5316281" y="57676"/>
                    <a:pt x="5305667" y="62570"/>
                  </a:cubicBezTo>
                  <a:cubicBezTo>
                    <a:pt x="5302221" y="62432"/>
                    <a:pt x="5295466" y="62156"/>
                    <a:pt x="5292020" y="62018"/>
                  </a:cubicBezTo>
                  <a:lnTo>
                    <a:pt x="5289538" y="67670"/>
                  </a:lnTo>
                  <a:cubicBezTo>
                    <a:pt x="5294156" y="70565"/>
                    <a:pt x="5303323" y="76355"/>
                    <a:pt x="5307941" y="79250"/>
                  </a:cubicBezTo>
                  <a:cubicBezTo>
                    <a:pt x="5302565" y="80146"/>
                    <a:pt x="5291813" y="81938"/>
                    <a:pt x="5286437" y="82834"/>
                  </a:cubicBezTo>
                  <a:cubicBezTo>
                    <a:pt x="5287264" y="85315"/>
                    <a:pt x="5288918" y="90278"/>
                    <a:pt x="5289745" y="92828"/>
                  </a:cubicBezTo>
                  <a:cubicBezTo>
                    <a:pt x="5295535" y="88830"/>
                    <a:pt x="5301463" y="84764"/>
                    <a:pt x="5307466" y="80697"/>
                  </a:cubicBezTo>
                  <a:moveTo>
                    <a:pt x="6721585" y="929228"/>
                  </a:moveTo>
                  <a:cubicBezTo>
                    <a:pt x="6723722" y="931158"/>
                    <a:pt x="6727995" y="934949"/>
                    <a:pt x="6730201" y="936879"/>
                  </a:cubicBezTo>
                  <a:cubicBezTo>
                    <a:pt x="6733578" y="926747"/>
                    <a:pt x="6730683" y="924197"/>
                    <a:pt x="6721585" y="929228"/>
                  </a:cubicBezTo>
                </a:path>
              </a:pathLst>
            </a:custGeom>
            <a:grpFill/>
            <a:ln w="689" cap="flat">
              <a:noFill/>
              <a:prstDash val="solid"/>
              <a:miter/>
            </a:ln>
          </p:spPr>
          <p:txBody>
            <a:bodyPr rtlCol="0" anchor="ctr"/>
            <a:lstStyle/>
            <a:p>
              <a:endParaRPr lang="en-US" sz="2400" dirty="0"/>
            </a:p>
          </p:txBody>
        </p:sp>
        <p:sp>
          <p:nvSpPr>
            <p:cNvPr id="287" name="Graphic 8">
              <a:extLst>
                <a:ext uri="{FF2B5EF4-FFF2-40B4-BE49-F238E27FC236}">
                  <a16:creationId xmlns:a16="http://schemas.microsoft.com/office/drawing/2014/main" id="{EECFD205-B4B0-47C6-80CA-01192EED4F8A}"/>
                </a:ext>
              </a:extLst>
            </p:cNvPr>
            <p:cNvSpPr/>
            <p:nvPr/>
          </p:nvSpPr>
          <p:spPr>
            <a:xfrm flipV="1">
              <a:off x="1824905" y="1929532"/>
              <a:ext cx="5840684" cy="1293176"/>
            </a:xfrm>
            <a:custGeom>
              <a:avLst/>
              <a:gdLst>
                <a:gd name="connsiteX0" fmla="*/ 736537 w 5840684"/>
                <a:gd name="connsiteY0" fmla="*/ 34615 h 1293176"/>
                <a:gd name="connsiteX1" fmla="*/ 748323 w 5840684"/>
                <a:gd name="connsiteY1" fmla="*/ 22691 h 1293176"/>
                <a:gd name="connsiteX2" fmla="*/ 736537 w 5840684"/>
                <a:gd name="connsiteY2" fmla="*/ 34615 h 1293176"/>
                <a:gd name="connsiteX3" fmla="*/ 731919 w 5840684"/>
                <a:gd name="connsiteY3" fmla="*/ 43851 h 1293176"/>
                <a:gd name="connsiteX4" fmla="*/ 776306 w 5840684"/>
                <a:gd name="connsiteY4" fmla="*/ 25862 h 1293176"/>
                <a:gd name="connsiteX5" fmla="*/ 783750 w 5840684"/>
                <a:gd name="connsiteY5" fmla="*/ 4495 h 1293176"/>
                <a:gd name="connsiteX6" fmla="*/ 761970 w 5840684"/>
                <a:gd name="connsiteY6" fmla="*/ 567 h 1293176"/>
                <a:gd name="connsiteX7" fmla="*/ 760730 w 5840684"/>
                <a:gd name="connsiteY7" fmla="*/ 14559 h 1293176"/>
                <a:gd name="connsiteX8" fmla="*/ 751080 w 5840684"/>
                <a:gd name="connsiteY8" fmla="*/ 911 h 1293176"/>
                <a:gd name="connsiteX9" fmla="*/ 717583 w 5840684"/>
                <a:gd name="connsiteY9" fmla="*/ -3224 h 1293176"/>
                <a:gd name="connsiteX10" fmla="*/ 718686 w 5840684"/>
                <a:gd name="connsiteY10" fmla="*/ 12215 h 1293176"/>
                <a:gd name="connsiteX11" fmla="*/ 729644 w 5840684"/>
                <a:gd name="connsiteY11" fmla="*/ 21933 h 1293176"/>
                <a:gd name="connsiteX12" fmla="*/ 731919 w 5840684"/>
                <a:gd name="connsiteY12" fmla="*/ 43851 h 1293176"/>
                <a:gd name="connsiteX13" fmla="*/ 2592608 w 5840684"/>
                <a:gd name="connsiteY13" fmla="*/ 260895 h 1293176"/>
                <a:gd name="connsiteX14" fmla="*/ 2602740 w 5840684"/>
                <a:gd name="connsiteY14" fmla="*/ 243733 h 1293176"/>
                <a:gd name="connsiteX15" fmla="*/ 2592608 w 5840684"/>
                <a:gd name="connsiteY15" fmla="*/ 260895 h 1293176"/>
                <a:gd name="connsiteX16" fmla="*/ 215 w 5840684"/>
                <a:gd name="connsiteY16" fmla="*/ 605863 h 1293176"/>
                <a:gd name="connsiteX17" fmla="*/ -5850 w 5840684"/>
                <a:gd name="connsiteY17" fmla="*/ 599108 h 1293176"/>
                <a:gd name="connsiteX18" fmla="*/ 215 w 5840684"/>
                <a:gd name="connsiteY18" fmla="*/ 605863 h 1293176"/>
                <a:gd name="connsiteX19" fmla="*/ 931111 w 5840684"/>
                <a:gd name="connsiteY19" fmla="*/ 914507 h 1293176"/>
                <a:gd name="connsiteX20" fmla="*/ 946826 w 5840684"/>
                <a:gd name="connsiteY20" fmla="*/ 897965 h 1293176"/>
                <a:gd name="connsiteX21" fmla="*/ 931111 w 5840684"/>
                <a:gd name="connsiteY21" fmla="*/ 914507 h 1293176"/>
                <a:gd name="connsiteX22" fmla="*/ 4982363 w 5840684"/>
                <a:gd name="connsiteY22" fmla="*/ 1058904 h 1293176"/>
                <a:gd name="connsiteX23" fmla="*/ 4993115 w 5840684"/>
                <a:gd name="connsiteY23" fmla="*/ 1048566 h 1293176"/>
                <a:gd name="connsiteX24" fmla="*/ 4982363 w 5840684"/>
                <a:gd name="connsiteY24" fmla="*/ 1058904 h 1293176"/>
                <a:gd name="connsiteX25" fmla="*/ 5824415 w 5840684"/>
                <a:gd name="connsiteY25" fmla="*/ 1288837 h 1293176"/>
                <a:gd name="connsiteX26" fmla="*/ 5833237 w 5840684"/>
                <a:gd name="connsiteY26" fmla="*/ 1278843 h 1293176"/>
                <a:gd name="connsiteX27" fmla="*/ 5824415 w 5840684"/>
                <a:gd name="connsiteY27" fmla="*/ 1288837 h 129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840684" h="1293176">
                  <a:moveTo>
                    <a:pt x="736537" y="34615"/>
                  </a:moveTo>
                  <a:cubicBezTo>
                    <a:pt x="734745" y="25448"/>
                    <a:pt x="738674" y="21451"/>
                    <a:pt x="748323" y="22691"/>
                  </a:cubicBezTo>
                  <a:cubicBezTo>
                    <a:pt x="750046" y="32134"/>
                    <a:pt x="746118" y="36132"/>
                    <a:pt x="736537" y="34615"/>
                  </a:cubicBezTo>
                  <a:close/>
                  <a:moveTo>
                    <a:pt x="731919" y="43851"/>
                  </a:moveTo>
                  <a:cubicBezTo>
                    <a:pt x="746945" y="38475"/>
                    <a:pt x="761901" y="32755"/>
                    <a:pt x="776306" y="25862"/>
                  </a:cubicBezTo>
                  <a:cubicBezTo>
                    <a:pt x="778168" y="20486"/>
                    <a:pt x="781889" y="9803"/>
                    <a:pt x="783750" y="4495"/>
                  </a:cubicBezTo>
                  <a:cubicBezTo>
                    <a:pt x="778305" y="3462"/>
                    <a:pt x="767415" y="1532"/>
                    <a:pt x="761970" y="567"/>
                  </a:cubicBezTo>
                  <a:cubicBezTo>
                    <a:pt x="761626" y="4082"/>
                    <a:pt x="761074" y="11043"/>
                    <a:pt x="760730" y="14559"/>
                  </a:cubicBezTo>
                  <a:cubicBezTo>
                    <a:pt x="758317" y="11181"/>
                    <a:pt x="753492" y="4358"/>
                    <a:pt x="751080" y="911"/>
                  </a:cubicBezTo>
                  <a:cubicBezTo>
                    <a:pt x="739914" y="-260"/>
                    <a:pt x="728748" y="-1639"/>
                    <a:pt x="717583" y="-3224"/>
                  </a:cubicBezTo>
                  <a:cubicBezTo>
                    <a:pt x="717858" y="636"/>
                    <a:pt x="718410" y="8355"/>
                    <a:pt x="718686" y="12215"/>
                  </a:cubicBezTo>
                  <a:cubicBezTo>
                    <a:pt x="721443" y="14696"/>
                    <a:pt x="726956" y="19521"/>
                    <a:pt x="729644" y="21933"/>
                  </a:cubicBezTo>
                  <a:cubicBezTo>
                    <a:pt x="730265" y="27447"/>
                    <a:pt x="731368" y="38406"/>
                    <a:pt x="731919" y="43851"/>
                  </a:cubicBezTo>
                  <a:moveTo>
                    <a:pt x="2592608" y="260895"/>
                  </a:moveTo>
                  <a:cubicBezTo>
                    <a:pt x="2603154" y="269304"/>
                    <a:pt x="2612458" y="250143"/>
                    <a:pt x="2602740" y="243733"/>
                  </a:cubicBezTo>
                  <a:cubicBezTo>
                    <a:pt x="2592057" y="235738"/>
                    <a:pt x="2582683" y="254554"/>
                    <a:pt x="2592608" y="260895"/>
                  </a:cubicBezTo>
                  <a:moveTo>
                    <a:pt x="215" y="605863"/>
                  </a:moveTo>
                  <a:cubicBezTo>
                    <a:pt x="24270" y="608068"/>
                    <a:pt x="8" y="577535"/>
                    <a:pt x="-5850" y="599108"/>
                  </a:cubicBezTo>
                  <a:cubicBezTo>
                    <a:pt x="-4334" y="600762"/>
                    <a:pt x="-1301" y="604209"/>
                    <a:pt x="215" y="605863"/>
                  </a:cubicBezTo>
                  <a:moveTo>
                    <a:pt x="931111" y="914507"/>
                  </a:moveTo>
                  <a:cubicBezTo>
                    <a:pt x="939382" y="918367"/>
                    <a:pt x="951651" y="906168"/>
                    <a:pt x="946826" y="897965"/>
                  </a:cubicBezTo>
                  <a:cubicBezTo>
                    <a:pt x="937935" y="892589"/>
                    <a:pt x="925322" y="906099"/>
                    <a:pt x="931111" y="914507"/>
                  </a:cubicBezTo>
                  <a:moveTo>
                    <a:pt x="4982363" y="1058904"/>
                  </a:moveTo>
                  <a:cubicBezTo>
                    <a:pt x="4991874" y="1061593"/>
                    <a:pt x="4995458" y="1058146"/>
                    <a:pt x="4993115" y="1048566"/>
                  </a:cubicBezTo>
                  <a:cubicBezTo>
                    <a:pt x="4983397" y="1045878"/>
                    <a:pt x="4979812" y="1049324"/>
                    <a:pt x="4982363" y="1058904"/>
                  </a:cubicBezTo>
                  <a:moveTo>
                    <a:pt x="5824415" y="1288837"/>
                  </a:moveTo>
                  <a:cubicBezTo>
                    <a:pt x="5834064" y="1291938"/>
                    <a:pt x="5837028" y="1288561"/>
                    <a:pt x="5833237" y="1278843"/>
                  </a:cubicBezTo>
                  <a:cubicBezTo>
                    <a:pt x="5823450" y="1275741"/>
                    <a:pt x="5820486" y="1279118"/>
                    <a:pt x="5824415" y="1288837"/>
                  </a:cubicBezTo>
                </a:path>
              </a:pathLst>
            </a:custGeom>
            <a:grpFill/>
            <a:ln w="689" cap="flat">
              <a:noFill/>
              <a:prstDash val="solid"/>
              <a:miter/>
            </a:ln>
          </p:spPr>
          <p:txBody>
            <a:bodyPr rtlCol="0" anchor="ctr"/>
            <a:lstStyle/>
            <a:p>
              <a:endParaRPr lang="en-US" sz="2400" dirty="0"/>
            </a:p>
          </p:txBody>
        </p:sp>
        <p:sp>
          <p:nvSpPr>
            <p:cNvPr id="288" name="Graphic 8">
              <a:extLst>
                <a:ext uri="{FF2B5EF4-FFF2-40B4-BE49-F238E27FC236}">
                  <a16:creationId xmlns:a16="http://schemas.microsoft.com/office/drawing/2014/main" id="{9C8BE671-B11F-41EE-934F-7E7A0EC9971A}"/>
                </a:ext>
              </a:extLst>
            </p:cNvPr>
            <p:cNvSpPr/>
            <p:nvPr/>
          </p:nvSpPr>
          <p:spPr>
            <a:xfrm flipV="1">
              <a:off x="2676331" y="1961319"/>
              <a:ext cx="77057" cy="159008"/>
            </a:xfrm>
            <a:custGeom>
              <a:avLst/>
              <a:gdLst>
                <a:gd name="connsiteX0" fmla="*/ 12556 w 77057"/>
                <a:gd name="connsiteY0" fmla="*/ 25120 h 159008"/>
                <a:gd name="connsiteX1" fmla="*/ 12556 w 77057"/>
                <a:gd name="connsiteY1" fmla="*/ 25120 h 159008"/>
                <a:gd name="connsiteX2" fmla="*/ -816 w 77057"/>
                <a:gd name="connsiteY2" fmla="*/ 153320 h 159008"/>
                <a:gd name="connsiteX3" fmla="*/ 30200 w 77057"/>
                <a:gd name="connsiteY3" fmla="*/ 151527 h 159008"/>
                <a:gd name="connsiteX4" fmla="*/ 50258 w 77057"/>
                <a:gd name="connsiteY4" fmla="*/ 121476 h 159008"/>
                <a:gd name="connsiteX5" fmla="*/ 53910 w 77057"/>
                <a:gd name="connsiteY5" fmla="*/ 154905 h 159008"/>
                <a:gd name="connsiteX6" fmla="*/ 66661 w 77057"/>
                <a:gd name="connsiteY6" fmla="*/ 148839 h 159008"/>
                <a:gd name="connsiteX7" fmla="*/ 73761 w 77057"/>
                <a:gd name="connsiteY7" fmla="*/ 131677 h 159008"/>
                <a:gd name="connsiteX8" fmla="*/ 68385 w 77057"/>
                <a:gd name="connsiteY8" fmla="*/ 129885 h 159008"/>
                <a:gd name="connsiteX9" fmla="*/ 67144 w 77057"/>
                <a:gd name="connsiteY9" fmla="*/ 118788 h 159008"/>
                <a:gd name="connsiteX10" fmla="*/ 60183 w 77057"/>
                <a:gd name="connsiteY10" fmla="*/ 116169 h 159008"/>
                <a:gd name="connsiteX11" fmla="*/ 51360 w 77057"/>
                <a:gd name="connsiteY11" fmla="*/ 105279 h 159008"/>
                <a:gd name="connsiteX12" fmla="*/ 45502 w 77057"/>
                <a:gd name="connsiteY12" fmla="*/ 112447 h 159008"/>
                <a:gd name="connsiteX13" fmla="*/ 23997 w 77057"/>
                <a:gd name="connsiteY13" fmla="*/ 101971 h 159008"/>
                <a:gd name="connsiteX14" fmla="*/ 23101 w 77057"/>
                <a:gd name="connsiteY14" fmla="*/ 95767 h 159008"/>
                <a:gd name="connsiteX15" fmla="*/ 22825 w 77057"/>
                <a:gd name="connsiteY15" fmla="*/ 94527 h 159008"/>
                <a:gd name="connsiteX16" fmla="*/ 23584 w 77057"/>
                <a:gd name="connsiteY16" fmla="*/ 92597 h 159008"/>
                <a:gd name="connsiteX17" fmla="*/ 27926 w 77057"/>
                <a:gd name="connsiteY17" fmla="*/ 83085 h 159008"/>
                <a:gd name="connsiteX18" fmla="*/ 13176 w 77057"/>
                <a:gd name="connsiteY18" fmla="*/ 81914 h 159008"/>
                <a:gd name="connsiteX19" fmla="*/ 19172 w 77057"/>
                <a:gd name="connsiteY19" fmla="*/ 54757 h 159008"/>
                <a:gd name="connsiteX20" fmla="*/ 29304 w 77057"/>
                <a:gd name="connsiteY20" fmla="*/ 80742 h 159008"/>
                <a:gd name="connsiteX21" fmla="*/ 52601 w 77057"/>
                <a:gd name="connsiteY21" fmla="*/ 65027 h 159008"/>
                <a:gd name="connsiteX22" fmla="*/ 34474 w 77057"/>
                <a:gd name="connsiteY22" fmla="*/ 40076 h 159008"/>
                <a:gd name="connsiteX23" fmla="*/ 36059 w 77057"/>
                <a:gd name="connsiteY23" fmla="*/ 12231 h 159008"/>
                <a:gd name="connsiteX24" fmla="*/ 27443 w 77057"/>
                <a:gd name="connsiteY24" fmla="*/ 13816 h 159008"/>
                <a:gd name="connsiteX25" fmla="*/ 26685 w 77057"/>
                <a:gd name="connsiteY25" fmla="*/ -4104 h 159008"/>
                <a:gd name="connsiteX26" fmla="*/ 3595 w 77057"/>
                <a:gd name="connsiteY26" fmla="*/ 14092 h 159008"/>
                <a:gd name="connsiteX27" fmla="*/ 1666 w 77057"/>
                <a:gd name="connsiteY27" fmla="*/ 80811 h 159008"/>
                <a:gd name="connsiteX28" fmla="*/ 2424 w 77057"/>
                <a:gd name="connsiteY28" fmla="*/ 89495 h 159008"/>
                <a:gd name="connsiteX29" fmla="*/ 4216 w 77057"/>
                <a:gd name="connsiteY29" fmla="*/ 121545 h 159008"/>
                <a:gd name="connsiteX30" fmla="*/ 16691 w 77057"/>
                <a:gd name="connsiteY30" fmla="*/ 103211 h 159008"/>
                <a:gd name="connsiteX31" fmla="*/ 23515 w 77057"/>
                <a:gd name="connsiteY31" fmla="*/ 128644 h 159008"/>
                <a:gd name="connsiteX32" fmla="*/ 22894 w 77057"/>
                <a:gd name="connsiteY32" fmla="*/ 136226 h 159008"/>
                <a:gd name="connsiteX33" fmla="*/ 12004 w 77057"/>
                <a:gd name="connsiteY33" fmla="*/ 125543 h 159008"/>
                <a:gd name="connsiteX34" fmla="*/ 9730 w 77057"/>
                <a:gd name="connsiteY34" fmla="*/ 143463 h 159008"/>
                <a:gd name="connsiteX35" fmla="*/ -3297 w 77057"/>
                <a:gd name="connsiteY35" fmla="*/ 133124 h 159008"/>
                <a:gd name="connsiteX36" fmla="*/ -816 w 77057"/>
                <a:gd name="connsiteY36" fmla="*/ 153320 h 159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7057" h="159008">
                  <a:moveTo>
                    <a:pt x="12556" y="25120"/>
                  </a:moveTo>
                  <a:cubicBezTo>
                    <a:pt x="1459" y="4787"/>
                    <a:pt x="35232" y="22914"/>
                    <a:pt x="12556" y="25120"/>
                  </a:cubicBezTo>
                  <a:close/>
                  <a:moveTo>
                    <a:pt x="-816" y="153320"/>
                  </a:moveTo>
                  <a:cubicBezTo>
                    <a:pt x="9523" y="153320"/>
                    <a:pt x="19862" y="152355"/>
                    <a:pt x="30200" y="151527"/>
                  </a:cubicBezTo>
                  <a:cubicBezTo>
                    <a:pt x="35301" y="140568"/>
                    <a:pt x="41711" y="130161"/>
                    <a:pt x="50258" y="121476"/>
                  </a:cubicBezTo>
                  <a:cubicBezTo>
                    <a:pt x="51774" y="132642"/>
                    <a:pt x="52946" y="143739"/>
                    <a:pt x="53910" y="154905"/>
                  </a:cubicBezTo>
                  <a:cubicBezTo>
                    <a:pt x="57081" y="153389"/>
                    <a:pt x="63422" y="150356"/>
                    <a:pt x="66661" y="148839"/>
                  </a:cubicBezTo>
                  <a:cubicBezTo>
                    <a:pt x="69212" y="143256"/>
                    <a:pt x="71555" y="137467"/>
                    <a:pt x="73761" y="131677"/>
                  </a:cubicBezTo>
                  <a:lnTo>
                    <a:pt x="68385" y="129885"/>
                  </a:lnTo>
                  <a:cubicBezTo>
                    <a:pt x="68109" y="127128"/>
                    <a:pt x="67420" y="121545"/>
                    <a:pt x="67144" y="118788"/>
                  </a:cubicBezTo>
                  <a:lnTo>
                    <a:pt x="60183" y="116169"/>
                  </a:lnTo>
                  <a:cubicBezTo>
                    <a:pt x="57977" y="113481"/>
                    <a:pt x="53566" y="108036"/>
                    <a:pt x="51360" y="105279"/>
                  </a:cubicBezTo>
                  <a:cubicBezTo>
                    <a:pt x="49844" y="107071"/>
                    <a:pt x="46949" y="110655"/>
                    <a:pt x="45502" y="112447"/>
                  </a:cubicBezTo>
                  <a:cubicBezTo>
                    <a:pt x="38196" y="125267"/>
                    <a:pt x="21240" y="114722"/>
                    <a:pt x="23997" y="101971"/>
                  </a:cubicBezTo>
                  <a:lnTo>
                    <a:pt x="23101" y="95767"/>
                  </a:lnTo>
                  <a:lnTo>
                    <a:pt x="22825" y="94527"/>
                  </a:lnTo>
                  <a:cubicBezTo>
                    <a:pt x="23032" y="94044"/>
                    <a:pt x="23377" y="93079"/>
                    <a:pt x="23584" y="92597"/>
                  </a:cubicBezTo>
                  <a:cubicBezTo>
                    <a:pt x="24686" y="90184"/>
                    <a:pt x="26823" y="85498"/>
                    <a:pt x="27926" y="83085"/>
                  </a:cubicBezTo>
                  <a:cubicBezTo>
                    <a:pt x="24273" y="82809"/>
                    <a:pt x="16898" y="82258"/>
                    <a:pt x="13176" y="81914"/>
                  </a:cubicBezTo>
                  <a:cubicBezTo>
                    <a:pt x="8351" y="72884"/>
                    <a:pt x="9799" y="60340"/>
                    <a:pt x="19172" y="54757"/>
                  </a:cubicBezTo>
                  <a:cubicBezTo>
                    <a:pt x="22274" y="63580"/>
                    <a:pt x="25307" y="72333"/>
                    <a:pt x="29304" y="80742"/>
                  </a:cubicBezTo>
                  <a:cubicBezTo>
                    <a:pt x="37024" y="75504"/>
                    <a:pt x="44744" y="70265"/>
                    <a:pt x="52601" y="65027"/>
                  </a:cubicBezTo>
                  <a:cubicBezTo>
                    <a:pt x="46535" y="56756"/>
                    <a:pt x="40470" y="48416"/>
                    <a:pt x="34474" y="40076"/>
                  </a:cubicBezTo>
                  <a:cubicBezTo>
                    <a:pt x="34956" y="30840"/>
                    <a:pt x="35439" y="21536"/>
                    <a:pt x="36059" y="12231"/>
                  </a:cubicBezTo>
                  <a:cubicBezTo>
                    <a:pt x="33922" y="12644"/>
                    <a:pt x="29649" y="13403"/>
                    <a:pt x="27443" y="13816"/>
                  </a:cubicBezTo>
                  <a:cubicBezTo>
                    <a:pt x="27306" y="9336"/>
                    <a:pt x="26892" y="376"/>
                    <a:pt x="26685" y="-4104"/>
                  </a:cubicBezTo>
                  <a:cubicBezTo>
                    <a:pt x="19448" y="2168"/>
                    <a:pt x="6835" y="4167"/>
                    <a:pt x="3595" y="14092"/>
                  </a:cubicBezTo>
                  <a:cubicBezTo>
                    <a:pt x="356" y="36148"/>
                    <a:pt x="2217" y="58617"/>
                    <a:pt x="1666" y="80811"/>
                  </a:cubicBezTo>
                  <a:cubicBezTo>
                    <a:pt x="1872" y="82947"/>
                    <a:pt x="2286" y="87290"/>
                    <a:pt x="2424" y="89495"/>
                  </a:cubicBezTo>
                  <a:cubicBezTo>
                    <a:pt x="3320" y="100179"/>
                    <a:pt x="3940" y="110862"/>
                    <a:pt x="4216" y="121545"/>
                  </a:cubicBezTo>
                  <a:cubicBezTo>
                    <a:pt x="8282" y="115411"/>
                    <a:pt x="12487" y="109345"/>
                    <a:pt x="16691" y="103211"/>
                  </a:cubicBezTo>
                  <a:cubicBezTo>
                    <a:pt x="18897" y="111689"/>
                    <a:pt x="21171" y="120167"/>
                    <a:pt x="23515" y="128644"/>
                  </a:cubicBezTo>
                  <a:cubicBezTo>
                    <a:pt x="23377" y="130505"/>
                    <a:pt x="23032" y="134296"/>
                    <a:pt x="22894" y="136226"/>
                  </a:cubicBezTo>
                  <a:cubicBezTo>
                    <a:pt x="20137" y="133538"/>
                    <a:pt x="14761" y="128231"/>
                    <a:pt x="12004" y="125543"/>
                  </a:cubicBezTo>
                  <a:cubicBezTo>
                    <a:pt x="11453" y="130023"/>
                    <a:pt x="10350" y="138983"/>
                    <a:pt x="9730" y="143463"/>
                  </a:cubicBezTo>
                  <a:cubicBezTo>
                    <a:pt x="6490" y="140844"/>
                    <a:pt x="11" y="135744"/>
                    <a:pt x="-3297" y="133124"/>
                  </a:cubicBezTo>
                  <a:cubicBezTo>
                    <a:pt x="-2677" y="138225"/>
                    <a:pt x="-1436" y="148288"/>
                    <a:pt x="-816" y="153320"/>
                  </a:cubicBezTo>
                </a:path>
              </a:pathLst>
            </a:custGeom>
            <a:grpFill/>
            <a:ln w="689" cap="flat">
              <a:noFill/>
              <a:prstDash val="solid"/>
              <a:miter/>
            </a:ln>
          </p:spPr>
          <p:txBody>
            <a:bodyPr rtlCol="0" anchor="ctr"/>
            <a:lstStyle/>
            <a:p>
              <a:endParaRPr lang="en-US" sz="2400" dirty="0"/>
            </a:p>
          </p:txBody>
        </p:sp>
        <p:sp>
          <p:nvSpPr>
            <p:cNvPr id="289" name="Graphic 8">
              <a:extLst>
                <a:ext uri="{FF2B5EF4-FFF2-40B4-BE49-F238E27FC236}">
                  <a16:creationId xmlns:a16="http://schemas.microsoft.com/office/drawing/2014/main" id="{632C5AAF-CA5D-4DF7-91CC-B4AD7CFB48CF}"/>
                </a:ext>
              </a:extLst>
            </p:cNvPr>
            <p:cNvSpPr/>
            <p:nvPr/>
          </p:nvSpPr>
          <p:spPr>
            <a:xfrm flipV="1">
              <a:off x="3278526" y="1965868"/>
              <a:ext cx="2687" cy="2636"/>
            </a:xfrm>
            <a:custGeom>
              <a:avLst/>
              <a:gdLst>
                <a:gd name="connsiteX0" fmla="*/ -4008 w 2687"/>
                <a:gd name="connsiteY0" fmla="*/ -1589 h 2636"/>
                <a:gd name="connsiteX1" fmla="*/ -4008 w 2687"/>
                <a:gd name="connsiteY1" fmla="*/ -1589 h 2636"/>
                <a:gd name="connsiteX2" fmla="*/ -4008 w 2687"/>
                <a:gd name="connsiteY2" fmla="*/ -1589 h 2636"/>
              </a:gdLst>
              <a:ahLst/>
              <a:cxnLst>
                <a:cxn ang="0">
                  <a:pos x="connsiteX0" y="connsiteY0"/>
                </a:cxn>
                <a:cxn ang="0">
                  <a:pos x="connsiteX1" y="connsiteY1"/>
                </a:cxn>
                <a:cxn ang="0">
                  <a:pos x="connsiteX2" y="connsiteY2"/>
                </a:cxn>
              </a:cxnLst>
              <a:rect l="l" t="t" r="r" b="b"/>
              <a:pathLst>
                <a:path w="2687" h="2636">
                  <a:moveTo>
                    <a:pt x="-4008" y="-1589"/>
                  </a:moveTo>
                  <a:cubicBezTo>
                    <a:pt x="-424" y="-5104"/>
                    <a:pt x="-424" y="-5104"/>
                    <a:pt x="-4008" y="-1589"/>
                  </a:cubicBezTo>
                  <a:lnTo>
                    <a:pt x="-4008" y="-1589"/>
                  </a:lnTo>
                </a:path>
              </a:pathLst>
            </a:custGeom>
            <a:grpFill/>
            <a:ln w="689" cap="flat">
              <a:noFill/>
              <a:prstDash val="solid"/>
              <a:miter/>
            </a:ln>
          </p:spPr>
          <p:txBody>
            <a:bodyPr rtlCol="0" anchor="ctr"/>
            <a:lstStyle/>
            <a:p>
              <a:endParaRPr lang="en-US" sz="2400" dirty="0"/>
            </a:p>
          </p:txBody>
        </p:sp>
        <p:sp>
          <p:nvSpPr>
            <p:cNvPr id="290" name="Graphic 8">
              <a:extLst>
                <a:ext uri="{FF2B5EF4-FFF2-40B4-BE49-F238E27FC236}">
                  <a16:creationId xmlns:a16="http://schemas.microsoft.com/office/drawing/2014/main" id="{9DC80CA2-D8B5-4611-870A-86AAD69E1618}"/>
                </a:ext>
              </a:extLst>
            </p:cNvPr>
            <p:cNvSpPr/>
            <p:nvPr/>
          </p:nvSpPr>
          <p:spPr>
            <a:xfrm flipV="1">
              <a:off x="7679178" y="1967246"/>
              <a:ext cx="11748" cy="15576"/>
            </a:xfrm>
            <a:custGeom>
              <a:avLst/>
              <a:gdLst>
                <a:gd name="connsiteX0" fmla="*/ -5640 w 11748"/>
                <a:gd name="connsiteY0" fmla="*/ 11364 h 15576"/>
                <a:gd name="connsiteX1" fmla="*/ -1505 w 11748"/>
                <a:gd name="connsiteY1" fmla="*/ -4212 h 15576"/>
                <a:gd name="connsiteX2" fmla="*/ -5640 w 11748"/>
                <a:gd name="connsiteY2" fmla="*/ 11364 h 15576"/>
                <a:gd name="connsiteX3" fmla="*/ -5640 w 11748"/>
                <a:gd name="connsiteY3" fmla="*/ 11364 h 15576"/>
              </a:gdLst>
              <a:ahLst/>
              <a:cxnLst>
                <a:cxn ang="0">
                  <a:pos x="connsiteX0" y="connsiteY0"/>
                </a:cxn>
                <a:cxn ang="0">
                  <a:pos x="connsiteX1" y="connsiteY1"/>
                </a:cxn>
                <a:cxn ang="0">
                  <a:pos x="connsiteX2" y="connsiteY2"/>
                </a:cxn>
                <a:cxn ang="0">
                  <a:pos x="connsiteX3" y="connsiteY3"/>
                </a:cxn>
              </a:cxnLst>
              <a:rect l="l" t="t" r="r" b="b"/>
              <a:pathLst>
                <a:path w="11748" h="15576">
                  <a:moveTo>
                    <a:pt x="-5640" y="11364"/>
                  </a:moveTo>
                  <a:cubicBezTo>
                    <a:pt x="3182" y="9435"/>
                    <a:pt x="4561" y="4196"/>
                    <a:pt x="-1505" y="-4212"/>
                  </a:cubicBezTo>
                  <a:cubicBezTo>
                    <a:pt x="-10603" y="-2145"/>
                    <a:pt x="-11981" y="3025"/>
                    <a:pt x="-5640" y="11364"/>
                  </a:cubicBezTo>
                  <a:lnTo>
                    <a:pt x="-5640" y="11364"/>
                  </a:lnTo>
                </a:path>
              </a:pathLst>
            </a:custGeom>
            <a:grpFill/>
            <a:ln w="689" cap="flat">
              <a:noFill/>
              <a:prstDash val="solid"/>
              <a:miter/>
            </a:ln>
          </p:spPr>
          <p:txBody>
            <a:bodyPr rtlCol="0" anchor="ctr"/>
            <a:lstStyle/>
            <a:p>
              <a:endParaRPr lang="en-US" sz="2400" dirty="0"/>
            </a:p>
          </p:txBody>
        </p:sp>
        <p:sp>
          <p:nvSpPr>
            <p:cNvPr id="291" name="Graphic 8">
              <a:extLst>
                <a:ext uri="{FF2B5EF4-FFF2-40B4-BE49-F238E27FC236}">
                  <a16:creationId xmlns:a16="http://schemas.microsoft.com/office/drawing/2014/main" id="{227C6A83-E24A-42CC-A219-FCD06F4D9144}"/>
                </a:ext>
              </a:extLst>
            </p:cNvPr>
            <p:cNvSpPr/>
            <p:nvPr/>
          </p:nvSpPr>
          <p:spPr>
            <a:xfrm flipV="1">
              <a:off x="4461134" y="1966685"/>
              <a:ext cx="4311133" cy="1038136"/>
            </a:xfrm>
            <a:custGeom>
              <a:avLst/>
              <a:gdLst>
                <a:gd name="connsiteX0" fmla="*/ -8203 w 4311133"/>
                <a:gd name="connsiteY0" fmla="*/ 17564 h 1038136"/>
                <a:gd name="connsiteX1" fmla="*/ 7098 w 4311133"/>
                <a:gd name="connsiteY1" fmla="*/ 33417 h 1038136"/>
                <a:gd name="connsiteX2" fmla="*/ 5375 w 4311133"/>
                <a:gd name="connsiteY2" fmla="*/ -3251 h 1038136"/>
                <a:gd name="connsiteX3" fmla="*/ -8203 w 4311133"/>
                <a:gd name="connsiteY3" fmla="*/ 17564 h 1038136"/>
                <a:gd name="connsiteX4" fmla="*/ 4294623 w 4311133"/>
                <a:gd name="connsiteY4" fmla="*/ 1034754 h 1038136"/>
                <a:gd name="connsiteX5" fmla="*/ 4294623 w 4311133"/>
                <a:gd name="connsiteY5" fmla="*/ 1034754 h 1038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1133" h="1038136">
                  <a:moveTo>
                    <a:pt x="-8203" y="17564"/>
                  </a:moveTo>
                  <a:cubicBezTo>
                    <a:pt x="-3172" y="22871"/>
                    <a:pt x="1929" y="28179"/>
                    <a:pt x="7098" y="33417"/>
                  </a:cubicBezTo>
                  <a:cubicBezTo>
                    <a:pt x="7098" y="21217"/>
                    <a:pt x="7167" y="8949"/>
                    <a:pt x="5375" y="-3251"/>
                  </a:cubicBezTo>
                  <a:cubicBezTo>
                    <a:pt x="-6549" y="-4905"/>
                    <a:pt x="-4068" y="10741"/>
                    <a:pt x="-8203" y="17564"/>
                  </a:cubicBezTo>
                  <a:close/>
                  <a:moveTo>
                    <a:pt x="4294623" y="1034754"/>
                  </a:moveTo>
                  <a:cubicBezTo>
                    <a:pt x="4317231" y="1035305"/>
                    <a:pt x="4285525" y="1013249"/>
                    <a:pt x="4294623" y="1034754"/>
                  </a:cubicBezTo>
                </a:path>
              </a:pathLst>
            </a:custGeom>
            <a:grpFill/>
            <a:ln w="689" cap="flat">
              <a:noFill/>
              <a:prstDash val="solid"/>
              <a:miter/>
            </a:ln>
          </p:spPr>
          <p:txBody>
            <a:bodyPr rtlCol="0" anchor="ctr"/>
            <a:lstStyle/>
            <a:p>
              <a:endParaRPr lang="en-US" sz="2400" dirty="0"/>
            </a:p>
          </p:txBody>
        </p:sp>
        <p:sp>
          <p:nvSpPr>
            <p:cNvPr id="292" name="Graphic 8">
              <a:extLst>
                <a:ext uri="{FF2B5EF4-FFF2-40B4-BE49-F238E27FC236}">
                  <a16:creationId xmlns:a16="http://schemas.microsoft.com/office/drawing/2014/main" id="{80A50FB6-601F-44D8-A19C-E2CD98D26ADC}"/>
                </a:ext>
              </a:extLst>
            </p:cNvPr>
            <p:cNvSpPr/>
            <p:nvPr/>
          </p:nvSpPr>
          <p:spPr>
            <a:xfrm flipV="1">
              <a:off x="5000745" y="1979790"/>
              <a:ext cx="140133" cy="1377667"/>
            </a:xfrm>
            <a:custGeom>
              <a:avLst/>
              <a:gdLst>
                <a:gd name="connsiteX0" fmla="*/ -6259 w 140133"/>
                <a:gd name="connsiteY0" fmla="*/ 3272 h 1377667"/>
                <a:gd name="connsiteX1" fmla="*/ 6836 w 140133"/>
                <a:gd name="connsiteY1" fmla="*/ 3823 h 1377667"/>
                <a:gd name="connsiteX2" fmla="*/ -6259 w 140133"/>
                <a:gd name="connsiteY2" fmla="*/ 3272 h 1377667"/>
                <a:gd name="connsiteX3" fmla="*/ 125800 w 140133"/>
                <a:gd name="connsiteY3" fmla="*/ 1374596 h 1377667"/>
                <a:gd name="connsiteX4" fmla="*/ 125800 w 140133"/>
                <a:gd name="connsiteY4" fmla="*/ 1374596 h 13776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133" h="1377667">
                  <a:moveTo>
                    <a:pt x="-6259" y="3272"/>
                  </a:moveTo>
                  <a:cubicBezTo>
                    <a:pt x="-2951" y="3409"/>
                    <a:pt x="3597" y="3685"/>
                    <a:pt x="6836" y="3823"/>
                  </a:cubicBezTo>
                  <a:cubicBezTo>
                    <a:pt x="2839" y="-5206"/>
                    <a:pt x="-1503" y="-5344"/>
                    <a:pt x="-6259" y="3272"/>
                  </a:cubicBezTo>
                  <a:close/>
                  <a:moveTo>
                    <a:pt x="125800" y="1374596"/>
                  </a:moveTo>
                  <a:cubicBezTo>
                    <a:pt x="148476" y="1373493"/>
                    <a:pt x="115048" y="1353850"/>
                    <a:pt x="125800" y="1374596"/>
                  </a:cubicBezTo>
                </a:path>
              </a:pathLst>
            </a:custGeom>
            <a:grpFill/>
            <a:ln w="689" cap="flat">
              <a:noFill/>
              <a:prstDash val="solid"/>
              <a:miter/>
            </a:ln>
          </p:spPr>
          <p:txBody>
            <a:bodyPr rtlCol="0" anchor="ctr"/>
            <a:lstStyle/>
            <a:p>
              <a:endParaRPr lang="en-US" sz="2400" dirty="0"/>
            </a:p>
          </p:txBody>
        </p:sp>
        <p:sp>
          <p:nvSpPr>
            <p:cNvPr id="293" name="Graphic 8">
              <a:extLst>
                <a:ext uri="{FF2B5EF4-FFF2-40B4-BE49-F238E27FC236}">
                  <a16:creationId xmlns:a16="http://schemas.microsoft.com/office/drawing/2014/main" id="{9731B8FE-F640-442E-97C8-EFA8C65359EF}"/>
                </a:ext>
              </a:extLst>
            </p:cNvPr>
            <p:cNvSpPr/>
            <p:nvPr/>
          </p:nvSpPr>
          <p:spPr>
            <a:xfrm flipV="1">
              <a:off x="2644695" y="1993506"/>
              <a:ext cx="4239309" cy="890919"/>
            </a:xfrm>
            <a:custGeom>
              <a:avLst/>
              <a:gdLst>
                <a:gd name="connsiteX0" fmla="*/ 4224857 w 4239309"/>
                <a:gd name="connsiteY0" fmla="*/ 11162 h 890919"/>
                <a:gd name="connsiteX1" fmla="*/ 4230165 w 4239309"/>
                <a:gd name="connsiteY1" fmla="*/ -3450 h 890919"/>
                <a:gd name="connsiteX2" fmla="*/ 4224857 w 4239309"/>
                <a:gd name="connsiteY2" fmla="*/ 11162 h 890919"/>
                <a:gd name="connsiteX3" fmla="*/ -5874 w 4239309"/>
                <a:gd name="connsiteY3" fmla="*/ 887470 h 890919"/>
                <a:gd name="connsiteX4" fmla="*/ -5874 w 4239309"/>
                <a:gd name="connsiteY4" fmla="*/ 887470 h 8909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39309" h="890919">
                  <a:moveTo>
                    <a:pt x="4224857" y="11162"/>
                  </a:moveTo>
                  <a:cubicBezTo>
                    <a:pt x="4234093" y="9991"/>
                    <a:pt x="4235885" y="5097"/>
                    <a:pt x="4230165" y="-3450"/>
                  </a:cubicBezTo>
                  <a:cubicBezTo>
                    <a:pt x="4220722" y="-2209"/>
                    <a:pt x="4218999" y="2685"/>
                    <a:pt x="4224857" y="11162"/>
                  </a:cubicBezTo>
                  <a:close/>
                  <a:moveTo>
                    <a:pt x="-5874" y="887470"/>
                  </a:moveTo>
                  <a:cubicBezTo>
                    <a:pt x="-2152" y="884024"/>
                    <a:pt x="-2152" y="884024"/>
                    <a:pt x="-5874" y="887470"/>
                  </a:cubicBezTo>
                </a:path>
              </a:pathLst>
            </a:custGeom>
            <a:grpFill/>
            <a:ln w="689" cap="flat">
              <a:noFill/>
              <a:prstDash val="solid"/>
              <a:miter/>
            </a:ln>
          </p:spPr>
          <p:txBody>
            <a:bodyPr rtlCol="0" anchor="ctr"/>
            <a:lstStyle/>
            <a:p>
              <a:endParaRPr lang="en-US" sz="2400" dirty="0"/>
            </a:p>
          </p:txBody>
        </p:sp>
        <p:sp>
          <p:nvSpPr>
            <p:cNvPr id="294" name="Graphic 8">
              <a:extLst>
                <a:ext uri="{FF2B5EF4-FFF2-40B4-BE49-F238E27FC236}">
                  <a16:creationId xmlns:a16="http://schemas.microsoft.com/office/drawing/2014/main" id="{F0C3E1FD-08F1-4A9A-8D7B-040A7B56510B}"/>
                </a:ext>
              </a:extLst>
            </p:cNvPr>
            <p:cNvSpPr/>
            <p:nvPr/>
          </p:nvSpPr>
          <p:spPr>
            <a:xfrm flipV="1">
              <a:off x="1583945" y="1990129"/>
              <a:ext cx="6061451" cy="1490422"/>
            </a:xfrm>
            <a:custGeom>
              <a:avLst/>
              <a:gdLst>
                <a:gd name="connsiteX0" fmla="*/ 4597307 w 6061451"/>
                <a:gd name="connsiteY0" fmla="*/ 9717 h 1490422"/>
                <a:gd name="connsiteX1" fmla="*/ 4609024 w 6061451"/>
                <a:gd name="connsiteY1" fmla="*/ -1656 h 1490422"/>
                <a:gd name="connsiteX2" fmla="*/ 4597307 w 6061451"/>
                <a:gd name="connsiteY2" fmla="*/ 9717 h 1490422"/>
                <a:gd name="connsiteX3" fmla="*/ 6044449 w 6061451"/>
                <a:gd name="connsiteY3" fmla="*/ 138812 h 1490422"/>
                <a:gd name="connsiteX4" fmla="*/ 6055063 w 6061451"/>
                <a:gd name="connsiteY4" fmla="*/ 129094 h 1490422"/>
                <a:gd name="connsiteX5" fmla="*/ 6044449 w 6061451"/>
                <a:gd name="connsiteY5" fmla="*/ 138812 h 1490422"/>
                <a:gd name="connsiteX6" fmla="*/ 3563162 w 6061451"/>
                <a:gd name="connsiteY6" fmla="*/ 863968 h 1490422"/>
                <a:gd name="connsiteX7" fmla="*/ 3574535 w 6061451"/>
                <a:gd name="connsiteY7" fmla="*/ 852527 h 1490422"/>
                <a:gd name="connsiteX8" fmla="*/ 3563162 w 6061451"/>
                <a:gd name="connsiteY8" fmla="*/ 863968 h 1490422"/>
                <a:gd name="connsiteX9" fmla="*/ 1234613 w 6061451"/>
                <a:gd name="connsiteY9" fmla="*/ 960187 h 1490422"/>
                <a:gd name="connsiteX10" fmla="*/ 1219863 w 6061451"/>
                <a:gd name="connsiteY10" fmla="*/ 942887 h 1490422"/>
                <a:gd name="connsiteX11" fmla="*/ 1234613 w 6061451"/>
                <a:gd name="connsiteY11" fmla="*/ 960187 h 1490422"/>
                <a:gd name="connsiteX12" fmla="*/ 4497298 w 6061451"/>
                <a:gd name="connsiteY12" fmla="*/ 1132085 h 1490422"/>
                <a:gd name="connsiteX13" fmla="*/ 4521146 w 6061451"/>
                <a:gd name="connsiteY13" fmla="*/ 1135531 h 1490422"/>
                <a:gd name="connsiteX14" fmla="*/ 4519974 w 6061451"/>
                <a:gd name="connsiteY14" fmla="*/ 1112304 h 1490422"/>
                <a:gd name="connsiteX15" fmla="*/ 4497298 w 6061451"/>
                <a:gd name="connsiteY15" fmla="*/ 1132085 h 1490422"/>
                <a:gd name="connsiteX16" fmla="*/ -5686 w 6061451"/>
                <a:gd name="connsiteY16" fmla="*/ 1167237 h 1490422"/>
                <a:gd name="connsiteX17" fmla="*/ 9478 w 6061451"/>
                <a:gd name="connsiteY17" fmla="*/ 1162619 h 1490422"/>
                <a:gd name="connsiteX18" fmla="*/ -5686 w 6061451"/>
                <a:gd name="connsiteY18" fmla="*/ 1167237 h 1490422"/>
                <a:gd name="connsiteX19" fmla="*/ 3569434 w 6061451"/>
                <a:gd name="connsiteY19" fmla="*/ 1487461 h 1490422"/>
                <a:gd name="connsiteX20" fmla="*/ 3596246 w 6061451"/>
                <a:gd name="connsiteY20" fmla="*/ 1464371 h 1490422"/>
                <a:gd name="connsiteX21" fmla="*/ 3579428 w 6061451"/>
                <a:gd name="connsiteY21" fmla="*/ 1475261 h 1490422"/>
                <a:gd name="connsiteX22" fmla="*/ 3563438 w 6061451"/>
                <a:gd name="connsiteY22" fmla="*/ 1471677 h 1490422"/>
                <a:gd name="connsiteX23" fmla="*/ 3569434 w 6061451"/>
                <a:gd name="connsiteY23" fmla="*/ 1487461 h 1490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61451" h="1490422">
                  <a:moveTo>
                    <a:pt x="4597307" y="9717"/>
                  </a:moveTo>
                  <a:cubicBezTo>
                    <a:pt x="4608473" y="13439"/>
                    <a:pt x="4612333" y="9648"/>
                    <a:pt x="4609024" y="-1656"/>
                  </a:cubicBezTo>
                  <a:cubicBezTo>
                    <a:pt x="4597721" y="-5240"/>
                    <a:pt x="4593861" y="-1449"/>
                    <a:pt x="4597307" y="9717"/>
                  </a:cubicBezTo>
                  <a:close/>
                  <a:moveTo>
                    <a:pt x="6044449" y="138812"/>
                  </a:moveTo>
                  <a:cubicBezTo>
                    <a:pt x="6053891" y="142121"/>
                    <a:pt x="6057407" y="138881"/>
                    <a:pt x="6055063" y="129094"/>
                  </a:cubicBezTo>
                  <a:cubicBezTo>
                    <a:pt x="6045414" y="125924"/>
                    <a:pt x="6041899" y="129094"/>
                    <a:pt x="6044449" y="138812"/>
                  </a:cubicBezTo>
                  <a:moveTo>
                    <a:pt x="3563162" y="863968"/>
                  </a:moveTo>
                  <a:cubicBezTo>
                    <a:pt x="3574397" y="867552"/>
                    <a:pt x="3578188" y="863762"/>
                    <a:pt x="3574535" y="852527"/>
                  </a:cubicBezTo>
                  <a:cubicBezTo>
                    <a:pt x="3563231" y="848943"/>
                    <a:pt x="3559440" y="852734"/>
                    <a:pt x="3563162" y="863968"/>
                  </a:cubicBezTo>
                  <a:moveTo>
                    <a:pt x="1234613" y="960187"/>
                  </a:moveTo>
                  <a:cubicBezTo>
                    <a:pt x="1247157" y="954467"/>
                    <a:pt x="1229306" y="934272"/>
                    <a:pt x="1219863" y="942887"/>
                  </a:cubicBezTo>
                  <a:cubicBezTo>
                    <a:pt x="1213660" y="951710"/>
                    <a:pt x="1226135" y="961359"/>
                    <a:pt x="1234613" y="960187"/>
                  </a:cubicBezTo>
                  <a:moveTo>
                    <a:pt x="4497298" y="1132085"/>
                  </a:moveTo>
                  <a:cubicBezTo>
                    <a:pt x="4503225" y="1132981"/>
                    <a:pt x="4515218" y="1134704"/>
                    <a:pt x="4521146" y="1135531"/>
                  </a:cubicBezTo>
                  <a:cubicBezTo>
                    <a:pt x="4520870" y="1129742"/>
                    <a:pt x="4520250" y="1118094"/>
                    <a:pt x="4519974" y="1112304"/>
                  </a:cubicBezTo>
                  <a:cubicBezTo>
                    <a:pt x="4509980" y="1116026"/>
                    <a:pt x="4501847" y="1122367"/>
                    <a:pt x="4497298" y="1132085"/>
                  </a:cubicBezTo>
                  <a:moveTo>
                    <a:pt x="-5686" y="1167237"/>
                  </a:moveTo>
                  <a:cubicBezTo>
                    <a:pt x="2516" y="1173371"/>
                    <a:pt x="7617" y="1171786"/>
                    <a:pt x="9478" y="1162619"/>
                  </a:cubicBezTo>
                  <a:cubicBezTo>
                    <a:pt x="1207" y="1156553"/>
                    <a:pt x="-3894" y="1158139"/>
                    <a:pt x="-5686" y="1167237"/>
                  </a:cubicBezTo>
                  <a:moveTo>
                    <a:pt x="3569434" y="1487461"/>
                  </a:moveTo>
                  <a:cubicBezTo>
                    <a:pt x="3581841" y="1485669"/>
                    <a:pt x="3602312" y="1482016"/>
                    <a:pt x="3596246" y="1464371"/>
                  </a:cubicBezTo>
                  <a:cubicBezTo>
                    <a:pt x="3589836" y="1466783"/>
                    <a:pt x="3584184" y="1470436"/>
                    <a:pt x="3579428" y="1475261"/>
                  </a:cubicBezTo>
                  <a:cubicBezTo>
                    <a:pt x="3573983" y="1474089"/>
                    <a:pt x="3568676" y="1472918"/>
                    <a:pt x="3563438" y="1471677"/>
                  </a:cubicBezTo>
                  <a:cubicBezTo>
                    <a:pt x="3564885" y="1475606"/>
                    <a:pt x="3567918" y="1483532"/>
                    <a:pt x="3569434" y="1487461"/>
                  </a:cubicBezTo>
                </a:path>
              </a:pathLst>
            </a:custGeom>
            <a:grpFill/>
            <a:ln w="689" cap="flat">
              <a:noFill/>
              <a:prstDash val="solid"/>
              <a:miter/>
            </a:ln>
          </p:spPr>
          <p:txBody>
            <a:bodyPr rtlCol="0" anchor="ctr"/>
            <a:lstStyle/>
            <a:p>
              <a:endParaRPr lang="en-US" sz="2400" dirty="0"/>
            </a:p>
          </p:txBody>
        </p:sp>
        <p:sp>
          <p:nvSpPr>
            <p:cNvPr id="295" name="Graphic 8">
              <a:extLst>
                <a:ext uri="{FF2B5EF4-FFF2-40B4-BE49-F238E27FC236}">
                  <a16:creationId xmlns:a16="http://schemas.microsoft.com/office/drawing/2014/main" id="{281F750F-6B57-4EB3-8954-E1FC5A5AF2AC}"/>
                </a:ext>
              </a:extLst>
            </p:cNvPr>
            <p:cNvSpPr/>
            <p:nvPr/>
          </p:nvSpPr>
          <p:spPr>
            <a:xfrm flipV="1">
              <a:off x="1248419" y="2000261"/>
              <a:ext cx="7586347" cy="1557053"/>
            </a:xfrm>
            <a:custGeom>
              <a:avLst/>
              <a:gdLst>
                <a:gd name="connsiteX0" fmla="*/ 2906533 w 7586347"/>
                <a:gd name="connsiteY0" fmla="*/ 9631 h 1557053"/>
                <a:gd name="connsiteX1" fmla="*/ 2917767 w 7586347"/>
                <a:gd name="connsiteY1" fmla="*/ -1190 h 1557053"/>
                <a:gd name="connsiteX2" fmla="*/ 2906533 w 7586347"/>
                <a:gd name="connsiteY2" fmla="*/ 9631 h 1557053"/>
                <a:gd name="connsiteX3" fmla="*/ -2431 w 7586347"/>
                <a:gd name="connsiteY3" fmla="*/ 609689 h 1557053"/>
                <a:gd name="connsiteX4" fmla="*/ 1497 w 7586347"/>
                <a:gd name="connsiteY4" fmla="*/ 593630 h 1557053"/>
                <a:gd name="connsiteX5" fmla="*/ -2431 w 7586347"/>
                <a:gd name="connsiteY5" fmla="*/ 609689 h 1557053"/>
                <a:gd name="connsiteX6" fmla="*/ 7572040 w 7586347"/>
                <a:gd name="connsiteY6" fmla="*/ 700187 h 1557053"/>
                <a:gd name="connsiteX7" fmla="*/ 7572040 w 7586347"/>
                <a:gd name="connsiteY7" fmla="*/ 700187 h 1557053"/>
                <a:gd name="connsiteX8" fmla="*/ 4871022 w 7586347"/>
                <a:gd name="connsiteY8" fmla="*/ 1004214 h 1557053"/>
                <a:gd name="connsiteX9" fmla="*/ 4871022 w 7586347"/>
                <a:gd name="connsiteY9" fmla="*/ 1004214 h 1557053"/>
                <a:gd name="connsiteX10" fmla="*/ 4273446 w 7586347"/>
                <a:gd name="connsiteY10" fmla="*/ 1011520 h 1557053"/>
                <a:gd name="connsiteX11" fmla="*/ 4275444 w 7586347"/>
                <a:gd name="connsiteY11" fmla="*/ 971888 h 1557053"/>
                <a:gd name="connsiteX12" fmla="*/ 4271516 w 7586347"/>
                <a:gd name="connsiteY12" fmla="*/ 968511 h 1557053"/>
                <a:gd name="connsiteX13" fmla="*/ 4273446 w 7586347"/>
                <a:gd name="connsiteY13" fmla="*/ 1011520 h 1557053"/>
                <a:gd name="connsiteX14" fmla="*/ 4139732 w 7586347"/>
                <a:gd name="connsiteY14" fmla="*/ 1043983 h 1557053"/>
                <a:gd name="connsiteX15" fmla="*/ 4148692 w 7586347"/>
                <a:gd name="connsiteY15" fmla="*/ 1035161 h 1557053"/>
                <a:gd name="connsiteX16" fmla="*/ 4139732 w 7586347"/>
                <a:gd name="connsiteY16" fmla="*/ 1043983 h 1557053"/>
                <a:gd name="connsiteX17" fmla="*/ 3306226 w 7586347"/>
                <a:gd name="connsiteY17" fmla="*/ 1450569 h 1557053"/>
                <a:gd name="connsiteX18" fmla="*/ 3306226 w 7586347"/>
                <a:gd name="connsiteY18" fmla="*/ 1450569 h 1557053"/>
                <a:gd name="connsiteX19" fmla="*/ 1920497 w 7586347"/>
                <a:gd name="connsiteY19" fmla="*/ 1554163 h 1557053"/>
                <a:gd name="connsiteX20" fmla="*/ 1920497 w 7586347"/>
                <a:gd name="connsiteY20" fmla="*/ 1554163 h 155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86347" h="1557053">
                  <a:moveTo>
                    <a:pt x="2906533" y="9631"/>
                  </a:moveTo>
                  <a:cubicBezTo>
                    <a:pt x="2917629" y="14042"/>
                    <a:pt x="2921351" y="10389"/>
                    <a:pt x="2917767" y="-1190"/>
                  </a:cubicBezTo>
                  <a:cubicBezTo>
                    <a:pt x="2906670" y="-5394"/>
                    <a:pt x="2902879" y="-1810"/>
                    <a:pt x="2906533" y="9631"/>
                  </a:cubicBezTo>
                  <a:close/>
                  <a:moveTo>
                    <a:pt x="-2431" y="609689"/>
                  </a:moveTo>
                  <a:cubicBezTo>
                    <a:pt x="6322" y="607483"/>
                    <a:pt x="7632" y="602107"/>
                    <a:pt x="1497" y="593630"/>
                  </a:cubicBezTo>
                  <a:cubicBezTo>
                    <a:pt x="-7256" y="595904"/>
                    <a:pt x="-8566" y="601211"/>
                    <a:pt x="-2431" y="609689"/>
                  </a:cubicBezTo>
                  <a:moveTo>
                    <a:pt x="7572040" y="700187"/>
                  </a:moveTo>
                  <a:cubicBezTo>
                    <a:pt x="7594716" y="699153"/>
                    <a:pt x="7561357" y="679441"/>
                    <a:pt x="7572040" y="700187"/>
                  </a:cubicBezTo>
                  <a:moveTo>
                    <a:pt x="4871022" y="1004214"/>
                  </a:moveTo>
                  <a:cubicBezTo>
                    <a:pt x="4891492" y="1015241"/>
                    <a:pt x="4872470" y="981399"/>
                    <a:pt x="4871022" y="1004214"/>
                  </a:cubicBezTo>
                  <a:moveTo>
                    <a:pt x="4273446" y="1011520"/>
                  </a:moveTo>
                  <a:cubicBezTo>
                    <a:pt x="4284612" y="999251"/>
                    <a:pt x="4296398" y="981124"/>
                    <a:pt x="4275444" y="971888"/>
                  </a:cubicBezTo>
                  <a:lnTo>
                    <a:pt x="4271516" y="968511"/>
                  </a:lnTo>
                  <a:cubicBezTo>
                    <a:pt x="4270482" y="982916"/>
                    <a:pt x="4271102" y="997321"/>
                    <a:pt x="4273446" y="1011520"/>
                  </a:cubicBezTo>
                  <a:moveTo>
                    <a:pt x="4139732" y="1043983"/>
                  </a:moveTo>
                  <a:cubicBezTo>
                    <a:pt x="4149037" y="1048394"/>
                    <a:pt x="4152069" y="1045499"/>
                    <a:pt x="4148692" y="1035161"/>
                  </a:cubicBezTo>
                  <a:cubicBezTo>
                    <a:pt x="4139180" y="1030681"/>
                    <a:pt x="4136216" y="1033576"/>
                    <a:pt x="4139732" y="1043983"/>
                  </a:cubicBezTo>
                  <a:moveTo>
                    <a:pt x="3306226" y="1450569"/>
                  </a:moveTo>
                  <a:cubicBezTo>
                    <a:pt x="3309742" y="1446916"/>
                    <a:pt x="3309742" y="1446916"/>
                    <a:pt x="3306226" y="1450569"/>
                  </a:cubicBezTo>
                  <a:moveTo>
                    <a:pt x="1920497" y="1554163"/>
                  </a:moveTo>
                  <a:cubicBezTo>
                    <a:pt x="1924150" y="1550579"/>
                    <a:pt x="1924150" y="1550579"/>
                    <a:pt x="1920497" y="1554163"/>
                  </a:cubicBezTo>
                </a:path>
              </a:pathLst>
            </a:custGeom>
            <a:grpFill/>
            <a:ln w="689" cap="flat">
              <a:noFill/>
              <a:prstDash val="solid"/>
              <a:miter/>
            </a:ln>
          </p:spPr>
          <p:txBody>
            <a:bodyPr rtlCol="0" anchor="ctr"/>
            <a:lstStyle/>
            <a:p>
              <a:endParaRPr lang="en-US" sz="2400" dirty="0"/>
            </a:p>
          </p:txBody>
        </p:sp>
        <p:sp>
          <p:nvSpPr>
            <p:cNvPr id="296" name="Graphic 8">
              <a:extLst>
                <a:ext uri="{FF2B5EF4-FFF2-40B4-BE49-F238E27FC236}">
                  <a16:creationId xmlns:a16="http://schemas.microsoft.com/office/drawing/2014/main" id="{268821F0-BE3C-44C7-9AB0-24911C5EA908}"/>
                </a:ext>
              </a:extLst>
            </p:cNvPr>
            <p:cNvSpPr/>
            <p:nvPr/>
          </p:nvSpPr>
          <p:spPr>
            <a:xfrm flipV="1">
              <a:off x="3868385" y="1999917"/>
              <a:ext cx="10203" cy="9484"/>
            </a:xfrm>
            <a:custGeom>
              <a:avLst/>
              <a:gdLst>
                <a:gd name="connsiteX0" fmla="*/ -2689 w 10203"/>
                <a:gd name="connsiteY0" fmla="*/ 5320 h 9484"/>
                <a:gd name="connsiteX1" fmla="*/ -2689 w 10203"/>
                <a:gd name="connsiteY1" fmla="*/ 5320 h 9484"/>
                <a:gd name="connsiteX2" fmla="*/ -2689 w 10203"/>
                <a:gd name="connsiteY2" fmla="*/ 5320 h 9484"/>
              </a:gdLst>
              <a:ahLst/>
              <a:cxnLst>
                <a:cxn ang="0">
                  <a:pos x="connsiteX0" y="connsiteY0"/>
                </a:cxn>
                <a:cxn ang="0">
                  <a:pos x="connsiteX1" y="connsiteY1"/>
                </a:cxn>
                <a:cxn ang="0">
                  <a:pos x="connsiteX2" y="connsiteY2"/>
                </a:cxn>
              </a:cxnLst>
              <a:rect l="l" t="t" r="r" b="b"/>
              <a:pathLst>
                <a:path w="10203" h="9484">
                  <a:moveTo>
                    <a:pt x="-2689" y="5320"/>
                  </a:moveTo>
                  <a:cubicBezTo>
                    <a:pt x="19988" y="4424"/>
                    <a:pt x="-13027" y="-15564"/>
                    <a:pt x="-2689" y="5320"/>
                  </a:cubicBezTo>
                  <a:lnTo>
                    <a:pt x="-2689" y="5320"/>
                  </a:lnTo>
                </a:path>
              </a:pathLst>
            </a:custGeom>
            <a:grpFill/>
            <a:ln w="689" cap="flat">
              <a:noFill/>
              <a:prstDash val="solid"/>
              <a:miter/>
            </a:ln>
          </p:spPr>
          <p:txBody>
            <a:bodyPr rtlCol="0" anchor="ctr"/>
            <a:lstStyle/>
            <a:p>
              <a:endParaRPr lang="en-US" sz="2400" dirty="0"/>
            </a:p>
          </p:txBody>
        </p:sp>
        <p:sp>
          <p:nvSpPr>
            <p:cNvPr id="297" name="Graphic 8">
              <a:extLst>
                <a:ext uri="{FF2B5EF4-FFF2-40B4-BE49-F238E27FC236}">
                  <a16:creationId xmlns:a16="http://schemas.microsoft.com/office/drawing/2014/main" id="{3AE153D4-35D7-4FF1-8EDD-C36E96C765DD}"/>
                </a:ext>
              </a:extLst>
            </p:cNvPr>
            <p:cNvSpPr/>
            <p:nvPr/>
          </p:nvSpPr>
          <p:spPr>
            <a:xfrm flipV="1">
              <a:off x="7371649" y="1999886"/>
              <a:ext cx="11789" cy="12788"/>
            </a:xfrm>
            <a:custGeom>
              <a:avLst/>
              <a:gdLst>
                <a:gd name="connsiteX0" fmla="*/ -8230 w 11789"/>
                <a:gd name="connsiteY0" fmla="*/ 8183 h 12788"/>
                <a:gd name="connsiteX1" fmla="*/ 1833 w 11789"/>
                <a:gd name="connsiteY1" fmla="*/ -3741 h 12788"/>
                <a:gd name="connsiteX2" fmla="*/ -8230 w 11789"/>
                <a:gd name="connsiteY2" fmla="*/ 8183 h 12788"/>
                <a:gd name="connsiteX3" fmla="*/ -8230 w 11789"/>
                <a:gd name="connsiteY3" fmla="*/ 8183 h 12788"/>
              </a:gdLst>
              <a:ahLst/>
              <a:cxnLst>
                <a:cxn ang="0">
                  <a:pos x="connsiteX0" y="connsiteY0"/>
                </a:cxn>
                <a:cxn ang="0">
                  <a:pos x="connsiteX1" y="connsiteY1"/>
                </a:cxn>
                <a:cxn ang="0">
                  <a:pos x="connsiteX2" y="connsiteY2"/>
                </a:cxn>
                <a:cxn ang="0">
                  <a:pos x="connsiteX3" y="connsiteY3"/>
                </a:cxn>
              </a:cxnLst>
              <a:rect l="l" t="t" r="r" b="b"/>
              <a:pathLst>
                <a:path w="11789" h="12788">
                  <a:moveTo>
                    <a:pt x="-8230" y="8183"/>
                  </a:moveTo>
                  <a:cubicBezTo>
                    <a:pt x="1006" y="10044"/>
                    <a:pt x="4315" y="6047"/>
                    <a:pt x="1833" y="-3741"/>
                  </a:cubicBezTo>
                  <a:cubicBezTo>
                    <a:pt x="-7609" y="-5533"/>
                    <a:pt x="-10987" y="-1604"/>
                    <a:pt x="-8230" y="8183"/>
                  </a:cubicBezTo>
                  <a:lnTo>
                    <a:pt x="-8230" y="8183"/>
                  </a:lnTo>
                </a:path>
              </a:pathLst>
            </a:custGeom>
            <a:grpFill/>
            <a:ln w="689" cap="flat">
              <a:noFill/>
              <a:prstDash val="solid"/>
              <a:miter/>
            </a:ln>
          </p:spPr>
          <p:txBody>
            <a:bodyPr rtlCol="0" anchor="ctr"/>
            <a:lstStyle/>
            <a:p>
              <a:endParaRPr lang="en-US" sz="2400" dirty="0"/>
            </a:p>
          </p:txBody>
        </p:sp>
        <p:sp>
          <p:nvSpPr>
            <p:cNvPr id="298" name="Graphic 8">
              <a:extLst>
                <a:ext uri="{FF2B5EF4-FFF2-40B4-BE49-F238E27FC236}">
                  <a16:creationId xmlns:a16="http://schemas.microsoft.com/office/drawing/2014/main" id="{AE9DF2CB-5268-47D7-B435-CD96DC1958FD}"/>
                </a:ext>
              </a:extLst>
            </p:cNvPr>
            <p:cNvSpPr/>
            <p:nvPr/>
          </p:nvSpPr>
          <p:spPr>
            <a:xfrm flipV="1">
              <a:off x="2702454" y="2020456"/>
              <a:ext cx="758" cy="3170"/>
            </a:xfrm>
            <a:custGeom>
              <a:avLst/>
              <a:gdLst>
                <a:gd name="connsiteX0" fmla="*/ -3282 w 758"/>
                <a:gd name="connsiteY0" fmla="*/ -2205 h 3170"/>
                <a:gd name="connsiteX1" fmla="*/ -3006 w 758"/>
                <a:gd name="connsiteY1" fmla="*/ -965 h 3170"/>
                <a:gd name="connsiteX2" fmla="*/ -2524 w 758"/>
                <a:gd name="connsiteY2" fmla="*/ -4135 h 3170"/>
                <a:gd name="connsiteX3" fmla="*/ -3282 w 758"/>
                <a:gd name="connsiteY3" fmla="*/ -2205 h 3170"/>
                <a:gd name="connsiteX4" fmla="*/ -3282 w 758"/>
                <a:gd name="connsiteY4" fmla="*/ -2205 h 3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 h="3170">
                  <a:moveTo>
                    <a:pt x="-3282" y="-2205"/>
                  </a:moveTo>
                  <a:lnTo>
                    <a:pt x="-3006" y="-965"/>
                  </a:lnTo>
                  <a:lnTo>
                    <a:pt x="-2524" y="-4135"/>
                  </a:lnTo>
                  <a:cubicBezTo>
                    <a:pt x="-2731" y="-3653"/>
                    <a:pt x="-3075" y="-2688"/>
                    <a:pt x="-3282" y="-2205"/>
                  </a:cubicBezTo>
                  <a:lnTo>
                    <a:pt x="-3282" y="-2205"/>
                  </a:lnTo>
                </a:path>
              </a:pathLst>
            </a:custGeom>
            <a:grpFill/>
            <a:ln w="689" cap="flat">
              <a:noFill/>
              <a:prstDash val="solid"/>
              <a:miter/>
            </a:ln>
          </p:spPr>
          <p:txBody>
            <a:bodyPr rtlCol="0" anchor="ctr"/>
            <a:lstStyle/>
            <a:p>
              <a:endParaRPr lang="en-US" sz="2400" dirty="0"/>
            </a:p>
          </p:txBody>
        </p:sp>
        <p:sp>
          <p:nvSpPr>
            <p:cNvPr id="299" name="Graphic 8">
              <a:extLst>
                <a:ext uri="{FF2B5EF4-FFF2-40B4-BE49-F238E27FC236}">
                  <a16:creationId xmlns:a16="http://schemas.microsoft.com/office/drawing/2014/main" id="{4A13E596-A906-4E8A-80DB-D2ED63737967}"/>
                </a:ext>
              </a:extLst>
            </p:cNvPr>
            <p:cNvSpPr/>
            <p:nvPr/>
          </p:nvSpPr>
          <p:spPr>
            <a:xfrm flipV="1">
              <a:off x="5160581" y="2021008"/>
              <a:ext cx="2894" cy="2584"/>
            </a:xfrm>
            <a:custGeom>
              <a:avLst/>
              <a:gdLst>
                <a:gd name="connsiteX0" fmla="*/ -6374 w 2894"/>
                <a:gd name="connsiteY0" fmla="*/ -1550 h 2584"/>
                <a:gd name="connsiteX1" fmla="*/ -6374 w 2894"/>
                <a:gd name="connsiteY1" fmla="*/ -1550 h 2584"/>
                <a:gd name="connsiteX2" fmla="*/ -6374 w 2894"/>
                <a:gd name="connsiteY2" fmla="*/ -1550 h 2584"/>
              </a:gdLst>
              <a:ahLst/>
              <a:cxnLst>
                <a:cxn ang="0">
                  <a:pos x="connsiteX0" y="connsiteY0"/>
                </a:cxn>
                <a:cxn ang="0">
                  <a:pos x="connsiteX1" y="connsiteY1"/>
                </a:cxn>
                <a:cxn ang="0">
                  <a:pos x="connsiteX2" y="connsiteY2"/>
                </a:cxn>
              </a:cxnLst>
              <a:rect l="l" t="t" r="r" b="b"/>
              <a:pathLst>
                <a:path w="2894" h="2584">
                  <a:moveTo>
                    <a:pt x="-6374" y="-1550"/>
                  </a:moveTo>
                  <a:cubicBezTo>
                    <a:pt x="-2515" y="-4996"/>
                    <a:pt x="-2515" y="-4996"/>
                    <a:pt x="-6374" y="-1550"/>
                  </a:cubicBezTo>
                  <a:lnTo>
                    <a:pt x="-6374" y="-1550"/>
                  </a:lnTo>
                </a:path>
              </a:pathLst>
            </a:custGeom>
            <a:grpFill/>
            <a:ln w="689" cap="flat">
              <a:noFill/>
              <a:prstDash val="solid"/>
              <a:miter/>
            </a:ln>
          </p:spPr>
          <p:txBody>
            <a:bodyPr rtlCol="0" anchor="ctr"/>
            <a:lstStyle/>
            <a:p>
              <a:endParaRPr lang="en-US" sz="2400" dirty="0"/>
            </a:p>
          </p:txBody>
        </p:sp>
        <p:sp>
          <p:nvSpPr>
            <p:cNvPr id="300" name="Graphic 8">
              <a:extLst>
                <a:ext uri="{FF2B5EF4-FFF2-40B4-BE49-F238E27FC236}">
                  <a16:creationId xmlns:a16="http://schemas.microsoft.com/office/drawing/2014/main" id="{D57275FA-09E4-43FB-AB9A-AF4D59829D88}"/>
                </a:ext>
              </a:extLst>
            </p:cNvPr>
            <p:cNvSpPr/>
            <p:nvPr/>
          </p:nvSpPr>
          <p:spPr>
            <a:xfrm flipV="1">
              <a:off x="861752" y="2020732"/>
              <a:ext cx="4522893" cy="75541"/>
            </a:xfrm>
            <a:custGeom>
              <a:avLst/>
              <a:gdLst>
                <a:gd name="connsiteX0" fmla="*/ -3811 w 4522893"/>
                <a:gd name="connsiteY0" fmla="*/ 9916 h 75541"/>
                <a:gd name="connsiteX1" fmla="*/ -3811 w 4522893"/>
                <a:gd name="connsiteY1" fmla="*/ 9916 h 75541"/>
                <a:gd name="connsiteX2" fmla="*/ 4473740 w 4522893"/>
                <a:gd name="connsiteY2" fmla="*/ 61541 h 75541"/>
                <a:gd name="connsiteX3" fmla="*/ 4491798 w 4522893"/>
                <a:gd name="connsiteY3" fmla="*/ 71466 h 75541"/>
                <a:gd name="connsiteX4" fmla="*/ 4490489 w 4522893"/>
                <a:gd name="connsiteY4" fmla="*/ 58577 h 75541"/>
                <a:gd name="connsiteX5" fmla="*/ 4509305 w 4522893"/>
                <a:gd name="connsiteY5" fmla="*/ 69743 h 75541"/>
                <a:gd name="connsiteX6" fmla="*/ 4518058 w 4522893"/>
                <a:gd name="connsiteY6" fmla="*/ 10675 h 75541"/>
                <a:gd name="connsiteX7" fmla="*/ 4509512 w 4522893"/>
                <a:gd name="connsiteY7" fmla="*/ 32524 h 75541"/>
                <a:gd name="connsiteX8" fmla="*/ 4500690 w 4522893"/>
                <a:gd name="connsiteY8" fmla="*/ -4075 h 75541"/>
                <a:gd name="connsiteX9" fmla="*/ 4489524 w 4522893"/>
                <a:gd name="connsiteY9" fmla="*/ 64160 h 75541"/>
                <a:gd name="connsiteX10" fmla="*/ 4473740 w 4522893"/>
                <a:gd name="connsiteY10" fmla="*/ 61541 h 75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22893" h="75541">
                  <a:moveTo>
                    <a:pt x="-3811" y="9916"/>
                  </a:moveTo>
                  <a:cubicBezTo>
                    <a:pt x="17970" y="20186"/>
                    <a:pt x="-2570" y="-12208"/>
                    <a:pt x="-3811" y="9916"/>
                  </a:cubicBezTo>
                  <a:close/>
                  <a:moveTo>
                    <a:pt x="4473740" y="61541"/>
                  </a:moveTo>
                  <a:cubicBezTo>
                    <a:pt x="4479737" y="64849"/>
                    <a:pt x="4485733" y="68158"/>
                    <a:pt x="4491798" y="71466"/>
                  </a:cubicBezTo>
                  <a:lnTo>
                    <a:pt x="4490489" y="58577"/>
                  </a:lnTo>
                  <a:cubicBezTo>
                    <a:pt x="4496554" y="62506"/>
                    <a:pt x="4502826" y="66228"/>
                    <a:pt x="4509305" y="69743"/>
                  </a:cubicBezTo>
                  <a:cubicBezTo>
                    <a:pt x="4521229" y="52029"/>
                    <a:pt x="4519506" y="30869"/>
                    <a:pt x="4518058" y="10675"/>
                  </a:cubicBezTo>
                  <a:cubicBezTo>
                    <a:pt x="4515922" y="16120"/>
                    <a:pt x="4511649" y="27079"/>
                    <a:pt x="4509512" y="32524"/>
                  </a:cubicBezTo>
                  <a:cubicBezTo>
                    <a:pt x="4506617" y="20324"/>
                    <a:pt x="4503722" y="8124"/>
                    <a:pt x="4500690" y="-4075"/>
                  </a:cubicBezTo>
                  <a:cubicBezTo>
                    <a:pt x="4489662" y="16809"/>
                    <a:pt x="4491522" y="41277"/>
                    <a:pt x="4489524" y="64160"/>
                  </a:cubicBezTo>
                  <a:cubicBezTo>
                    <a:pt x="4485526" y="63471"/>
                    <a:pt x="4477676" y="62161"/>
                    <a:pt x="4473740" y="61541"/>
                  </a:cubicBezTo>
                </a:path>
              </a:pathLst>
            </a:custGeom>
            <a:grpFill/>
            <a:ln w="689" cap="flat">
              <a:noFill/>
              <a:prstDash val="solid"/>
              <a:miter/>
            </a:ln>
          </p:spPr>
          <p:txBody>
            <a:bodyPr rtlCol="0" anchor="ctr"/>
            <a:lstStyle/>
            <a:p>
              <a:endParaRPr lang="en-US" sz="2400" dirty="0"/>
            </a:p>
          </p:txBody>
        </p:sp>
        <p:sp>
          <p:nvSpPr>
            <p:cNvPr id="301" name="Graphic 8">
              <a:extLst>
                <a:ext uri="{FF2B5EF4-FFF2-40B4-BE49-F238E27FC236}">
                  <a16:creationId xmlns:a16="http://schemas.microsoft.com/office/drawing/2014/main" id="{DA04DE2D-CCE2-4013-B720-7B741FD14277}"/>
                </a:ext>
              </a:extLst>
            </p:cNvPr>
            <p:cNvSpPr/>
            <p:nvPr/>
          </p:nvSpPr>
          <p:spPr>
            <a:xfrm flipV="1">
              <a:off x="6469391" y="2020663"/>
              <a:ext cx="2791" cy="2687"/>
            </a:xfrm>
            <a:custGeom>
              <a:avLst/>
              <a:gdLst>
                <a:gd name="connsiteX0" fmla="*/ -8020 w 2791"/>
                <a:gd name="connsiteY0" fmla="*/ -1447 h 2687"/>
                <a:gd name="connsiteX1" fmla="*/ -8020 w 2791"/>
                <a:gd name="connsiteY1" fmla="*/ -1447 h 2687"/>
                <a:gd name="connsiteX2" fmla="*/ -8020 w 2791"/>
                <a:gd name="connsiteY2" fmla="*/ -1447 h 2687"/>
              </a:gdLst>
              <a:ahLst/>
              <a:cxnLst>
                <a:cxn ang="0">
                  <a:pos x="connsiteX0" y="connsiteY0"/>
                </a:cxn>
                <a:cxn ang="0">
                  <a:pos x="connsiteX1" y="connsiteY1"/>
                </a:cxn>
                <a:cxn ang="0">
                  <a:pos x="connsiteX2" y="connsiteY2"/>
                </a:cxn>
              </a:cxnLst>
              <a:rect l="l" t="t" r="r" b="b"/>
              <a:pathLst>
                <a:path w="2791" h="2687">
                  <a:moveTo>
                    <a:pt x="-8020" y="-1447"/>
                  </a:moveTo>
                  <a:cubicBezTo>
                    <a:pt x="-4298" y="-5031"/>
                    <a:pt x="-4298" y="-5031"/>
                    <a:pt x="-8020" y="-1447"/>
                  </a:cubicBezTo>
                  <a:lnTo>
                    <a:pt x="-8020" y="-1447"/>
                  </a:lnTo>
                </a:path>
              </a:pathLst>
            </a:custGeom>
            <a:grpFill/>
            <a:ln w="689" cap="flat">
              <a:noFill/>
              <a:prstDash val="solid"/>
              <a:miter/>
            </a:ln>
          </p:spPr>
          <p:txBody>
            <a:bodyPr rtlCol="0" anchor="ctr"/>
            <a:lstStyle/>
            <a:p>
              <a:endParaRPr lang="en-US" sz="2400" dirty="0"/>
            </a:p>
          </p:txBody>
        </p:sp>
        <p:sp>
          <p:nvSpPr>
            <p:cNvPr id="302" name="Graphic 8">
              <a:extLst>
                <a:ext uri="{FF2B5EF4-FFF2-40B4-BE49-F238E27FC236}">
                  <a16:creationId xmlns:a16="http://schemas.microsoft.com/office/drawing/2014/main" id="{B9630BAF-2B42-4D48-8889-72E96C4ADCDC}"/>
                </a:ext>
              </a:extLst>
            </p:cNvPr>
            <p:cNvSpPr/>
            <p:nvPr/>
          </p:nvSpPr>
          <p:spPr>
            <a:xfrm flipV="1">
              <a:off x="2065452" y="2031165"/>
              <a:ext cx="9433" cy="10462"/>
            </a:xfrm>
            <a:custGeom>
              <a:avLst/>
              <a:gdLst>
                <a:gd name="connsiteX0" fmla="*/ -2486 w 9433"/>
                <a:gd name="connsiteY0" fmla="*/ 3895 h 10462"/>
                <a:gd name="connsiteX1" fmla="*/ -2486 w 9433"/>
                <a:gd name="connsiteY1" fmla="*/ 3895 h 10462"/>
                <a:gd name="connsiteX2" fmla="*/ -2486 w 9433"/>
                <a:gd name="connsiteY2" fmla="*/ 3895 h 10462"/>
              </a:gdLst>
              <a:ahLst/>
              <a:cxnLst>
                <a:cxn ang="0">
                  <a:pos x="connsiteX0" y="connsiteY0"/>
                </a:cxn>
                <a:cxn ang="0">
                  <a:pos x="connsiteX1" y="connsiteY1"/>
                </a:cxn>
                <a:cxn ang="0">
                  <a:pos x="connsiteX2" y="connsiteY2"/>
                </a:cxn>
              </a:cxnLst>
              <a:rect l="l" t="t" r="r" b="b"/>
              <a:pathLst>
                <a:path w="9433" h="10462">
                  <a:moveTo>
                    <a:pt x="-2486" y="3895"/>
                  </a:moveTo>
                  <a:cubicBezTo>
                    <a:pt x="17364" y="15475"/>
                    <a:pt x="133" y="-18919"/>
                    <a:pt x="-2486" y="3895"/>
                  </a:cubicBezTo>
                  <a:lnTo>
                    <a:pt x="-2486" y="3895"/>
                  </a:lnTo>
                </a:path>
              </a:pathLst>
            </a:custGeom>
            <a:grpFill/>
            <a:ln w="689" cap="flat">
              <a:noFill/>
              <a:prstDash val="solid"/>
              <a:miter/>
            </a:ln>
          </p:spPr>
          <p:txBody>
            <a:bodyPr rtlCol="0" anchor="ctr"/>
            <a:lstStyle/>
            <a:p>
              <a:endParaRPr lang="en-US" sz="2400" dirty="0"/>
            </a:p>
          </p:txBody>
        </p:sp>
        <p:sp>
          <p:nvSpPr>
            <p:cNvPr id="303" name="Graphic 8">
              <a:extLst>
                <a:ext uri="{FF2B5EF4-FFF2-40B4-BE49-F238E27FC236}">
                  <a16:creationId xmlns:a16="http://schemas.microsoft.com/office/drawing/2014/main" id="{BEA909F9-1AFE-4B1F-912B-88ED87DD1162}"/>
                </a:ext>
              </a:extLst>
            </p:cNvPr>
            <p:cNvSpPr/>
            <p:nvPr/>
          </p:nvSpPr>
          <p:spPr>
            <a:xfrm flipV="1">
              <a:off x="2375963" y="2034930"/>
              <a:ext cx="3310840" cy="395747"/>
            </a:xfrm>
            <a:custGeom>
              <a:avLst/>
              <a:gdLst>
                <a:gd name="connsiteX0" fmla="*/ 3303148 w 3310840"/>
                <a:gd name="connsiteY0" fmla="*/ -1049 h 395747"/>
                <a:gd name="connsiteX1" fmla="*/ 3303148 w 3310840"/>
                <a:gd name="connsiteY1" fmla="*/ -1049 h 395747"/>
                <a:gd name="connsiteX2" fmla="*/ 2624 w 3310840"/>
                <a:gd name="connsiteY2" fmla="*/ 391959 h 395747"/>
                <a:gd name="connsiteX3" fmla="*/ 1452 w 3310840"/>
                <a:gd name="connsiteY3" fmla="*/ 378588 h 395747"/>
                <a:gd name="connsiteX4" fmla="*/ 2624 w 3310840"/>
                <a:gd name="connsiteY4" fmla="*/ 391959 h 3957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0840" h="395747">
                  <a:moveTo>
                    <a:pt x="3303148" y="-1049"/>
                  </a:moveTo>
                  <a:cubicBezTo>
                    <a:pt x="3306801" y="-4702"/>
                    <a:pt x="3306801" y="-4702"/>
                    <a:pt x="3303148" y="-1049"/>
                  </a:cubicBezTo>
                  <a:close/>
                  <a:moveTo>
                    <a:pt x="2624" y="391959"/>
                  </a:moveTo>
                  <a:cubicBezTo>
                    <a:pt x="11584" y="387341"/>
                    <a:pt x="11239" y="382930"/>
                    <a:pt x="1452" y="378588"/>
                  </a:cubicBezTo>
                  <a:cubicBezTo>
                    <a:pt x="-7439" y="383206"/>
                    <a:pt x="-7095" y="387686"/>
                    <a:pt x="2624" y="391959"/>
                  </a:cubicBezTo>
                </a:path>
              </a:pathLst>
            </a:custGeom>
            <a:grpFill/>
            <a:ln w="689" cap="flat">
              <a:noFill/>
              <a:prstDash val="solid"/>
              <a:miter/>
            </a:ln>
          </p:spPr>
          <p:txBody>
            <a:bodyPr rtlCol="0" anchor="ctr"/>
            <a:lstStyle/>
            <a:p>
              <a:endParaRPr lang="en-US" sz="2400" dirty="0"/>
            </a:p>
          </p:txBody>
        </p:sp>
        <p:sp>
          <p:nvSpPr>
            <p:cNvPr id="304" name="Graphic 8">
              <a:extLst>
                <a:ext uri="{FF2B5EF4-FFF2-40B4-BE49-F238E27FC236}">
                  <a16:creationId xmlns:a16="http://schemas.microsoft.com/office/drawing/2014/main" id="{4A88F5F3-41DC-4501-9651-EFD6370F2C46}"/>
                </a:ext>
              </a:extLst>
            </p:cNvPr>
            <p:cNvSpPr/>
            <p:nvPr/>
          </p:nvSpPr>
          <p:spPr>
            <a:xfrm flipV="1">
              <a:off x="4475092" y="2035068"/>
              <a:ext cx="10284" cy="9425"/>
            </a:xfrm>
            <a:custGeom>
              <a:avLst/>
              <a:gdLst>
                <a:gd name="connsiteX0" fmla="*/ -3346 w 10284"/>
                <a:gd name="connsiteY0" fmla="*/ 5319 h 9425"/>
                <a:gd name="connsiteX1" fmla="*/ -3346 w 10284"/>
                <a:gd name="connsiteY1" fmla="*/ 5319 h 9425"/>
                <a:gd name="connsiteX2" fmla="*/ -3346 w 10284"/>
                <a:gd name="connsiteY2" fmla="*/ 5319 h 9425"/>
              </a:gdLst>
              <a:ahLst/>
              <a:cxnLst>
                <a:cxn ang="0">
                  <a:pos x="connsiteX0" y="connsiteY0"/>
                </a:cxn>
                <a:cxn ang="0">
                  <a:pos x="connsiteX1" y="connsiteY1"/>
                </a:cxn>
                <a:cxn ang="0">
                  <a:pos x="connsiteX2" y="connsiteY2"/>
                </a:cxn>
              </a:cxnLst>
              <a:rect l="l" t="t" r="r" b="b"/>
              <a:pathLst>
                <a:path w="10284" h="9425">
                  <a:moveTo>
                    <a:pt x="-3346" y="5319"/>
                  </a:moveTo>
                  <a:cubicBezTo>
                    <a:pt x="19399" y="4148"/>
                    <a:pt x="-14030" y="-15289"/>
                    <a:pt x="-3346" y="5319"/>
                  </a:cubicBezTo>
                  <a:lnTo>
                    <a:pt x="-3346" y="5319"/>
                  </a:lnTo>
                </a:path>
              </a:pathLst>
            </a:custGeom>
            <a:grpFill/>
            <a:ln w="689" cap="flat">
              <a:noFill/>
              <a:prstDash val="solid"/>
              <a:miter/>
            </a:ln>
          </p:spPr>
          <p:txBody>
            <a:bodyPr rtlCol="0" anchor="ctr"/>
            <a:lstStyle/>
            <a:p>
              <a:endParaRPr lang="en-US" sz="2400" dirty="0"/>
            </a:p>
          </p:txBody>
        </p:sp>
        <p:sp>
          <p:nvSpPr>
            <p:cNvPr id="305" name="Graphic 8">
              <a:extLst>
                <a:ext uri="{FF2B5EF4-FFF2-40B4-BE49-F238E27FC236}">
                  <a16:creationId xmlns:a16="http://schemas.microsoft.com/office/drawing/2014/main" id="{6A7A7EE5-0D04-4F67-85F2-71A35346BF21}"/>
                </a:ext>
              </a:extLst>
            </p:cNvPr>
            <p:cNvSpPr/>
            <p:nvPr/>
          </p:nvSpPr>
          <p:spPr>
            <a:xfrm flipV="1">
              <a:off x="545321" y="2035757"/>
              <a:ext cx="7786895" cy="1290837"/>
            </a:xfrm>
            <a:custGeom>
              <a:avLst/>
              <a:gdLst>
                <a:gd name="connsiteX0" fmla="*/ 5308071 w 7786895"/>
                <a:gd name="connsiteY0" fmla="*/ 205 h 1290837"/>
                <a:gd name="connsiteX1" fmla="*/ 5308071 w 7786895"/>
                <a:gd name="connsiteY1" fmla="*/ 205 h 1290837"/>
                <a:gd name="connsiteX2" fmla="*/ 7747451 w 7786895"/>
                <a:gd name="connsiteY2" fmla="*/ 1168478 h 1290837"/>
                <a:gd name="connsiteX3" fmla="*/ 7766474 w 7786895"/>
                <a:gd name="connsiteY3" fmla="*/ 1236506 h 1290837"/>
                <a:gd name="connsiteX4" fmla="*/ 7781431 w 7786895"/>
                <a:gd name="connsiteY4" fmla="*/ 1209419 h 1290837"/>
                <a:gd name="connsiteX5" fmla="*/ 7777847 w 7786895"/>
                <a:gd name="connsiteY5" fmla="*/ 1170821 h 1290837"/>
                <a:gd name="connsiteX6" fmla="*/ 7747451 w 7786895"/>
                <a:gd name="connsiteY6" fmla="*/ 1168478 h 1290837"/>
                <a:gd name="connsiteX7" fmla="*/ 13142 w 7786895"/>
                <a:gd name="connsiteY7" fmla="*/ 1158139 h 1290837"/>
                <a:gd name="connsiteX8" fmla="*/ 13142 w 7786895"/>
                <a:gd name="connsiteY8" fmla="*/ 1158139 h 1290837"/>
                <a:gd name="connsiteX9" fmla="*/ -5465 w 7786895"/>
                <a:gd name="connsiteY9" fmla="*/ 1287786 h 1290837"/>
                <a:gd name="connsiteX10" fmla="*/ 25689 w 7786895"/>
                <a:gd name="connsiteY10" fmla="*/ 1284064 h 1290837"/>
                <a:gd name="connsiteX11" fmla="*/ 9696 w 7786895"/>
                <a:gd name="connsiteY11" fmla="*/ 1269246 h 1290837"/>
                <a:gd name="connsiteX12" fmla="*/ 36577 w 7786895"/>
                <a:gd name="connsiteY12" fmla="*/ 1267936 h 1290837"/>
                <a:gd name="connsiteX13" fmla="*/ 35268 w 7786895"/>
                <a:gd name="connsiteY13" fmla="*/ 1247190 h 1290837"/>
                <a:gd name="connsiteX14" fmla="*/ 52154 w 7786895"/>
                <a:gd name="connsiteY14" fmla="*/ 1217966 h 1290837"/>
                <a:gd name="connsiteX15" fmla="*/ 36783 w 7786895"/>
                <a:gd name="connsiteY15" fmla="*/ 1219689 h 1290837"/>
                <a:gd name="connsiteX16" fmla="*/ 49053 w 7786895"/>
                <a:gd name="connsiteY16" fmla="*/ 1215415 h 1290837"/>
                <a:gd name="connsiteX17" fmla="*/ 51535 w 7786895"/>
                <a:gd name="connsiteY17" fmla="*/ 1193222 h 1290837"/>
                <a:gd name="connsiteX18" fmla="*/ 34444 w 7786895"/>
                <a:gd name="connsiteY18" fmla="*/ 1191774 h 1290837"/>
                <a:gd name="connsiteX19" fmla="*/ 51398 w 7786895"/>
                <a:gd name="connsiteY19" fmla="*/ 1185158 h 1290837"/>
                <a:gd name="connsiteX20" fmla="*/ 54429 w 7786895"/>
                <a:gd name="connsiteY20" fmla="*/ 1163722 h 1290837"/>
                <a:gd name="connsiteX21" fmla="*/ 42160 w 7786895"/>
                <a:gd name="connsiteY21" fmla="*/ 1164480 h 1290837"/>
                <a:gd name="connsiteX22" fmla="*/ 21343 w 7786895"/>
                <a:gd name="connsiteY22" fmla="*/ 1138427 h 1290837"/>
                <a:gd name="connsiteX23" fmla="*/ 17555 w 7786895"/>
                <a:gd name="connsiteY23" fmla="*/ 1125055 h 1290837"/>
                <a:gd name="connsiteX24" fmla="*/ 47814 w 7786895"/>
                <a:gd name="connsiteY24" fmla="*/ 1156760 h 1290837"/>
                <a:gd name="connsiteX25" fmla="*/ 55048 w 7786895"/>
                <a:gd name="connsiteY25" fmla="*/ 1156829 h 1290837"/>
                <a:gd name="connsiteX26" fmla="*/ 55673 w 7786895"/>
                <a:gd name="connsiteY26" fmla="*/ 1116509 h 1290837"/>
                <a:gd name="connsiteX27" fmla="*/ 5908 w 7786895"/>
                <a:gd name="connsiteY27" fmla="*/ 1107479 h 1290837"/>
                <a:gd name="connsiteX28" fmla="*/ 943 w 7786895"/>
                <a:gd name="connsiteY28" fmla="*/ 1164756 h 1290837"/>
                <a:gd name="connsiteX29" fmla="*/ 22035 w 7786895"/>
                <a:gd name="connsiteY29" fmla="*/ 1177714 h 1290837"/>
                <a:gd name="connsiteX30" fmla="*/ 16384 w 7786895"/>
                <a:gd name="connsiteY30" fmla="*/ 1177369 h 1290837"/>
                <a:gd name="connsiteX31" fmla="*/ 11144 w 7786895"/>
                <a:gd name="connsiteY31" fmla="*/ 1173096 h 1290837"/>
                <a:gd name="connsiteX32" fmla="*/ 4736 w 7786895"/>
                <a:gd name="connsiteY32" fmla="*/ 1191154 h 1290837"/>
                <a:gd name="connsiteX33" fmla="*/ 21483 w 7786895"/>
                <a:gd name="connsiteY33" fmla="*/ 1187708 h 1290837"/>
                <a:gd name="connsiteX34" fmla="*/ 35543 w 7786895"/>
                <a:gd name="connsiteY34" fmla="*/ 1224100 h 1290837"/>
                <a:gd name="connsiteX35" fmla="*/ 15417 w 7786895"/>
                <a:gd name="connsiteY35" fmla="*/ 1222377 h 1290837"/>
                <a:gd name="connsiteX36" fmla="*/ 26238 w 7786895"/>
                <a:gd name="connsiteY36" fmla="*/ 1241814 h 1290837"/>
                <a:gd name="connsiteX37" fmla="*/ 17692 w 7786895"/>
                <a:gd name="connsiteY37" fmla="*/ 1246845 h 1290837"/>
                <a:gd name="connsiteX38" fmla="*/ 461 w 7786895"/>
                <a:gd name="connsiteY38" fmla="*/ 1232922 h 1290837"/>
                <a:gd name="connsiteX39" fmla="*/ -5465 w 7786895"/>
                <a:gd name="connsiteY39" fmla="*/ 1287786 h 1290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786895" h="1290837">
                  <a:moveTo>
                    <a:pt x="5308071" y="205"/>
                  </a:moveTo>
                  <a:cubicBezTo>
                    <a:pt x="5312344" y="-4137"/>
                    <a:pt x="5312344" y="-4137"/>
                    <a:pt x="5308071" y="205"/>
                  </a:cubicBezTo>
                  <a:close/>
                  <a:moveTo>
                    <a:pt x="7747451" y="1168478"/>
                  </a:moveTo>
                  <a:cubicBezTo>
                    <a:pt x="7740352" y="1193842"/>
                    <a:pt x="7750622" y="1217001"/>
                    <a:pt x="7766474" y="1236506"/>
                  </a:cubicBezTo>
                  <a:cubicBezTo>
                    <a:pt x="7771299" y="1227477"/>
                    <a:pt x="7776262" y="1218448"/>
                    <a:pt x="7781431" y="1209419"/>
                  </a:cubicBezTo>
                  <a:cubicBezTo>
                    <a:pt x="7777296" y="1196875"/>
                    <a:pt x="7777089" y="1183848"/>
                    <a:pt x="7777847" y="1170821"/>
                  </a:cubicBezTo>
                  <a:cubicBezTo>
                    <a:pt x="7767646" y="1170132"/>
                    <a:pt x="7757514" y="1169305"/>
                    <a:pt x="7747451" y="1168478"/>
                  </a:cubicBezTo>
                  <a:moveTo>
                    <a:pt x="13142" y="1158139"/>
                  </a:moveTo>
                  <a:cubicBezTo>
                    <a:pt x="14319" y="1135463"/>
                    <a:pt x="33959" y="1168478"/>
                    <a:pt x="13142" y="1158139"/>
                  </a:cubicBezTo>
                  <a:moveTo>
                    <a:pt x="-5465" y="1287786"/>
                  </a:moveTo>
                  <a:cubicBezTo>
                    <a:pt x="2321" y="1286890"/>
                    <a:pt x="17897" y="1284960"/>
                    <a:pt x="25689" y="1284064"/>
                  </a:cubicBezTo>
                  <a:cubicBezTo>
                    <a:pt x="21690" y="1280342"/>
                    <a:pt x="13694" y="1272898"/>
                    <a:pt x="9696" y="1269246"/>
                  </a:cubicBezTo>
                  <a:cubicBezTo>
                    <a:pt x="18659" y="1268763"/>
                    <a:pt x="27619" y="1268350"/>
                    <a:pt x="36577" y="1267936"/>
                  </a:cubicBezTo>
                  <a:cubicBezTo>
                    <a:pt x="36235" y="1262767"/>
                    <a:pt x="35612" y="1252428"/>
                    <a:pt x="35268" y="1247190"/>
                  </a:cubicBezTo>
                  <a:cubicBezTo>
                    <a:pt x="48638" y="1243605"/>
                    <a:pt x="50157" y="1229614"/>
                    <a:pt x="52154" y="1217966"/>
                  </a:cubicBezTo>
                  <a:lnTo>
                    <a:pt x="36783" y="1219689"/>
                  </a:lnTo>
                  <a:cubicBezTo>
                    <a:pt x="39818" y="1218586"/>
                    <a:pt x="46021" y="1216449"/>
                    <a:pt x="49053" y="1215415"/>
                  </a:cubicBezTo>
                  <a:cubicBezTo>
                    <a:pt x="49879" y="1208041"/>
                    <a:pt x="50709" y="1200666"/>
                    <a:pt x="51535" y="1193222"/>
                  </a:cubicBezTo>
                  <a:cubicBezTo>
                    <a:pt x="47263" y="1192877"/>
                    <a:pt x="38714" y="1192119"/>
                    <a:pt x="34444" y="1191774"/>
                  </a:cubicBezTo>
                  <a:cubicBezTo>
                    <a:pt x="38647" y="1190120"/>
                    <a:pt x="47190" y="1186812"/>
                    <a:pt x="51398" y="1185158"/>
                  </a:cubicBezTo>
                  <a:cubicBezTo>
                    <a:pt x="52154" y="1179782"/>
                    <a:pt x="53673" y="1169029"/>
                    <a:pt x="54429" y="1163722"/>
                  </a:cubicBezTo>
                  <a:cubicBezTo>
                    <a:pt x="51328" y="1163929"/>
                    <a:pt x="45192" y="1164342"/>
                    <a:pt x="42160" y="1164480"/>
                  </a:cubicBezTo>
                  <a:cubicBezTo>
                    <a:pt x="37613" y="1154348"/>
                    <a:pt x="34512" y="1140150"/>
                    <a:pt x="21343" y="1138427"/>
                  </a:cubicBezTo>
                  <a:cubicBezTo>
                    <a:pt x="20382" y="1135118"/>
                    <a:pt x="18451" y="1128433"/>
                    <a:pt x="17555" y="1125055"/>
                  </a:cubicBezTo>
                  <a:cubicBezTo>
                    <a:pt x="26238" y="1141735"/>
                    <a:pt x="53740" y="1131190"/>
                    <a:pt x="47814" y="1156760"/>
                  </a:cubicBezTo>
                  <a:lnTo>
                    <a:pt x="55048" y="1156829"/>
                  </a:lnTo>
                  <a:cubicBezTo>
                    <a:pt x="55326" y="1143458"/>
                    <a:pt x="56082" y="1130018"/>
                    <a:pt x="55673" y="1116509"/>
                  </a:cubicBezTo>
                  <a:cubicBezTo>
                    <a:pt x="39266" y="1111822"/>
                    <a:pt x="21343" y="1117060"/>
                    <a:pt x="5908" y="1107479"/>
                  </a:cubicBezTo>
                  <a:cubicBezTo>
                    <a:pt x="5219" y="1126641"/>
                    <a:pt x="3980" y="1145870"/>
                    <a:pt x="943" y="1164756"/>
                  </a:cubicBezTo>
                  <a:cubicBezTo>
                    <a:pt x="8524" y="1168478"/>
                    <a:pt x="26860" y="1164273"/>
                    <a:pt x="22035" y="1177714"/>
                  </a:cubicBezTo>
                  <a:lnTo>
                    <a:pt x="16384" y="1177369"/>
                  </a:lnTo>
                  <a:lnTo>
                    <a:pt x="11144" y="1173096"/>
                  </a:lnTo>
                  <a:cubicBezTo>
                    <a:pt x="2599" y="1168547"/>
                    <a:pt x="1495" y="1186260"/>
                    <a:pt x="4736" y="1191154"/>
                  </a:cubicBezTo>
                  <a:cubicBezTo>
                    <a:pt x="10388" y="1191361"/>
                    <a:pt x="15969" y="1190258"/>
                    <a:pt x="21483" y="1187708"/>
                  </a:cubicBezTo>
                  <a:cubicBezTo>
                    <a:pt x="15005" y="1202802"/>
                    <a:pt x="36441" y="1208937"/>
                    <a:pt x="35543" y="1224100"/>
                  </a:cubicBezTo>
                  <a:cubicBezTo>
                    <a:pt x="30513" y="1223686"/>
                    <a:pt x="20449" y="1222859"/>
                    <a:pt x="15417" y="1222377"/>
                  </a:cubicBezTo>
                  <a:cubicBezTo>
                    <a:pt x="19004" y="1228925"/>
                    <a:pt x="22587" y="1235403"/>
                    <a:pt x="26238" y="1241814"/>
                  </a:cubicBezTo>
                  <a:lnTo>
                    <a:pt x="17692" y="1246845"/>
                  </a:lnTo>
                  <a:cubicBezTo>
                    <a:pt x="11970" y="1242158"/>
                    <a:pt x="6250" y="1237540"/>
                    <a:pt x="461" y="1232922"/>
                  </a:cubicBezTo>
                  <a:cubicBezTo>
                    <a:pt x="-1814" y="1251187"/>
                    <a:pt x="-4019" y="1269452"/>
                    <a:pt x="-5465" y="1287786"/>
                  </a:cubicBezTo>
                </a:path>
              </a:pathLst>
            </a:custGeom>
            <a:grpFill/>
            <a:ln w="689" cap="flat">
              <a:noFill/>
              <a:prstDash val="solid"/>
              <a:miter/>
            </a:ln>
          </p:spPr>
          <p:txBody>
            <a:bodyPr rtlCol="0" anchor="ctr"/>
            <a:lstStyle/>
            <a:p>
              <a:endParaRPr lang="en-US" sz="2400" dirty="0"/>
            </a:p>
          </p:txBody>
        </p:sp>
        <p:sp>
          <p:nvSpPr>
            <p:cNvPr id="306" name="Graphic 8">
              <a:extLst>
                <a:ext uri="{FF2B5EF4-FFF2-40B4-BE49-F238E27FC236}">
                  <a16:creationId xmlns:a16="http://schemas.microsoft.com/office/drawing/2014/main" id="{BA2363BB-F188-495D-9E64-0C40D8AA1B02}"/>
                </a:ext>
              </a:extLst>
            </p:cNvPr>
            <p:cNvSpPr/>
            <p:nvPr/>
          </p:nvSpPr>
          <p:spPr>
            <a:xfrm flipV="1">
              <a:off x="3230761" y="2053402"/>
              <a:ext cx="4666198" cy="1453551"/>
            </a:xfrm>
            <a:custGeom>
              <a:avLst/>
              <a:gdLst>
                <a:gd name="connsiteX0" fmla="*/ -332 w 4666198"/>
                <a:gd name="connsiteY0" fmla="*/ 42326 h 1453551"/>
                <a:gd name="connsiteX1" fmla="*/ 32752 w 4666198"/>
                <a:gd name="connsiteY1" fmla="*/ 47151 h 1453551"/>
                <a:gd name="connsiteX2" fmla="*/ 39989 w 4666198"/>
                <a:gd name="connsiteY2" fmla="*/ 34607 h 1453551"/>
                <a:gd name="connsiteX3" fmla="*/ 43780 w 4666198"/>
                <a:gd name="connsiteY3" fmla="*/ 27645 h 1453551"/>
                <a:gd name="connsiteX4" fmla="*/ 36474 w 4666198"/>
                <a:gd name="connsiteY4" fmla="*/ 15170 h 1453551"/>
                <a:gd name="connsiteX5" fmla="*/ 47502 w 4666198"/>
                <a:gd name="connsiteY5" fmla="*/ 2143 h 1453551"/>
                <a:gd name="connsiteX6" fmla="*/ 25446 w 4666198"/>
                <a:gd name="connsiteY6" fmla="*/ 6 h 1453551"/>
                <a:gd name="connsiteX7" fmla="*/ 7043 w 4666198"/>
                <a:gd name="connsiteY7" fmla="*/ 18961 h 1453551"/>
                <a:gd name="connsiteX8" fmla="*/ 14970 w 4666198"/>
                <a:gd name="connsiteY8" fmla="*/ -2889 h 1453551"/>
                <a:gd name="connsiteX9" fmla="*/ -1917 w 4666198"/>
                <a:gd name="connsiteY9" fmla="*/ 1730 h 1453551"/>
                <a:gd name="connsiteX10" fmla="*/ -6879 w 4666198"/>
                <a:gd name="connsiteY10" fmla="*/ 8622 h 1453551"/>
                <a:gd name="connsiteX11" fmla="*/ -332 w 4666198"/>
                <a:gd name="connsiteY11" fmla="*/ 42326 h 1453551"/>
                <a:gd name="connsiteX12" fmla="*/ 4633609 w 4666198"/>
                <a:gd name="connsiteY12" fmla="*/ 1450663 h 1453551"/>
                <a:gd name="connsiteX13" fmla="*/ 4639261 w 4666198"/>
                <a:gd name="connsiteY13" fmla="*/ 1443839 h 1453551"/>
                <a:gd name="connsiteX14" fmla="*/ 4646981 w 4666198"/>
                <a:gd name="connsiteY14" fmla="*/ 1434328 h 1453551"/>
                <a:gd name="connsiteX15" fmla="*/ 4657595 w 4666198"/>
                <a:gd name="connsiteY15" fmla="*/ 1409929 h 1453551"/>
                <a:gd name="connsiteX16" fmla="*/ 4642156 w 4666198"/>
                <a:gd name="connsiteY16" fmla="*/ 1352997 h 1453551"/>
                <a:gd name="connsiteX17" fmla="*/ 4631335 w 4666198"/>
                <a:gd name="connsiteY17" fmla="*/ 1351136 h 1453551"/>
                <a:gd name="connsiteX18" fmla="*/ 4626234 w 4666198"/>
                <a:gd name="connsiteY18" fmla="*/ 1354927 h 1453551"/>
                <a:gd name="connsiteX19" fmla="*/ 4633609 w 4666198"/>
                <a:gd name="connsiteY19" fmla="*/ 1450663 h 145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66198" h="1453551">
                  <a:moveTo>
                    <a:pt x="-332" y="42326"/>
                  </a:moveTo>
                  <a:cubicBezTo>
                    <a:pt x="10628" y="44118"/>
                    <a:pt x="21656" y="45772"/>
                    <a:pt x="32752" y="47151"/>
                  </a:cubicBezTo>
                  <a:cubicBezTo>
                    <a:pt x="34544" y="44049"/>
                    <a:pt x="38198" y="37777"/>
                    <a:pt x="39989" y="34607"/>
                  </a:cubicBezTo>
                  <a:cubicBezTo>
                    <a:pt x="40955" y="32883"/>
                    <a:pt x="42815" y="29368"/>
                    <a:pt x="43780" y="27645"/>
                  </a:cubicBezTo>
                  <a:cubicBezTo>
                    <a:pt x="41919" y="24475"/>
                    <a:pt x="38335" y="18271"/>
                    <a:pt x="36474" y="15170"/>
                  </a:cubicBezTo>
                  <a:cubicBezTo>
                    <a:pt x="39231" y="11930"/>
                    <a:pt x="44745" y="5382"/>
                    <a:pt x="47502" y="2143"/>
                  </a:cubicBezTo>
                  <a:cubicBezTo>
                    <a:pt x="41988" y="1592"/>
                    <a:pt x="30960" y="558"/>
                    <a:pt x="25446" y="6"/>
                  </a:cubicBezTo>
                  <a:cubicBezTo>
                    <a:pt x="19312" y="6347"/>
                    <a:pt x="13178" y="12620"/>
                    <a:pt x="7043" y="18961"/>
                  </a:cubicBezTo>
                  <a:cubicBezTo>
                    <a:pt x="9042" y="13516"/>
                    <a:pt x="13040" y="2557"/>
                    <a:pt x="14970" y="-2889"/>
                  </a:cubicBezTo>
                  <a:cubicBezTo>
                    <a:pt x="10765" y="-1717"/>
                    <a:pt x="2288" y="627"/>
                    <a:pt x="-1917" y="1730"/>
                  </a:cubicBezTo>
                  <a:lnTo>
                    <a:pt x="-6879" y="8622"/>
                  </a:lnTo>
                  <a:cubicBezTo>
                    <a:pt x="-5294" y="20063"/>
                    <a:pt x="-2882" y="31229"/>
                    <a:pt x="-332" y="42326"/>
                  </a:cubicBezTo>
                  <a:close/>
                  <a:moveTo>
                    <a:pt x="4633609" y="1450663"/>
                  </a:moveTo>
                  <a:lnTo>
                    <a:pt x="4639261" y="1443839"/>
                  </a:lnTo>
                  <a:cubicBezTo>
                    <a:pt x="4641191" y="1441496"/>
                    <a:pt x="4645050" y="1436740"/>
                    <a:pt x="4646981" y="1434328"/>
                  </a:cubicBezTo>
                  <a:cubicBezTo>
                    <a:pt x="4651047" y="1427091"/>
                    <a:pt x="4663936" y="1419578"/>
                    <a:pt x="4657595" y="1409929"/>
                  </a:cubicBezTo>
                  <a:cubicBezTo>
                    <a:pt x="4648841" y="1391939"/>
                    <a:pt x="4644224" y="1372778"/>
                    <a:pt x="4642156" y="1352997"/>
                  </a:cubicBezTo>
                  <a:cubicBezTo>
                    <a:pt x="4639468" y="1352514"/>
                    <a:pt x="4634092" y="1351618"/>
                    <a:pt x="4631335" y="1351136"/>
                  </a:cubicBezTo>
                  <a:lnTo>
                    <a:pt x="4626234" y="1354927"/>
                  </a:lnTo>
                  <a:cubicBezTo>
                    <a:pt x="4624717" y="1387046"/>
                    <a:pt x="4628371" y="1419026"/>
                    <a:pt x="4633609" y="1450663"/>
                  </a:cubicBezTo>
                </a:path>
              </a:pathLst>
            </a:custGeom>
            <a:grpFill/>
            <a:ln w="689" cap="flat">
              <a:noFill/>
              <a:prstDash val="solid"/>
              <a:miter/>
            </a:ln>
          </p:spPr>
          <p:txBody>
            <a:bodyPr rtlCol="0" anchor="ctr"/>
            <a:lstStyle/>
            <a:p>
              <a:endParaRPr lang="en-US" sz="2400" dirty="0"/>
            </a:p>
          </p:txBody>
        </p:sp>
        <p:sp>
          <p:nvSpPr>
            <p:cNvPr id="307" name="Graphic 8">
              <a:extLst>
                <a:ext uri="{FF2B5EF4-FFF2-40B4-BE49-F238E27FC236}">
                  <a16:creationId xmlns:a16="http://schemas.microsoft.com/office/drawing/2014/main" id="{A8BC50C0-8B86-456F-9DC7-1CFFF3303D94}"/>
                </a:ext>
              </a:extLst>
            </p:cNvPr>
            <p:cNvSpPr/>
            <p:nvPr/>
          </p:nvSpPr>
          <p:spPr>
            <a:xfrm flipV="1">
              <a:off x="624999" y="2059971"/>
              <a:ext cx="8026917" cy="1659752"/>
            </a:xfrm>
            <a:custGeom>
              <a:avLst/>
              <a:gdLst>
                <a:gd name="connsiteX0" fmla="*/ -5716 w 8026917"/>
                <a:gd name="connsiteY0" fmla="*/ 187 h 1659752"/>
                <a:gd name="connsiteX1" fmla="*/ -5716 w 8026917"/>
                <a:gd name="connsiteY1" fmla="*/ 187 h 1659752"/>
                <a:gd name="connsiteX2" fmla="*/ 8011733 w 8026917"/>
                <a:gd name="connsiteY2" fmla="*/ 1654585 h 1659752"/>
                <a:gd name="connsiteX3" fmla="*/ 8011733 w 8026917"/>
                <a:gd name="connsiteY3" fmla="*/ 1654585 h 1659752"/>
              </a:gdLst>
              <a:ahLst/>
              <a:cxnLst>
                <a:cxn ang="0">
                  <a:pos x="connsiteX0" y="connsiteY0"/>
                </a:cxn>
                <a:cxn ang="0">
                  <a:pos x="connsiteX1" y="connsiteY1"/>
                </a:cxn>
                <a:cxn ang="0">
                  <a:pos x="connsiteX2" y="connsiteY2"/>
                </a:cxn>
                <a:cxn ang="0">
                  <a:pos x="connsiteX3" y="connsiteY3"/>
                </a:cxn>
              </a:cxnLst>
              <a:rect l="l" t="t" r="r" b="b"/>
              <a:pathLst>
                <a:path w="8026917" h="1659752">
                  <a:moveTo>
                    <a:pt x="-5716" y="187"/>
                  </a:moveTo>
                  <a:cubicBezTo>
                    <a:pt x="-2065" y="-3673"/>
                    <a:pt x="-2065" y="-3673"/>
                    <a:pt x="-5716" y="187"/>
                  </a:cubicBezTo>
                  <a:close/>
                  <a:moveTo>
                    <a:pt x="8011733" y="1654585"/>
                  </a:moveTo>
                  <a:cubicBezTo>
                    <a:pt x="8031927" y="1666164"/>
                    <a:pt x="8013869" y="1631839"/>
                    <a:pt x="8011733" y="1654585"/>
                  </a:cubicBezTo>
                </a:path>
              </a:pathLst>
            </a:custGeom>
            <a:grpFill/>
            <a:ln w="689" cap="flat">
              <a:noFill/>
              <a:prstDash val="solid"/>
              <a:miter/>
            </a:ln>
          </p:spPr>
          <p:txBody>
            <a:bodyPr rtlCol="0" anchor="ctr"/>
            <a:lstStyle/>
            <a:p>
              <a:endParaRPr lang="en-US" sz="2400" dirty="0"/>
            </a:p>
          </p:txBody>
        </p:sp>
        <p:sp>
          <p:nvSpPr>
            <p:cNvPr id="308" name="Graphic 8">
              <a:extLst>
                <a:ext uri="{FF2B5EF4-FFF2-40B4-BE49-F238E27FC236}">
                  <a16:creationId xmlns:a16="http://schemas.microsoft.com/office/drawing/2014/main" id="{3EFF0FDA-30A7-4B44-BC00-11703E9FE761}"/>
                </a:ext>
              </a:extLst>
            </p:cNvPr>
            <p:cNvSpPr/>
            <p:nvPr/>
          </p:nvSpPr>
          <p:spPr>
            <a:xfrm flipV="1">
              <a:off x="1759386" y="2070082"/>
              <a:ext cx="10225" cy="9502"/>
            </a:xfrm>
            <a:custGeom>
              <a:avLst/>
              <a:gdLst>
                <a:gd name="connsiteX0" fmla="*/ 7 w 10225"/>
                <a:gd name="connsiteY0" fmla="*/ 5454 h 9502"/>
                <a:gd name="connsiteX1" fmla="*/ 7 w 10225"/>
                <a:gd name="connsiteY1" fmla="*/ 5454 h 9502"/>
                <a:gd name="connsiteX2" fmla="*/ 7 w 10225"/>
                <a:gd name="connsiteY2" fmla="*/ 5454 h 9502"/>
              </a:gdLst>
              <a:ahLst/>
              <a:cxnLst>
                <a:cxn ang="0">
                  <a:pos x="connsiteX0" y="connsiteY0"/>
                </a:cxn>
                <a:cxn ang="0">
                  <a:pos x="connsiteX1" y="connsiteY1"/>
                </a:cxn>
                <a:cxn ang="0">
                  <a:pos x="connsiteX2" y="connsiteY2"/>
                </a:cxn>
              </a:cxnLst>
              <a:rect l="l" t="t" r="r" b="b"/>
              <a:pathLst>
                <a:path w="10225" h="9502">
                  <a:moveTo>
                    <a:pt x="7" y="5454"/>
                  </a:moveTo>
                  <a:cubicBezTo>
                    <a:pt x="22683" y="4213"/>
                    <a:pt x="-10470" y="-15292"/>
                    <a:pt x="7" y="5454"/>
                  </a:cubicBezTo>
                  <a:lnTo>
                    <a:pt x="7" y="5454"/>
                  </a:lnTo>
                </a:path>
              </a:pathLst>
            </a:custGeom>
            <a:grpFill/>
            <a:ln w="689" cap="flat">
              <a:noFill/>
              <a:prstDash val="solid"/>
              <a:miter/>
            </a:ln>
          </p:spPr>
          <p:txBody>
            <a:bodyPr rtlCol="0" anchor="ctr"/>
            <a:lstStyle/>
            <a:p>
              <a:endParaRPr lang="en-US" sz="2400" dirty="0"/>
            </a:p>
          </p:txBody>
        </p:sp>
        <p:sp>
          <p:nvSpPr>
            <p:cNvPr id="309" name="Graphic 8">
              <a:extLst>
                <a:ext uri="{FF2B5EF4-FFF2-40B4-BE49-F238E27FC236}">
                  <a16:creationId xmlns:a16="http://schemas.microsoft.com/office/drawing/2014/main" id="{3EA9B17D-8CF7-4603-8EE9-F65EC9F95F5C}"/>
                </a:ext>
              </a:extLst>
            </p:cNvPr>
            <p:cNvSpPr/>
            <p:nvPr/>
          </p:nvSpPr>
          <p:spPr>
            <a:xfrm flipV="1">
              <a:off x="490469" y="2070289"/>
              <a:ext cx="2244768" cy="324841"/>
            </a:xfrm>
            <a:custGeom>
              <a:avLst/>
              <a:gdLst>
                <a:gd name="connsiteX0" fmla="*/ 1729 w 2244768"/>
                <a:gd name="connsiteY0" fmla="*/ 11306 h 324841"/>
                <a:gd name="connsiteX1" fmla="*/ 6278 w 2244768"/>
                <a:gd name="connsiteY1" fmla="*/ -3789 h 324841"/>
                <a:gd name="connsiteX2" fmla="*/ 1729 w 2244768"/>
                <a:gd name="connsiteY2" fmla="*/ 11306 h 324841"/>
                <a:gd name="connsiteX3" fmla="*/ 2234472 w 2244768"/>
                <a:gd name="connsiteY3" fmla="*/ 321053 h 324841"/>
                <a:gd name="connsiteX4" fmla="*/ 2239710 w 2244768"/>
                <a:gd name="connsiteY4" fmla="*/ 305752 h 324841"/>
                <a:gd name="connsiteX5" fmla="*/ 2234472 w 2244768"/>
                <a:gd name="connsiteY5" fmla="*/ 321053 h 32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4768" h="324841">
                  <a:moveTo>
                    <a:pt x="1729" y="11306"/>
                  </a:moveTo>
                  <a:cubicBezTo>
                    <a:pt x="10896" y="9721"/>
                    <a:pt x="12409" y="4689"/>
                    <a:pt x="6278" y="-3789"/>
                  </a:cubicBezTo>
                  <a:cubicBezTo>
                    <a:pt x="-2822" y="-2135"/>
                    <a:pt x="-4338" y="2897"/>
                    <a:pt x="1729" y="11306"/>
                  </a:cubicBezTo>
                  <a:close/>
                  <a:moveTo>
                    <a:pt x="2234472" y="321053"/>
                  </a:moveTo>
                  <a:cubicBezTo>
                    <a:pt x="2243501" y="319674"/>
                    <a:pt x="2245224" y="314574"/>
                    <a:pt x="2239710" y="305752"/>
                  </a:cubicBezTo>
                  <a:cubicBezTo>
                    <a:pt x="2230681" y="307199"/>
                    <a:pt x="2228889" y="312300"/>
                    <a:pt x="2234472" y="321053"/>
                  </a:cubicBezTo>
                </a:path>
              </a:pathLst>
            </a:custGeom>
            <a:grpFill/>
            <a:ln w="689" cap="flat">
              <a:noFill/>
              <a:prstDash val="solid"/>
              <a:miter/>
            </a:ln>
          </p:spPr>
          <p:txBody>
            <a:bodyPr rtlCol="0" anchor="ctr"/>
            <a:lstStyle/>
            <a:p>
              <a:endParaRPr lang="en-US" sz="2400" dirty="0"/>
            </a:p>
          </p:txBody>
        </p:sp>
        <p:sp>
          <p:nvSpPr>
            <p:cNvPr id="310" name="Graphic 8">
              <a:extLst>
                <a:ext uri="{FF2B5EF4-FFF2-40B4-BE49-F238E27FC236}">
                  <a16:creationId xmlns:a16="http://schemas.microsoft.com/office/drawing/2014/main" id="{65468997-4A84-451C-A2F3-CF1E295EE5AC}"/>
                </a:ext>
              </a:extLst>
            </p:cNvPr>
            <p:cNvSpPr/>
            <p:nvPr/>
          </p:nvSpPr>
          <p:spPr>
            <a:xfrm flipV="1">
              <a:off x="3682488" y="2069186"/>
              <a:ext cx="10151" cy="9593"/>
            </a:xfrm>
            <a:custGeom>
              <a:avLst/>
              <a:gdLst>
                <a:gd name="connsiteX0" fmla="*/ -2448 w 10151"/>
                <a:gd name="connsiteY0" fmla="*/ 5543 h 9593"/>
                <a:gd name="connsiteX1" fmla="*/ -2448 w 10151"/>
                <a:gd name="connsiteY1" fmla="*/ 5543 h 9593"/>
                <a:gd name="connsiteX2" fmla="*/ -2448 w 10151"/>
                <a:gd name="connsiteY2" fmla="*/ 5543 h 9593"/>
              </a:gdLst>
              <a:ahLst/>
              <a:cxnLst>
                <a:cxn ang="0">
                  <a:pos x="connsiteX0" y="connsiteY0"/>
                </a:cxn>
                <a:cxn ang="0">
                  <a:pos x="connsiteX1" y="connsiteY1"/>
                </a:cxn>
                <a:cxn ang="0">
                  <a:pos x="connsiteX2" y="connsiteY2"/>
                </a:cxn>
              </a:cxnLst>
              <a:rect l="l" t="t" r="r" b="b"/>
              <a:pathLst>
                <a:path w="10151" h="9593">
                  <a:moveTo>
                    <a:pt x="-2448" y="5543"/>
                  </a:moveTo>
                  <a:cubicBezTo>
                    <a:pt x="20091" y="4440"/>
                    <a:pt x="-12786" y="-15479"/>
                    <a:pt x="-2448" y="5543"/>
                  </a:cubicBezTo>
                  <a:lnTo>
                    <a:pt x="-2448" y="5543"/>
                  </a:lnTo>
                </a:path>
              </a:pathLst>
            </a:custGeom>
            <a:grpFill/>
            <a:ln w="689" cap="flat">
              <a:noFill/>
              <a:prstDash val="solid"/>
              <a:miter/>
            </a:ln>
          </p:spPr>
          <p:txBody>
            <a:bodyPr rtlCol="0" anchor="ctr"/>
            <a:lstStyle/>
            <a:p>
              <a:endParaRPr lang="en-US" sz="2400" dirty="0"/>
            </a:p>
          </p:txBody>
        </p:sp>
        <p:sp>
          <p:nvSpPr>
            <p:cNvPr id="311" name="Graphic 8">
              <a:extLst>
                <a:ext uri="{FF2B5EF4-FFF2-40B4-BE49-F238E27FC236}">
                  <a16:creationId xmlns:a16="http://schemas.microsoft.com/office/drawing/2014/main" id="{1A902AF7-7968-45F3-89F7-819DE106E9FB}"/>
                </a:ext>
              </a:extLst>
            </p:cNvPr>
            <p:cNvSpPr/>
            <p:nvPr/>
          </p:nvSpPr>
          <p:spPr>
            <a:xfrm flipV="1">
              <a:off x="1128247" y="2073756"/>
              <a:ext cx="6810546" cy="1418757"/>
            </a:xfrm>
            <a:custGeom>
              <a:avLst/>
              <a:gdLst>
                <a:gd name="connsiteX0" fmla="*/ 1883057 w 6810546"/>
                <a:gd name="connsiteY0" fmla="*/ 115 h 1418757"/>
                <a:gd name="connsiteX1" fmla="*/ 1883057 w 6810546"/>
                <a:gd name="connsiteY1" fmla="*/ 115 h 1418757"/>
                <a:gd name="connsiteX2" fmla="*/ 6798485 w 6810546"/>
                <a:gd name="connsiteY2" fmla="*/ 1213533 h 1418757"/>
                <a:gd name="connsiteX3" fmla="*/ 6793454 w 6810546"/>
                <a:gd name="connsiteY3" fmla="*/ 1187548 h 1418757"/>
                <a:gd name="connsiteX4" fmla="*/ 6798485 w 6810546"/>
                <a:gd name="connsiteY4" fmla="*/ 1213533 h 1418757"/>
                <a:gd name="connsiteX5" fmla="*/ -5271 w 6810546"/>
                <a:gd name="connsiteY5" fmla="*/ 1414861 h 1418757"/>
                <a:gd name="connsiteX6" fmla="*/ 6791 w 6810546"/>
                <a:gd name="connsiteY6" fmla="*/ 1404867 h 1418757"/>
                <a:gd name="connsiteX7" fmla="*/ -5271 w 6810546"/>
                <a:gd name="connsiteY7" fmla="*/ 1414861 h 141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546" h="1418757">
                  <a:moveTo>
                    <a:pt x="1883057" y="115"/>
                  </a:moveTo>
                  <a:cubicBezTo>
                    <a:pt x="1886572" y="-3883"/>
                    <a:pt x="1886572" y="-3883"/>
                    <a:pt x="1883057" y="115"/>
                  </a:cubicBezTo>
                  <a:close/>
                  <a:moveTo>
                    <a:pt x="6798485" y="1213533"/>
                  </a:moveTo>
                  <a:cubicBezTo>
                    <a:pt x="6809582" y="1212361"/>
                    <a:pt x="6805447" y="1183895"/>
                    <a:pt x="6793454" y="1187548"/>
                  </a:cubicBezTo>
                  <a:cubicBezTo>
                    <a:pt x="6790559" y="1196026"/>
                    <a:pt x="6793592" y="1206364"/>
                    <a:pt x="6798485" y="1213533"/>
                  </a:cubicBezTo>
                  <a:moveTo>
                    <a:pt x="-5271" y="1414861"/>
                  </a:moveTo>
                  <a:cubicBezTo>
                    <a:pt x="4447" y="1417756"/>
                    <a:pt x="8445" y="1414448"/>
                    <a:pt x="6791" y="1404867"/>
                  </a:cubicBezTo>
                  <a:cubicBezTo>
                    <a:pt x="-2790" y="1402110"/>
                    <a:pt x="-6788" y="1405419"/>
                    <a:pt x="-5271" y="1414861"/>
                  </a:cubicBezTo>
                </a:path>
              </a:pathLst>
            </a:custGeom>
            <a:grpFill/>
            <a:ln w="689" cap="flat">
              <a:noFill/>
              <a:prstDash val="solid"/>
              <a:miter/>
            </a:ln>
          </p:spPr>
          <p:txBody>
            <a:bodyPr rtlCol="0" anchor="ctr"/>
            <a:lstStyle/>
            <a:p>
              <a:endParaRPr lang="en-US" sz="2400" dirty="0"/>
            </a:p>
          </p:txBody>
        </p:sp>
        <p:sp>
          <p:nvSpPr>
            <p:cNvPr id="312" name="Graphic 8">
              <a:extLst>
                <a:ext uri="{FF2B5EF4-FFF2-40B4-BE49-F238E27FC236}">
                  <a16:creationId xmlns:a16="http://schemas.microsoft.com/office/drawing/2014/main" id="{11E36144-DC63-43B9-B5B0-E7DCA7977F02}"/>
                </a:ext>
              </a:extLst>
            </p:cNvPr>
            <p:cNvSpPr/>
            <p:nvPr/>
          </p:nvSpPr>
          <p:spPr>
            <a:xfrm flipV="1">
              <a:off x="1224757" y="2074107"/>
              <a:ext cx="5079678" cy="1554112"/>
            </a:xfrm>
            <a:custGeom>
              <a:avLst/>
              <a:gdLst>
                <a:gd name="connsiteX0" fmla="*/ 2781613 w 5079678"/>
                <a:gd name="connsiteY0" fmla="*/ 5871 h 1554112"/>
                <a:gd name="connsiteX1" fmla="*/ 2796156 w 5079678"/>
                <a:gd name="connsiteY1" fmla="*/ 495 h 1554112"/>
                <a:gd name="connsiteX2" fmla="*/ 2781613 w 5079678"/>
                <a:gd name="connsiteY2" fmla="*/ 5871 h 1554112"/>
                <a:gd name="connsiteX3" fmla="*/ 3132439 w 5079678"/>
                <a:gd name="connsiteY3" fmla="*/ 237320 h 1554112"/>
                <a:gd name="connsiteX4" fmla="*/ 3202191 w 5079678"/>
                <a:gd name="connsiteY4" fmla="*/ 238492 h 1554112"/>
                <a:gd name="connsiteX5" fmla="*/ 3227555 w 5079678"/>
                <a:gd name="connsiteY5" fmla="*/ 222777 h 1554112"/>
                <a:gd name="connsiteX6" fmla="*/ 3207361 w 5079678"/>
                <a:gd name="connsiteY6" fmla="*/ 220503 h 1554112"/>
                <a:gd name="connsiteX7" fmla="*/ 3203983 w 5079678"/>
                <a:gd name="connsiteY7" fmla="*/ 220089 h 1554112"/>
                <a:gd name="connsiteX8" fmla="*/ 3197573 w 5079678"/>
                <a:gd name="connsiteY8" fmla="*/ 222019 h 1554112"/>
                <a:gd name="connsiteX9" fmla="*/ 3194954 w 5079678"/>
                <a:gd name="connsiteY9" fmla="*/ 224500 h 1554112"/>
                <a:gd name="connsiteX10" fmla="*/ 3197573 w 5079678"/>
                <a:gd name="connsiteY10" fmla="*/ 222019 h 1554112"/>
                <a:gd name="connsiteX11" fmla="*/ 3165041 w 5079678"/>
                <a:gd name="connsiteY11" fmla="*/ 200032 h 1554112"/>
                <a:gd name="connsiteX12" fmla="*/ 3133198 w 5079678"/>
                <a:gd name="connsiteY12" fmla="*/ 186454 h 1554112"/>
                <a:gd name="connsiteX13" fmla="*/ 3130785 w 5079678"/>
                <a:gd name="connsiteY13" fmla="*/ 216367 h 1554112"/>
                <a:gd name="connsiteX14" fmla="*/ 3156218 w 5079678"/>
                <a:gd name="connsiteY14" fmla="*/ 224432 h 1554112"/>
                <a:gd name="connsiteX15" fmla="*/ 3130579 w 5079678"/>
                <a:gd name="connsiteY15" fmla="*/ 222846 h 1554112"/>
                <a:gd name="connsiteX16" fmla="*/ 3132439 w 5079678"/>
                <a:gd name="connsiteY16" fmla="*/ 237320 h 1554112"/>
                <a:gd name="connsiteX17" fmla="*/ 1077176 w 5079678"/>
                <a:gd name="connsiteY17" fmla="*/ 467391 h 1554112"/>
                <a:gd name="connsiteX18" fmla="*/ 1088411 w 5079678"/>
                <a:gd name="connsiteY18" fmla="*/ 455742 h 1554112"/>
                <a:gd name="connsiteX19" fmla="*/ 1077176 w 5079678"/>
                <a:gd name="connsiteY19" fmla="*/ 467391 h 1554112"/>
                <a:gd name="connsiteX20" fmla="*/ 5067912 w 5079678"/>
                <a:gd name="connsiteY20" fmla="*/ 1280701 h 1554112"/>
                <a:gd name="connsiteX21" fmla="*/ 5066258 w 5079678"/>
                <a:gd name="connsiteY21" fmla="*/ 1260851 h 1554112"/>
                <a:gd name="connsiteX22" fmla="*/ 5067912 w 5079678"/>
                <a:gd name="connsiteY22" fmla="*/ 1280701 h 1554112"/>
                <a:gd name="connsiteX23" fmla="*/ 1139622 w 5079678"/>
                <a:gd name="connsiteY23" fmla="*/ 1549369 h 1554112"/>
                <a:gd name="connsiteX24" fmla="*/ 1150305 w 5079678"/>
                <a:gd name="connsiteY24" fmla="*/ 1531449 h 1554112"/>
                <a:gd name="connsiteX25" fmla="*/ 1139622 w 5079678"/>
                <a:gd name="connsiteY25" fmla="*/ 1549369 h 1554112"/>
                <a:gd name="connsiteX26" fmla="*/ 3055 w 5079678"/>
                <a:gd name="connsiteY26" fmla="*/ 1548198 h 1554112"/>
                <a:gd name="connsiteX27" fmla="*/ 1607 w 5079678"/>
                <a:gd name="connsiteY27" fmla="*/ 1529864 h 1554112"/>
                <a:gd name="connsiteX28" fmla="*/ 3055 w 5079678"/>
                <a:gd name="connsiteY28" fmla="*/ 1548198 h 155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079678" h="1554112">
                  <a:moveTo>
                    <a:pt x="2781613" y="5871"/>
                  </a:moveTo>
                  <a:cubicBezTo>
                    <a:pt x="2790091" y="11661"/>
                    <a:pt x="2794916" y="9869"/>
                    <a:pt x="2796156" y="495"/>
                  </a:cubicBezTo>
                  <a:cubicBezTo>
                    <a:pt x="2787610" y="-5225"/>
                    <a:pt x="2782716" y="-3433"/>
                    <a:pt x="2781613" y="5871"/>
                  </a:cubicBezTo>
                  <a:close/>
                  <a:moveTo>
                    <a:pt x="3132439" y="237320"/>
                  </a:moveTo>
                  <a:cubicBezTo>
                    <a:pt x="3155598" y="238492"/>
                    <a:pt x="3178895" y="240284"/>
                    <a:pt x="3202191" y="238492"/>
                  </a:cubicBezTo>
                  <a:cubicBezTo>
                    <a:pt x="3207981" y="229118"/>
                    <a:pt x="3215770" y="222502"/>
                    <a:pt x="3227555" y="222777"/>
                  </a:cubicBezTo>
                  <a:cubicBezTo>
                    <a:pt x="3222524" y="222157"/>
                    <a:pt x="3212392" y="221054"/>
                    <a:pt x="3207361" y="220503"/>
                  </a:cubicBezTo>
                  <a:lnTo>
                    <a:pt x="3203983" y="220089"/>
                  </a:lnTo>
                  <a:lnTo>
                    <a:pt x="3197573" y="222019"/>
                  </a:lnTo>
                  <a:cubicBezTo>
                    <a:pt x="3196884" y="222639"/>
                    <a:pt x="3195643" y="223880"/>
                    <a:pt x="3194954" y="224500"/>
                  </a:cubicBezTo>
                  <a:cubicBezTo>
                    <a:pt x="3195643" y="223880"/>
                    <a:pt x="3196884" y="222639"/>
                    <a:pt x="3197573" y="222019"/>
                  </a:cubicBezTo>
                  <a:cubicBezTo>
                    <a:pt x="3196057" y="204099"/>
                    <a:pt x="3171106" y="214851"/>
                    <a:pt x="3165041" y="200032"/>
                  </a:cubicBezTo>
                  <a:cubicBezTo>
                    <a:pt x="3158769" y="187832"/>
                    <a:pt x="3144708" y="189004"/>
                    <a:pt x="3133198" y="186454"/>
                  </a:cubicBezTo>
                  <a:cubicBezTo>
                    <a:pt x="3132577" y="193967"/>
                    <a:pt x="3131337" y="208854"/>
                    <a:pt x="3130785" y="216367"/>
                  </a:cubicBezTo>
                  <a:cubicBezTo>
                    <a:pt x="3139332" y="218711"/>
                    <a:pt x="3147810" y="221399"/>
                    <a:pt x="3156218" y="224432"/>
                  </a:cubicBezTo>
                  <a:cubicBezTo>
                    <a:pt x="3147603" y="224018"/>
                    <a:pt x="3139056" y="223466"/>
                    <a:pt x="3130579" y="222846"/>
                  </a:cubicBezTo>
                  <a:lnTo>
                    <a:pt x="3132439" y="237320"/>
                  </a:lnTo>
                  <a:moveTo>
                    <a:pt x="1077176" y="467391"/>
                  </a:moveTo>
                  <a:cubicBezTo>
                    <a:pt x="1088342" y="470906"/>
                    <a:pt x="1092064" y="466977"/>
                    <a:pt x="1088411" y="455742"/>
                  </a:cubicBezTo>
                  <a:cubicBezTo>
                    <a:pt x="1077176" y="452365"/>
                    <a:pt x="1073385" y="456225"/>
                    <a:pt x="1077176" y="467391"/>
                  </a:cubicBezTo>
                  <a:moveTo>
                    <a:pt x="5067912" y="1280701"/>
                  </a:moveTo>
                  <a:cubicBezTo>
                    <a:pt x="5079078" y="1280012"/>
                    <a:pt x="5076114" y="1261471"/>
                    <a:pt x="5066258" y="1260851"/>
                  </a:cubicBezTo>
                  <a:cubicBezTo>
                    <a:pt x="5054747" y="1261540"/>
                    <a:pt x="5057780" y="1280219"/>
                    <a:pt x="5067912" y="1280701"/>
                  </a:cubicBezTo>
                  <a:moveTo>
                    <a:pt x="1139622" y="1549369"/>
                  </a:moveTo>
                  <a:cubicBezTo>
                    <a:pt x="1150098" y="1557503"/>
                    <a:pt x="1158852" y="1538273"/>
                    <a:pt x="1150305" y="1531449"/>
                  </a:cubicBezTo>
                  <a:cubicBezTo>
                    <a:pt x="1139760" y="1523178"/>
                    <a:pt x="1130937" y="1542615"/>
                    <a:pt x="1139622" y="1549369"/>
                  </a:cubicBezTo>
                  <a:moveTo>
                    <a:pt x="3055" y="1548198"/>
                  </a:moveTo>
                  <a:cubicBezTo>
                    <a:pt x="13807" y="1548611"/>
                    <a:pt x="10085" y="1530898"/>
                    <a:pt x="1607" y="1529864"/>
                  </a:cubicBezTo>
                  <a:cubicBezTo>
                    <a:pt x="-8938" y="1530140"/>
                    <a:pt x="-4458" y="1546337"/>
                    <a:pt x="3055" y="1548198"/>
                  </a:cubicBezTo>
                </a:path>
              </a:pathLst>
            </a:custGeom>
            <a:grpFill/>
            <a:ln w="689" cap="flat">
              <a:noFill/>
              <a:prstDash val="solid"/>
              <a:miter/>
            </a:ln>
          </p:spPr>
          <p:txBody>
            <a:bodyPr rtlCol="0" anchor="ctr"/>
            <a:lstStyle/>
            <a:p>
              <a:endParaRPr lang="en-US" sz="2400" dirty="0"/>
            </a:p>
          </p:txBody>
        </p:sp>
        <p:sp>
          <p:nvSpPr>
            <p:cNvPr id="313" name="Graphic 8">
              <a:extLst>
                <a:ext uri="{FF2B5EF4-FFF2-40B4-BE49-F238E27FC236}">
                  <a16:creationId xmlns:a16="http://schemas.microsoft.com/office/drawing/2014/main" id="{8C4F84A7-6E3B-42B1-8375-D6BAFA78E7D6}"/>
                </a:ext>
              </a:extLst>
            </p:cNvPr>
            <p:cNvSpPr/>
            <p:nvPr/>
          </p:nvSpPr>
          <p:spPr>
            <a:xfrm flipV="1">
              <a:off x="6845905" y="2084280"/>
              <a:ext cx="13188" cy="24601"/>
            </a:xfrm>
            <a:custGeom>
              <a:avLst/>
              <a:gdLst>
                <a:gd name="connsiteX0" fmla="*/ -5722 w 13188"/>
                <a:gd name="connsiteY0" fmla="*/ 20589 h 24601"/>
                <a:gd name="connsiteX1" fmla="*/ 3445 w 13188"/>
                <a:gd name="connsiteY1" fmla="*/ -3742 h 24601"/>
                <a:gd name="connsiteX2" fmla="*/ -5722 w 13188"/>
                <a:gd name="connsiteY2" fmla="*/ 20589 h 24601"/>
                <a:gd name="connsiteX3" fmla="*/ -5722 w 13188"/>
                <a:gd name="connsiteY3" fmla="*/ 20589 h 24601"/>
              </a:gdLst>
              <a:ahLst/>
              <a:cxnLst>
                <a:cxn ang="0">
                  <a:pos x="connsiteX0" y="connsiteY0"/>
                </a:cxn>
                <a:cxn ang="0">
                  <a:pos x="connsiteX1" y="connsiteY1"/>
                </a:cxn>
                <a:cxn ang="0">
                  <a:pos x="connsiteX2" y="connsiteY2"/>
                </a:cxn>
                <a:cxn ang="0">
                  <a:pos x="connsiteX3" y="connsiteY3"/>
                </a:cxn>
              </a:cxnLst>
              <a:rect l="l" t="t" r="r" b="b"/>
              <a:pathLst>
                <a:path w="13188" h="24601">
                  <a:moveTo>
                    <a:pt x="-5722" y="20589"/>
                  </a:moveTo>
                  <a:cubicBezTo>
                    <a:pt x="3583" y="20313"/>
                    <a:pt x="6684" y="3771"/>
                    <a:pt x="3445" y="-3742"/>
                  </a:cubicBezTo>
                  <a:cubicBezTo>
                    <a:pt x="-7859" y="-6568"/>
                    <a:pt x="-11650" y="13489"/>
                    <a:pt x="-5722" y="20589"/>
                  </a:cubicBezTo>
                  <a:lnTo>
                    <a:pt x="-5722" y="20589"/>
                  </a:lnTo>
                </a:path>
              </a:pathLst>
            </a:custGeom>
            <a:grpFill/>
            <a:ln w="689" cap="flat">
              <a:noFill/>
              <a:prstDash val="solid"/>
              <a:miter/>
            </a:ln>
          </p:spPr>
          <p:txBody>
            <a:bodyPr rtlCol="0" anchor="ctr"/>
            <a:lstStyle/>
            <a:p>
              <a:endParaRPr lang="en-US" sz="2400" dirty="0"/>
            </a:p>
          </p:txBody>
        </p:sp>
        <p:sp>
          <p:nvSpPr>
            <p:cNvPr id="314" name="Graphic 8">
              <a:extLst>
                <a:ext uri="{FF2B5EF4-FFF2-40B4-BE49-F238E27FC236}">
                  <a16:creationId xmlns:a16="http://schemas.microsoft.com/office/drawing/2014/main" id="{34F827CD-1669-454F-B157-2459D98FC4AF}"/>
                </a:ext>
              </a:extLst>
            </p:cNvPr>
            <p:cNvSpPr/>
            <p:nvPr/>
          </p:nvSpPr>
          <p:spPr>
            <a:xfrm flipV="1">
              <a:off x="804959" y="2090414"/>
              <a:ext cx="5292770" cy="202429"/>
            </a:xfrm>
            <a:custGeom>
              <a:avLst/>
              <a:gdLst>
                <a:gd name="connsiteX0" fmla="*/ 5274438 w 5292770"/>
                <a:gd name="connsiteY0" fmla="*/ 12614 h 202429"/>
                <a:gd name="connsiteX1" fmla="*/ 5286914 w 5292770"/>
                <a:gd name="connsiteY1" fmla="*/ -3031 h 202429"/>
                <a:gd name="connsiteX2" fmla="*/ 5274438 w 5292770"/>
                <a:gd name="connsiteY2" fmla="*/ 12614 h 202429"/>
                <a:gd name="connsiteX3" fmla="*/ -4223 w 5292770"/>
                <a:gd name="connsiteY3" fmla="*/ 198573 h 202429"/>
                <a:gd name="connsiteX4" fmla="*/ -4223 w 5292770"/>
                <a:gd name="connsiteY4" fmla="*/ 198573 h 202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92770" h="202429">
                  <a:moveTo>
                    <a:pt x="5274438" y="12614"/>
                  </a:moveTo>
                  <a:cubicBezTo>
                    <a:pt x="5282365" y="17094"/>
                    <a:pt x="5292566" y="3999"/>
                    <a:pt x="5286914" y="-3031"/>
                  </a:cubicBezTo>
                  <a:cubicBezTo>
                    <a:pt x="5278719" y="-7236"/>
                    <a:pt x="5269614" y="5653"/>
                    <a:pt x="5274438" y="12614"/>
                  </a:cubicBezTo>
                  <a:close/>
                  <a:moveTo>
                    <a:pt x="-4223" y="198573"/>
                  </a:moveTo>
                  <a:cubicBezTo>
                    <a:pt x="-570" y="194989"/>
                    <a:pt x="-570" y="194989"/>
                    <a:pt x="-4223" y="198573"/>
                  </a:cubicBezTo>
                </a:path>
              </a:pathLst>
            </a:custGeom>
            <a:grpFill/>
            <a:ln w="689" cap="flat">
              <a:noFill/>
              <a:prstDash val="solid"/>
              <a:miter/>
            </a:ln>
          </p:spPr>
          <p:txBody>
            <a:bodyPr rtlCol="0" anchor="ctr"/>
            <a:lstStyle/>
            <a:p>
              <a:endParaRPr lang="en-US" sz="2400" dirty="0"/>
            </a:p>
          </p:txBody>
        </p:sp>
        <p:sp>
          <p:nvSpPr>
            <p:cNvPr id="315" name="Graphic 8">
              <a:extLst>
                <a:ext uri="{FF2B5EF4-FFF2-40B4-BE49-F238E27FC236}">
                  <a16:creationId xmlns:a16="http://schemas.microsoft.com/office/drawing/2014/main" id="{0FAD4087-F3D3-40D7-9A6B-9BFCC98F191F}"/>
                </a:ext>
              </a:extLst>
            </p:cNvPr>
            <p:cNvSpPr/>
            <p:nvPr/>
          </p:nvSpPr>
          <p:spPr>
            <a:xfrm flipV="1">
              <a:off x="803580" y="2091104"/>
              <a:ext cx="1896624" cy="1170374"/>
            </a:xfrm>
            <a:custGeom>
              <a:avLst/>
              <a:gdLst>
                <a:gd name="connsiteX0" fmla="*/ -2086 w 1896624"/>
                <a:gd name="connsiteY0" fmla="*/ 4970 h 1170374"/>
                <a:gd name="connsiteX1" fmla="*/ -2086 w 1896624"/>
                <a:gd name="connsiteY1" fmla="*/ 4970 h 1170374"/>
                <a:gd name="connsiteX2" fmla="*/ 1886517 w 1896624"/>
                <a:gd name="connsiteY2" fmla="*/ 1167315 h 1170374"/>
                <a:gd name="connsiteX3" fmla="*/ 1886517 w 1896624"/>
                <a:gd name="connsiteY3" fmla="*/ 1167315 h 1170374"/>
              </a:gdLst>
              <a:ahLst/>
              <a:cxnLst>
                <a:cxn ang="0">
                  <a:pos x="connsiteX0" y="connsiteY0"/>
                </a:cxn>
                <a:cxn ang="0">
                  <a:pos x="connsiteX1" y="connsiteY1"/>
                </a:cxn>
                <a:cxn ang="0">
                  <a:pos x="connsiteX2" y="connsiteY2"/>
                </a:cxn>
                <a:cxn ang="0">
                  <a:pos x="connsiteX3" y="connsiteY3"/>
                </a:cxn>
              </a:cxnLst>
              <a:rect l="l" t="t" r="r" b="b"/>
              <a:pathLst>
                <a:path w="1896624" h="1170374">
                  <a:moveTo>
                    <a:pt x="-2086" y="4970"/>
                  </a:moveTo>
                  <a:cubicBezTo>
                    <a:pt x="18936" y="16205"/>
                    <a:pt x="-1397" y="-17775"/>
                    <a:pt x="-2086" y="4970"/>
                  </a:cubicBezTo>
                  <a:close/>
                  <a:moveTo>
                    <a:pt x="1886517" y="1167315"/>
                  </a:moveTo>
                  <a:cubicBezTo>
                    <a:pt x="1909194" y="1165109"/>
                    <a:pt x="1875421" y="1146982"/>
                    <a:pt x="1886517" y="1167315"/>
                  </a:cubicBezTo>
                </a:path>
              </a:pathLst>
            </a:custGeom>
            <a:grpFill/>
            <a:ln w="689" cap="flat">
              <a:noFill/>
              <a:prstDash val="solid"/>
              <a:miter/>
            </a:ln>
          </p:spPr>
          <p:txBody>
            <a:bodyPr rtlCol="0" anchor="ctr"/>
            <a:lstStyle/>
            <a:p>
              <a:endParaRPr lang="en-US" sz="2400" dirty="0"/>
            </a:p>
          </p:txBody>
        </p:sp>
        <p:sp>
          <p:nvSpPr>
            <p:cNvPr id="316" name="Graphic 8">
              <a:extLst>
                <a:ext uri="{FF2B5EF4-FFF2-40B4-BE49-F238E27FC236}">
                  <a16:creationId xmlns:a16="http://schemas.microsoft.com/office/drawing/2014/main" id="{9363EC6A-69DD-428E-9F05-D19CDFBE514D}"/>
                </a:ext>
              </a:extLst>
            </p:cNvPr>
            <p:cNvSpPr/>
            <p:nvPr/>
          </p:nvSpPr>
          <p:spPr>
            <a:xfrm flipV="1">
              <a:off x="2779679" y="2117226"/>
              <a:ext cx="5737588" cy="974963"/>
            </a:xfrm>
            <a:custGeom>
              <a:avLst/>
              <a:gdLst>
                <a:gd name="connsiteX0" fmla="*/ 546518 w 5737588"/>
                <a:gd name="connsiteY0" fmla="*/ 6290 h 974963"/>
                <a:gd name="connsiteX1" fmla="*/ 546518 w 5737588"/>
                <a:gd name="connsiteY1" fmla="*/ 6290 h 974963"/>
                <a:gd name="connsiteX2" fmla="*/ 5722550 w 5737588"/>
                <a:gd name="connsiteY2" fmla="*/ 336990 h 974963"/>
                <a:gd name="connsiteX3" fmla="*/ 5722550 w 5737588"/>
                <a:gd name="connsiteY3" fmla="*/ 336990 h 974963"/>
                <a:gd name="connsiteX4" fmla="*/ -5155 w 5737588"/>
                <a:gd name="connsiteY4" fmla="*/ 971786 h 974963"/>
                <a:gd name="connsiteX5" fmla="*/ -5155 w 5737588"/>
                <a:gd name="connsiteY5" fmla="*/ 971786 h 97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37588" h="974963">
                  <a:moveTo>
                    <a:pt x="546518" y="6290"/>
                  </a:moveTo>
                  <a:cubicBezTo>
                    <a:pt x="569194" y="5739"/>
                    <a:pt x="536524" y="-14732"/>
                    <a:pt x="546518" y="6290"/>
                  </a:cubicBezTo>
                  <a:close/>
                  <a:moveTo>
                    <a:pt x="5722550" y="336990"/>
                  </a:moveTo>
                  <a:cubicBezTo>
                    <a:pt x="5745226" y="335612"/>
                    <a:pt x="5711660" y="316382"/>
                    <a:pt x="5722550" y="336990"/>
                  </a:cubicBezTo>
                  <a:moveTo>
                    <a:pt x="-5155" y="971786"/>
                  </a:moveTo>
                  <a:cubicBezTo>
                    <a:pt x="17521" y="971855"/>
                    <a:pt x="-14735" y="950419"/>
                    <a:pt x="-5155" y="971786"/>
                  </a:cubicBezTo>
                </a:path>
              </a:pathLst>
            </a:custGeom>
            <a:grpFill/>
            <a:ln w="689" cap="flat">
              <a:noFill/>
              <a:prstDash val="solid"/>
              <a:miter/>
            </a:ln>
          </p:spPr>
          <p:txBody>
            <a:bodyPr rtlCol="0" anchor="ctr"/>
            <a:lstStyle/>
            <a:p>
              <a:endParaRPr lang="en-US" sz="2400" dirty="0"/>
            </a:p>
          </p:txBody>
        </p:sp>
        <p:sp>
          <p:nvSpPr>
            <p:cNvPr id="317" name="Graphic 8">
              <a:extLst>
                <a:ext uri="{FF2B5EF4-FFF2-40B4-BE49-F238E27FC236}">
                  <a16:creationId xmlns:a16="http://schemas.microsoft.com/office/drawing/2014/main" id="{1E45FAED-7B9C-41C5-92E5-3523C1A7818B}"/>
                </a:ext>
              </a:extLst>
            </p:cNvPr>
            <p:cNvSpPr/>
            <p:nvPr/>
          </p:nvSpPr>
          <p:spPr>
            <a:xfrm flipV="1">
              <a:off x="2011208" y="2117915"/>
              <a:ext cx="6818172" cy="1242635"/>
            </a:xfrm>
            <a:custGeom>
              <a:avLst/>
              <a:gdLst>
                <a:gd name="connsiteX0" fmla="*/ 5277683 w 6818172"/>
                <a:gd name="connsiteY0" fmla="*/ 6480 h 1242635"/>
                <a:gd name="connsiteX1" fmla="*/ 5277683 w 6818172"/>
                <a:gd name="connsiteY1" fmla="*/ 6480 h 1242635"/>
                <a:gd name="connsiteX2" fmla="*/ 289332 w 6818172"/>
                <a:gd name="connsiteY2" fmla="*/ 213323 h 1242635"/>
                <a:gd name="connsiteX3" fmla="*/ 289332 w 6818172"/>
                <a:gd name="connsiteY3" fmla="*/ 213323 h 1242635"/>
                <a:gd name="connsiteX4" fmla="*/ 6802158 w 6818172"/>
                <a:gd name="connsiteY4" fmla="*/ 310782 h 1242635"/>
                <a:gd name="connsiteX5" fmla="*/ 6802158 w 6818172"/>
                <a:gd name="connsiteY5" fmla="*/ 310782 h 1242635"/>
                <a:gd name="connsiteX6" fmla="*/ 4590436 w 6818172"/>
                <a:gd name="connsiteY6" fmla="*/ 420097 h 1242635"/>
                <a:gd name="connsiteX7" fmla="*/ 4590436 w 6818172"/>
                <a:gd name="connsiteY7" fmla="*/ 420097 h 1242635"/>
                <a:gd name="connsiteX8" fmla="*/ 5153963 w 6818172"/>
                <a:gd name="connsiteY8" fmla="*/ 474478 h 1242635"/>
                <a:gd name="connsiteX9" fmla="*/ 5174021 w 6818172"/>
                <a:gd name="connsiteY9" fmla="*/ 466965 h 1242635"/>
                <a:gd name="connsiteX10" fmla="*/ 5166852 w 6818172"/>
                <a:gd name="connsiteY10" fmla="*/ 463243 h 1242635"/>
                <a:gd name="connsiteX11" fmla="*/ 5159753 w 6818172"/>
                <a:gd name="connsiteY11" fmla="*/ 455593 h 1242635"/>
                <a:gd name="connsiteX12" fmla="*/ 5162234 w 6818172"/>
                <a:gd name="connsiteY12" fmla="*/ 450354 h 1242635"/>
                <a:gd name="connsiteX13" fmla="*/ 5168024 w 6818172"/>
                <a:gd name="connsiteY13" fmla="*/ 450492 h 1242635"/>
                <a:gd name="connsiteX14" fmla="*/ 5174366 w 6818172"/>
                <a:gd name="connsiteY14" fmla="*/ 441808 h 1242635"/>
                <a:gd name="connsiteX15" fmla="*/ 5163475 w 6818172"/>
                <a:gd name="connsiteY15" fmla="*/ 438568 h 1242635"/>
                <a:gd name="connsiteX16" fmla="*/ 5136112 w 6818172"/>
                <a:gd name="connsiteY16" fmla="*/ 441808 h 1242635"/>
                <a:gd name="connsiteX17" fmla="*/ 5138731 w 6818172"/>
                <a:gd name="connsiteY17" fmla="*/ 449045 h 1242635"/>
                <a:gd name="connsiteX18" fmla="*/ 5138731 w 6818172"/>
                <a:gd name="connsiteY18" fmla="*/ 460969 h 1242635"/>
                <a:gd name="connsiteX19" fmla="*/ 5150517 w 6818172"/>
                <a:gd name="connsiteY19" fmla="*/ 464208 h 1242635"/>
                <a:gd name="connsiteX20" fmla="*/ 5152447 w 6818172"/>
                <a:gd name="connsiteY20" fmla="*/ 470067 h 1242635"/>
                <a:gd name="connsiteX21" fmla="*/ 5153963 w 6818172"/>
                <a:gd name="connsiteY21" fmla="*/ 474478 h 1242635"/>
                <a:gd name="connsiteX22" fmla="*/ 6520601 w 6818172"/>
                <a:gd name="connsiteY22" fmla="*/ 531961 h 1242635"/>
                <a:gd name="connsiteX23" fmla="*/ 6520601 w 6818172"/>
                <a:gd name="connsiteY23" fmla="*/ 531961 h 1242635"/>
                <a:gd name="connsiteX24" fmla="*/ 4989303 w 6818172"/>
                <a:gd name="connsiteY24" fmla="*/ 902500 h 1242635"/>
                <a:gd name="connsiteX25" fmla="*/ 4989303 w 6818172"/>
                <a:gd name="connsiteY25" fmla="*/ 902500 h 1242635"/>
                <a:gd name="connsiteX26" fmla="*/ 2913913 w 6818172"/>
                <a:gd name="connsiteY26" fmla="*/ 1031320 h 1242635"/>
                <a:gd name="connsiteX27" fmla="*/ 2924459 w 6818172"/>
                <a:gd name="connsiteY27" fmla="*/ 1014433 h 1242635"/>
                <a:gd name="connsiteX28" fmla="*/ 2913913 w 6818172"/>
                <a:gd name="connsiteY28" fmla="*/ 1031320 h 1242635"/>
                <a:gd name="connsiteX29" fmla="*/ -6699 w 6818172"/>
                <a:gd name="connsiteY29" fmla="*/ 1116235 h 1242635"/>
                <a:gd name="connsiteX30" fmla="*/ -6699 w 6818172"/>
                <a:gd name="connsiteY30" fmla="*/ 1116235 h 1242635"/>
                <a:gd name="connsiteX31" fmla="*/ 6266062 w 6818172"/>
                <a:gd name="connsiteY31" fmla="*/ 1136361 h 1242635"/>
                <a:gd name="connsiteX32" fmla="*/ 6282466 w 6818172"/>
                <a:gd name="connsiteY32" fmla="*/ 1120577 h 1242635"/>
                <a:gd name="connsiteX33" fmla="*/ 6266062 w 6818172"/>
                <a:gd name="connsiteY33" fmla="*/ 1136361 h 1242635"/>
                <a:gd name="connsiteX34" fmla="*/ 4265180 w 6818172"/>
                <a:gd name="connsiteY34" fmla="*/ 1149526 h 1242635"/>
                <a:gd name="connsiteX35" fmla="*/ 4265180 w 6818172"/>
                <a:gd name="connsiteY35" fmla="*/ 1149526 h 1242635"/>
                <a:gd name="connsiteX36" fmla="*/ 1034339 w 6818172"/>
                <a:gd name="connsiteY36" fmla="*/ 1148561 h 1242635"/>
                <a:gd name="connsiteX37" fmla="*/ 1037923 w 6818172"/>
                <a:gd name="connsiteY37" fmla="*/ 1125265 h 1242635"/>
                <a:gd name="connsiteX38" fmla="*/ 1034339 w 6818172"/>
                <a:gd name="connsiteY38" fmla="*/ 1148561 h 1242635"/>
                <a:gd name="connsiteX39" fmla="*/ 4045587 w 6818172"/>
                <a:gd name="connsiteY39" fmla="*/ 1239403 h 1242635"/>
                <a:gd name="connsiteX40" fmla="*/ 4045587 w 6818172"/>
                <a:gd name="connsiteY40" fmla="*/ 1239403 h 1242635"/>
                <a:gd name="connsiteX41" fmla="*/ 2901445 w 6818172"/>
                <a:gd name="connsiteY41" fmla="*/ 1239679 h 1242635"/>
                <a:gd name="connsiteX42" fmla="*/ 2901445 w 6818172"/>
                <a:gd name="connsiteY42" fmla="*/ 1239679 h 124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6818172" h="1242635">
                  <a:moveTo>
                    <a:pt x="5277683" y="6480"/>
                  </a:moveTo>
                  <a:cubicBezTo>
                    <a:pt x="5300428" y="6066"/>
                    <a:pt x="5267758" y="-14542"/>
                    <a:pt x="5277683" y="6480"/>
                  </a:cubicBezTo>
                  <a:close/>
                  <a:moveTo>
                    <a:pt x="289332" y="213323"/>
                  </a:moveTo>
                  <a:cubicBezTo>
                    <a:pt x="292917" y="209739"/>
                    <a:pt x="292917" y="209739"/>
                    <a:pt x="289332" y="213323"/>
                  </a:cubicBezTo>
                  <a:moveTo>
                    <a:pt x="6802158" y="310782"/>
                  </a:moveTo>
                  <a:cubicBezTo>
                    <a:pt x="6822698" y="321396"/>
                    <a:pt x="6802985" y="287899"/>
                    <a:pt x="6802158" y="310782"/>
                  </a:cubicBezTo>
                  <a:moveTo>
                    <a:pt x="4590436" y="420097"/>
                  </a:moveTo>
                  <a:cubicBezTo>
                    <a:pt x="4593744" y="416444"/>
                    <a:pt x="4593744" y="416444"/>
                    <a:pt x="4590436" y="420097"/>
                  </a:cubicBezTo>
                  <a:moveTo>
                    <a:pt x="5153963" y="474478"/>
                  </a:moveTo>
                  <a:cubicBezTo>
                    <a:pt x="5160511" y="471997"/>
                    <a:pt x="5167266" y="469447"/>
                    <a:pt x="5174021" y="466965"/>
                  </a:cubicBezTo>
                  <a:lnTo>
                    <a:pt x="5166852" y="463243"/>
                  </a:lnTo>
                  <a:cubicBezTo>
                    <a:pt x="5165061" y="461313"/>
                    <a:pt x="5161545" y="457523"/>
                    <a:pt x="5159753" y="455593"/>
                  </a:cubicBezTo>
                  <a:lnTo>
                    <a:pt x="5162234" y="450354"/>
                  </a:lnTo>
                  <a:lnTo>
                    <a:pt x="5168024" y="450492"/>
                  </a:lnTo>
                  <a:cubicBezTo>
                    <a:pt x="5169609" y="448287"/>
                    <a:pt x="5172780" y="443944"/>
                    <a:pt x="5174366" y="441808"/>
                  </a:cubicBezTo>
                  <a:cubicBezTo>
                    <a:pt x="5171609" y="440981"/>
                    <a:pt x="5166163" y="439395"/>
                    <a:pt x="5163475" y="438568"/>
                  </a:cubicBezTo>
                  <a:cubicBezTo>
                    <a:pt x="5154239" y="439671"/>
                    <a:pt x="5145141" y="440774"/>
                    <a:pt x="5136112" y="441808"/>
                  </a:cubicBezTo>
                  <a:lnTo>
                    <a:pt x="5138731" y="449045"/>
                  </a:lnTo>
                  <a:cubicBezTo>
                    <a:pt x="5138731" y="452009"/>
                    <a:pt x="5138731" y="458005"/>
                    <a:pt x="5138731" y="460969"/>
                  </a:cubicBezTo>
                  <a:cubicBezTo>
                    <a:pt x="5141626" y="461796"/>
                    <a:pt x="5147554" y="463381"/>
                    <a:pt x="5150517" y="464208"/>
                  </a:cubicBezTo>
                  <a:lnTo>
                    <a:pt x="5152447" y="470067"/>
                  </a:lnTo>
                  <a:lnTo>
                    <a:pt x="5153963" y="474478"/>
                  </a:lnTo>
                  <a:moveTo>
                    <a:pt x="6520601" y="531961"/>
                  </a:moveTo>
                  <a:cubicBezTo>
                    <a:pt x="6541141" y="542438"/>
                    <a:pt x="6521428" y="509009"/>
                    <a:pt x="6520601" y="531961"/>
                  </a:cubicBezTo>
                  <a:moveTo>
                    <a:pt x="4989303" y="902500"/>
                  </a:moveTo>
                  <a:cubicBezTo>
                    <a:pt x="4992886" y="899054"/>
                    <a:pt x="4992886" y="899054"/>
                    <a:pt x="4989303" y="902500"/>
                  </a:cubicBezTo>
                  <a:moveTo>
                    <a:pt x="2913913" y="1031320"/>
                  </a:moveTo>
                  <a:cubicBezTo>
                    <a:pt x="2922253" y="1035249"/>
                    <a:pt x="2929077" y="1020775"/>
                    <a:pt x="2924459" y="1014433"/>
                  </a:cubicBezTo>
                  <a:cubicBezTo>
                    <a:pt x="2915499" y="1009609"/>
                    <a:pt x="2908055" y="1024979"/>
                    <a:pt x="2913913" y="1031320"/>
                  </a:cubicBezTo>
                  <a:moveTo>
                    <a:pt x="-6699" y="1116235"/>
                  </a:moveTo>
                  <a:cubicBezTo>
                    <a:pt x="-3390" y="1112444"/>
                    <a:pt x="-3390" y="1112444"/>
                    <a:pt x="-6699" y="1116235"/>
                  </a:cubicBezTo>
                  <a:moveTo>
                    <a:pt x="6266062" y="1136361"/>
                  </a:moveTo>
                  <a:cubicBezTo>
                    <a:pt x="6274403" y="1142427"/>
                    <a:pt x="6287843" y="1129262"/>
                    <a:pt x="6282466" y="1120577"/>
                  </a:cubicBezTo>
                  <a:cubicBezTo>
                    <a:pt x="6274195" y="1116304"/>
                    <a:pt x="6261789" y="1128021"/>
                    <a:pt x="6266062" y="1136361"/>
                  </a:cubicBezTo>
                  <a:moveTo>
                    <a:pt x="4265180" y="1149526"/>
                  </a:moveTo>
                  <a:cubicBezTo>
                    <a:pt x="4287857" y="1147734"/>
                    <a:pt x="4254015" y="1129124"/>
                    <a:pt x="4265180" y="1149526"/>
                  </a:cubicBezTo>
                  <a:moveTo>
                    <a:pt x="1034339" y="1148561"/>
                  </a:moveTo>
                  <a:cubicBezTo>
                    <a:pt x="1045022" y="1150698"/>
                    <a:pt x="1049640" y="1127470"/>
                    <a:pt x="1037923" y="1125265"/>
                  </a:cubicBezTo>
                  <a:cubicBezTo>
                    <a:pt x="1028963" y="1128366"/>
                    <a:pt x="1030272" y="1142013"/>
                    <a:pt x="1034339" y="1148561"/>
                  </a:cubicBezTo>
                  <a:moveTo>
                    <a:pt x="4045587" y="1239403"/>
                  </a:moveTo>
                  <a:cubicBezTo>
                    <a:pt x="4048757" y="1235613"/>
                    <a:pt x="4048757" y="1235613"/>
                    <a:pt x="4045587" y="1239403"/>
                  </a:cubicBezTo>
                  <a:moveTo>
                    <a:pt x="2901445" y="1239679"/>
                  </a:moveTo>
                  <a:cubicBezTo>
                    <a:pt x="2904884" y="1236095"/>
                    <a:pt x="2904884" y="1236095"/>
                    <a:pt x="2901445" y="1239679"/>
                  </a:cubicBezTo>
                </a:path>
              </a:pathLst>
            </a:custGeom>
            <a:grpFill/>
            <a:ln w="689" cap="flat">
              <a:noFill/>
              <a:prstDash val="solid"/>
              <a:miter/>
            </a:ln>
          </p:spPr>
          <p:txBody>
            <a:bodyPr rtlCol="0" anchor="ctr"/>
            <a:lstStyle/>
            <a:p>
              <a:endParaRPr lang="en-US" sz="2400" dirty="0"/>
            </a:p>
          </p:txBody>
        </p:sp>
        <p:sp>
          <p:nvSpPr>
            <p:cNvPr id="318" name="Graphic 8">
              <a:extLst>
                <a:ext uri="{FF2B5EF4-FFF2-40B4-BE49-F238E27FC236}">
                  <a16:creationId xmlns:a16="http://schemas.microsoft.com/office/drawing/2014/main" id="{5DAB4E33-5BCA-4C09-BA47-CA8C605599CB}"/>
                </a:ext>
              </a:extLst>
            </p:cNvPr>
            <p:cNvSpPr/>
            <p:nvPr/>
          </p:nvSpPr>
          <p:spPr>
            <a:xfrm flipV="1">
              <a:off x="829768" y="2118779"/>
              <a:ext cx="6075594" cy="256707"/>
            </a:xfrm>
            <a:custGeom>
              <a:avLst/>
              <a:gdLst>
                <a:gd name="connsiteX0" fmla="*/ 6062967 w 6075594"/>
                <a:gd name="connsiteY0" fmla="*/ -3765 h 256707"/>
                <a:gd name="connsiteX1" fmla="*/ 6067378 w 6075594"/>
                <a:gd name="connsiteY1" fmla="*/ 12570 h 256707"/>
                <a:gd name="connsiteX2" fmla="*/ 6062967 w 6075594"/>
                <a:gd name="connsiteY2" fmla="*/ -3765 h 256707"/>
                <a:gd name="connsiteX3" fmla="*/ -3365 w 6075594"/>
                <a:gd name="connsiteY3" fmla="*/ 199701 h 256707"/>
                <a:gd name="connsiteX4" fmla="*/ 8077 w 6075594"/>
                <a:gd name="connsiteY4" fmla="*/ 189638 h 256707"/>
                <a:gd name="connsiteX5" fmla="*/ -3365 w 6075594"/>
                <a:gd name="connsiteY5" fmla="*/ 199701 h 256707"/>
                <a:gd name="connsiteX6" fmla="*/ 5247727 w 6075594"/>
                <a:gd name="connsiteY6" fmla="*/ 251118 h 256707"/>
                <a:gd name="connsiteX7" fmla="*/ 5273022 w 6075594"/>
                <a:gd name="connsiteY7" fmla="*/ 246983 h 256707"/>
                <a:gd name="connsiteX8" fmla="*/ 5247727 w 6075594"/>
                <a:gd name="connsiteY8" fmla="*/ 251118 h 25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75594" h="256707">
                  <a:moveTo>
                    <a:pt x="6062967" y="-3765"/>
                  </a:moveTo>
                  <a:cubicBezTo>
                    <a:pt x="6057109" y="4920"/>
                    <a:pt x="6058556" y="10365"/>
                    <a:pt x="6067378" y="12570"/>
                  </a:cubicBezTo>
                  <a:cubicBezTo>
                    <a:pt x="6073168" y="4092"/>
                    <a:pt x="6071721" y="-1353"/>
                    <a:pt x="6062967" y="-3765"/>
                  </a:cubicBezTo>
                  <a:close/>
                  <a:moveTo>
                    <a:pt x="-3365" y="199701"/>
                  </a:moveTo>
                  <a:cubicBezTo>
                    <a:pt x="8146" y="204249"/>
                    <a:pt x="11937" y="200872"/>
                    <a:pt x="8077" y="189638"/>
                  </a:cubicBezTo>
                  <a:cubicBezTo>
                    <a:pt x="-3296" y="185019"/>
                    <a:pt x="-7087" y="188397"/>
                    <a:pt x="-3365" y="199701"/>
                  </a:cubicBezTo>
                  <a:moveTo>
                    <a:pt x="5247727" y="251118"/>
                  </a:moveTo>
                  <a:cubicBezTo>
                    <a:pt x="5255516" y="255047"/>
                    <a:pt x="5266267" y="252152"/>
                    <a:pt x="5273022" y="246983"/>
                  </a:cubicBezTo>
                  <a:cubicBezTo>
                    <a:pt x="5271575" y="236575"/>
                    <a:pt x="5243247" y="238850"/>
                    <a:pt x="5247727" y="251118"/>
                  </a:cubicBezTo>
                </a:path>
              </a:pathLst>
            </a:custGeom>
            <a:grpFill/>
            <a:ln w="689" cap="flat">
              <a:noFill/>
              <a:prstDash val="solid"/>
              <a:miter/>
            </a:ln>
          </p:spPr>
          <p:txBody>
            <a:bodyPr rtlCol="0" anchor="ctr"/>
            <a:lstStyle/>
            <a:p>
              <a:endParaRPr lang="en-US" sz="2400" dirty="0"/>
            </a:p>
          </p:txBody>
        </p:sp>
        <p:sp>
          <p:nvSpPr>
            <p:cNvPr id="319" name="Graphic 8">
              <a:extLst>
                <a:ext uri="{FF2B5EF4-FFF2-40B4-BE49-F238E27FC236}">
                  <a16:creationId xmlns:a16="http://schemas.microsoft.com/office/drawing/2014/main" id="{917E8B9C-0741-4635-BC5C-887AD6B6DAC4}"/>
                </a:ext>
              </a:extLst>
            </p:cNvPr>
            <p:cNvSpPr/>
            <p:nvPr/>
          </p:nvSpPr>
          <p:spPr>
            <a:xfrm flipV="1">
              <a:off x="6480721" y="2116744"/>
              <a:ext cx="10241" cy="9601"/>
            </a:xfrm>
            <a:custGeom>
              <a:avLst/>
              <a:gdLst>
                <a:gd name="connsiteX0" fmla="*/ -5791 w 10241"/>
                <a:gd name="connsiteY0" fmla="*/ 5630 h 9601"/>
                <a:gd name="connsiteX1" fmla="*/ -5791 w 10241"/>
                <a:gd name="connsiteY1" fmla="*/ 5630 h 9601"/>
                <a:gd name="connsiteX2" fmla="*/ -5791 w 10241"/>
                <a:gd name="connsiteY2" fmla="*/ 5630 h 9601"/>
              </a:gdLst>
              <a:ahLst/>
              <a:cxnLst>
                <a:cxn ang="0">
                  <a:pos x="connsiteX0" y="connsiteY0"/>
                </a:cxn>
                <a:cxn ang="0">
                  <a:pos x="connsiteX1" y="connsiteY1"/>
                </a:cxn>
                <a:cxn ang="0">
                  <a:pos x="connsiteX2" y="connsiteY2"/>
                </a:cxn>
              </a:cxnLst>
              <a:rect l="l" t="t" r="r" b="b"/>
              <a:pathLst>
                <a:path w="10241" h="9601">
                  <a:moveTo>
                    <a:pt x="-5791" y="5630"/>
                  </a:moveTo>
                  <a:cubicBezTo>
                    <a:pt x="16748" y="3838"/>
                    <a:pt x="-16681" y="-15048"/>
                    <a:pt x="-5791" y="5630"/>
                  </a:cubicBezTo>
                  <a:lnTo>
                    <a:pt x="-5791" y="5630"/>
                  </a:lnTo>
                </a:path>
              </a:pathLst>
            </a:custGeom>
            <a:grpFill/>
            <a:ln w="689" cap="flat">
              <a:noFill/>
              <a:prstDash val="solid"/>
              <a:miter/>
            </a:ln>
          </p:spPr>
          <p:txBody>
            <a:bodyPr rtlCol="0" anchor="ctr"/>
            <a:lstStyle/>
            <a:p>
              <a:endParaRPr lang="en-US" sz="2400" dirty="0"/>
            </a:p>
          </p:txBody>
        </p:sp>
        <p:sp>
          <p:nvSpPr>
            <p:cNvPr id="320" name="Graphic 8">
              <a:extLst>
                <a:ext uri="{FF2B5EF4-FFF2-40B4-BE49-F238E27FC236}">
                  <a16:creationId xmlns:a16="http://schemas.microsoft.com/office/drawing/2014/main" id="{83DFADA6-2AB5-447B-9495-A9538D742EAF}"/>
                </a:ext>
              </a:extLst>
            </p:cNvPr>
            <p:cNvSpPr/>
            <p:nvPr/>
          </p:nvSpPr>
          <p:spPr>
            <a:xfrm flipV="1">
              <a:off x="4557818" y="2124877"/>
              <a:ext cx="10061" cy="9714"/>
            </a:xfrm>
            <a:custGeom>
              <a:avLst/>
              <a:gdLst>
                <a:gd name="connsiteX0" fmla="*/ -3674 w 10061"/>
                <a:gd name="connsiteY0" fmla="*/ 5756 h 9714"/>
                <a:gd name="connsiteX1" fmla="*/ -3674 w 10061"/>
                <a:gd name="connsiteY1" fmla="*/ 5756 h 9714"/>
                <a:gd name="connsiteX2" fmla="*/ -3674 w 10061"/>
                <a:gd name="connsiteY2" fmla="*/ 5756 h 9714"/>
              </a:gdLst>
              <a:ahLst/>
              <a:cxnLst>
                <a:cxn ang="0">
                  <a:pos x="connsiteX0" y="connsiteY0"/>
                </a:cxn>
                <a:cxn ang="0">
                  <a:pos x="connsiteX1" y="connsiteY1"/>
                </a:cxn>
                <a:cxn ang="0">
                  <a:pos x="connsiteX2" y="connsiteY2"/>
                </a:cxn>
              </a:cxnLst>
              <a:rect l="l" t="t" r="r" b="b"/>
              <a:pathLst>
                <a:path w="10061" h="9714">
                  <a:moveTo>
                    <a:pt x="-3674" y="5756"/>
                  </a:moveTo>
                  <a:cubicBezTo>
                    <a:pt x="18796" y="4791"/>
                    <a:pt x="-13599" y="-15610"/>
                    <a:pt x="-3674" y="5756"/>
                  </a:cubicBezTo>
                  <a:lnTo>
                    <a:pt x="-3674" y="5756"/>
                  </a:lnTo>
                </a:path>
              </a:pathLst>
            </a:custGeom>
            <a:grpFill/>
            <a:ln w="689" cap="flat">
              <a:noFill/>
              <a:prstDash val="solid"/>
              <a:miter/>
            </a:ln>
          </p:spPr>
          <p:txBody>
            <a:bodyPr rtlCol="0" anchor="ctr"/>
            <a:lstStyle/>
            <a:p>
              <a:endParaRPr lang="en-US" sz="2400" dirty="0"/>
            </a:p>
          </p:txBody>
        </p:sp>
        <p:sp>
          <p:nvSpPr>
            <p:cNvPr id="321" name="Graphic 8">
              <a:extLst>
                <a:ext uri="{FF2B5EF4-FFF2-40B4-BE49-F238E27FC236}">
                  <a16:creationId xmlns:a16="http://schemas.microsoft.com/office/drawing/2014/main" id="{34F1D990-8E49-4812-8621-9A280D74DA8F}"/>
                </a:ext>
              </a:extLst>
            </p:cNvPr>
            <p:cNvSpPr/>
            <p:nvPr/>
          </p:nvSpPr>
          <p:spPr>
            <a:xfrm flipV="1">
              <a:off x="5574129" y="2124739"/>
              <a:ext cx="2687" cy="2894"/>
            </a:xfrm>
            <a:custGeom>
              <a:avLst/>
              <a:gdLst>
                <a:gd name="connsiteX0" fmla="*/ -6894 w 2687"/>
                <a:gd name="connsiteY0" fmla="*/ -1069 h 2894"/>
                <a:gd name="connsiteX1" fmla="*/ -6894 w 2687"/>
                <a:gd name="connsiteY1" fmla="*/ -1069 h 2894"/>
                <a:gd name="connsiteX2" fmla="*/ -6894 w 2687"/>
                <a:gd name="connsiteY2" fmla="*/ -1069 h 2894"/>
              </a:gdLst>
              <a:ahLst/>
              <a:cxnLst>
                <a:cxn ang="0">
                  <a:pos x="connsiteX0" y="connsiteY0"/>
                </a:cxn>
                <a:cxn ang="0">
                  <a:pos x="connsiteX1" y="connsiteY1"/>
                </a:cxn>
                <a:cxn ang="0">
                  <a:pos x="connsiteX2" y="connsiteY2"/>
                </a:cxn>
              </a:cxnLst>
              <a:rect l="l" t="t" r="r" b="b"/>
              <a:pathLst>
                <a:path w="2687" h="2894">
                  <a:moveTo>
                    <a:pt x="-6894" y="-1069"/>
                  </a:moveTo>
                  <a:cubicBezTo>
                    <a:pt x="-3310" y="-4929"/>
                    <a:pt x="-3310" y="-4929"/>
                    <a:pt x="-6894" y="-1069"/>
                  </a:cubicBezTo>
                  <a:lnTo>
                    <a:pt x="-6894" y="-1069"/>
                  </a:lnTo>
                </a:path>
              </a:pathLst>
            </a:custGeom>
            <a:grpFill/>
            <a:ln w="689" cap="flat">
              <a:noFill/>
              <a:prstDash val="solid"/>
              <a:miter/>
            </a:ln>
          </p:spPr>
          <p:txBody>
            <a:bodyPr rtlCol="0" anchor="ctr"/>
            <a:lstStyle/>
            <a:p>
              <a:endParaRPr lang="en-US" sz="2400" dirty="0"/>
            </a:p>
          </p:txBody>
        </p:sp>
        <p:sp>
          <p:nvSpPr>
            <p:cNvPr id="322" name="Graphic 8">
              <a:extLst>
                <a:ext uri="{FF2B5EF4-FFF2-40B4-BE49-F238E27FC236}">
                  <a16:creationId xmlns:a16="http://schemas.microsoft.com/office/drawing/2014/main" id="{C352CC4F-E2A5-450C-98B7-3EC2F114A56C}"/>
                </a:ext>
              </a:extLst>
            </p:cNvPr>
            <p:cNvSpPr/>
            <p:nvPr/>
          </p:nvSpPr>
          <p:spPr>
            <a:xfrm flipV="1">
              <a:off x="436213" y="2130873"/>
              <a:ext cx="4262229" cy="1291164"/>
            </a:xfrm>
            <a:custGeom>
              <a:avLst/>
              <a:gdLst>
                <a:gd name="connsiteX0" fmla="*/ 4231479 w 4262229"/>
                <a:gd name="connsiteY0" fmla="*/ 23779 h 1291164"/>
                <a:gd name="connsiteX1" fmla="*/ 4236097 w 4262229"/>
                <a:gd name="connsiteY1" fmla="*/ 39701 h 1291164"/>
                <a:gd name="connsiteX2" fmla="*/ 4231479 w 4262229"/>
                <a:gd name="connsiteY2" fmla="*/ 23779 h 1291164"/>
                <a:gd name="connsiteX3" fmla="*/ 4226585 w 4262229"/>
                <a:gd name="connsiteY3" fmla="*/ 46111 h 1291164"/>
                <a:gd name="connsiteX4" fmla="*/ 4259118 w 4262229"/>
                <a:gd name="connsiteY4" fmla="*/ 52452 h 1291164"/>
                <a:gd name="connsiteX5" fmla="*/ 4255672 w 4262229"/>
                <a:gd name="connsiteY5" fmla="*/ 3102 h 1291164"/>
                <a:gd name="connsiteX6" fmla="*/ 4222588 w 4262229"/>
                <a:gd name="connsiteY6" fmla="*/ 1447 h 1291164"/>
                <a:gd name="connsiteX7" fmla="*/ 4220313 w 4262229"/>
                <a:gd name="connsiteY7" fmla="*/ 15370 h 1291164"/>
                <a:gd name="connsiteX8" fmla="*/ 4218039 w 4262229"/>
                <a:gd name="connsiteY8" fmla="*/ 414 h 1291164"/>
                <a:gd name="connsiteX9" fmla="*/ 4165656 w 4262229"/>
                <a:gd name="connsiteY9" fmla="*/ -2895 h 1291164"/>
                <a:gd name="connsiteX10" fmla="*/ 4164698 w 4262229"/>
                <a:gd name="connsiteY10" fmla="*/ 37771 h 1291164"/>
                <a:gd name="connsiteX11" fmla="*/ 4178683 w 4262229"/>
                <a:gd name="connsiteY11" fmla="*/ 6824 h 1291164"/>
                <a:gd name="connsiteX12" fmla="*/ 4181853 w 4262229"/>
                <a:gd name="connsiteY12" fmla="*/ 47214 h 1291164"/>
                <a:gd name="connsiteX13" fmla="*/ 4193295 w 4262229"/>
                <a:gd name="connsiteY13" fmla="*/ 21160 h 1291164"/>
                <a:gd name="connsiteX14" fmla="*/ 4194466 w 4262229"/>
                <a:gd name="connsiteY14" fmla="*/ 48247 h 1291164"/>
                <a:gd name="connsiteX15" fmla="*/ 4211973 w 4262229"/>
                <a:gd name="connsiteY15" fmla="*/ 46180 h 1291164"/>
                <a:gd name="connsiteX16" fmla="*/ 4220037 w 4262229"/>
                <a:gd name="connsiteY16" fmla="*/ 35772 h 1291164"/>
                <a:gd name="connsiteX17" fmla="*/ 4226585 w 4262229"/>
                <a:gd name="connsiteY17" fmla="*/ 46111 h 1291164"/>
                <a:gd name="connsiteX18" fmla="*/ 5089 w 4262229"/>
                <a:gd name="connsiteY18" fmla="*/ 1288270 h 1291164"/>
                <a:gd name="connsiteX19" fmla="*/ 24733 w 4262229"/>
                <a:gd name="connsiteY19" fmla="*/ 1281240 h 1291164"/>
                <a:gd name="connsiteX20" fmla="*/ 22457 w 4262229"/>
                <a:gd name="connsiteY20" fmla="*/ 1276898 h 1291164"/>
                <a:gd name="connsiteX21" fmla="*/ -3112 w 4262229"/>
                <a:gd name="connsiteY21" fmla="*/ 1252498 h 1291164"/>
                <a:gd name="connsiteX22" fmla="*/ 5089 w 4262229"/>
                <a:gd name="connsiteY22" fmla="*/ 1288270 h 129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62229" h="1291164">
                  <a:moveTo>
                    <a:pt x="4231479" y="23779"/>
                  </a:moveTo>
                  <a:cubicBezTo>
                    <a:pt x="4240301" y="25778"/>
                    <a:pt x="4241887" y="31085"/>
                    <a:pt x="4236097" y="39701"/>
                  </a:cubicBezTo>
                  <a:cubicBezTo>
                    <a:pt x="4227206" y="37771"/>
                    <a:pt x="4225620" y="32464"/>
                    <a:pt x="4231479" y="23779"/>
                  </a:cubicBezTo>
                  <a:close/>
                  <a:moveTo>
                    <a:pt x="4226585" y="46111"/>
                  </a:moveTo>
                  <a:cubicBezTo>
                    <a:pt x="4237407" y="48316"/>
                    <a:pt x="4248159" y="50453"/>
                    <a:pt x="4259118" y="52452"/>
                  </a:cubicBezTo>
                  <a:cubicBezTo>
                    <a:pt x="4255258" y="36323"/>
                    <a:pt x="4253673" y="19712"/>
                    <a:pt x="4255672" y="3102"/>
                  </a:cubicBezTo>
                  <a:cubicBezTo>
                    <a:pt x="4244575" y="2550"/>
                    <a:pt x="4233547" y="1999"/>
                    <a:pt x="4222588" y="1447"/>
                  </a:cubicBezTo>
                  <a:cubicBezTo>
                    <a:pt x="4222036" y="4894"/>
                    <a:pt x="4220933" y="11855"/>
                    <a:pt x="4220313" y="15370"/>
                  </a:cubicBezTo>
                  <a:cubicBezTo>
                    <a:pt x="4219762" y="11648"/>
                    <a:pt x="4218590" y="4204"/>
                    <a:pt x="4218039" y="414"/>
                  </a:cubicBezTo>
                  <a:cubicBezTo>
                    <a:pt x="4200532" y="-482"/>
                    <a:pt x="4183094" y="-1516"/>
                    <a:pt x="4165656" y="-2895"/>
                  </a:cubicBezTo>
                  <a:cubicBezTo>
                    <a:pt x="4165311" y="10752"/>
                    <a:pt x="4164622" y="24262"/>
                    <a:pt x="4164698" y="37771"/>
                  </a:cubicBezTo>
                  <a:cubicBezTo>
                    <a:pt x="4179027" y="34256"/>
                    <a:pt x="4175374" y="17507"/>
                    <a:pt x="4178683" y="6824"/>
                  </a:cubicBezTo>
                  <a:cubicBezTo>
                    <a:pt x="4179923" y="20195"/>
                    <a:pt x="4180406" y="33980"/>
                    <a:pt x="4181853" y="47214"/>
                  </a:cubicBezTo>
                  <a:cubicBezTo>
                    <a:pt x="4187298" y="39356"/>
                    <a:pt x="4192605" y="31223"/>
                    <a:pt x="4193295" y="21160"/>
                  </a:cubicBezTo>
                  <a:cubicBezTo>
                    <a:pt x="4193639" y="30258"/>
                    <a:pt x="4194053" y="39287"/>
                    <a:pt x="4194466" y="48247"/>
                  </a:cubicBezTo>
                  <a:lnTo>
                    <a:pt x="4211973" y="46180"/>
                  </a:lnTo>
                  <a:cubicBezTo>
                    <a:pt x="4214041" y="43629"/>
                    <a:pt x="4218039" y="38391"/>
                    <a:pt x="4220037" y="35772"/>
                  </a:cubicBezTo>
                  <a:cubicBezTo>
                    <a:pt x="4221692" y="38322"/>
                    <a:pt x="4225000" y="43491"/>
                    <a:pt x="4226585" y="46111"/>
                  </a:cubicBezTo>
                  <a:moveTo>
                    <a:pt x="5089" y="1288270"/>
                  </a:moveTo>
                  <a:cubicBezTo>
                    <a:pt x="9984" y="1286547"/>
                    <a:pt x="19841" y="1282963"/>
                    <a:pt x="24733" y="1281240"/>
                  </a:cubicBezTo>
                  <a:lnTo>
                    <a:pt x="22457" y="1276898"/>
                  </a:lnTo>
                  <a:cubicBezTo>
                    <a:pt x="18527" y="1264629"/>
                    <a:pt x="6885" y="1259046"/>
                    <a:pt x="-3112" y="1252498"/>
                  </a:cubicBezTo>
                  <a:cubicBezTo>
                    <a:pt x="-1184" y="1264629"/>
                    <a:pt x="1921" y="1276484"/>
                    <a:pt x="5089" y="1288270"/>
                  </a:cubicBezTo>
                </a:path>
              </a:pathLst>
            </a:custGeom>
            <a:grpFill/>
            <a:ln w="689" cap="flat">
              <a:noFill/>
              <a:prstDash val="solid"/>
              <a:miter/>
            </a:ln>
          </p:spPr>
          <p:txBody>
            <a:bodyPr rtlCol="0" anchor="ctr"/>
            <a:lstStyle/>
            <a:p>
              <a:endParaRPr lang="en-US" sz="2400" dirty="0"/>
            </a:p>
          </p:txBody>
        </p:sp>
        <p:sp>
          <p:nvSpPr>
            <p:cNvPr id="323" name="Graphic 8">
              <a:extLst>
                <a:ext uri="{FF2B5EF4-FFF2-40B4-BE49-F238E27FC236}">
                  <a16:creationId xmlns:a16="http://schemas.microsoft.com/office/drawing/2014/main" id="{E3CF8E08-9B06-4B5F-9DC4-EE723C2FD8BC}"/>
                </a:ext>
              </a:extLst>
            </p:cNvPr>
            <p:cNvSpPr/>
            <p:nvPr/>
          </p:nvSpPr>
          <p:spPr>
            <a:xfrm flipV="1">
              <a:off x="581438" y="2138386"/>
              <a:ext cx="2114484" cy="571591"/>
            </a:xfrm>
            <a:custGeom>
              <a:avLst/>
              <a:gdLst>
                <a:gd name="connsiteX0" fmla="*/ 6740 w 2114484"/>
                <a:gd name="connsiteY0" fmla="*/ 78615 h 571591"/>
                <a:gd name="connsiteX1" fmla="*/ 14666 w 2114484"/>
                <a:gd name="connsiteY1" fmla="*/ 47393 h 571591"/>
                <a:gd name="connsiteX2" fmla="*/ 29622 w 2114484"/>
                <a:gd name="connsiteY2" fmla="*/ 59523 h 571591"/>
                <a:gd name="connsiteX3" fmla="*/ 21763 w 2114484"/>
                <a:gd name="connsiteY3" fmla="*/ 22855 h 571591"/>
                <a:gd name="connsiteX4" fmla="*/ 32864 w 2114484"/>
                <a:gd name="connsiteY4" fmla="*/ 16583 h 571591"/>
                <a:gd name="connsiteX5" fmla="*/ 39202 w 2114484"/>
                <a:gd name="connsiteY5" fmla="*/ 7416 h 571591"/>
                <a:gd name="connsiteX6" fmla="*/ 14666 w 2114484"/>
                <a:gd name="connsiteY6" fmla="*/ -3474 h 571591"/>
                <a:gd name="connsiteX7" fmla="*/ 5704 w 2114484"/>
                <a:gd name="connsiteY7" fmla="*/ 27887 h 571591"/>
                <a:gd name="connsiteX8" fmla="*/ 6740 w 2114484"/>
                <a:gd name="connsiteY8" fmla="*/ 78615 h 571591"/>
                <a:gd name="connsiteX9" fmla="*/ 2109491 w 2114484"/>
                <a:gd name="connsiteY9" fmla="*/ 568118 h 571591"/>
                <a:gd name="connsiteX10" fmla="*/ 2109491 w 2114484"/>
                <a:gd name="connsiteY10" fmla="*/ 568118 h 571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14484" h="571591">
                  <a:moveTo>
                    <a:pt x="6740" y="78615"/>
                  </a:moveTo>
                  <a:cubicBezTo>
                    <a:pt x="15423" y="70965"/>
                    <a:pt x="12113" y="57731"/>
                    <a:pt x="14666" y="47393"/>
                  </a:cubicBezTo>
                  <a:cubicBezTo>
                    <a:pt x="18387" y="50425"/>
                    <a:pt x="25898" y="56491"/>
                    <a:pt x="29622" y="59523"/>
                  </a:cubicBezTo>
                  <a:cubicBezTo>
                    <a:pt x="27070" y="47393"/>
                    <a:pt x="24523" y="35055"/>
                    <a:pt x="21763" y="22855"/>
                  </a:cubicBezTo>
                  <a:cubicBezTo>
                    <a:pt x="24523" y="21270"/>
                    <a:pt x="30034" y="18169"/>
                    <a:pt x="32864" y="16583"/>
                  </a:cubicBezTo>
                  <a:cubicBezTo>
                    <a:pt x="34447" y="14309"/>
                    <a:pt x="37618" y="9691"/>
                    <a:pt x="39202" y="7416"/>
                  </a:cubicBezTo>
                  <a:cubicBezTo>
                    <a:pt x="31001" y="3832"/>
                    <a:pt x="22867" y="179"/>
                    <a:pt x="14666" y="-3474"/>
                  </a:cubicBezTo>
                  <a:cubicBezTo>
                    <a:pt x="12113" y="7141"/>
                    <a:pt x="9357" y="17686"/>
                    <a:pt x="5704" y="27887"/>
                  </a:cubicBezTo>
                  <a:cubicBezTo>
                    <a:pt x="1223" y="43602"/>
                    <a:pt x="-9530" y="67794"/>
                    <a:pt x="6740" y="78615"/>
                  </a:cubicBezTo>
                  <a:close/>
                  <a:moveTo>
                    <a:pt x="2109491" y="568118"/>
                  </a:moveTo>
                  <a:cubicBezTo>
                    <a:pt x="2113558" y="564396"/>
                    <a:pt x="2113558" y="564396"/>
                    <a:pt x="2109491" y="568118"/>
                  </a:cubicBezTo>
                </a:path>
              </a:pathLst>
            </a:custGeom>
            <a:grpFill/>
            <a:ln w="689" cap="flat">
              <a:noFill/>
              <a:prstDash val="solid"/>
              <a:miter/>
            </a:ln>
          </p:spPr>
          <p:txBody>
            <a:bodyPr rtlCol="0" anchor="ctr"/>
            <a:lstStyle/>
            <a:p>
              <a:endParaRPr lang="en-US" sz="2400" dirty="0"/>
            </a:p>
          </p:txBody>
        </p:sp>
        <p:sp>
          <p:nvSpPr>
            <p:cNvPr id="324" name="Graphic 8">
              <a:extLst>
                <a:ext uri="{FF2B5EF4-FFF2-40B4-BE49-F238E27FC236}">
                  <a16:creationId xmlns:a16="http://schemas.microsoft.com/office/drawing/2014/main" id="{131B0D9D-E445-431C-B04D-867388687BDF}"/>
                </a:ext>
              </a:extLst>
            </p:cNvPr>
            <p:cNvSpPr/>
            <p:nvPr/>
          </p:nvSpPr>
          <p:spPr>
            <a:xfrm flipV="1">
              <a:off x="2787766" y="2137395"/>
              <a:ext cx="14055" cy="14073"/>
            </a:xfrm>
            <a:custGeom>
              <a:avLst/>
              <a:gdLst>
                <a:gd name="connsiteX0" fmla="*/ -2141 w 14055"/>
                <a:gd name="connsiteY0" fmla="*/ 8666 h 14073"/>
                <a:gd name="connsiteX1" fmla="*/ 9438 w 14055"/>
                <a:gd name="connsiteY1" fmla="*/ -2499 h 14073"/>
                <a:gd name="connsiteX2" fmla="*/ -2141 w 14055"/>
                <a:gd name="connsiteY2" fmla="*/ 8666 h 14073"/>
                <a:gd name="connsiteX3" fmla="*/ -2141 w 14055"/>
                <a:gd name="connsiteY3" fmla="*/ 8666 h 14073"/>
              </a:gdLst>
              <a:ahLst/>
              <a:cxnLst>
                <a:cxn ang="0">
                  <a:pos x="connsiteX0" y="connsiteY0"/>
                </a:cxn>
                <a:cxn ang="0">
                  <a:pos x="connsiteX1" y="connsiteY1"/>
                </a:cxn>
                <a:cxn ang="0">
                  <a:pos x="connsiteX2" y="connsiteY2"/>
                </a:cxn>
                <a:cxn ang="0">
                  <a:pos x="connsiteX3" y="connsiteY3"/>
                </a:cxn>
              </a:cxnLst>
              <a:rect l="l" t="t" r="r" b="b"/>
              <a:pathLst>
                <a:path w="14055" h="14073">
                  <a:moveTo>
                    <a:pt x="-2141" y="8666"/>
                  </a:moveTo>
                  <a:cubicBezTo>
                    <a:pt x="9025" y="12526"/>
                    <a:pt x="12885" y="8804"/>
                    <a:pt x="9438" y="-2499"/>
                  </a:cubicBezTo>
                  <a:cubicBezTo>
                    <a:pt x="-1796" y="-6290"/>
                    <a:pt x="-5656" y="-2568"/>
                    <a:pt x="-2141" y="8666"/>
                  </a:cubicBezTo>
                  <a:lnTo>
                    <a:pt x="-2141" y="8666"/>
                  </a:lnTo>
                </a:path>
              </a:pathLst>
            </a:custGeom>
            <a:grpFill/>
            <a:ln w="689" cap="flat">
              <a:noFill/>
              <a:prstDash val="solid"/>
              <a:miter/>
            </a:ln>
          </p:spPr>
          <p:txBody>
            <a:bodyPr rtlCol="0" anchor="ctr"/>
            <a:lstStyle/>
            <a:p>
              <a:endParaRPr lang="en-US" sz="2400" dirty="0"/>
            </a:p>
          </p:txBody>
        </p:sp>
        <p:sp>
          <p:nvSpPr>
            <p:cNvPr id="325" name="Graphic 8">
              <a:extLst>
                <a:ext uri="{FF2B5EF4-FFF2-40B4-BE49-F238E27FC236}">
                  <a16:creationId xmlns:a16="http://schemas.microsoft.com/office/drawing/2014/main" id="{DDAF0122-9A6D-4E89-BC0D-A9D0E8523598}"/>
                </a:ext>
              </a:extLst>
            </p:cNvPr>
            <p:cNvSpPr/>
            <p:nvPr/>
          </p:nvSpPr>
          <p:spPr>
            <a:xfrm flipV="1">
              <a:off x="436213" y="2142246"/>
              <a:ext cx="31153" cy="43629"/>
            </a:xfrm>
            <a:custGeom>
              <a:avLst/>
              <a:gdLst>
                <a:gd name="connsiteX0" fmla="*/ 25118 w 31153"/>
                <a:gd name="connsiteY0" fmla="*/ 39728 h 43629"/>
                <a:gd name="connsiteX1" fmla="*/ 30702 w 31153"/>
                <a:gd name="connsiteY1" fmla="*/ -3902 h 43629"/>
                <a:gd name="connsiteX2" fmla="*/ 720 w 31153"/>
                <a:gd name="connsiteY2" fmla="*/ -869 h 43629"/>
                <a:gd name="connsiteX3" fmla="*/ -451 w 31153"/>
                <a:gd name="connsiteY3" fmla="*/ 15328 h 43629"/>
                <a:gd name="connsiteX4" fmla="*/ 25118 w 31153"/>
                <a:gd name="connsiteY4" fmla="*/ 39728 h 43629"/>
                <a:gd name="connsiteX5" fmla="*/ 25118 w 31153"/>
                <a:gd name="connsiteY5" fmla="*/ 39728 h 43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53" h="43629">
                  <a:moveTo>
                    <a:pt x="25118" y="39728"/>
                  </a:moveTo>
                  <a:cubicBezTo>
                    <a:pt x="32840" y="26632"/>
                    <a:pt x="28842" y="10573"/>
                    <a:pt x="30702" y="-3902"/>
                  </a:cubicBezTo>
                  <a:cubicBezTo>
                    <a:pt x="20708" y="-2799"/>
                    <a:pt x="10716" y="-1765"/>
                    <a:pt x="720" y="-869"/>
                  </a:cubicBezTo>
                  <a:cubicBezTo>
                    <a:pt x="378" y="3128"/>
                    <a:pt x="-177" y="11262"/>
                    <a:pt x="-451" y="15328"/>
                  </a:cubicBezTo>
                  <a:cubicBezTo>
                    <a:pt x="9545" y="21876"/>
                    <a:pt x="21187" y="27459"/>
                    <a:pt x="25118" y="39728"/>
                  </a:cubicBezTo>
                  <a:lnTo>
                    <a:pt x="25118" y="39728"/>
                  </a:lnTo>
                </a:path>
              </a:pathLst>
            </a:custGeom>
            <a:grpFill/>
            <a:ln w="689" cap="flat">
              <a:noFill/>
              <a:prstDash val="solid"/>
              <a:miter/>
            </a:ln>
          </p:spPr>
          <p:txBody>
            <a:bodyPr rtlCol="0" anchor="ctr"/>
            <a:lstStyle/>
            <a:p>
              <a:endParaRPr lang="en-US" sz="2400" dirty="0"/>
            </a:p>
          </p:txBody>
        </p:sp>
        <p:sp>
          <p:nvSpPr>
            <p:cNvPr id="326" name="Graphic 8">
              <a:extLst>
                <a:ext uri="{FF2B5EF4-FFF2-40B4-BE49-F238E27FC236}">
                  <a16:creationId xmlns:a16="http://schemas.microsoft.com/office/drawing/2014/main" id="{098ACC7C-C2A1-4183-B21F-49E7A136F9E9}"/>
                </a:ext>
              </a:extLst>
            </p:cNvPr>
            <p:cNvSpPr/>
            <p:nvPr/>
          </p:nvSpPr>
          <p:spPr>
            <a:xfrm flipV="1">
              <a:off x="756642" y="2158581"/>
              <a:ext cx="44250" cy="68855"/>
            </a:xfrm>
            <a:custGeom>
              <a:avLst/>
              <a:gdLst>
                <a:gd name="connsiteX0" fmla="*/ -863 w 44250"/>
                <a:gd name="connsiteY0" fmla="*/ 65002 h 68855"/>
                <a:gd name="connsiteX1" fmla="*/ 12578 w 44250"/>
                <a:gd name="connsiteY1" fmla="*/ 62521 h 68855"/>
                <a:gd name="connsiteX2" fmla="*/ 11959 w 44250"/>
                <a:gd name="connsiteY2" fmla="*/ 50459 h 68855"/>
                <a:gd name="connsiteX3" fmla="*/ 36357 w 44250"/>
                <a:gd name="connsiteY3" fmla="*/ 59488 h 68855"/>
                <a:gd name="connsiteX4" fmla="*/ 43388 w 44250"/>
                <a:gd name="connsiteY4" fmla="*/ 4210 h 68855"/>
                <a:gd name="connsiteX5" fmla="*/ 34979 w 44250"/>
                <a:gd name="connsiteY5" fmla="*/ 30471 h 68855"/>
                <a:gd name="connsiteX6" fmla="*/ 19265 w 44250"/>
                <a:gd name="connsiteY6" fmla="*/ -3854 h 68855"/>
                <a:gd name="connsiteX7" fmla="*/ -863 w 44250"/>
                <a:gd name="connsiteY7" fmla="*/ 65002 h 68855"/>
                <a:gd name="connsiteX8" fmla="*/ -863 w 44250"/>
                <a:gd name="connsiteY8" fmla="*/ 65002 h 68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250" h="68855">
                  <a:moveTo>
                    <a:pt x="-863" y="65002"/>
                  </a:moveTo>
                  <a:cubicBezTo>
                    <a:pt x="2517" y="64381"/>
                    <a:pt x="9205" y="63141"/>
                    <a:pt x="12578" y="62521"/>
                  </a:cubicBezTo>
                  <a:lnTo>
                    <a:pt x="11959" y="50459"/>
                  </a:lnTo>
                  <a:cubicBezTo>
                    <a:pt x="16576" y="51424"/>
                    <a:pt x="32291" y="73962"/>
                    <a:pt x="36357" y="59488"/>
                  </a:cubicBezTo>
                  <a:cubicBezTo>
                    <a:pt x="45318" y="42532"/>
                    <a:pt x="42354" y="22751"/>
                    <a:pt x="43388" y="4210"/>
                  </a:cubicBezTo>
                  <a:cubicBezTo>
                    <a:pt x="41182" y="13170"/>
                    <a:pt x="38494" y="21993"/>
                    <a:pt x="34979" y="30471"/>
                  </a:cubicBezTo>
                  <a:cubicBezTo>
                    <a:pt x="31602" y="18271"/>
                    <a:pt x="29741" y="4693"/>
                    <a:pt x="19265" y="-3854"/>
                  </a:cubicBezTo>
                  <a:cubicBezTo>
                    <a:pt x="14853" y="18960"/>
                    <a:pt x="20846" y="49976"/>
                    <a:pt x="-863" y="65002"/>
                  </a:cubicBezTo>
                  <a:lnTo>
                    <a:pt x="-863" y="65002"/>
                  </a:lnTo>
                </a:path>
              </a:pathLst>
            </a:custGeom>
            <a:grpFill/>
            <a:ln w="689" cap="flat">
              <a:noFill/>
              <a:prstDash val="solid"/>
              <a:miter/>
            </a:ln>
          </p:spPr>
          <p:txBody>
            <a:bodyPr rtlCol="0" anchor="ctr"/>
            <a:lstStyle/>
            <a:p>
              <a:endParaRPr lang="en-US" sz="2400" dirty="0"/>
            </a:p>
          </p:txBody>
        </p:sp>
        <p:sp>
          <p:nvSpPr>
            <p:cNvPr id="327" name="Graphic 8">
              <a:extLst>
                <a:ext uri="{FF2B5EF4-FFF2-40B4-BE49-F238E27FC236}">
                  <a16:creationId xmlns:a16="http://schemas.microsoft.com/office/drawing/2014/main" id="{91B53410-D15E-4CBF-80C7-F8C843D800F2}"/>
                </a:ext>
              </a:extLst>
            </p:cNvPr>
            <p:cNvSpPr/>
            <p:nvPr/>
          </p:nvSpPr>
          <p:spPr>
            <a:xfrm flipV="1">
              <a:off x="8768924" y="2173469"/>
              <a:ext cx="10310" cy="9580"/>
            </a:xfrm>
            <a:custGeom>
              <a:avLst/>
              <a:gdLst>
                <a:gd name="connsiteX0" fmla="*/ -8435 w 10310"/>
                <a:gd name="connsiteY0" fmla="*/ 5702 h 9580"/>
                <a:gd name="connsiteX1" fmla="*/ -8435 w 10310"/>
                <a:gd name="connsiteY1" fmla="*/ 5702 h 9580"/>
                <a:gd name="connsiteX2" fmla="*/ -8435 w 10310"/>
                <a:gd name="connsiteY2" fmla="*/ 5702 h 9580"/>
              </a:gdLst>
              <a:ahLst/>
              <a:cxnLst>
                <a:cxn ang="0">
                  <a:pos x="connsiteX0" y="connsiteY0"/>
                </a:cxn>
                <a:cxn ang="0">
                  <a:pos x="connsiteX1" y="connsiteY1"/>
                </a:cxn>
                <a:cxn ang="0">
                  <a:pos x="connsiteX2" y="connsiteY2"/>
                </a:cxn>
              </a:cxnLst>
              <a:rect l="l" t="t" r="r" b="b"/>
              <a:pathLst>
                <a:path w="10310" h="9580">
                  <a:moveTo>
                    <a:pt x="-8435" y="5702"/>
                  </a:moveTo>
                  <a:cubicBezTo>
                    <a:pt x="13965" y="3359"/>
                    <a:pt x="-20015" y="-14631"/>
                    <a:pt x="-8435" y="5702"/>
                  </a:cubicBezTo>
                  <a:lnTo>
                    <a:pt x="-8435" y="5702"/>
                  </a:lnTo>
                </a:path>
              </a:pathLst>
            </a:custGeom>
            <a:grpFill/>
            <a:ln w="689" cap="flat">
              <a:noFill/>
              <a:prstDash val="solid"/>
              <a:miter/>
            </a:ln>
          </p:spPr>
          <p:txBody>
            <a:bodyPr rtlCol="0" anchor="ctr"/>
            <a:lstStyle/>
            <a:p>
              <a:endParaRPr lang="en-US" sz="2400" dirty="0"/>
            </a:p>
          </p:txBody>
        </p:sp>
        <p:sp>
          <p:nvSpPr>
            <p:cNvPr id="328" name="Graphic 8">
              <a:extLst>
                <a:ext uri="{FF2B5EF4-FFF2-40B4-BE49-F238E27FC236}">
                  <a16:creationId xmlns:a16="http://schemas.microsoft.com/office/drawing/2014/main" id="{686BAE1C-AEB4-49E6-9141-2E2393CC70A9}"/>
                </a:ext>
              </a:extLst>
            </p:cNvPr>
            <p:cNvSpPr/>
            <p:nvPr/>
          </p:nvSpPr>
          <p:spPr>
            <a:xfrm flipV="1">
              <a:off x="866784" y="2193388"/>
              <a:ext cx="7548693" cy="1423576"/>
            </a:xfrm>
            <a:custGeom>
              <a:avLst/>
              <a:gdLst>
                <a:gd name="connsiteX0" fmla="*/ 2308632 w 7548693"/>
                <a:gd name="connsiteY0" fmla="*/ 6836 h 1423576"/>
                <a:gd name="connsiteX1" fmla="*/ 2308632 w 7548693"/>
                <a:gd name="connsiteY1" fmla="*/ 6836 h 1423576"/>
                <a:gd name="connsiteX2" fmla="*/ 5933516 w 7548693"/>
                <a:gd name="connsiteY2" fmla="*/ 262959 h 1423576"/>
                <a:gd name="connsiteX3" fmla="*/ 5933516 w 7548693"/>
                <a:gd name="connsiteY3" fmla="*/ 262959 h 1423576"/>
                <a:gd name="connsiteX4" fmla="*/ -5719 w 7548693"/>
                <a:gd name="connsiteY4" fmla="*/ 400326 h 1423576"/>
                <a:gd name="connsiteX5" fmla="*/ -5719 w 7548693"/>
                <a:gd name="connsiteY5" fmla="*/ 400326 h 1423576"/>
                <a:gd name="connsiteX6" fmla="*/ 7493487 w 7548693"/>
                <a:gd name="connsiteY6" fmla="*/ 800778 h 1423576"/>
                <a:gd name="connsiteX7" fmla="*/ 7523124 w 7548693"/>
                <a:gd name="connsiteY7" fmla="*/ 782031 h 1423576"/>
                <a:gd name="connsiteX8" fmla="*/ 7542974 w 7548693"/>
                <a:gd name="connsiteY8" fmla="*/ 785615 h 1423576"/>
                <a:gd name="connsiteX9" fmla="*/ 7520161 w 7548693"/>
                <a:gd name="connsiteY9" fmla="*/ 770727 h 1423576"/>
                <a:gd name="connsiteX10" fmla="*/ 7515474 w 7548693"/>
                <a:gd name="connsiteY10" fmla="*/ 768935 h 1423576"/>
                <a:gd name="connsiteX11" fmla="*/ 7515612 w 7548693"/>
                <a:gd name="connsiteY11" fmla="*/ 757080 h 1423576"/>
                <a:gd name="connsiteX12" fmla="*/ 7493211 w 7548693"/>
                <a:gd name="connsiteY12" fmla="*/ 754392 h 1423576"/>
                <a:gd name="connsiteX13" fmla="*/ 7493487 w 7548693"/>
                <a:gd name="connsiteY13" fmla="*/ 800778 h 1423576"/>
                <a:gd name="connsiteX14" fmla="*/ 4549992 w 7548693"/>
                <a:gd name="connsiteY14" fmla="*/ 996593 h 1423576"/>
                <a:gd name="connsiteX15" fmla="*/ 4546063 w 7548693"/>
                <a:gd name="connsiteY15" fmla="*/ 959167 h 1423576"/>
                <a:gd name="connsiteX16" fmla="*/ 4549992 w 7548693"/>
                <a:gd name="connsiteY16" fmla="*/ 996593 h 1423576"/>
                <a:gd name="connsiteX17" fmla="*/ 3487243 w 7548693"/>
                <a:gd name="connsiteY17" fmla="*/ 1172144 h 1423576"/>
                <a:gd name="connsiteX18" fmla="*/ 3492275 w 7548693"/>
                <a:gd name="connsiteY18" fmla="*/ 1156429 h 1423576"/>
                <a:gd name="connsiteX19" fmla="*/ 3487243 w 7548693"/>
                <a:gd name="connsiteY19" fmla="*/ 1172144 h 1423576"/>
                <a:gd name="connsiteX20" fmla="*/ 6769365 w 7548693"/>
                <a:gd name="connsiteY20" fmla="*/ 1364857 h 1423576"/>
                <a:gd name="connsiteX21" fmla="*/ 6769365 w 7548693"/>
                <a:gd name="connsiteY21" fmla="*/ 1364857 h 1423576"/>
                <a:gd name="connsiteX22" fmla="*/ 896573 w 7548693"/>
                <a:gd name="connsiteY22" fmla="*/ 1420893 h 1423576"/>
                <a:gd name="connsiteX23" fmla="*/ 896573 w 7548693"/>
                <a:gd name="connsiteY23" fmla="*/ 1420893 h 1423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548693" h="1423576">
                  <a:moveTo>
                    <a:pt x="2308632" y="6836"/>
                  </a:moveTo>
                  <a:cubicBezTo>
                    <a:pt x="2331308" y="5526"/>
                    <a:pt x="2297948" y="-13911"/>
                    <a:pt x="2308632" y="6836"/>
                  </a:cubicBezTo>
                  <a:close/>
                  <a:moveTo>
                    <a:pt x="5933516" y="262959"/>
                  </a:moveTo>
                  <a:cubicBezTo>
                    <a:pt x="5956123" y="261788"/>
                    <a:pt x="5922694" y="242282"/>
                    <a:pt x="5933516" y="262959"/>
                  </a:cubicBezTo>
                  <a:moveTo>
                    <a:pt x="-5719" y="400326"/>
                  </a:moveTo>
                  <a:cubicBezTo>
                    <a:pt x="-2204" y="396604"/>
                    <a:pt x="-2204" y="396604"/>
                    <a:pt x="-5719" y="400326"/>
                  </a:cubicBezTo>
                  <a:moveTo>
                    <a:pt x="7493487" y="800778"/>
                  </a:moveTo>
                  <a:cubicBezTo>
                    <a:pt x="7508512" y="813529"/>
                    <a:pt x="7516990" y="792852"/>
                    <a:pt x="7523124" y="782031"/>
                  </a:cubicBezTo>
                  <a:cubicBezTo>
                    <a:pt x="7529603" y="783340"/>
                    <a:pt x="7536220" y="784512"/>
                    <a:pt x="7542974" y="785615"/>
                  </a:cubicBezTo>
                  <a:cubicBezTo>
                    <a:pt x="7537254" y="777895"/>
                    <a:pt x="7528776" y="773898"/>
                    <a:pt x="7520161" y="770727"/>
                  </a:cubicBezTo>
                  <a:lnTo>
                    <a:pt x="7515474" y="768935"/>
                  </a:lnTo>
                  <a:cubicBezTo>
                    <a:pt x="7515542" y="765971"/>
                    <a:pt x="7515542" y="760044"/>
                    <a:pt x="7515612" y="757080"/>
                  </a:cubicBezTo>
                  <a:cubicBezTo>
                    <a:pt x="7510029" y="756391"/>
                    <a:pt x="7498863" y="755081"/>
                    <a:pt x="7493211" y="754392"/>
                  </a:cubicBezTo>
                  <a:cubicBezTo>
                    <a:pt x="7494934" y="769900"/>
                    <a:pt x="7493763" y="785339"/>
                    <a:pt x="7493487" y="800778"/>
                  </a:cubicBezTo>
                  <a:moveTo>
                    <a:pt x="4549992" y="996593"/>
                  </a:moveTo>
                  <a:cubicBezTo>
                    <a:pt x="4558470" y="984600"/>
                    <a:pt x="4572944" y="956479"/>
                    <a:pt x="4546063" y="959167"/>
                  </a:cubicBezTo>
                  <a:cubicBezTo>
                    <a:pt x="4547166" y="971711"/>
                    <a:pt x="4548406" y="984187"/>
                    <a:pt x="4549992" y="996593"/>
                  </a:cubicBezTo>
                  <a:moveTo>
                    <a:pt x="3487243" y="1172144"/>
                  </a:moveTo>
                  <a:cubicBezTo>
                    <a:pt x="3496134" y="1170559"/>
                    <a:pt x="3497788" y="1165321"/>
                    <a:pt x="3492275" y="1156429"/>
                  </a:cubicBezTo>
                  <a:cubicBezTo>
                    <a:pt x="3483314" y="1158152"/>
                    <a:pt x="3481660" y="1163391"/>
                    <a:pt x="3487243" y="1172144"/>
                  </a:cubicBezTo>
                  <a:moveTo>
                    <a:pt x="6769365" y="1364857"/>
                  </a:moveTo>
                  <a:cubicBezTo>
                    <a:pt x="6772949" y="1361342"/>
                    <a:pt x="6772949" y="1361342"/>
                    <a:pt x="6769365" y="1364857"/>
                  </a:cubicBezTo>
                  <a:moveTo>
                    <a:pt x="896573" y="1420893"/>
                  </a:moveTo>
                  <a:cubicBezTo>
                    <a:pt x="900157" y="1417309"/>
                    <a:pt x="900157" y="1417309"/>
                    <a:pt x="896573" y="1420893"/>
                  </a:cubicBezTo>
                </a:path>
              </a:pathLst>
            </a:custGeom>
            <a:grpFill/>
            <a:ln w="689" cap="flat">
              <a:noFill/>
              <a:prstDash val="solid"/>
              <a:miter/>
            </a:ln>
          </p:spPr>
          <p:txBody>
            <a:bodyPr rtlCol="0" anchor="ctr"/>
            <a:lstStyle/>
            <a:p>
              <a:endParaRPr lang="en-US" sz="2400" dirty="0"/>
            </a:p>
          </p:txBody>
        </p:sp>
        <p:sp>
          <p:nvSpPr>
            <p:cNvPr id="329" name="Graphic 8">
              <a:extLst>
                <a:ext uri="{FF2B5EF4-FFF2-40B4-BE49-F238E27FC236}">
                  <a16:creationId xmlns:a16="http://schemas.microsoft.com/office/drawing/2014/main" id="{83366DEC-569F-4287-9E03-98FE5CA45134}"/>
                </a:ext>
              </a:extLst>
            </p:cNvPr>
            <p:cNvSpPr/>
            <p:nvPr/>
          </p:nvSpPr>
          <p:spPr>
            <a:xfrm flipV="1">
              <a:off x="1304068" y="2200763"/>
              <a:ext cx="1526497" cy="1428616"/>
            </a:xfrm>
            <a:custGeom>
              <a:avLst/>
              <a:gdLst>
                <a:gd name="connsiteX0" fmla="*/ 1515762 w 1526497"/>
                <a:gd name="connsiteY0" fmla="*/ 6723 h 1428616"/>
                <a:gd name="connsiteX1" fmla="*/ 1515762 w 1526497"/>
                <a:gd name="connsiteY1" fmla="*/ 6723 h 1428616"/>
                <a:gd name="connsiteX2" fmla="*/ -511 w 1526497"/>
                <a:gd name="connsiteY2" fmla="*/ 1425950 h 1428616"/>
                <a:gd name="connsiteX3" fmla="*/ -511 w 1526497"/>
                <a:gd name="connsiteY3" fmla="*/ 1425950 h 1428616"/>
              </a:gdLst>
              <a:ahLst/>
              <a:cxnLst>
                <a:cxn ang="0">
                  <a:pos x="connsiteX0" y="connsiteY0"/>
                </a:cxn>
                <a:cxn ang="0">
                  <a:pos x="connsiteX1" y="connsiteY1"/>
                </a:cxn>
                <a:cxn ang="0">
                  <a:pos x="connsiteX2" y="connsiteY2"/>
                </a:cxn>
                <a:cxn ang="0">
                  <a:pos x="connsiteX3" y="connsiteY3"/>
                </a:cxn>
              </a:cxnLst>
              <a:rect l="l" t="t" r="r" b="b"/>
              <a:pathLst>
                <a:path w="1526497" h="1428616">
                  <a:moveTo>
                    <a:pt x="1515762" y="6723"/>
                  </a:moveTo>
                  <a:cubicBezTo>
                    <a:pt x="1538576" y="6378"/>
                    <a:pt x="1505768" y="-14230"/>
                    <a:pt x="1515762" y="6723"/>
                  </a:cubicBezTo>
                  <a:close/>
                  <a:moveTo>
                    <a:pt x="-511" y="1425950"/>
                  </a:moveTo>
                  <a:cubicBezTo>
                    <a:pt x="22303" y="1425674"/>
                    <a:pt x="-10574" y="1404928"/>
                    <a:pt x="-511" y="1425950"/>
                  </a:cubicBezTo>
                </a:path>
              </a:pathLst>
            </a:custGeom>
            <a:grpFill/>
            <a:ln w="689" cap="flat">
              <a:noFill/>
              <a:prstDash val="solid"/>
              <a:miter/>
            </a:ln>
          </p:spPr>
          <p:txBody>
            <a:bodyPr rtlCol="0" anchor="ctr"/>
            <a:lstStyle/>
            <a:p>
              <a:endParaRPr lang="en-US" sz="2400" dirty="0"/>
            </a:p>
          </p:txBody>
        </p:sp>
        <p:sp>
          <p:nvSpPr>
            <p:cNvPr id="330" name="Graphic 8">
              <a:extLst>
                <a:ext uri="{FF2B5EF4-FFF2-40B4-BE49-F238E27FC236}">
                  <a16:creationId xmlns:a16="http://schemas.microsoft.com/office/drawing/2014/main" id="{ACD3FAED-973E-42A9-8210-119C91E468AA}"/>
                </a:ext>
              </a:extLst>
            </p:cNvPr>
            <p:cNvSpPr/>
            <p:nvPr/>
          </p:nvSpPr>
          <p:spPr>
            <a:xfrm flipV="1">
              <a:off x="5202212" y="2200556"/>
              <a:ext cx="2739" cy="2843"/>
            </a:xfrm>
            <a:custGeom>
              <a:avLst/>
              <a:gdLst>
                <a:gd name="connsiteX0" fmla="*/ -6426 w 2739"/>
                <a:gd name="connsiteY0" fmla="*/ -996 h 2843"/>
                <a:gd name="connsiteX1" fmla="*/ -6426 w 2739"/>
                <a:gd name="connsiteY1" fmla="*/ -996 h 2843"/>
                <a:gd name="connsiteX2" fmla="*/ -6426 w 2739"/>
                <a:gd name="connsiteY2" fmla="*/ -996 h 2843"/>
              </a:gdLst>
              <a:ahLst/>
              <a:cxnLst>
                <a:cxn ang="0">
                  <a:pos x="connsiteX0" y="connsiteY0"/>
                </a:cxn>
                <a:cxn ang="0">
                  <a:pos x="connsiteX1" y="connsiteY1"/>
                </a:cxn>
                <a:cxn ang="0">
                  <a:pos x="connsiteX2" y="connsiteY2"/>
                </a:cxn>
              </a:cxnLst>
              <a:rect l="l" t="t" r="r" b="b"/>
              <a:pathLst>
                <a:path w="2739" h="2843">
                  <a:moveTo>
                    <a:pt x="-6426" y="-996"/>
                  </a:moveTo>
                  <a:cubicBezTo>
                    <a:pt x="-2774" y="-4787"/>
                    <a:pt x="-2774" y="-4787"/>
                    <a:pt x="-6426" y="-996"/>
                  </a:cubicBezTo>
                  <a:lnTo>
                    <a:pt x="-6426" y="-996"/>
                  </a:lnTo>
                </a:path>
              </a:pathLst>
            </a:custGeom>
            <a:grpFill/>
            <a:ln w="689" cap="flat">
              <a:noFill/>
              <a:prstDash val="solid"/>
              <a:miter/>
            </a:ln>
          </p:spPr>
          <p:txBody>
            <a:bodyPr rtlCol="0" anchor="ctr"/>
            <a:lstStyle/>
            <a:p>
              <a:endParaRPr lang="en-US" sz="2400" dirty="0"/>
            </a:p>
          </p:txBody>
        </p:sp>
        <p:sp>
          <p:nvSpPr>
            <p:cNvPr id="331" name="Graphic 8">
              <a:extLst>
                <a:ext uri="{FF2B5EF4-FFF2-40B4-BE49-F238E27FC236}">
                  <a16:creationId xmlns:a16="http://schemas.microsoft.com/office/drawing/2014/main" id="{9FC7BF18-AF0D-4CE7-AA1B-92FFA4086DCC}"/>
                </a:ext>
              </a:extLst>
            </p:cNvPr>
            <p:cNvSpPr/>
            <p:nvPr/>
          </p:nvSpPr>
          <p:spPr>
            <a:xfrm flipV="1">
              <a:off x="480599" y="2205450"/>
              <a:ext cx="338130" cy="943505"/>
            </a:xfrm>
            <a:custGeom>
              <a:avLst/>
              <a:gdLst>
                <a:gd name="connsiteX0" fmla="*/ 330001 w 338130"/>
                <a:gd name="connsiteY0" fmla="*/ 14376 h 943505"/>
                <a:gd name="connsiteX1" fmla="*/ 329656 w 338130"/>
                <a:gd name="connsiteY1" fmla="*/ -2786 h 943505"/>
                <a:gd name="connsiteX2" fmla="*/ 330001 w 338130"/>
                <a:gd name="connsiteY2" fmla="*/ 14376 h 943505"/>
                <a:gd name="connsiteX3" fmla="*/ -700 w 338130"/>
                <a:gd name="connsiteY3" fmla="*/ 940447 h 943505"/>
                <a:gd name="connsiteX4" fmla="*/ -700 w 338130"/>
                <a:gd name="connsiteY4" fmla="*/ 940447 h 943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130" h="943505">
                  <a:moveTo>
                    <a:pt x="330001" y="14376"/>
                  </a:moveTo>
                  <a:cubicBezTo>
                    <a:pt x="340202" y="17615"/>
                    <a:pt x="339719" y="-5819"/>
                    <a:pt x="329656" y="-2786"/>
                  </a:cubicBezTo>
                  <a:cubicBezTo>
                    <a:pt x="329725" y="1487"/>
                    <a:pt x="329932" y="10103"/>
                    <a:pt x="330001" y="14376"/>
                  </a:cubicBezTo>
                  <a:close/>
                  <a:moveTo>
                    <a:pt x="-700" y="940447"/>
                  </a:moveTo>
                  <a:cubicBezTo>
                    <a:pt x="3713" y="936588"/>
                    <a:pt x="3713" y="936588"/>
                    <a:pt x="-700" y="940447"/>
                  </a:cubicBezTo>
                </a:path>
              </a:pathLst>
            </a:custGeom>
            <a:grpFill/>
            <a:ln w="689" cap="flat">
              <a:noFill/>
              <a:prstDash val="solid"/>
              <a:miter/>
            </a:ln>
          </p:spPr>
          <p:txBody>
            <a:bodyPr rtlCol="0" anchor="ctr"/>
            <a:lstStyle/>
            <a:p>
              <a:endParaRPr lang="en-US" sz="2400" dirty="0"/>
            </a:p>
          </p:txBody>
        </p:sp>
        <p:sp>
          <p:nvSpPr>
            <p:cNvPr id="332" name="Graphic 8">
              <a:extLst>
                <a:ext uri="{FF2B5EF4-FFF2-40B4-BE49-F238E27FC236}">
                  <a16:creationId xmlns:a16="http://schemas.microsoft.com/office/drawing/2014/main" id="{0846CA62-56C9-4637-9A7C-3649119A54C5}"/>
                </a:ext>
              </a:extLst>
            </p:cNvPr>
            <p:cNvSpPr/>
            <p:nvPr/>
          </p:nvSpPr>
          <p:spPr>
            <a:xfrm flipV="1">
              <a:off x="611076" y="2214134"/>
              <a:ext cx="1788108" cy="858318"/>
            </a:xfrm>
            <a:custGeom>
              <a:avLst/>
              <a:gdLst>
                <a:gd name="connsiteX0" fmla="*/ 254069 w 1788108"/>
                <a:gd name="connsiteY0" fmla="*/ 22320 h 858318"/>
                <a:gd name="connsiteX1" fmla="*/ 261307 w 1788108"/>
                <a:gd name="connsiteY1" fmla="*/ -3114 h 858318"/>
                <a:gd name="connsiteX2" fmla="*/ 254069 w 1788108"/>
                <a:gd name="connsiteY2" fmla="*/ 22320 h 858318"/>
                <a:gd name="connsiteX3" fmla="*/ -1776 w 1788108"/>
                <a:gd name="connsiteY3" fmla="*/ 181880 h 858318"/>
                <a:gd name="connsiteX4" fmla="*/ 28478 w 1788108"/>
                <a:gd name="connsiteY4" fmla="*/ 181329 h 858318"/>
                <a:gd name="connsiteX5" fmla="*/ 44608 w 1788108"/>
                <a:gd name="connsiteY5" fmla="*/ 105374 h 858318"/>
                <a:gd name="connsiteX6" fmla="*/ 35441 w 1788108"/>
                <a:gd name="connsiteY6" fmla="*/ 53749 h 858318"/>
                <a:gd name="connsiteX7" fmla="*/ 37716 w 1788108"/>
                <a:gd name="connsiteY7" fmla="*/ 38861 h 858318"/>
                <a:gd name="connsiteX8" fmla="*/ 16623 w 1788108"/>
                <a:gd name="connsiteY8" fmla="*/ 32934 h 858318"/>
                <a:gd name="connsiteX9" fmla="*/ 23308 w 1788108"/>
                <a:gd name="connsiteY9" fmla="*/ 68775 h 858318"/>
                <a:gd name="connsiteX10" fmla="*/ 27585 w 1788108"/>
                <a:gd name="connsiteY10" fmla="*/ 111922 h 858318"/>
                <a:gd name="connsiteX11" fmla="*/ 39024 w 1788108"/>
                <a:gd name="connsiteY11" fmla="*/ 97103 h 858318"/>
                <a:gd name="connsiteX12" fmla="*/ 35026 w 1788108"/>
                <a:gd name="connsiteY12" fmla="*/ 131083 h 858318"/>
                <a:gd name="connsiteX13" fmla="*/ 13732 w 1788108"/>
                <a:gd name="connsiteY13" fmla="*/ 144523 h 858318"/>
                <a:gd name="connsiteX14" fmla="*/ 30963 w 1788108"/>
                <a:gd name="connsiteY14" fmla="*/ 152725 h 858318"/>
                <a:gd name="connsiteX15" fmla="*/ -1776 w 1788108"/>
                <a:gd name="connsiteY15" fmla="*/ 181880 h 858318"/>
                <a:gd name="connsiteX16" fmla="*/ 1783438 w 1788108"/>
                <a:gd name="connsiteY16" fmla="*/ 855205 h 858318"/>
                <a:gd name="connsiteX17" fmla="*/ 1783438 w 1788108"/>
                <a:gd name="connsiteY17" fmla="*/ 855205 h 85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88108" h="858318">
                  <a:moveTo>
                    <a:pt x="254069" y="22320"/>
                  </a:moveTo>
                  <a:cubicBezTo>
                    <a:pt x="266958" y="28178"/>
                    <a:pt x="274264" y="-1804"/>
                    <a:pt x="261307" y="-3114"/>
                  </a:cubicBezTo>
                  <a:cubicBezTo>
                    <a:pt x="255103" y="3021"/>
                    <a:pt x="249934" y="13980"/>
                    <a:pt x="254069" y="22320"/>
                  </a:cubicBezTo>
                  <a:close/>
                  <a:moveTo>
                    <a:pt x="-1776" y="181880"/>
                  </a:moveTo>
                  <a:cubicBezTo>
                    <a:pt x="5800" y="181742"/>
                    <a:pt x="20966" y="181467"/>
                    <a:pt x="28478" y="181329"/>
                  </a:cubicBezTo>
                  <a:cubicBezTo>
                    <a:pt x="43162" y="158997"/>
                    <a:pt x="41434" y="130876"/>
                    <a:pt x="44608" y="105374"/>
                  </a:cubicBezTo>
                  <a:cubicBezTo>
                    <a:pt x="47228" y="86557"/>
                    <a:pt x="24413" y="73531"/>
                    <a:pt x="35441" y="53749"/>
                  </a:cubicBezTo>
                  <a:cubicBezTo>
                    <a:pt x="35993" y="50027"/>
                    <a:pt x="37164" y="42583"/>
                    <a:pt x="37716" y="38861"/>
                  </a:cubicBezTo>
                  <a:cubicBezTo>
                    <a:pt x="32409" y="37345"/>
                    <a:pt x="21863" y="34450"/>
                    <a:pt x="16623" y="32934"/>
                  </a:cubicBezTo>
                  <a:cubicBezTo>
                    <a:pt x="12625" y="45823"/>
                    <a:pt x="10418" y="60021"/>
                    <a:pt x="23308" y="68775"/>
                  </a:cubicBezTo>
                  <a:cubicBezTo>
                    <a:pt x="25169" y="83111"/>
                    <a:pt x="26551" y="97516"/>
                    <a:pt x="27585" y="111922"/>
                  </a:cubicBezTo>
                  <a:cubicBezTo>
                    <a:pt x="30408" y="108200"/>
                    <a:pt x="36133" y="100756"/>
                    <a:pt x="39024" y="97103"/>
                  </a:cubicBezTo>
                  <a:cubicBezTo>
                    <a:pt x="37716" y="108475"/>
                    <a:pt x="36337" y="119779"/>
                    <a:pt x="35026" y="131083"/>
                  </a:cubicBezTo>
                  <a:cubicBezTo>
                    <a:pt x="27926" y="135632"/>
                    <a:pt x="20829" y="140112"/>
                    <a:pt x="13732" y="144523"/>
                  </a:cubicBezTo>
                  <a:cubicBezTo>
                    <a:pt x="18002" y="146591"/>
                    <a:pt x="26618" y="150657"/>
                    <a:pt x="30963" y="152725"/>
                  </a:cubicBezTo>
                  <a:cubicBezTo>
                    <a:pt x="23931" y="165821"/>
                    <a:pt x="8700" y="171955"/>
                    <a:pt x="-1776" y="181880"/>
                  </a:cubicBezTo>
                  <a:moveTo>
                    <a:pt x="1783438" y="855205"/>
                  </a:moveTo>
                  <a:cubicBezTo>
                    <a:pt x="1787298" y="851552"/>
                    <a:pt x="1787298" y="851552"/>
                    <a:pt x="1783438" y="855205"/>
                  </a:cubicBezTo>
                </a:path>
              </a:pathLst>
            </a:custGeom>
            <a:grpFill/>
            <a:ln w="689" cap="flat">
              <a:noFill/>
              <a:prstDash val="solid"/>
              <a:miter/>
            </a:ln>
          </p:spPr>
          <p:txBody>
            <a:bodyPr rtlCol="0" anchor="ctr"/>
            <a:lstStyle/>
            <a:p>
              <a:endParaRPr lang="en-US" sz="2400" dirty="0"/>
            </a:p>
          </p:txBody>
        </p:sp>
        <p:sp>
          <p:nvSpPr>
            <p:cNvPr id="333" name="Graphic 8">
              <a:extLst>
                <a:ext uri="{FF2B5EF4-FFF2-40B4-BE49-F238E27FC236}">
                  <a16:creationId xmlns:a16="http://schemas.microsoft.com/office/drawing/2014/main" id="{23E8E300-47A6-429E-95CE-7FC62545F5B8}"/>
                </a:ext>
              </a:extLst>
            </p:cNvPr>
            <p:cNvSpPr/>
            <p:nvPr/>
          </p:nvSpPr>
          <p:spPr>
            <a:xfrm flipV="1">
              <a:off x="8641343" y="2210964"/>
              <a:ext cx="6203" cy="11096"/>
            </a:xfrm>
            <a:custGeom>
              <a:avLst/>
              <a:gdLst>
                <a:gd name="connsiteX0" fmla="*/ -9926 w 6203"/>
                <a:gd name="connsiteY0" fmla="*/ 7006 h 11096"/>
                <a:gd name="connsiteX1" fmla="*/ -4550 w 6203"/>
                <a:gd name="connsiteY1" fmla="*/ 7282 h 11096"/>
                <a:gd name="connsiteX2" fmla="*/ -5446 w 6203"/>
                <a:gd name="connsiteY2" fmla="*/ -3540 h 11096"/>
                <a:gd name="connsiteX3" fmla="*/ -10753 w 6203"/>
                <a:gd name="connsiteY3" fmla="*/ -3815 h 11096"/>
                <a:gd name="connsiteX4" fmla="*/ -9926 w 6203"/>
                <a:gd name="connsiteY4" fmla="*/ 7006 h 11096"/>
                <a:gd name="connsiteX5" fmla="*/ -9926 w 6203"/>
                <a:gd name="connsiteY5" fmla="*/ 7006 h 1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03" h="11096">
                  <a:moveTo>
                    <a:pt x="-9926" y="7006"/>
                  </a:moveTo>
                  <a:lnTo>
                    <a:pt x="-4550" y="7282"/>
                  </a:lnTo>
                  <a:cubicBezTo>
                    <a:pt x="-4756" y="4593"/>
                    <a:pt x="-5239" y="-852"/>
                    <a:pt x="-5446" y="-3540"/>
                  </a:cubicBezTo>
                  <a:lnTo>
                    <a:pt x="-10753" y="-3815"/>
                  </a:lnTo>
                  <a:cubicBezTo>
                    <a:pt x="-10546" y="-1127"/>
                    <a:pt x="-10132" y="4249"/>
                    <a:pt x="-9926" y="7006"/>
                  </a:cubicBezTo>
                  <a:lnTo>
                    <a:pt x="-9926" y="7006"/>
                  </a:lnTo>
                </a:path>
              </a:pathLst>
            </a:custGeom>
            <a:grpFill/>
            <a:ln w="689" cap="flat">
              <a:noFill/>
              <a:prstDash val="solid"/>
              <a:miter/>
            </a:ln>
          </p:spPr>
          <p:txBody>
            <a:bodyPr rtlCol="0" anchor="ctr"/>
            <a:lstStyle/>
            <a:p>
              <a:endParaRPr lang="en-US" sz="2400" dirty="0"/>
            </a:p>
          </p:txBody>
        </p:sp>
        <p:sp>
          <p:nvSpPr>
            <p:cNvPr id="334" name="Graphic 8">
              <a:extLst>
                <a:ext uri="{FF2B5EF4-FFF2-40B4-BE49-F238E27FC236}">
                  <a16:creationId xmlns:a16="http://schemas.microsoft.com/office/drawing/2014/main" id="{DB65A7BE-4CAD-48B7-A1B5-621E61C1EEAC}"/>
                </a:ext>
              </a:extLst>
            </p:cNvPr>
            <p:cNvSpPr/>
            <p:nvPr/>
          </p:nvSpPr>
          <p:spPr>
            <a:xfrm flipV="1">
              <a:off x="1028964" y="2217236"/>
              <a:ext cx="7795925" cy="1358297"/>
            </a:xfrm>
            <a:custGeom>
              <a:avLst/>
              <a:gdLst>
                <a:gd name="connsiteX0" fmla="*/ 2773169 w 7795925"/>
                <a:gd name="connsiteY0" fmla="*/ 33419 h 1358297"/>
                <a:gd name="connsiteX1" fmla="*/ 2782612 w 7795925"/>
                <a:gd name="connsiteY1" fmla="*/ 35418 h 1358297"/>
                <a:gd name="connsiteX2" fmla="*/ 2811560 w 7795925"/>
                <a:gd name="connsiteY2" fmla="*/ 20875 h 1358297"/>
                <a:gd name="connsiteX3" fmla="*/ 2810664 w 7795925"/>
                <a:gd name="connsiteY3" fmla="*/ -2697 h 1358297"/>
                <a:gd name="connsiteX4" fmla="*/ 2792054 w 7795925"/>
                <a:gd name="connsiteY4" fmla="*/ -1457 h 1358297"/>
                <a:gd name="connsiteX5" fmla="*/ 2788815 w 7795925"/>
                <a:gd name="connsiteY5" fmla="*/ 5367 h 1358297"/>
                <a:gd name="connsiteX6" fmla="*/ 2773169 w 7795925"/>
                <a:gd name="connsiteY6" fmla="*/ 33419 h 1358297"/>
                <a:gd name="connsiteX7" fmla="*/ -6079 w 7795925"/>
                <a:gd name="connsiteY7" fmla="*/ 1041304 h 1358297"/>
                <a:gd name="connsiteX8" fmla="*/ 23766 w 7795925"/>
                <a:gd name="connsiteY8" fmla="*/ 1041786 h 1358297"/>
                <a:gd name="connsiteX9" fmla="*/ 1021 w 7795925"/>
                <a:gd name="connsiteY9" fmla="*/ 1012976 h 1358297"/>
                <a:gd name="connsiteX10" fmla="*/ -6079 w 7795925"/>
                <a:gd name="connsiteY10" fmla="*/ 1041304 h 1358297"/>
                <a:gd name="connsiteX11" fmla="*/ 6335193 w 7795925"/>
                <a:gd name="connsiteY11" fmla="*/ 1292327 h 1358297"/>
                <a:gd name="connsiteX12" fmla="*/ 6362695 w 7795925"/>
                <a:gd name="connsiteY12" fmla="*/ 1294119 h 1358297"/>
                <a:gd name="connsiteX13" fmla="*/ 6361937 w 7795925"/>
                <a:gd name="connsiteY13" fmla="*/ 1272615 h 1358297"/>
                <a:gd name="connsiteX14" fmla="*/ 6374756 w 7795925"/>
                <a:gd name="connsiteY14" fmla="*/ 1296118 h 1358297"/>
                <a:gd name="connsiteX15" fmla="*/ 6390471 w 7795925"/>
                <a:gd name="connsiteY15" fmla="*/ 1273304 h 1358297"/>
                <a:gd name="connsiteX16" fmla="*/ 6342293 w 7795925"/>
                <a:gd name="connsiteY16" fmla="*/ 1265516 h 1358297"/>
                <a:gd name="connsiteX17" fmla="*/ 6324924 w 7795925"/>
                <a:gd name="connsiteY17" fmla="*/ 1276199 h 1358297"/>
                <a:gd name="connsiteX18" fmla="*/ 6335193 w 7795925"/>
                <a:gd name="connsiteY18" fmla="*/ 1292327 h 1358297"/>
                <a:gd name="connsiteX19" fmla="*/ 7735811 w 7795925"/>
                <a:gd name="connsiteY19" fmla="*/ 1355600 h 1358297"/>
                <a:gd name="connsiteX20" fmla="*/ 7744565 w 7795925"/>
                <a:gd name="connsiteY20" fmla="*/ 1325411 h 1358297"/>
                <a:gd name="connsiteX21" fmla="*/ 7789848 w 7795925"/>
                <a:gd name="connsiteY21" fmla="*/ 1332580 h 1358297"/>
                <a:gd name="connsiteX22" fmla="*/ 7784472 w 7795925"/>
                <a:gd name="connsiteY22" fmla="*/ 1292121 h 1358297"/>
                <a:gd name="connsiteX23" fmla="*/ 7761175 w 7795925"/>
                <a:gd name="connsiteY23" fmla="*/ 1294464 h 1358297"/>
                <a:gd name="connsiteX24" fmla="*/ 7759659 w 7795925"/>
                <a:gd name="connsiteY24" fmla="*/ 1304527 h 1358297"/>
                <a:gd name="connsiteX25" fmla="*/ 7746218 w 7795925"/>
                <a:gd name="connsiteY25" fmla="*/ 1290398 h 1358297"/>
                <a:gd name="connsiteX26" fmla="*/ 7749113 w 7795925"/>
                <a:gd name="connsiteY26" fmla="*/ 1324309 h 1358297"/>
                <a:gd name="connsiteX27" fmla="*/ 7729539 w 7795925"/>
                <a:gd name="connsiteY27" fmla="*/ 1297290 h 1358297"/>
                <a:gd name="connsiteX28" fmla="*/ 7731951 w 7795925"/>
                <a:gd name="connsiteY28" fmla="*/ 1331201 h 1358297"/>
                <a:gd name="connsiteX29" fmla="*/ 7741876 w 7795925"/>
                <a:gd name="connsiteY29" fmla="*/ 1326652 h 1358297"/>
                <a:gd name="connsiteX30" fmla="*/ 7735811 w 7795925"/>
                <a:gd name="connsiteY30" fmla="*/ 1355600 h 1358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795925" h="1358297">
                  <a:moveTo>
                    <a:pt x="2773169" y="33419"/>
                  </a:moveTo>
                  <a:lnTo>
                    <a:pt x="2782612" y="35418"/>
                  </a:lnTo>
                  <a:cubicBezTo>
                    <a:pt x="2792468" y="31282"/>
                    <a:pt x="2802049" y="26044"/>
                    <a:pt x="2811560" y="20875"/>
                  </a:cubicBezTo>
                  <a:cubicBezTo>
                    <a:pt x="2811147" y="13086"/>
                    <a:pt x="2810871" y="5229"/>
                    <a:pt x="2810664" y="-2697"/>
                  </a:cubicBezTo>
                  <a:cubicBezTo>
                    <a:pt x="2804392" y="-2215"/>
                    <a:pt x="2798189" y="-1801"/>
                    <a:pt x="2792054" y="-1457"/>
                  </a:cubicBezTo>
                  <a:lnTo>
                    <a:pt x="2788815" y="5367"/>
                  </a:lnTo>
                  <a:cubicBezTo>
                    <a:pt x="2784128" y="15016"/>
                    <a:pt x="2778545" y="24321"/>
                    <a:pt x="2773169" y="33419"/>
                  </a:cubicBezTo>
                  <a:close/>
                  <a:moveTo>
                    <a:pt x="-6079" y="1041304"/>
                  </a:moveTo>
                  <a:cubicBezTo>
                    <a:pt x="3847" y="1041717"/>
                    <a:pt x="13772" y="1041924"/>
                    <a:pt x="23766" y="1041786"/>
                  </a:cubicBezTo>
                  <a:cubicBezTo>
                    <a:pt x="20664" y="1029173"/>
                    <a:pt x="15771" y="1015526"/>
                    <a:pt x="1021" y="1012976"/>
                  </a:cubicBezTo>
                  <a:cubicBezTo>
                    <a:pt x="-2081" y="1022212"/>
                    <a:pt x="-5320" y="1031586"/>
                    <a:pt x="-6079" y="1041304"/>
                  </a:cubicBezTo>
                  <a:moveTo>
                    <a:pt x="6335193" y="1292327"/>
                  </a:moveTo>
                  <a:cubicBezTo>
                    <a:pt x="6344223" y="1292879"/>
                    <a:pt x="6353528" y="1293361"/>
                    <a:pt x="6362695" y="1294119"/>
                  </a:cubicBezTo>
                  <a:cubicBezTo>
                    <a:pt x="6362557" y="1288743"/>
                    <a:pt x="6362143" y="1277991"/>
                    <a:pt x="6361937" y="1272615"/>
                  </a:cubicBezTo>
                  <a:cubicBezTo>
                    <a:pt x="6367588" y="1279508"/>
                    <a:pt x="6379581" y="1284884"/>
                    <a:pt x="6374756" y="1296118"/>
                  </a:cubicBezTo>
                  <a:cubicBezTo>
                    <a:pt x="6379305" y="1288054"/>
                    <a:pt x="6384475" y="1280541"/>
                    <a:pt x="6390471" y="1273304"/>
                  </a:cubicBezTo>
                  <a:cubicBezTo>
                    <a:pt x="6373723" y="1274545"/>
                    <a:pt x="6357525" y="1272477"/>
                    <a:pt x="6342293" y="1265516"/>
                  </a:cubicBezTo>
                  <a:cubicBezTo>
                    <a:pt x="6336159" y="1268755"/>
                    <a:pt x="6330369" y="1272339"/>
                    <a:pt x="6324924" y="1276199"/>
                  </a:cubicBezTo>
                  <a:cubicBezTo>
                    <a:pt x="6327474" y="1280265"/>
                    <a:pt x="6332644" y="1288330"/>
                    <a:pt x="6335193" y="1292327"/>
                  </a:cubicBezTo>
                  <a:moveTo>
                    <a:pt x="7735811" y="1355600"/>
                  </a:moveTo>
                  <a:cubicBezTo>
                    <a:pt x="7743117" y="1347191"/>
                    <a:pt x="7742910" y="1335819"/>
                    <a:pt x="7744565" y="1325411"/>
                  </a:cubicBezTo>
                  <a:cubicBezTo>
                    <a:pt x="7760624" y="1319966"/>
                    <a:pt x="7776477" y="1319759"/>
                    <a:pt x="7789848" y="1332580"/>
                  </a:cubicBezTo>
                  <a:cubicBezTo>
                    <a:pt x="7787643" y="1319208"/>
                    <a:pt x="7785919" y="1305699"/>
                    <a:pt x="7784472" y="1292121"/>
                  </a:cubicBezTo>
                  <a:cubicBezTo>
                    <a:pt x="7776615" y="1292948"/>
                    <a:pt x="7768826" y="1293706"/>
                    <a:pt x="7761175" y="1294464"/>
                  </a:cubicBezTo>
                  <a:cubicBezTo>
                    <a:pt x="7760762" y="1296945"/>
                    <a:pt x="7760003" y="1302046"/>
                    <a:pt x="7759659" y="1304527"/>
                  </a:cubicBezTo>
                  <a:cubicBezTo>
                    <a:pt x="7756282" y="1301012"/>
                    <a:pt x="7749596" y="1293913"/>
                    <a:pt x="7746218" y="1290398"/>
                  </a:cubicBezTo>
                  <a:cubicBezTo>
                    <a:pt x="7746977" y="1298875"/>
                    <a:pt x="7748424" y="1315831"/>
                    <a:pt x="7749113" y="1324309"/>
                  </a:cubicBezTo>
                  <a:cubicBezTo>
                    <a:pt x="7741876" y="1315762"/>
                    <a:pt x="7735604" y="1306595"/>
                    <a:pt x="7729539" y="1297290"/>
                  </a:cubicBezTo>
                  <a:cubicBezTo>
                    <a:pt x="7730710" y="1308594"/>
                    <a:pt x="7731676" y="1319897"/>
                    <a:pt x="7731951" y="1331201"/>
                  </a:cubicBezTo>
                  <a:lnTo>
                    <a:pt x="7741876" y="1326652"/>
                  </a:lnTo>
                  <a:cubicBezTo>
                    <a:pt x="7740360" y="1333889"/>
                    <a:pt x="7737328" y="1348363"/>
                    <a:pt x="7735811" y="1355600"/>
                  </a:cubicBezTo>
                </a:path>
              </a:pathLst>
            </a:custGeom>
            <a:grpFill/>
            <a:ln w="689" cap="flat">
              <a:noFill/>
              <a:prstDash val="solid"/>
              <a:miter/>
            </a:ln>
          </p:spPr>
          <p:txBody>
            <a:bodyPr rtlCol="0" anchor="ctr"/>
            <a:lstStyle/>
            <a:p>
              <a:endParaRPr lang="en-US" sz="2400" dirty="0"/>
            </a:p>
          </p:txBody>
        </p:sp>
        <p:sp>
          <p:nvSpPr>
            <p:cNvPr id="335" name="Graphic 8">
              <a:extLst>
                <a:ext uri="{FF2B5EF4-FFF2-40B4-BE49-F238E27FC236}">
                  <a16:creationId xmlns:a16="http://schemas.microsoft.com/office/drawing/2014/main" id="{EC3DCBDC-A79B-42A0-A7C6-D0FB4A51752B}"/>
                </a:ext>
              </a:extLst>
            </p:cNvPr>
            <p:cNvSpPr/>
            <p:nvPr/>
          </p:nvSpPr>
          <p:spPr>
            <a:xfrm flipV="1">
              <a:off x="1427555" y="2226472"/>
              <a:ext cx="9761" cy="12061"/>
            </a:xfrm>
            <a:custGeom>
              <a:avLst/>
              <a:gdLst>
                <a:gd name="connsiteX0" fmla="*/ 1348 w 9761"/>
                <a:gd name="connsiteY0" fmla="*/ 8273 h 12061"/>
                <a:gd name="connsiteX1" fmla="*/ -444 w 9761"/>
                <a:gd name="connsiteY1" fmla="*/ -3789 h 12061"/>
                <a:gd name="connsiteX2" fmla="*/ -1685 w 9761"/>
                <a:gd name="connsiteY2" fmla="*/ 2345 h 12061"/>
                <a:gd name="connsiteX3" fmla="*/ 1348 w 9761"/>
                <a:gd name="connsiteY3" fmla="*/ 8273 h 12061"/>
                <a:gd name="connsiteX4" fmla="*/ 1348 w 9761"/>
                <a:gd name="connsiteY4" fmla="*/ 8273 h 120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61" h="12061">
                  <a:moveTo>
                    <a:pt x="1348" y="8273"/>
                  </a:moveTo>
                  <a:cubicBezTo>
                    <a:pt x="10860" y="4344"/>
                    <a:pt x="10308" y="277"/>
                    <a:pt x="-444" y="-3789"/>
                  </a:cubicBezTo>
                  <a:lnTo>
                    <a:pt x="-1685" y="2345"/>
                  </a:lnTo>
                  <a:lnTo>
                    <a:pt x="1348" y="8273"/>
                  </a:lnTo>
                  <a:lnTo>
                    <a:pt x="1348" y="8273"/>
                  </a:lnTo>
                </a:path>
              </a:pathLst>
            </a:custGeom>
            <a:grpFill/>
            <a:ln w="689" cap="flat">
              <a:noFill/>
              <a:prstDash val="solid"/>
              <a:miter/>
            </a:ln>
          </p:spPr>
          <p:txBody>
            <a:bodyPr rtlCol="0" anchor="ctr"/>
            <a:lstStyle/>
            <a:p>
              <a:endParaRPr lang="en-US" sz="2400" dirty="0"/>
            </a:p>
          </p:txBody>
        </p:sp>
        <p:sp>
          <p:nvSpPr>
            <p:cNvPr id="336" name="Graphic 8">
              <a:extLst>
                <a:ext uri="{FF2B5EF4-FFF2-40B4-BE49-F238E27FC236}">
                  <a16:creationId xmlns:a16="http://schemas.microsoft.com/office/drawing/2014/main" id="{F8312730-E6AD-495E-B725-D66019FB3624}"/>
                </a:ext>
              </a:extLst>
            </p:cNvPr>
            <p:cNvSpPr/>
            <p:nvPr/>
          </p:nvSpPr>
          <p:spPr>
            <a:xfrm flipV="1">
              <a:off x="1323272" y="2235432"/>
              <a:ext cx="129733" cy="1366844"/>
            </a:xfrm>
            <a:custGeom>
              <a:avLst/>
              <a:gdLst>
                <a:gd name="connsiteX0" fmla="*/ 114578 w 129733"/>
                <a:gd name="connsiteY0" fmla="*/ 18913 h 1366844"/>
                <a:gd name="connsiteX1" fmla="*/ 113544 w 129733"/>
                <a:gd name="connsiteY1" fmla="*/ -2661 h 1366844"/>
                <a:gd name="connsiteX2" fmla="*/ 114578 w 129733"/>
                <a:gd name="connsiteY2" fmla="*/ 18913 h 1366844"/>
                <a:gd name="connsiteX3" fmla="*/ -1629 w 129733"/>
                <a:gd name="connsiteY3" fmla="*/ 1361702 h 1366844"/>
                <a:gd name="connsiteX4" fmla="*/ -1215 w 129733"/>
                <a:gd name="connsiteY4" fmla="*/ 1364184 h 1366844"/>
                <a:gd name="connsiteX5" fmla="*/ -1629 w 129733"/>
                <a:gd name="connsiteY5" fmla="*/ 1361702 h 1366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9733" h="1366844">
                  <a:moveTo>
                    <a:pt x="114578" y="18913"/>
                  </a:moveTo>
                  <a:cubicBezTo>
                    <a:pt x="135807" y="26288"/>
                    <a:pt x="129397" y="-2316"/>
                    <a:pt x="113544" y="-2661"/>
                  </a:cubicBezTo>
                  <a:cubicBezTo>
                    <a:pt x="110649" y="4714"/>
                    <a:pt x="110994" y="11882"/>
                    <a:pt x="114578" y="18913"/>
                  </a:cubicBezTo>
                  <a:close/>
                  <a:moveTo>
                    <a:pt x="-1629" y="1361702"/>
                  </a:moveTo>
                  <a:cubicBezTo>
                    <a:pt x="-1560" y="1362323"/>
                    <a:pt x="-1353" y="1363563"/>
                    <a:pt x="-1215" y="1364184"/>
                  </a:cubicBezTo>
                  <a:lnTo>
                    <a:pt x="-1629" y="1361702"/>
                  </a:lnTo>
                </a:path>
              </a:pathLst>
            </a:custGeom>
            <a:grpFill/>
            <a:ln w="689" cap="flat">
              <a:noFill/>
              <a:prstDash val="solid"/>
              <a:miter/>
            </a:ln>
          </p:spPr>
          <p:txBody>
            <a:bodyPr rtlCol="0" anchor="ctr"/>
            <a:lstStyle/>
            <a:p>
              <a:endParaRPr lang="en-US" sz="2400" dirty="0"/>
            </a:p>
          </p:txBody>
        </p:sp>
        <p:sp>
          <p:nvSpPr>
            <p:cNvPr id="337" name="Graphic 8">
              <a:extLst>
                <a:ext uri="{FF2B5EF4-FFF2-40B4-BE49-F238E27FC236}">
                  <a16:creationId xmlns:a16="http://schemas.microsoft.com/office/drawing/2014/main" id="{9EDB5927-9633-4C50-B429-84F095C2B614}"/>
                </a:ext>
              </a:extLst>
            </p:cNvPr>
            <p:cNvSpPr/>
            <p:nvPr/>
          </p:nvSpPr>
          <p:spPr>
            <a:xfrm flipV="1">
              <a:off x="692202" y="2235432"/>
              <a:ext cx="7280297" cy="1595985"/>
            </a:xfrm>
            <a:custGeom>
              <a:avLst/>
              <a:gdLst>
                <a:gd name="connsiteX0" fmla="*/ -3473 w 7280297"/>
                <a:gd name="connsiteY0" fmla="*/ 14588 h 1595985"/>
                <a:gd name="connsiteX1" fmla="*/ 7623 w 7280297"/>
                <a:gd name="connsiteY1" fmla="*/ -1678 h 1595985"/>
                <a:gd name="connsiteX2" fmla="*/ -3473 w 7280297"/>
                <a:gd name="connsiteY2" fmla="*/ 14588 h 1595985"/>
                <a:gd name="connsiteX3" fmla="*/ 7230166 w 7280297"/>
                <a:gd name="connsiteY3" fmla="*/ 555509 h 1595985"/>
                <a:gd name="connsiteX4" fmla="*/ 7274967 w 7280297"/>
                <a:gd name="connsiteY4" fmla="*/ 560402 h 1595985"/>
                <a:gd name="connsiteX5" fmla="*/ 7274346 w 7280297"/>
                <a:gd name="connsiteY5" fmla="*/ 529938 h 1595985"/>
                <a:gd name="connsiteX6" fmla="*/ 7247810 w 7280297"/>
                <a:gd name="connsiteY6" fmla="*/ 535727 h 1595985"/>
                <a:gd name="connsiteX7" fmla="*/ 7230166 w 7280297"/>
                <a:gd name="connsiteY7" fmla="*/ 555509 h 1595985"/>
                <a:gd name="connsiteX8" fmla="*/ 5378298 w 7280297"/>
                <a:gd name="connsiteY8" fmla="*/ 1593514 h 1595985"/>
                <a:gd name="connsiteX9" fmla="*/ 5378298 w 7280297"/>
                <a:gd name="connsiteY9" fmla="*/ 1593514 h 1595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80297" h="1595985">
                  <a:moveTo>
                    <a:pt x="-3473" y="14588"/>
                  </a:moveTo>
                  <a:cubicBezTo>
                    <a:pt x="4869" y="18655"/>
                    <a:pt x="13344" y="4870"/>
                    <a:pt x="7623" y="-1678"/>
                  </a:cubicBezTo>
                  <a:cubicBezTo>
                    <a:pt x="-856" y="-5951"/>
                    <a:pt x="-9127" y="8109"/>
                    <a:pt x="-3473" y="14588"/>
                  </a:cubicBezTo>
                  <a:close/>
                  <a:moveTo>
                    <a:pt x="7230166" y="555509"/>
                  </a:moveTo>
                  <a:cubicBezTo>
                    <a:pt x="7245191" y="556336"/>
                    <a:pt x="7260078" y="557301"/>
                    <a:pt x="7274967" y="560402"/>
                  </a:cubicBezTo>
                  <a:cubicBezTo>
                    <a:pt x="7274277" y="550270"/>
                    <a:pt x="7274139" y="540138"/>
                    <a:pt x="7274346" y="529938"/>
                  </a:cubicBezTo>
                  <a:cubicBezTo>
                    <a:pt x="7267730" y="531385"/>
                    <a:pt x="7254427" y="534280"/>
                    <a:pt x="7247810" y="535727"/>
                  </a:cubicBezTo>
                  <a:cubicBezTo>
                    <a:pt x="7241745" y="542275"/>
                    <a:pt x="7235886" y="548961"/>
                    <a:pt x="7230166" y="555509"/>
                  </a:cubicBezTo>
                  <a:moveTo>
                    <a:pt x="5378298" y="1593514"/>
                  </a:moveTo>
                  <a:cubicBezTo>
                    <a:pt x="5401113" y="1592755"/>
                    <a:pt x="5367684" y="1572836"/>
                    <a:pt x="5378298" y="1593514"/>
                  </a:cubicBezTo>
                </a:path>
              </a:pathLst>
            </a:custGeom>
            <a:grpFill/>
            <a:ln w="689" cap="flat">
              <a:noFill/>
              <a:prstDash val="solid"/>
              <a:miter/>
            </a:ln>
          </p:spPr>
          <p:txBody>
            <a:bodyPr rtlCol="0" anchor="ctr"/>
            <a:lstStyle/>
            <a:p>
              <a:endParaRPr lang="en-US" sz="2400" dirty="0"/>
            </a:p>
          </p:txBody>
        </p:sp>
        <p:sp>
          <p:nvSpPr>
            <p:cNvPr id="338" name="Graphic 8">
              <a:extLst>
                <a:ext uri="{FF2B5EF4-FFF2-40B4-BE49-F238E27FC236}">
                  <a16:creationId xmlns:a16="http://schemas.microsoft.com/office/drawing/2014/main" id="{42DF256A-8B1B-48E6-AB8F-4D806F28F7B9}"/>
                </a:ext>
              </a:extLst>
            </p:cNvPr>
            <p:cNvSpPr/>
            <p:nvPr/>
          </p:nvSpPr>
          <p:spPr>
            <a:xfrm flipV="1">
              <a:off x="7897578" y="2238561"/>
              <a:ext cx="9421" cy="10219"/>
            </a:xfrm>
            <a:custGeom>
              <a:avLst/>
              <a:gdLst>
                <a:gd name="connsiteX0" fmla="*/ -9820 w 9421"/>
                <a:gd name="connsiteY0" fmla="*/ 4408 h 10219"/>
                <a:gd name="connsiteX1" fmla="*/ -9820 w 9421"/>
                <a:gd name="connsiteY1" fmla="*/ 4408 h 10219"/>
                <a:gd name="connsiteX2" fmla="*/ -9820 w 9421"/>
                <a:gd name="connsiteY2" fmla="*/ 4408 h 10219"/>
              </a:gdLst>
              <a:ahLst/>
              <a:cxnLst>
                <a:cxn ang="0">
                  <a:pos x="connsiteX0" y="connsiteY0"/>
                </a:cxn>
                <a:cxn ang="0">
                  <a:pos x="connsiteX1" y="connsiteY1"/>
                </a:cxn>
                <a:cxn ang="0">
                  <a:pos x="connsiteX2" y="connsiteY2"/>
                </a:cxn>
              </a:cxnLst>
              <a:rect l="l" t="t" r="r" b="b"/>
              <a:pathLst>
                <a:path w="9421" h="10219">
                  <a:moveTo>
                    <a:pt x="-9820" y="4408"/>
                  </a:moveTo>
                  <a:cubicBezTo>
                    <a:pt x="11064" y="14678"/>
                    <a:pt x="-9200" y="-18337"/>
                    <a:pt x="-9820" y="4408"/>
                  </a:cubicBezTo>
                  <a:lnTo>
                    <a:pt x="-9820" y="4408"/>
                  </a:lnTo>
                </a:path>
              </a:pathLst>
            </a:custGeom>
            <a:grpFill/>
            <a:ln w="689" cap="flat">
              <a:noFill/>
              <a:prstDash val="solid"/>
              <a:miter/>
            </a:ln>
          </p:spPr>
          <p:txBody>
            <a:bodyPr rtlCol="0" anchor="ctr"/>
            <a:lstStyle/>
            <a:p>
              <a:endParaRPr lang="en-US" sz="2400" dirty="0"/>
            </a:p>
          </p:txBody>
        </p:sp>
        <p:sp>
          <p:nvSpPr>
            <p:cNvPr id="339" name="Graphic 8">
              <a:extLst>
                <a:ext uri="{FF2B5EF4-FFF2-40B4-BE49-F238E27FC236}">
                  <a16:creationId xmlns:a16="http://schemas.microsoft.com/office/drawing/2014/main" id="{002A5BEC-A6DF-4B32-9EB7-6A15EFFD2E91}"/>
                </a:ext>
              </a:extLst>
            </p:cNvPr>
            <p:cNvSpPr/>
            <p:nvPr/>
          </p:nvSpPr>
          <p:spPr>
            <a:xfrm flipV="1">
              <a:off x="589408" y="2248054"/>
              <a:ext cx="15736" cy="20599"/>
            </a:xfrm>
            <a:custGeom>
              <a:avLst/>
              <a:gdLst>
                <a:gd name="connsiteX0" fmla="*/ 3663 w 15736"/>
                <a:gd name="connsiteY0" fmla="*/ -3747 h 20599"/>
                <a:gd name="connsiteX1" fmla="*/ 15102 w 15736"/>
                <a:gd name="connsiteY1" fmla="*/ 13002 h 20599"/>
                <a:gd name="connsiteX2" fmla="*/ 3663 w 15736"/>
                <a:gd name="connsiteY2" fmla="*/ -3747 h 20599"/>
                <a:gd name="connsiteX3" fmla="*/ 3663 w 15736"/>
                <a:gd name="connsiteY3" fmla="*/ -3747 h 20599"/>
              </a:gdLst>
              <a:ahLst/>
              <a:cxnLst>
                <a:cxn ang="0">
                  <a:pos x="connsiteX0" y="connsiteY0"/>
                </a:cxn>
                <a:cxn ang="0">
                  <a:pos x="connsiteX1" y="connsiteY1"/>
                </a:cxn>
                <a:cxn ang="0">
                  <a:pos x="connsiteX2" y="connsiteY2"/>
                </a:cxn>
                <a:cxn ang="0">
                  <a:pos x="connsiteX3" y="connsiteY3"/>
                </a:cxn>
              </a:cxnLst>
              <a:rect l="l" t="t" r="r" b="b"/>
              <a:pathLst>
                <a:path w="15736" h="20599">
                  <a:moveTo>
                    <a:pt x="3663" y="-3747"/>
                  </a:moveTo>
                  <a:cubicBezTo>
                    <a:pt x="-6884" y="5076"/>
                    <a:pt x="3940" y="25271"/>
                    <a:pt x="15102" y="13002"/>
                  </a:cubicBezTo>
                  <a:cubicBezTo>
                    <a:pt x="12208" y="8798"/>
                    <a:pt x="6557" y="458"/>
                    <a:pt x="3663" y="-3747"/>
                  </a:cubicBezTo>
                  <a:lnTo>
                    <a:pt x="3663" y="-3747"/>
                  </a:lnTo>
                </a:path>
              </a:pathLst>
            </a:custGeom>
            <a:grpFill/>
            <a:ln w="689" cap="flat">
              <a:noFill/>
              <a:prstDash val="solid"/>
              <a:miter/>
            </a:ln>
          </p:spPr>
          <p:txBody>
            <a:bodyPr rtlCol="0" anchor="ctr"/>
            <a:lstStyle/>
            <a:p>
              <a:endParaRPr lang="en-US" sz="2400" dirty="0"/>
            </a:p>
          </p:txBody>
        </p:sp>
        <p:sp>
          <p:nvSpPr>
            <p:cNvPr id="340" name="Graphic 8">
              <a:extLst>
                <a:ext uri="{FF2B5EF4-FFF2-40B4-BE49-F238E27FC236}">
                  <a16:creationId xmlns:a16="http://schemas.microsoft.com/office/drawing/2014/main" id="{2A812302-9932-46AF-9A7C-B5FECDE0D2D0}"/>
                </a:ext>
              </a:extLst>
            </p:cNvPr>
            <p:cNvSpPr/>
            <p:nvPr/>
          </p:nvSpPr>
          <p:spPr>
            <a:xfrm flipV="1">
              <a:off x="1607037" y="2249699"/>
              <a:ext cx="3510575" cy="140054"/>
            </a:xfrm>
            <a:custGeom>
              <a:avLst/>
              <a:gdLst>
                <a:gd name="connsiteX0" fmla="*/ 3500979 w 3510575"/>
                <a:gd name="connsiteY0" fmla="*/ 14482 h 140054"/>
                <a:gd name="connsiteX1" fmla="*/ 3497051 w 3510575"/>
                <a:gd name="connsiteY1" fmla="*/ -3646 h 140054"/>
                <a:gd name="connsiteX2" fmla="*/ 3500979 w 3510575"/>
                <a:gd name="connsiteY2" fmla="*/ 14482 h 140054"/>
                <a:gd name="connsiteX3" fmla="*/ -1977 w 3510575"/>
                <a:gd name="connsiteY3" fmla="*/ 136409 h 140054"/>
                <a:gd name="connsiteX4" fmla="*/ -1977 w 3510575"/>
                <a:gd name="connsiteY4" fmla="*/ 136409 h 1400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0575" h="140054">
                  <a:moveTo>
                    <a:pt x="3500979" y="14482"/>
                  </a:moveTo>
                  <a:cubicBezTo>
                    <a:pt x="3511731" y="13517"/>
                    <a:pt x="3504639" y="-2750"/>
                    <a:pt x="3497051" y="-3646"/>
                  </a:cubicBezTo>
                  <a:cubicBezTo>
                    <a:pt x="3486091" y="-2888"/>
                    <a:pt x="3492915" y="13930"/>
                    <a:pt x="3500979" y="14482"/>
                  </a:cubicBezTo>
                  <a:close/>
                  <a:moveTo>
                    <a:pt x="-1977" y="136409"/>
                  </a:moveTo>
                  <a:cubicBezTo>
                    <a:pt x="20630" y="134962"/>
                    <a:pt x="-12522" y="115594"/>
                    <a:pt x="-1977" y="136409"/>
                  </a:cubicBezTo>
                </a:path>
              </a:pathLst>
            </a:custGeom>
            <a:grpFill/>
            <a:ln w="689" cap="flat">
              <a:noFill/>
              <a:prstDash val="solid"/>
              <a:miter/>
            </a:ln>
          </p:spPr>
          <p:txBody>
            <a:bodyPr rtlCol="0" anchor="ctr"/>
            <a:lstStyle/>
            <a:p>
              <a:endParaRPr lang="en-US" sz="2400" dirty="0"/>
            </a:p>
          </p:txBody>
        </p:sp>
        <p:sp>
          <p:nvSpPr>
            <p:cNvPr id="341" name="Graphic 8">
              <a:extLst>
                <a:ext uri="{FF2B5EF4-FFF2-40B4-BE49-F238E27FC236}">
                  <a16:creationId xmlns:a16="http://schemas.microsoft.com/office/drawing/2014/main" id="{827851AD-1DD8-4DD9-94A2-96E9ACE494E8}"/>
                </a:ext>
              </a:extLst>
            </p:cNvPr>
            <p:cNvSpPr/>
            <p:nvPr/>
          </p:nvSpPr>
          <p:spPr>
            <a:xfrm flipV="1">
              <a:off x="2036443" y="2248321"/>
              <a:ext cx="14465" cy="18954"/>
            </a:xfrm>
            <a:custGeom>
              <a:avLst/>
              <a:gdLst>
                <a:gd name="connsiteX0" fmla="*/ 6361 w 14465"/>
                <a:gd name="connsiteY0" fmla="*/ 15207 h 18954"/>
                <a:gd name="connsiteX1" fmla="*/ 3191 w 14465"/>
                <a:gd name="connsiteY1" fmla="*/ -3747 h 18954"/>
                <a:gd name="connsiteX2" fmla="*/ 6361 w 14465"/>
                <a:gd name="connsiteY2" fmla="*/ 15207 h 18954"/>
                <a:gd name="connsiteX3" fmla="*/ 6361 w 14465"/>
                <a:gd name="connsiteY3" fmla="*/ 15207 h 18954"/>
              </a:gdLst>
              <a:ahLst/>
              <a:cxnLst>
                <a:cxn ang="0">
                  <a:pos x="connsiteX0" y="connsiteY0"/>
                </a:cxn>
                <a:cxn ang="0">
                  <a:pos x="connsiteX1" y="connsiteY1"/>
                </a:cxn>
                <a:cxn ang="0">
                  <a:pos x="connsiteX2" y="connsiteY2"/>
                </a:cxn>
                <a:cxn ang="0">
                  <a:pos x="connsiteX3" y="connsiteY3"/>
                </a:cxn>
              </a:cxnLst>
              <a:rect l="l" t="t" r="r" b="b"/>
              <a:pathLst>
                <a:path w="14465" h="18954">
                  <a:moveTo>
                    <a:pt x="6361" y="15207"/>
                  </a:moveTo>
                  <a:cubicBezTo>
                    <a:pt x="16907" y="14449"/>
                    <a:pt x="10841" y="-2369"/>
                    <a:pt x="3191" y="-3747"/>
                  </a:cubicBezTo>
                  <a:cubicBezTo>
                    <a:pt x="-7424" y="-2783"/>
                    <a:pt x="-1152" y="13690"/>
                    <a:pt x="6361" y="15207"/>
                  </a:cubicBezTo>
                  <a:lnTo>
                    <a:pt x="6361" y="15207"/>
                  </a:lnTo>
                </a:path>
              </a:pathLst>
            </a:custGeom>
            <a:grpFill/>
            <a:ln w="689" cap="flat">
              <a:noFill/>
              <a:prstDash val="solid"/>
              <a:miter/>
            </a:ln>
          </p:spPr>
          <p:txBody>
            <a:bodyPr rtlCol="0" anchor="ctr"/>
            <a:lstStyle/>
            <a:p>
              <a:endParaRPr lang="en-US" sz="2400" dirty="0"/>
            </a:p>
          </p:txBody>
        </p:sp>
        <p:sp>
          <p:nvSpPr>
            <p:cNvPr id="342" name="Graphic 8">
              <a:extLst>
                <a:ext uri="{FF2B5EF4-FFF2-40B4-BE49-F238E27FC236}">
                  <a16:creationId xmlns:a16="http://schemas.microsoft.com/office/drawing/2014/main" id="{D87F931E-0CC1-4712-A09F-D2E934E7A579}"/>
                </a:ext>
              </a:extLst>
            </p:cNvPr>
            <p:cNvSpPr/>
            <p:nvPr/>
          </p:nvSpPr>
          <p:spPr>
            <a:xfrm flipV="1">
              <a:off x="5104821" y="2248596"/>
              <a:ext cx="2584" cy="2791"/>
            </a:xfrm>
            <a:custGeom>
              <a:avLst/>
              <a:gdLst>
                <a:gd name="connsiteX0" fmla="*/ -6304 w 2584"/>
                <a:gd name="connsiteY0" fmla="*/ -969 h 2791"/>
                <a:gd name="connsiteX1" fmla="*/ -6304 w 2584"/>
                <a:gd name="connsiteY1" fmla="*/ -969 h 2791"/>
                <a:gd name="connsiteX2" fmla="*/ -6304 w 2584"/>
                <a:gd name="connsiteY2" fmla="*/ -969 h 2791"/>
              </a:gdLst>
              <a:ahLst/>
              <a:cxnLst>
                <a:cxn ang="0">
                  <a:pos x="connsiteX0" y="connsiteY0"/>
                </a:cxn>
                <a:cxn ang="0">
                  <a:pos x="connsiteX1" y="connsiteY1"/>
                </a:cxn>
                <a:cxn ang="0">
                  <a:pos x="connsiteX2" y="connsiteY2"/>
                </a:cxn>
              </a:cxnLst>
              <a:rect l="l" t="t" r="r" b="b"/>
              <a:pathLst>
                <a:path w="2584" h="2791">
                  <a:moveTo>
                    <a:pt x="-6304" y="-969"/>
                  </a:moveTo>
                  <a:cubicBezTo>
                    <a:pt x="-2858" y="-4691"/>
                    <a:pt x="-2858" y="-4691"/>
                    <a:pt x="-6304" y="-969"/>
                  </a:cubicBezTo>
                  <a:lnTo>
                    <a:pt x="-6304" y="-969"/>
                  </a:lnTo>
                </a:path>
              </a:pathLst>
            </a:custGeom>
            <a:grpFill/>
            <a:ln w="689" cap="flat">
              <a:noFill/>
              <a:prstDash val="solid"/>
              <a:miter/>
            </a:ln>
          </p:spPr>
          <p:txBody>
            <a:bodyPr rtlCol="0" anchor="ctr"/>
            <a:lstStyle/>
            <a:p>
              <a:endParaRPr lang="en-US" sz="2400" dirty="0"/>
            </a:p>
          </p:txBody>
        </p:sp>
        <p:sp>
          <p:nvSpPr>
            <p:cNvPr id="343" name="Graphic 8">
              <a:extLst>
                <a:ext uri="{FF2B5EF4-FFF2-40B4-BE49-F238E27FC236}">
                  <a16:creationId xmlns:a16="http://schemas.microsoft.com/office/drawing/2014/main" id="{7F24377E-B8D4-4276-80C2-CBE3C8C54B67}"/>
                </a:ext>
              </a:extLst>
            </p:cNvPr>
            <p:cNvSpPr/>
            <p:nvPr/>
          </p:nvSpPr>
          <p:spPr>
            <a:xfrm flipV="1">
              <a:off x="7369319" y="2249424"/>
              <a:ext cx="10230" cy="9533"/>
            </a:xfrm>
            <a:custGeom>
              <a:avLst/>
              <a:gdLst>
                <a:gd name="connsiteX0" fmla="*/ -6930 w 10230"/>
                <a:gd name="connsiteY0" fmla="*/ 5780 h 9533"/>
                <a:gd name="connsiteX1" fmla="*/ -6930 w 10230"/>
                <a:gd name="connsiteY1" fmla="*/ 5780 h 9533"/>
                <a:gd name="connsiteX2" fmla="*/ -6930 w 10230"/>
                <a:gd name="connsiteY2" fmla="*/ 5780 h 9533"/>
              </a:gdLst>
              <a:ahLst/>
              <a:cxnLst>
                <a:cxn ang="0">
                  <a:pos x="connsiteX0" y="connsiteY0"/>
                </a:cxn>
                <a:cxn ang="0">
                  <a:pos x="connsiteX1" y="connsiteY1"/>
                </a:cxn>
                <a:cxn ang="0">
                  <a:pos x="connsiteX2" y="connsiteY2"/>
                </a:cxn>
              </a:cxnLst>
              <a:rect l="l" t="t" r="r" b="b"/>
              <a:pathLst>
                <a:path w="10230" h="9533">
                  <a:moveTo>
                    <a:pt x="-6930" y="5780"/>
                  </a:moveTo>
                  <a:cubicBezTo>
                    <a:pt x="15608" y="4539"/>
                    <a:pt x="-17751" y="-15035"/>
                    <a:pt x="-6930" y="5780"/>
                  </a:cubicBezTo>
                  <a:lnTo>
                    <a:pt x="-6930" y="5780"/>
                  </a:lnTo>
                </a:path>
              </a:pathLst>
            </a:custGeom>
            <a:grpFill/>
            <a:ln w="689" cap="flat">
              <a:noFill/>
              <a:prstDash val="solid"/>
              <a:miter/>
            </a:ln>
          </p:spPr>
          <p:txBody>
            <a:bodyPr rtlCol="0" anchor="ctr"/>
            <a:lstStyle/>
            <a:p>
              <a:endParaRPr lang="en-US" sz="2400" dirty="0"/>
            </a:p>
          </p:txBody>
        </p:sp>
        <p:sp>
          <p:nvSpPr>
            <p:cNvPr id="344" name="Graphic 8">
              <a:extLst>
                <a:ext uri="{FF2B5EF4-FFF2-40B4-BE49-F238E27FC236}">
                  <a16:creationId xmlns:a16="http://schemas.microsoft.com/office/drawing/2014/main" id="{899E42B4-11CE-4AD5-BAA6-A56F0F7495F8}"/>
                </a:ext>
              </a:extLst>
            </p:cNvPr>
            <p:cNvSpPr/>
            <p:nvPr/>
          </p:nvSpPr>
          <p:spPr>
            <a:xfrm flipV="1">
              <a:off x="590808" y="2248252"/>
              <a:ext cx="7470428" cy="140968"/>
            </a:xfrm>
            <a:custGeom>
              <a:avLst/>
              <a:gdLst>
                <a:gd name="connsiteX0" fmla="*/ -5323 w 7470428"/>
                <a:gd name="connsiteY0" fmla="*/ -804 h 140968"/>
                <a:gd name="connsiteX1" fmla="*/ -5323 w 7470428"/>
                <a:gd name="connsiteY1" fmla="*/ -804 h 140968"/>
                <a:gd name="connsiteX2" fmla="*/ 4502487 w 7470428"/>
                <a:gd name="connsiteY2" fmla="*/ 88315 h 140968"/>
                <a:gd name="connsiteX3" fmla="*/ 4502487 w 7470428"/>
                <a:gd name="connsiteY3" fmla="*/ 88315 h 140968"/>
                <a:gd name="connsiteX4" fmla="*/ 7456941 w 7470428"/>
                <a:gd name="connsiteY4" fmla="*/ 137321 h 140968"/>
                <a:gd name="connsiteX5" fmla="*/ 7456941 w 7470428"/>
                <a:gd name="connsiteY5" fmla="*/ 137321 h 140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70428" h="140968">
                  <a:moveTo>
                    <a:pt x="-5323" y="-804"/>
                  </a:moveTo>
                  <a:cubicBezTo>
                    <a:pt x="-1325" y="-4595"/>
                    <a:pt x="-1325" y="-4595"/>
                    <a:pt x="-5323" y="-804"/>
                  </a:cubicBezTo>
                  <a:close/>
                  <a:moveTo>
                    <a:pt x="4502487" y="88315"/>
                  </a:moveTo>
                  <a:cubicBezTo>
                    <a:pt x="4506484" y="85214"/>
                    <a:pt x="4506484" y="85214"/>
                    <a:pt x="4502487" y="88315"/>
                  </a:cubicBezTo>
                  <a:moveTo>
                    <a:pt x="7456941" y="137321"/>
                  </a:moveTo>
                  <a:cubicBezTo>
                    <a:pt x="7479755" y="136701"/>
                    <a:pt x="7446395" y="116506"/>
                    <a:pt x="7456941" y="137321"/>
                  </a:cubicBezTo>
                </a:path>
              </a:pathLst>
            </a:custGeom>
            <a:grpFill/>
            <a:ln w="689" cap="flat">
              <a:noFill/>
              <a:prstDash val="solid"/>
              <a:miter/>
            </a:ln>
          </p:spPr>
          <p:txBody>
            <a:bodyPr rtlCol="0" anchor="ctr"/>
            <a:lstStyle/>
            <a:p>
              <a:endParaRPr lang="en-US" sz="2400" dirty="0"/>
            </a:p>
          </p:txBody>
        </p:sp>
        <p:sp>
          <p:nvSpPr>
            <p:cNvPr id="345" name="Graphic 8">
              <a:extLst>
                <a:ext uri="{FF2B5EF4-FFF2-40B4-BE49-F238E27FC236}">
                  <a16:creationId xmlns:a16="http://schemas.microsoft.com/office/drawing/2014/main" id="{7FCF8DAC-8EC6-4F79-A63D-F64AF6256317}"/>
                </a:ext>
              </a:extLst>
            </p:cNvPr>
            <p:cNvSpPr/>
            <p:nvPr/>
          </p:nvSpPr>
          <p:spPr>
            <a:xfrm flipV="1">
              <a:off x="2286700" y="2253836"/>
              <a:ext cx="4050748" cy="197354"/>
            </a:xfrm>
            <a:custGeom>
              <a:avLst/>
              <a:gdLst>
                <a:gd name="connsiteX0" fmla="*/ 482957 w 4050748"/>
                <a:gd name="connsiteY0" fmla="*/ 5875 h 197354"/>
                <a:gd name="connsiteX1" fmla="*/ 482957 w 4050748"/>
                <a:gd name="connsiteY1" fmla="*/ 5875 h 197354"/>
                <a:gd name="connsiteX2" fmla="*/ -5305 w 4050748"/>
                <a:gd name="connsiteY2" fmla="*/ 137384 h 197354"/>
                <a:gd name="connsiteX3" fmla="*/ -5305 w 4050748"/>
                <a:gd name="connsiteY3" fmla="*/ 137384 h 197354"/>
                <a:gd name="connsiteX4" fmla="*/ 4026785 w 4050748"/>
                <a:gd name="connsiteY4" fmla="*/ 191627 h 197354"/>
                <a:gd name="connsiteX5" fmla="*/ 4044085 w 4050748"/>
                <a:gd name="connsiteY5" fmla="*/ 175637 h 197354"/>
                <a:gd name="connsiteX6" fmla="*/ 4026785 w 4050748"/>
                <a:gd name="connsiteY6" fmla="*/ 191627 h 197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0748" h="197354">
                  <a:moveTo>
                    <a:pt x="482957" y="5875"/>
                  </a:moveTo>
                  <a:cubicBezTo>
                    <a:pt x="505633" y="3876"/>
                    <a:pt x="471584" y="-14389"/>
                    <a:pt x="482957" y="5875"/>
                  </a:cubicBezTo>
                  <a:close/>
                  <a:moveTo>
                    <a:pt x="-5305" y="137384"/>
                  </a:moveTo>
                  <a:cubicBezTo>
                    <a:pt x="-1997" y="133593"/>
                    <a:pt x="-1997" y="133593"/>
                    <a:pt x="-5305" y="137384"/>
                  </a:cubicBezTo>
                  <a:moveTo>
                    <a:pt x="4026785" y="191627"/>
                  </a:moveTo>
                  <a:cubicBezTo>
                    <a:pt x="4035470" y="199209"/>
                    <a:pt x="4049944" y="184873"/>
                    <a:pt x="4044085" y="175637"/>
                  </a:cubicBezTo>
                  <a:cubicBezTo>
                    <a:pt x="4035400" y="169847"/>
                    <a:pt x="4020444" y="182322"/>
                    <a:pt x="4026785" y="191627"/>
                  </a:cubicBezTo>
                </a:path>
              </a:pathLst>
            </a:custGeom>
            <a:grpFill/>
            <a:ln w="689" cap="flat">
              <a:noFill/>
              <a:prstDash val="solid"/>
              <a:miter/>
            </a:ln>
          </p:spPr>
          <p:txBody>
            <a:bodyPr rtlCol="0" anchor="ctr"/>
            <a:lstStyle/>
            <a:p>
              <a:endParaRPr lang="en-US" sz="2400" dirty="0"/>
            </a:p>
          </p:txBody>
        </p:sp>
        <p:sp>
          <p:nvSpPr>
            <p:cNvPr id="346" name="Graphic 8">
              <a:extLst>
                <a:ext uri="{FF2B5EF4-FFF2-40B4-BE49-F238E27FC236}">
                  <a16:creationId xmlns:a16="http://schemas.microsoft.com/office/drawing/2014/main" id="{16D4C0BB-6A83-42D8-8BEE-AE861BF757B3}"/>
                </a:ext>
              </a:extLst>
            </p:cNvPr>
            <p:cNvSpPr/>
            <p:nvPr/>
          </p:nvSpPr>
          <p:spPr>
            <a:xfrm flipV="1">
              <a:off x="1568506" y="2260996"/>
              <a:ext cx="18941" cy="16626"/>
            </a:xfrm>
            <a:custGeom>
              <a:avLst/>
              <a:gdLst>
                <a:gd name="connsiteX0" fmla="*/ 6197 w 18941"/>
                <a:gd name="connsiteY0" fmla="*/ 12477 h 16626"/>
                <a:gd name="connsiteX1" fmla="*/ -1868 w 18941"/>
                <a:gd name="connsiteY1" fmla="*/ 4344 h 16626"/>
                <a:gd name="connsiteX2" fmla="*/ 6197 w 18941"/>
                <a:gd name="connsiteY2" fmla="*/ 12477 h 16626"/>
                <a:gd name="connsiteX3" fmla="*/ 6197 w 18941"/>
                <a:gd name="connsiteY3" fmla="*/ 12477 h 16626"/>
              </a:gdLst>
              <a:ahLst/>
              <a:cxnLst>
                <a:cxn ang="0">
                  <a:pos x="connsiteX0" y="connsiteY0"/>
                </a:cxn>
                <a:cxn ang="0">
                  <a:pos x="connsiteX1" y="connsiteY1"/>
                </a:cxn>
                <a:cxn ang="0">
                  <a:pos x="connsiteX2" y="connsiteY2"/>
                </a:cxn>
                <a:cxn ang="0">
                  <a:pos x="connsiteX3" y="connsiteY3"/>
                </a:cxn>
              </a:cxnLst>
              <a:rect l="l" t="t" r="r" b="b"/>
              <a:pathLst>
                <a:path w="18941" h="16626">
                  <a:moveTo>
                    <a:pt x="6197" y="12477"/>
                  </a:moveTo>
                  <a:cubicBezTo>
                    <a:pt x="32595" y="17164"/>
                    <a:pt x="3302" y="-19366"/>
                    <a:pt x="-1868" y="4344"/>
                  </a:cubicBezTo>
                  <a:cubicBezTo>
                    <a:pt x="131" y="6343"/>
                    <a:pt x="4198" y="10410"/>
                    <a:pt x="6197" y="12477"/>
                  </a:cubicBezTo>
                  <a:lnTo>
                    <a:pt x="6197" y="12477"/>
                  </a:lnTo>
                </a:path>
              </a:pathLst>
            </a:custGeom>
            <a:grpFill/>
            <a:ln w="689" cap="flat">
              <a:noFill/>
              <a:prstDash val="solid"/>
              <a:miter/>
            </a:ln>
          </p:spPr>
          <p:txBody>
            <a:bodyPr rtlCol="0" anchor="ctr"/>
            <a:lstStyle/>
            <a:p>
              <a:endParaRPr lang="en-US" sz="2400" dirty="0"/>
            </a:p>
          </p:txBody>
        </p:sp>
        <p:sp>
          <p:nvSpPr>
            <p:cNvPr id="347" name="Graphic 8">
              <a:extLst>
                <a:ext uri="{FF2B5EF4-FFF2-40B4-BE49-F238E27FC236}">
                  <a16:creationId xmlns:a16="http://schemas.microsoft.com/office/drawing/2014/main" id="{E2921267-92EF-4B32-BDF9-D5ACFA5D6570}"/>
                </a:ext>
              </a:extLst>
            </p:cNvPr>
            <p:cNvSpPr/>
            <p:nvPr/>
          </p:nvSpPr>
          <p:spPr>
            <a:xfrm flipV="1">
              <a:off x="752431" y="2269825"/>
              <a:ext cx="10158" cy="9358"/>
            </a:xfrm>
            <a:custGeom>
              <a:avLst/>
              <a:gdLst>
                <a:gd name="connsiteX0" fmla="*/ 965 w 10158"/>
                <a:gd name="connsiteY0" fmla="*/ 5638 h 9358"/>
                <a:gd name="connsiteX1" fmla="*/ 965 w 10158"/>
                <a:gd name="connsiteY1" fmla="*/ 5638 h 9358"/>
                <a:gd name="connsiteX2" fmla="*/ 965 w 10158"/>
                <a:gd name="connsiteY2" fmla="*/ 5638 h 9358"/>
              </a:gdLst>
              <a:ahLst/>
              <a:cxnLst>
                <a:cxn ang="0">
                  <a:pos x="connsiteX0" y="connsiteY0"/>
                </a:cxn>
                <a:cxn ang="0">
                  <a:pos x="connsiteX1" y="connsiteY1"/>
                </a:cxn>
                <a:cxn ang="0">
                  <a:pos x="connsiteX2" y="connsiteY2"/>
                </a:cxn>
              </a:cxnLst>
              <a:rect l="l" t="t" r="r" b="b"/>
              <a:pathLst>
                <a:path w="10158" h="9358">
                  <a:moveTo>
                    <a:pt x="965" y="5638"/>
                  </a:moveTo>
                  <a:cubicBezTo>
                    <a:pt x="23845" y="5707"/>
                    <a:pt x="-8550" y="-15452"/>
                    <a:pt x="965" y="5638"/>
                  </a:cubicBezTo>
                  <a:lnTo>
                    <a:pt x="965" y="5638"/>
                  </a:lnTo>
                </a:path>
              </a:pathLst>
            </a:custGeom>
            <a:grpFill/>
            <a:ln w="689" cap="flat">
              <a:noFill/>
              <a:prstDash val="solid"/>
              <a:miter/>
            </a:ln>
          </p:spPr>
          <p:txBody>
            <a:bodyPr rtlCol="0" anchor="ctr"/>
            <a:lstStyle/>
            <a:p>
              <a:endParaRPr lang="en-US" sz="2400" dirty="0"/>
            </a:p>
          </p:txBody>
        </p:sp>
        <p:sp>
          <p:nvSpPr>
            <p:cNvPr id="348" name="Graphic 8">
              <a:extLst>
                <a:ext uri="{FF2B5EF4-FFF2-40B4-BE49-F238E27FC236}">
                  <a16:creationId xmlns:a16="http://schemas.microsoft.com/office/drawing/2014/main" id="{1FF8C310-AFFC-4152-97BF-47EF5B103DF1}"/>
                </a:ext>
              </a:extLst>
            </p:cNvPr>
            <p:cNvSpPr/>
            <p:nvPr/>
          </p:nvSpPr>
          <p:spPr>
            <a:xfrm flipV="1">
              <a:off x="1837381" y="2267895"/>
              <a:ext cx="26811" cy="88843"/>
            </a:xfrm>
            <a:custGeom>
              <a:avLst/>
              <a:gdLst>
                <a:gd name="connsiteX0" fmla="*/ 11781 w 26811"/>
                <a:gd name="connsiteY0" fmla="*/ 85186 h 88843"/>
                <a:gd name="connsiteX1" fmla="*/ 13642 w 26811"/>
                <a:gd name="connsiteY1" fmla="*/ 42246 h 88843"/>
                <a:gd name="connsiteX2" fmla="*/ 24601 w 26811"/>
                <a:gd name="connsiteY2" fmla="*/ -1108 h 88843"/>
                <a:gd name="connsiteX3" fmla="*/ -5 w 26811"/>
                <a:gd name="connsiteY3" fmla="*/ -3658 h 88843"/>
                <a:gd name="connsiteX4" fmla="*/ -2211 w 26811"/>
                <a:gd name="connsiteY4" fmla="*/ 26462 h 88843"/>
                <a:gd name="connsiteX5" fmla="*/ 11781 w 26811"/>
                <a:gd name="connsiteY5" fmla="*/ 85186 h 88843"/>
                <a:gd name="connsiteX6" fmla="*/ 11781 w 26811"/>
                <a:gd name="connsiteY6" fmla="*/ 85186 h 8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11" h="88843">
                  <a:moveTo>
                    <a:pt x="11781" y="85186"/>
                  </a:moveTo>
                  <a:cubicBezTo>
                    <a:pt x="14676" y="71057"/>
                    <a:pt x="14263" y="56651"/>
                    <a:pt x="13642" y="42246"/>
                  </a:cubicBezTo>
                  <a:cubicBezTo>
                    <a:pt x="22602" y="29564"/>
                    <a:pt x="22464" y="13642"/>
                    <a:pt x="24601" y="-1108"/>
                  </a:cubicBezTo>
                  <a:cubicBezTo>
                    <a:pt x="16399" y="-1935"/>
                    <a:pt x="8197" y="-2762"/>
                    <a:pt x="-5" y="-3658"/>
                  </a:cubicBezTo>
                  <a:cubicBezTo>
                    <a:pt x="-832" y="6405"/>
                    <a:pt x="-1590" y="16468"/>
                    <a:pt x="-2211" y="26462"/>
                  </a:cubicBezTo>
                  <a:cubicBezTo>
                    <a:pt x="18880" y="37835"/>
                    <a:pt x="9300" y="65818"/>
                    <a:pt x="11781" y="85186"/>
                  </a:cubicBezTo>
                  <a:lnTo>
                    <a:pt x="11781" y="85186"/>
                  </a:lnTo>
                </a:path>
              </a:pathLst>
            </a:custGeom>
            <a:grpFill/>
            <a:ln w="689" cap="flat">
              <a:noFill/>
              <a:prstDash val="solid"/>
              <a:miter/>
            </a:ln>
          </p:spPr>
          <p:txBody>
            <a:bodyPr rtlCol="0" anchor="ctr"/>
            <a:lstStyle/>
            <a:p>
              <a:endParaRPr lang="en-US" sz="2400" dirty="0"/>
            </a:p>
          </p:txBody>
        </p:sp>
        <p:sp>
          <p:nvSpPr>
            <p:cNvPr id="349" name="Graphic 8">
              <a:extLst>
                <a:ext uri="{FF2B5EF4-FFF2-40B4-BE49-F238E27FC236}">
                  <a16:creationId xmlns:a16="http://schemas.microsoft.com/office/drawing/2014/main" id="{A710E9E1-4C10-4DF7-9CB1-A74D625ADCF0}"/>
                </a:ext>
              </a:extLst>
            </p:cNvPr>
            <p:cNvSpPr/>
            <p:nvPr/>
          </p:nvSpPr>
          <p:spPr>
            <a:xfrm flipV="1">
              <a:off x="6139449" y="2270721"/>
              <a:ext cx="2687" cy="1033"/>
            </a:xfrm>
            <a:custGeom>
              <a:avLst/>
              <a:gdLst>
                <a:gd name="connsiteX0" fmla="*/ -7605 w 2687"/>
                <a:gd name="connsiteY0" fmla="*/ -2692 h 1033"/>
                <a:gd name="connsiteX1" fmla="*/ -4917 w 2687"/>
                <a:gd name="connsiteY1" fmla="*/ -3725 h 1033"/>
                <a:gd name="connsiteX2" fmla="*/ -7605 w 2687"/>
                <a:gd name="connsiteY2" fmla="*/ -2692 h 1033"/>
                <a:gd name="connsiteX3" fmla="*/ -7605 w 2687"/>
                <a:gd name="connsiteY3" fmla="*/ -2692 h 1033"/>
              </a:gdLst>
              <a:ahLst/>
              <a:cxnLst>
                <a:cxn ang="0">
                  <a:pos x="connsiteX0" y="connsiteY0"/>
                </a:cxn>
                <a:cxn ang="0">
                  <a:pos x="connsiteX1" y="connsiteY1"/>
                </a:cxn>
                <a:cxn ang="0">
                  <a:pos x="connsiteX2" y="connsiteY2"/>
                </a:cxn>
                <a:cxn ang="0">
                  <a:pos x="connsiteX3" y="connsiteY3"/>
                </a:cxn>
              </a:cxnLst>
              <a:rect l="l" t="t" r="r" b="b"/>
              <a:pathLst>
                <a:path w="2687" h="1033">
                  <a:moveTo>
                    <a:pt x="-7605" y="-2692"/>
                  </a:moveTo>
                  <a:cubicBezTo>
                    <a:pt x="-6916" y="-2967"/>
                    <a:pt x="-5606" y="-3450"/>
                    <a:pt x="-4917" y="-3725"/>
                  </a:cubicBezTo>
                  <a:cubicBezTo>
                    <a:pt x="-5606" y="-3450"/>
                    <a:pt x="-6916" y="-2967"/>
                    <a:pt x="-7605" y="-2692"/>
                  </a:cubicBezTo>
                  <a:lnTo>
                    <a:pt x="-7605" y="-2692"/>
                  </a:lnTo>
                </a:path>
              </a:pathLst>
            </a:custGeom>
            <a:grpFill/>
            <a:ln w="689" cap="flat">
              <a:noFill/>
              <a:prstDash val="solid"/>
              <a:miter/>
            </a:ln>
          </p:spPr>
          <p:txBody>
            <a:bodyPr rtlCol="0" anchor="ctr"/>
            <a:lstStyle/>
            <a:p>
              <a:endParaRPr lang="en-US" sz="2400" dirty="0"/>
            </a:p>
          </p:txBody>
        </p:sp>
        <p:sp>
          <p:nvSpPr>
            <p:cNvPr id="350" name="Graphic 8">
              <a:extLst>
                <a:ext uri="{FF2B5EF4-FFF2-40B4-BE49-F238E27FC236}">
                  <a16:creationId xmlns:a16="http://schemas.microsoft.com/office/drawing/2014/main" id="{D6A8C7EF-A701-4F5E-A40E-D9B88BDAE245}"/>
                </a:ext>
              </a:extLst>
            </p:cNvPr>
            <p:cNvSpPr/>
            <p:nvPr/>
          </p:nvSpPr>
          <p:spPr>
            <a:xfrm flipV="1">
              <a:off x="8744592" y="2287539"/>
              <a:ext cx="3308" cy="3101"/>
            </a:xfrm>
            <a:custGeom>
              <a:avLst/>
              <a:gdLst>
                <a:gd name="connsiteX0" fmla="*/ -10881 w 3308"/>
                <a:gd name="connsiteY0" fmla="*/ -594 h 3101"/>
                <a:gd name="connsiteX1" fmla="*/ -10881 w 3308"/>
                <a:gd name="connsiteY1" fmla="*/ -594 h 3101"/>
                <a:gd name="connsiteX2" fmla="*/ -10881 w 3308"/>
                <a:gd name="connsiteY2" fmla="*/ -594 h 3101"/>
              </a:gdLst>
              <a:ahLst/>
              <a:cxnLst>
                <a:cxn ang="0">
                  <a:pos x="connsiteX0" y="connsiteY0"/>
                </a:cxn>
                <a:cxn ang="0">
                  <a:pos x="connsiteX1" y="connsiteY1"/>
                </a:cxn>
                <a:cxn ang="0">
                  <a:pos x="connsiteX2" y="connsiteY2"/>
                </a:cxn>
              </a:cxnLst>
              <a:rect l="l" t="t" r="r" b="b"/>
              <a:pathLst>
                <a:path w="3308" h="3101">
                  <a:moveTo>
                    <a:pt x="-10881" y="-594"/>
                  </a:moveTo>
                  <a:cubicBezTo>
                    <a:pt x="-6470" y="-4730"/>
                    <a:pt x="-6470" y="-4730"/>
                    <a:pt x="-10881" y="-594"/>
                  </a:cubicBezTo>
                  <a:lnTo>
                    <a:pt x="-10881" y="-594"/>
                  </a:lnTo>
                </a:path>
              </a:pathLst>
            </a:custGeom>
            <a:grpFill/>
            <a:ln w="689" cap="flat">
              <a:noFill/>
              <a:prstDash val="solid"/>
              <a:miter/>
            </a:ln>
          </p:spPr>
          <p:txBody>
            <a:bodyPr rtlCol="0" anchor="ctr"/>
            <a:lstStyle/>
            <a:p>
              <a:endParaRPr lang="en-US" sz="2400" dirty="0"/>
            </a:p>
          </p:txBody>
        </p:sp>
        <p:sp>
          <p:nvSpPr>
            <p:cNvPr id="351" name="Graphic 8">
              <a:extLst>
                <a:ext uri="{FF2B5EF4-FFF2-40B4-BE49-F238E27FC236}">
                  <a16:creationId xmlns:a16="http://schemas.microsoft.com/office/drawing/2014/main" id="{09202355-CF15-4707-9BAC-21C97D4BE259}"/>
                </a:ext>
              </a:extLst>
            </p:cNvPr>
            <p:cNvSpPr/>
            <p:nvPr/>
          </p:nvSpPr>
          <p:spPr>
            <a:xfrm flipV="1">
              <a:off x="4958415" y="2295472"/>
              <a:ext cx="13869" cy="14252"/>
            </a:xfrm>
            <a:custGeom>
              <a:avLst/>
              <a:gdLst>
                <a:gd name="connsiteX0" fmla="*/ -4945 w 13869"/>
                <a:gd name="connsiteY0" fmla="*/ 8932 h 14252"/>
                <a:gd name="connsiteX1" fmla="*/ 6634 w 13869"/>
                <a:gd name="connsiteY1" fmla="*/ -2027 h 14252"/>
                <a:gd name="connsiteX2" fmla="*/ -4945 w 13869"/>
                <a:gd name="connsiteY2" fmla="*/ 8932 h 14252"/>
                <a:gd name="connsiteX3" fmla="*/ -4945 w 13869"/>
                <a:gd name="connsiteY3" fmla="*/ 8932 h 14252"/>
              </a:gdLst>
              <a:ahLst/>
              <a:cxnLst>
                <a:cxn ang="0">
                  <a:pos x="connsiteX0" y="connsiteY0"/>
                </a:cxn>
                <a:cxn ang="0">
                  <a:pos x="connsiteX1" y="connsiteY1"/>
                </a:cxn>
                <a:cxn ang="0">
                  <a:pos x="connsiteX2" y="connsiteY2"/>
                </a:cxn>
                <a:cxn ang="0">
                  <a:pos x="connsiteX3" y="connsiteY3"/>
                </a:cxn>
              </a:cxnLst>
              <a:rect l="l" t="t" r="r" b="b"/>
              <a:pathLst>
                <a:path w="13869" h="14252">
                  <a:moveTo>
                    <a:pt x="-4945" y="8932"/>
                  </a:moveTo>
                  <a:cubicBezTo>
                    <a:pt x="6014" y="13068"/>
                    <a:pt x="9874" y="9415"/>
                    <a:pt x="6634" y="-2027"/>
                  </a:cubicBezTo>
                  <a:cubicBezTo>
                    <a:pt x="-4463" y="-6162"/>
                    <a:pt x="-8322" y="-2509"/>
                    <a:pt x="-4945" y="8932"/>
                  </a:cubicBezTo>
                  <a:lnTo>
                    <a:pt x="-4945" y="8932"/>
                  </a:lnTo>
                </a:path>
              </a:pathLst>
            </a:custGeom>
            <a:grpFill/>
            <a:ln w="689" cap="flat">
              <a:noFill/>
              <a:prstDash val="solid"/>
              <a:miter/>
            </a:ln>
          </p:spPr>
          <p:txBody>
            <a:bodyPr rtlCol="0" anchor="ctr"/>
            <a:lstStyle/>
            <a:p>
              <a:endParaRPr lang="en-US" sz="2400" dirty="0"/>
            </a:p>
          </p:txBody>
        </p:sp>
        <p:sp>
          <p:nvSpPr>
            <p:cNvPr id="352" name="Graphic 8">
              <a:extLst>
                <a:ext uri="{FF2B5EF4-FFF2-40B4-BE49-F238E27FC236}">
                  <a16:creationId xmlns:a16="http://schemas.microsoft.com/office/drawing/2014/main" id="{E550F1CB-55E5-481D-A396-F29559A1F16A}"/>
                </a:ext>
              </a:extLst>
            </p:cNvPr>
            <p:cNvSpPr/>
            <p:nvPr/>
          </p:nvSpPr>
          <p:spPr>
            <a:xfrm flipV="1">
              <a:off x="6076658" y="2300362"/>
              <a:ext cx="9386" cy="10475"/>
            </a:xfrm>
            <a:custGeom>
              <a:avLst/>
              <a:gdLst>
                <a:gd name="connsiteX0" fmla="*/ -7530 w 9386"/>
                <a:gd name="connsiteY0" fmla="*/ 4328 h 10475"/>
                <a:gd name="connsiteX1" fmla="*/ -7530 w 9386"/>
                <a:gd name="connsiteY1" fmla="*/ 4328 h 10475"/>
                <a:gd name="connsiteX2" fmla="*/ -7530 w 9386"/>
                <a:gd name="connsiteY2" fmla="*/ 4328 h 10475"/>
              </a:gdLst>
              <a:ahLst/>
              <a:cxnLst>
                <a:cxn ang="0">
                  <a:pos x="connsiteX0" y="connsiteY0"/>
                </a:cxn>
                <a:cxn ang="0">
                  <a:pos x="connsiteX1" y="connsiteY1"/>
                </a:cxn>
                <a:cxn ang="0">
                  <a:pos x="connsiteX2" y="connsiteY2"/>
                </a:cxn>
              </a:cxnLst>
              <a:rect l="l" t="t" r="r" b="b"/>
              <a:pathLst>
                <a:path w="9386" h="10475">
                  <a:moveTo>
                    <a:pt x="-7530" y="4328"/>
                  </a:moveTo>
                  <a:cubicBezTo>
                    <a:pt x="12251" y="15976"/>
                    <a:pt x="-4980" y="-18486"/>
                    <a:pt x="-7530" y="4328"/>
                  </a:cubicBezTo>
                  <a:lnTo>
                    <a:pt x="-7530" y="4328"/>
                  </a:lnTo>
                </a:path>
              </a:pathLst>
            </a:custGeom>
            <a:grpFill/>
            <a:ln w="689" cap="flat">
              <a:noFill/>
              <a:prstDash val="solid"/>
              <a:miter/>
            </a:ln>
          </p:spPr>
          <p:txBody>
            <a:bodyPr rtlCol="0" anchor="ctr"/>
            <a:lstStyle/>
            <a:p>
              <a:endParaRPr lang="en-US" sz="2400" dirty="0"/>
            </a:p>
          </p:txBody>
        </p:sp>
        <p:sp>
          <p:nvSpPr>
            <p:cNvPr id="353" name="Graphic 8">
              <a:extLst>
                <a:ext uri="{FF2B5EF4-FFF2-40B4-BE49-F238E27FC236}">
                  <a16:creationId xmlns:a16="http://schemas.microsoft.com/office/drawing/2014/main" id="{3F2595CA-2DEB-4E16-82D5-5DFC628F7B00}"/>
                </a:ext>
              </a:extLst>
            </p:cNvPr>
            <p:cNvSpPr/>
            <p:nvPr/>
          </p:nvSpPr>
          <p:spPr>
            <a:xfrm flipV="1">
              <a:off x="8323532" y="2302082"/>
              <a:ext cx="2946" cy="2843"/>
            </a:xfrm>
            <a:custGeom>
              <a:avLst/>
              <a:gdLst>
                <a:gd name="connsiteX0" fmla="*/ -10351 w 2946"/>
                <a:gd name="connsiteY0" fmla="*/ -829 h 2843"/>
                <a:gd name="connsiteX1" fmla="*/ -10351 w 2946"/>
                <a:gd name="connsiteY1" fmla="*/ -829 h 2843"/>
                <a:gd name="connsiteX2" fmla="*/ -10351 w 2946"/>
                <a:gd name="connsiteY2" fmla="*/ -829 h 2843"/>
              </a:gdLst>
              <a:ahLst/>
              <a:cxnLst>
                <a:cxn ang="0">
                  <a:pos x="connsiteX0" y="connsiteY0"/>
                </a:cxn>
                <a:cxn ang="0">
                  <a:pos x="connsiteX1" y="connsiteY1"/>
                </a:cxn>
                <a:cxn ang="0">
                  <a:pos x="connsiteX2" y="connsiteY2"/>
                </a:cxn>
              </a:cxnLst>
              <a:rect l="l" t="t" r="r" b="b"/>
              <a:pathLst>
                <a:path w="2946" h="2843">
                  <a:moveTo>
                    <a:pt x="-10351" y="-829"/>
                  </a:moveTo>
                  <a:cubicBezTo>
                    <a:pt x="-6422" y="-4620"/>
                    <a:pt x="-6422" y="-4620"/>
                    <a:pt x="-10351" y="-829"/>
                  </a:cubicBezTo>
                  <a:lnTo>
                    <a:pt x="-10351" y="-829"/>
                  </a:lnTo>
                </a:path>
              </a:pathLst>
            </a:custGeom>
            <a:grpFill/>
            <a:ln w="689" cap="flat">
              <a:noFill/>
              <a:prstDash val="solid"/>
              <a:miter/>
            </a:ln>
          </p:spPr>
          <p:txBody>
            <a:bodyPr rtlCol="0" anchor="ctr"/>
            <a:lstStyle/>
            <a:p>
              <a:endParaRPr lang="en-US" sz="2400" dirty="0"/>
            </a:p>
          </p:txBody>
        </p:sp>
        <p:sp>
          <p:nvSpPr>
            <p:cNvPr id="354" name="Graphic 8">
              <a:extLst>
                <a:ext uri="{FF2B5EF4-FFF2-40B4-BE49-F238E27FC236}">
                  <a16:creationId xmlns:a16="http://schemas.microsoft.com/office/drawing/2014/main" id="{91EE1743-EBEF-4599-8D7D-3F3591BD69FA}"/>
                </a:ext>
              </a:extLst>
            </p:cNvPr>
            <p:cNvSpPr/>
            <p:nvPr/>
          </p:nvSpPr>
          <p:spPr>
            <a:xfrm flipV="1">
              <a:off x="6085343" y="2304977"/>
              <a:ext cx="70233" cy="58378"/>
            </a:xfrm>
            <a:custGeom>
              <a:avLst/>
              <a:gdLst>
                <a:gd name="connsiteX0" fmla="*/ 9031 w 70233"/>
                <a:gd name="connsiteY0" fmla="*/ 40352 h 58378"/>
                <a:gd name="connsiteX1" fmla="*/ 16130 w 70233"/>
                <a:gd name="connsiteY1" fmla="*/ 54757 h 58378"/>
                <a:gd name="connsiteX2" fmla="*/ 61965 w 70233"/>
                <a:gd name="connsiteY2" fmla="*/ 42627 h 58378"/>
                <a:gd name="connsiteX3" fmla="*/ 62654 w 70233"/>
                <a:gd name="connsiteY3" fmla="*/ 7819 h 58378"/>
                <a:gd name="connsiteX4" fmla="*/ 53832 w 70233"/>
                <a:gd name="connsiteY4" fmla="*/ -314 h 58378"/>
                <a:gd name="connsiteX5" fmla="*/ 50248 w 70233"/>
                <a:gd name="connsiteY5" fmla="*/ -3622 h 58378"/>
                <a:gd name="connsiteX6" fmla="*/ 24746 w 70233"/>
                <a:gd name="connsiteY6" fmla="*/ 1892 h 58378"/>
                <a:gd name="connsiteX7" fmla="*/ 34051 w 70233"/>
                <a:gd name="connsiteY7" fmla="*/ 20157 h 58378"/>
                <a:gd name="connsiteX8" fmla="*/ 23092 w 70233"/>
                <a:gd name="connsiteY8" fmla="*/ 24706 h 58378"/>
                <a:gd name="connsiteX9" fmla="*/ 17302 w 70233"/>
                <a:gd name="connsiteY9" fmla="*/ 24017 h 58378"/>
                <a:gd name="connsiteX10" fmla="*/ -7579 w 70233"/>
                <a:gd name="connsiteY10" fmla="*/ 43453 h 58378"/>
                <a:gd name="connsiteX11" fmla="*/ 9031 w 70233"/>
                <a:gd name="connsiteY11" fmla="*/ 40352 h 58378"/>
                <a:gd name="connsiteX12" fmla="*/ 9031 w 70233"/>
                <a:gd name="connsiteY12" fmla="*/ 40352 h 58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233" h="58378">
                  <a:moveTo>
                    <a:pt x="9031" y="40352"/>
                  </a:moveTo>
                  <a:cubicBezTo>
                    <a:pt x="10823" y="43936"/>
                    <a:pt x="14339" y="51173"/>
                    <a:pt x="16130" y="54757"/>
                  </a:cubicBezTo>
                  <a:cubicBezTo>
                    <a:pt x="31087" y="49726"/>
                    <a:pt x="46457" y="46073"/>
                    <a:pt x="61965" y="42627"/>
                  </a:cubicBezTo>
                  <a:cubicBezTo>
                    <a:pt x="62035" y="31047"/>
                    <a:pt x="62310" y="19468"/>
                    <a:pt x="62654" y="7819"/>
                  </a:cubicBezTo>
                  <a:cubicBezTo>
                    <a:pt x="60449" y="5821"/>
                    <a:pt x="56038" y="1685"/>
                    <a:pt x="53832" y="-314"/>
                  </a:cubicBezTo>
                  <a:lnTo>
                    <a:pt x="50248" y="-3622"/>
                  </a:lnTo>
                  <a:cubicBezTo>
                    <a:pt x="41564" y="-1968"/>
                    <a:pt x="32742" y="-1968"/>
                    <a:pt x="24746" y="1892"/>
                  </a:cubicBezTo>
                  <a:cubicBezTo>
                    <a:pt x="25780" y="8716"/>
                    <a:pt x="28881" y="14850"/>
                    <a:pt x="34051" y="20157"/>
                  </a:cubicBezTo>
                  <a:cubicBezTo>
                    <a:pt x="31294" y="21260"/>
                    <a:pt x="25849" y="23534"/>
                    <a:pt x="23092" y="24706"/>
                  </a:cubicBezTo>
                  <a:cubicBezTo>
                    <a:pt x="31363" y="39732"/>
                    <a:pt x="5516" y="36906"/>
                    <a:pt x="17302" y="24017"/>
                  </a:cubicBezTo>
                  <a:cubicBezTo>
                    <a:pt x="6964" y="28014"/>
                    <a:pt x="-6339" y="30013"/>
                    <a:pt x="-7579" y="43453"/>
                  </a:cubicBezTo>
                  <a:cubicBezTo>
                    <a:pt x="-3444" y="42695"/>
                    <a:pt x="4896" y="41110"/>
                    <a:pt x="9031" y="40352"/>
                  </a:cubicBezTo>
                  <a:lnTo>
                    <a:pt x="9031" y="40352"/>
                  </a:lnTo>
                </a:path>
              </a:pathLst>
            </a:custGeom>
            <a:grpFill/>
            <a:ln w="689" cap="flat">
              <a:noFill/>
              <a:prstDash val="solid"/>
              <a:miter/>
            </a:ln>
          </p:spPr>
          <p:txBody>
            <a:bodyPr rtlCol="0" anchor="ctr"/>
            <a:lstStyle/>
            <a:p>
              <a:endParaRPr lang="en-US" sz="2400" dirty="0"/>
            </a:p>
          </p:txBody>
        </p:sp>
        <p:sp>
          <p:nvSpPr>
            <p:cNvPr id="355" name="Graphic 8">
              <a:extLst>
                <a:ext uri="{FF2B5EF4-FFF2-40B4-BE49-F238E27FC236}">
                  <a16:creationId xmlns:a16="http://schemas.microsoft.com/office/drawing/2014/main" id="{54451461-686F-44B4-86E5-56B2D81B900D}"/>
                </a:ext>
              </a:extLst>
            </p:cNvPr>
            <p:cNvSpPr/>
            <p:nvPr/>
          </p:nvSpPr>
          <p:spPr>
            <a:xfrm flipV="1">
              <a:off x="1561820" y="2315867"/>
              <a:ext cx="7251873" cy="453679"/>
            </a:xfrm>
            <a:custGeom>
              <a:avLst/>
              <a:gdLst>
                <a:gd name="connsiteX0" fmla="*/ 7237503 w 7251873"/>
                <a:gd name="connsiteY0" fmla="*/ 6388 h 453679"/>
                <a:gd name="connsiteX1" fmla="*/ 7237503 w 7251873"/>
                <a:gd name="connsiteY1" fmla="*/ 6388 h 453679"/>
                <a:gd name="connsiteX2" fmla="*/ -6407 w 7251873"/>
                <a:gd name="connsiteY2" fmla="*/ 450400 h 453679"/>
                <a:gd name="connsiteX3" fmla="*/ -6407 w 7251873"/>
                <a:gd name="connsiteY3" fmla="*/ 450400 h 453679"/>
              </a:gdLst>
              <a:ahLst/>
              <a:cxnLst>
                <a:cxn ang="0">
                  <a:pos x="connsiteX0" y="connsiteY0"/>
                </a:cxn>
                <a:cxn ang="0">
                  <a:pos x="connsiteX1" y="connsiteY1"/>
                </a:cxn>
                <a:cxn ang="0">
                  <a:pos x="connsiteX2" y="connsiteY2"/>
                </a:cxn>
                <a:cxn ang="0">
                  <a:pos x="connsiteX3" y="connsiteY3"/>
                </a:cxn>
              </a:cxnLst>
              <a:rect l="l" t="t" r="r" b="b"/>
              <a:pathLst>
                <a:path w="7251873" h="453679">
                  <a:moveTo>
                    <a:pt x="7237503" y="6388"/>
                  </a:moveTo>
                  <a:cubicBezTo>
                    <a:pt x="7259972" y="4320"/>
                    <a:pt x="7226613" y="-14289"/>
                    <a:pt x="7237503" y="6388"/>
                  </a:cubicBezTo>
                  <a:close/>
                  <a:moveTo>
                    <a:pt x="-6407" y="450400"/>
                  </a:moveTo>
                  <a:cubicBezTo>
                    <a:pt x="-2753" y="446403"/>
                    <a:pt x="-2753" y="446403"/>
                    <a:pt x="-6407" y="450400"/>
                  </a:cubicBezTo>
                </a:path>
              </a:pathLst>
            </a:custGeom>
            <a:grpFill/>
            <a:ln w="689" cap="flat">
              <a:noFill/>
              <a:prstDash val="solid"/>
              <a:miter/>
            </a:ln>
          </p:spPr>
          <p:txBody>
            <a:bodyPr rtlCol="0" anchor="ctr"/>
            <a:lstStyle/>
            <a:p>
              <a:endParaRPr lang="en-US" sz="2400" dirty="0"/>
            </a:p>
          </p:txBody>
        </p:sp>
        <p:sp>
          <p:nvSpPr>
            <p:cNvPr id="356" name="Graphic 8">
              <a:extLst>
                <a:ext uri="{FF2B5EF4-FFF2-40B4-BE49-F238E27FC236}">
                  <a16:creationId xmlns:a16="http://schemas.microsoft.com/office/drawing/2014/main" id="{8942308D-D47F-4BD4-9CA3-A3A741BD396E}"/>
                </a:ext>
              </a:extLst>
            </p:cNvPr>
            <p:cNvSpPr/>
            <p:nvPr/>
          </p:nvSpPr>
          <p:spPr>
            <a:xfrm flipV="1">
              <a:off x="1142138" y="2323586"/>
              <a:ext cx="2739" cy="3153"/>
            </a:xfrm>
            <a:custGeom>
              <a:avLst/>
              <a:gdLst>
                <a:gd name="connsiteX0" fmla="*/ -1321 w 2739"/>
                <a:gd name="connsiteY0" fmla="*/ -483 h 3153"/>
                <a:gd name="connsiteX1" fmla="*/ -1321 w 2739"/>
                <a:gd name="connsiteY1" fmla="*/ -483 h 3153"/>
                <a:gd name="connsiteX2" fmla="*/ -1321 w 2739"/>
                <a:gd name="connsiteY2" fmla="*/ -483 h 3153"/>
              </a:gdLst>
              <a:ahLst/>
              <a:cxnLst>
                <a:cxn ang="0">
                  <a:pos x="connsiteX0" y="connsiteY0"/>
                </a:cxn>
                <a:cxn ang="0">
                  <a:pos x="connsiteX1" y="connsiteY1"/>
                </a:cxn>
                <a:cxn ang="0">
                  <a:pos x="connsiteX2" y="connsiteY2"/>
                </a:cxn>
              </a:cxnLst>
              <a:rect l="l" t="t" r="r" b="b"/>
              <a:pathLst>
                <a:path w="2739" h="3153">
                  <a:moveTo>
                    <a:pt x="-1321" y="-483"/>
                  </a:moveTo>
                  <a:cubicBezTo>
                    <a:pt x="2332" y="-4688"/>
                    <a:pt x="2332" y="-4688"/>
                    <a:pt x="-1321" y="-483"/>
                  </a:cubicBezTo>
                  <a:lnTo>
                    <a:pt x="-1321" y="-483"/>
                  </a:lnTo>
                </a:path>
              </a:pathLst>
            </a:custGeom>
            <a:grpFill/>
            <a:ln w="689" cap="flat">
              <a:noFill/>
              <a:prstDash val="solid"/>
              <a:miter/>
            </a:ln>
          </p:spPr>
          <p:txBody>
            <a:bodyPr rtlCol="0" anchor="ctr"/>
            <a:lstStyle/>
            <a:p>
              <a:endParaRPr lang="en-US" sz="2400" dirty="0"/>
            </a:p>
          </p:txBody>
        </p:sp>
        <p:sp>
          <p:nvSpPr>
            <p:cNvPr id="357" name="Graphic 8">
              <a:extLst>
                <a:ext uri="{FF2B5EF4-FFF2-40B4-BE49-F238E27FC236}">
                  <a16:creationId xmlns:a16="http://schemas.microsoft.com/office/drawing/2014/main" id="{5B802D8E-5303-4101-AF9D-2F92A88F25B5}"/>
                </a:ext>
              </a:extLst>
            </p:cNvPr>
            <p:cNvSpPr/>
            <p:nvPr/>
          </p:nvSpPr>
          <p:spPr>
            <a:xfrm flipV="1">
              <a:off x="7427995" y="2324620"/>
              <a:ext cx="2636" cy="2739"/>
            </a:xfrm>
            <a:custGeom>
              <a:avLst/>
              <a:gdLst>
                <a:gd name="connsiteX0" fmla="*/ -9225 w 2636"/>
                <a:gd name="connsiteY0" fmla="*/ -896 h 2739"/>
                <a:gd name="connsiteX1" fmla="*/ -9225 w 2636"/>
                <a:gd name="connsiteY1" fmla="*/ -896 h 2739"/>
                <a:gd name="connsiteX2" fmla="*/ -9225 w 2636"/>
                <a:gd name="connsiteY2" fmla="*/ -896 h 2739"/>
              </a:gdLst>
              <a:ahLst/>
              <a:cxnLst>
                <a:cxn ang="0">
                  <a:pos x="connsiteX0" y="connsiteY0"/>
                </a:cxn>
                <a:cxn ang="0">
                  <a:pos x="connsiteX1" y="connsiteY1"/>
                </a:cxn>
                <a:cxn ang="0">
                  <a:pos x="connsiteX2" y="connsiteY2"/>
                </a:cxn>
              </a:cxnLst>
              <a:rect l="l" t="t" r="r" b="b"/>
              <a:pathLst>
                <a:path w="2636" h="2739">
                  <a:moveTo>
                    <a:pt x="-9225" y="-896"/>
                  </a:moveTo>
                  <a:cubicBezTo>
                    <a:pt x="-5710" y="-4549"/>
                    <a:pt x="-5710" y="-4549"/>
                    <a:pt x="-9225" y="-896"/>
                  </a:cubicBezTo>
                  <a:lnTo>
                    <a:pt x="-9225" y="-896"/>
                  </a:lnTo>
                </a:path>
              </a:pathLst>
            </a:custGeom>
            <a:grpFill/>
            <a:ln w="689" cap="flat">
              <a:noFill/>
              <a:prstDash val="solid"/>
              <a:miter/>
            </a:ln>
          </p:spPr>
          <p:txBody>
            <a:bodyPr rtlCol="0" anchor="ctr"/>
            <a:lstStyle/>
            <a:p>
              <a:endParaRPr lang="en-US" sz="2400" dirty="0"/>
            </a:p>
          </p:txBody>
        </p:sp>
        <p:sp>
          <p:nvSpPr>
            <p:cNvPr id="358" name="Graphic 8">
              <a:extLst>
                <a:ext uri="{FF2B5EF4-FFF2-40B4-BE49-F238E27FC236}">
                  <a16:creationId xmlns:a16="http://schemas.microsoft.com/office/drawing/2014/main" id="{8ADB6C35-069A-4814-B068-4A465B14580D}"/>
                </a:ext>
              </a:extLst>
            </p:cNvPr>
            <p:cNvSpPr/>
            <p:nvPr/>
          </p:nvSpPr>
          <p:spPr>
            <a:xfrm flipV="1">
              <a:off x="862695" y="2340346"/>
              <a:ext cx="6784349" cy="1392515"/>
            </a:xfrm>
            <a:custGeom>
              <a:avLst/>
              <a:gdLst>
                <a:gd name="connsiteX0" fmla="*/ -3074 w 6784349"/>
                <a:gd name="connsiteY0" fmla="*/ 6880 h 1392515"/>
                <a:gd name="connsiteX1" fmla="*/ -3074 w 6784349"/>
                <a:gd name="connsiteY1" fmla="*/ 6880 h 1392515"/>
                <a:gd name="connsiteX2" fmla="*/ 6773457 w 6784349"/>
                <a:gd name="connsiteY2" fmla="*/ 372249 h 1392515"/>
                <a:gd name="connsiteX3" fmla="*/ 6770424 w 6784349"/>
                <a:gd name="connsiteY3" fmla="*/ 353847 h 1392515"/>
                <a:gd name="connsiteX4" fmla="*/ 6773457 w 6784349"/>
                <a:gd name="connsiteY4" fmla="*/ 372249 h 1392515"/>
                <a:gd name="connsiteX5" fmla="*/ 2347807 w 6784349"/>
                <a:gd name="connsiteY5" fmla="*/ 695506 h 1392515"/>
                <a:gd name="connsiteX6" fmla="*/ 2347807 w 6784349"/>
                <a:gd name="connsiteY6" fmla="*/ 695506 h 1392515"/>
                <a:gd name="connsiteX7" fmla="*/ 5769294 w 6784349"/>
                <a:gd name="connsiteY7" fmla="*/ 800065 h 1392515"/>
                <a:gd name="connsiteX8" fmla="*/ 5791213 w 6784349"/>
                <a:gd name="connsiteY8" fmla="*/ 789037 h 1392515"/>
                <a:gd name="connsiteX9" fmla="*/ 5769294 w 6784349"/>
                <a:gd name="connsiteY9" fmla="*/ 800065 h 1392515"/>
                <a:gd name="connsiteX10" fmla="*/ 1942599 w 6784349"/>
                <a:gd name="connsiteY10" fmla="*/ 814883 h 1392515"/>
                <a:gd name="connsiteX11" fmla="*/ 1942599 w 6784349"/>
                <a:gd name="connsiteY11" fmla="*/ 814883 h 1392515"/>
                <a:gd name="connsiteX12" fmla="*/ 183367 w 6784349"/>
                <a:gd name="connsiteY12" fmla="*/ 1082725 h 1392515"/>
                <a:gd name="connsiteX13" fmla="*/ 183367 w 6784349"/>
                <a:gd name="connsiteY13" fmla="*/ 1082725 h 1392515"/>
                <a:gd name="connsiteX14" fmla="*/ 1411328 w 6784349"/>
                <a:gd name="connsiteY14" fmla="*/ 1232498 h 1392515"/>
                <a:gd name="connsiteX15" fmla="*/ 1416015 w 6784349"/>
                <a:gd name="connsiteY15" fmla="*/ 1217403 h 1392515"/>
                <a:gd name="connsiteX16" fmla="*/ 1411328 w 6784349"/>
                <a:gd name="connsiteY16" fmla="*/ 1232498 h 1392515"/>
                <a:gd name="connsiteX17" fmla="*/ 1182636 w 6784349"/>
                <a:gd name="connsiteY17" fmla="*/ 1343604 h 1392515"/>
                <a:gd name="connsiteX18" fmla="*/ 1182636 w 6784349"/>
                <a:gd name="connsiteY18" fmla="*/ 1343604 h 1392515"/>
                <a:gd name="connsiteX19" fmla="*/ 308534 w 6784349"/>
                <a:gd name="connsiteY19" fmla="*/ 1368624 h 1392515"/>
                <a:gd name="connsiteX20" fmla="*/ 330383 w 6784349"/>
                <a:gd name="connsiteY20" fmla="*/ 1387165 h 1392515"/>
                <a:gd name="connsiteX21" fmla="*/ 308534 w 6784349"/>
                <a:gd name="connsiteY21" fmla="*/ 1368624 h 1392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84349" h="1392515">
                  <a:moveTo>
                    <a:pt x="-3074" y="6880"/>
                  </a:moveTo>
                  <a:cubicBezTo>
                    <a:pt x="19878" y="5915"/>
                    <a:pt x="-13757" y="-13659"/>
                    <a:pt x="-3074" y="6880"/>
                  </a:cubicBezTo>
                  <a:close/>
                  <a:moveTo>
                    <a:pt x="6773457" y="372249"/>
                  </a:moveTo>
                  <a:cubicBezTo>
                    <a:pt x="6784003" y="371491"/>
                    <a:pt x="6777937" y="355087"/>
                    <a:pt x="6770424" y="353847"/>
                  </a:cubicBezTo>
                  <a:cubicBezTo>
                    <a:pt x="6759466" y="354398"/>
                    <a:pt x="6765393" y="371422"/>
                    <a:pt x="6773457" y="372249"/>
                  </a:cubicBezTo>
                  <a:moveTo>
                    <a:pt x="2347807" y="695506"/>
                  </a:moveTo>
                  <a:cubicBezTo>
                    <a:pt x="2370552" y="693921"/>
                    <a:pt x="2336710" y="675104"/>
                    <a:pt x="2347807" y="695506"/>
                  </a:cubicBezTo>
                  <a:moveTo>
                    <a:pt x="5769294" y="800065"/>
                  </a:moveTo>
                  <a:cubicBezTo>
                    <a:pt x="5776394" y="806199"/>
                    <a:pt x="5794107" y="799444"/>
                    <a:pt x="5791213" y="789037"/>
                  </a:cubicBezTo>
                  <a:cubicBezTo>
                    <a:pt x="5783768" y="784281"/>
                    <a:pt x="5768123" y="790691"/>
                    <a:pt x="5769294" y="800065"/>
                  </a:cubicBezTo>
                  <a:moveTo>
                    <a:pt x="1942599" y="814883"/>
                  </a:moveTo>
                  <a:cubicBezTo>
                    <a:pt x="1963690" y="824326"/>
                    <a:pt x="1942255" y="791931"/>
                    <a:pt x="1942599" y="814883"/>
                  </a:cubicBezTo>
                  <a:moveTo>
                    <a:pt x="183367" y="1082725"/>
                  </a:moveTo>
                  <a:cubicBezTo>
                    <a:pt x="206043" y="1080863"/>
                    <a:pt x="172064" y="1062392"/>
                    <a:pt x="183367" y="1082725"/>
                  </a:cubicBezTo>
                  <a:moveTo>
                    <a:pt x="1411328" y="1232498"/>
                  </a:moveTo>
                  <a:cubicBezTo>
                    <a:pt x="1420426" y="1230981"/>
                    <a:pt x="1421943" y="1225950"/>
                    <a:pt x="1416015" y="1217403"/>
                  </a:cubicBezTo>
                  <a:cubicBezTo>
                    <a:pt x="1406848" y="1218920"/>
                    <a:pt x="1405332" y="1223951"/>
                    <a:pt x="1411328" y="1232498"/>
                  </a:cubicBezTo>
                  <a:moveTo>
                    <a:pt x="1182636" y="1343604"/>
                  </a:moveTo>
                  <a:cubicBezTo>
                    <a:pt x="1205382" y="1343260"/>
                    <a:pt x="1172780" y="1322582"/>
                    <a:pt x="1182636" y="1343604"/>
                  </a:cubicBezTo>
                  <a:moveTo>
                    <a:pt x="308534" y="1368624"/>
                  </a:moveTo>
                  <a:cubicBezTo>
                    <a:pt x="299643" y="1383305"/>
                    <a:pt x="316530" y="1395918"/>
                    <a:pt x="330383" y="1387165"/>
                  </a:cubicBezTo>
                  <a:cubicBezTo>
                    <a:pt x="324938" y="1378135"/>
                    <a:pt x="323215" y="1357596"/>
                    <a:pt x="308534" y="1368624"/>
                  </a:cubicBezTo>
                </a:path>
              </a:pathLst>
            </a:custGeom>
            <a:grpFill/>
            <a:ln w="689" cap="flat">
              <a:noFill/>
              <a:prstDash val="solid"/>
              <a:miter/>
            </a:ln>
          </p:spPr>
          <p:txBody>
            <a:bodyPr rtlCol="0" anchor="ctr"/>
            <a:lstStyle/>
            <a:p>
              <a:endParaRPr lang="en-US" sz="2400" dirty="0"/>
            </a:p>
          </p:txBody>
        </p:sp>
        <p:sp>
          <p:nvSpPr>
            <p:cNvPr id="359" name="Graphic 8">
              <a:extLst>
                <a:ext uri="{FF2B5EF4-FFF2-40B4-BE49-F238E27FC236}">
                  <a16:creationId xmlns:a16="http://schemas.microsoft.com/office/drawing/2014/main" id="{238561B0-8399-4229-AD46-F896A742310D}"/>
                </a:ext>
              </a:extLst>
            </p:cNvPr>
            <p:cNvSpPr/>
            <p:nvPr/>
          </p:nvSpPr>
          <p:spPr>
            <a:xfrm flipV="1">
              <a:off x="1569126" y="2345367"/>
              <a:ext cx="2739" cy="2739"/>
            </a:xfrm>
            <a:custGeom>
              <a:avLst/>
              <a:gdLst>
                <a:gd name="connsiteX0" fmla="*/ -1858 w 2739"/>
                <a:gd name="connsiteY0" fmla="*/ -861 h 2739"/>
                <a:gd name="connsiteX1" fmla="*/ -1858 w 2739"/>
                <a:gd name="connsiteY1" fmla="*/ -861 h 2739"/>
                <a:gd name="connsiteX2" fmla="*/ -1858 w 2739"/>
                <a:gd name="connsiteY2" fmla="*/ -861 h 2739"/>
              </a:gdLst>
              <a:ahLst/>
              <a:cxnLst>
                <a:cxn ang="0">
                  <a:pos x="connsiteX0" y="connsiteY0"/>
                </a:cxn>
                <a:cxn ang="0">
                  <a:pos x="connsiteX1" y="connsiteY1"/>
                </a:cxn>
                <a:cxn ang="0">
                  <a:pos x="connsiteX2" y="connsiteY2"/>
                </a:cxn>
              </a:cxnLst>
              <a:rect l="l" t="t" r="r" b="b"/>
              <a:pathLst>
                <a:path w="2739" h="2739">
                  <a:moveTo>
                    <a:pt x="-1858" y="-861"/>
                  </a:moveTo>
                  <a:cubicBezTo>
                    <a:pt x="1795" y="-4515"/>
                    <a:pt x="1795" y="-4515"/>
                    <a:pt x="-1858" y="-861"/>
                  </a:cubicBezTo>
                  <a:lnTo>
                    <a:pt x="-1858" y="-861"/>
                  </a:lnTo>
                </a:path>
              </a:pathLst>
            </a:custGeom>
            <a:grpFill/>
            <a:ln w="689" cap="flat">
              <a:noFill/>
              <a:prstDash val="solid"/>
              <a:miter/>
            </a:ln>
          </p:spPr>
          <p:txBody>
            <a:bodyPr rtlCol="0" anchor="ctr"/>
            <a:lstStyle/>
            <a:p>
              <a:endParaRPr lang="en-US" sz="2400" dirty="0"/>
            </a:p>
          </p:txBody>
        </p:sp>
        <p:sp>
          <p:nvSpPr>
            <p:cNvPr id="360" name="Graphic 8">
              <a:extLst>
                <a:ext uri="{FF2B5EF4-FFF2-40B4-BE49-F238E27FC236}">
                  <a16:creationId xmlns:a16="http://schemas.microsoft.com/office/drawing/2014/main" id="{2CCE3B4B-C29D-4D89-9799-130CBFDCF7C7}"/>
                </a:ext>
              </a:extLst>
            </p:cNvPr>
            <p:cNvSpPr/>
            <p:nvPr/>
          </p:nvSpPr>
          <p:spPr>
            <a:xfrm flipV="1">
              <a:off x="5401611" y="2341650"/>
              <a:ext cx="9390" cy="10223"/>
            </a:xfrm>
            <a:custGeom>
              <a:avLst/>
              <a:gdLst>
                <a:gd name="connsiteX0" fmla="*/ -6681 w 9390"/>
                <a:gd name="connsiteY0" fmla="*/ 4629 h 10223"/>
                <a:gd name="connsiteX1" fmla="*/ -6681 w 9390"/>
                <a:gd name="connsiteY1" fmla="*/ 4629 h 10223"/>
                <a:gd name="connsiteX2" fmla="*/ -6681 w 9390"/>
                <a:gd name="connsiteY2" fmla="*/ 4629 h 10223"/>
              </a:gdLst>
              <a:ahLst/>
              <a:cxnLst>
                <a:cxn ang="0">
                  <a:pos x="connsiteX0" y="connsiteY0"/>
                </a:cxn>
                <a:cxn ang="0">
                  <a:pos x="connsiteX1" y="connsiteY1"/>
                </a:cxn>
                <a:cxn ang="0">
                  <a:pos x="connsiteX2" y="connsiteY2"/>
                </a:cxn>
              </a:cxnLst>
              <a:rect l="l" t="t" r="r" b="b"/>
              <a:pathLst>
                <a:path w="9390" h="10223">
                  <a:moveTo>
                    <a:pt x="-6681" y="4629"/>
                  </a:moveTo>
                  <a:cubicBezTo>
                    <a:pt x="14203" y="14761"/>
                    <a:pt x="-6199" y="-18185"/>
                    <a:pt x="-6681" y="4629"/>
                  </a:cubicBezTo>
                  <a:lnTo>
                    <a:pt x="-6681" y="4629"/>
                  </a:lnTo>
                </a:path>
              </a:pathLst>
            </a:custGeom>
            <a:grpFill/>
            <a:ln w="689" cap="flat">
              <a:noFill/>
              <a:prstDash val="solid"/>
              <a:miter/>
            </a:ln>
          </p:spPr>
          <p:txBody>
            <a:bodyPr rtlCol="0" anchor="ctr"/>
            <a:lstStyle/>
            <a:p>
              <a:endParaRPr lang="en-US" sz="2400" dirty="0"/>
            </a:p>
          </p:txBody>
        </p:sp>
        <p:sp>
          <p:nvSpPr>
            <p:cNvPr id="361" name="Graphic 8">
              <a:extLst>
                <a:ext uri="{FF2B5EF4-FFF2-40B4-BE49-F238E27FC236}">
                  <a16:creationId xmlns:a16="http://schemas.microsoft.com/office/drawing/2014/main" id="{FAB25ED4-2ECD-4AF3-B609-CD281C0330FD}"/>
                </a:ext>
              </a:extLst>
            </p:cNvPr>
            <p:cNvSpPr/>
            <p:nvPr/>
          </p:nvSpPr>
          <p:spPr>
            <a:xfrm flipV="1">
              <a:off x="643013" y="2350881"/>
              <a:ext cx="6371484" cy="1313978"/>
            </a:xfrm>
            <a:custGeom>
              <a:avLst/>
              <a:gdLst>
                <a:gd name="connsiteX0" fmla="*/ 1983406 w 6371484"/>
                <a:gd name="connsiteY0" fmla="*/ -33 h 1313978"/>
                <a:gd name="connsiteX1" fmla="*/ 1983406 w 6371484"/>
                <a:gd name="connsiteY1" fmla="*/ -33 h 1313978"/>
                <a:gd name="connsiteX2" fmla="*/ 5379942 w 6371484"/>
                <a:gd name="connsiteY2" fmla="*/ 195231 h 1313978"/>
                <a:gd name="connsiteX3" fmla="*/ 5391798 w 6371484"/>
                <a:gd name="connsiteY3" fmla="*/ 183927 h 1313978"/>
                <a:gd name="connsiteX4" fmla="*/ 5379942 w 6371484"/>
                <a:gd name="connsiteY4" fmla="*/ 195231 h 1313978"/>
                <a:gd name="connsiteX5" fmla="*/ 6358810 w 6371484"/>
                <a:gd name="connsiteY5" fmla="*/ 268773 h 1313978"/>
                <a:gd name="connsiteX6" fmla="*/ 6358810 w 6371484"/>
                <a:gd name="connsiteY6" fmla="*/ 268773 h 1313978"/>
                <a:gd name="connsiteX7" fmla="*/ -2520 w 6371484"/>
                <a:gd name="connsiteY7" fmla="*/ 477270 h 1313978"/>
                <a:gd name="connsiteX8" fmla="*/ -2520 w 6371484"/>
                <a:gd name="connsiteY8" fmla="*/ 477270 h 1313978"/>
                <a:gd name="connsiteX9" fmla="*/ 196535 w 6371484"/>
                <a:gd name="connsiteY9" fmla="*/ 524552 h 1313978"/>
                <a:gd name="connsiteX10" fmla="*/ 196535 w 6371484"/>
                <a:gd name="connsiteY10" fmla="*/ 524552 h 1313978"/>
                <a:gd name="connsiteX11" fmla="*/ 3953892 w 6371484"/>
                <a:gd name="connsiteY11" fmla="*/ 979662 h 1313978"/>
                <a:gd name="connsiteX12" fmla="*/ 3953892 w 6371484"/>
                <a:gd name="connsiteY12" fmla="*/ 979662 h 1313978"/>
                <a:gd name="connsiteX13" fmla="*/ 3065453 w 6371484"/>
                <a:gd name="connsiteY13" fmla="*/ 1089872 h 1313978"/>
                <a:gd name="connsiteX14" fmla="*/ 3065453 w 6371484"/>
                <a:gd name="connsiteY14" fmla="*/ 1089872 h 1313978"/>
                <a:gd name="connsiteX15" fmla="*/ 4367508 w 6371484"/>
                <a:gd name="connsiteY15" fmla="*/ 1311465 h 1313978"/>
                <a:gd name="connsiteX16" fmla="*/ 4373436 w 6371484"/>
                <a:gd name="connsiteY16" fmla="*/ 1230823 h 1313978"/>
                <a:gd name="connsiteX17" fmla="*/ 4363304 w 6371484"/>
                <a:gd name="connsiteY17" fmla="*/ 1237371 h 1313978"/>
                <a:gd name="connsiteX18" fmla="*/ 4354068 w 6371484"/>
                <a:gd name="connsiteY18" fmla="*/ 1219795 h 1313978"/>
                <a:gd name="connsiteX19" fmla="*/ 4348761 w 6371484"/>
                <a:gd name="connsiteY19" fmla="*/ 1259840 h 1313978"/>
                <a:gd name="connsiteX20" fmla="*/ 4367508 w 6371484"/>
                <a:gd name="connsiteY20" fmla="*/ 1263149 h 1313978"/>
                <a:gd name="connsiteX21" fmla="*/ 4361305 w 6371484"/>
                <a:gd name="connsiteY21" fmla="*/ 1287272 h 1313978"/>
                <a:gd name="connsiteX22" fmla="*/ 4367508 w 6371484"/>
                <a:gd name="connsiteY22" fmla="*/ 1311465 h 1313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371484" h="1313978">
                  <a:moveTo>
                    <a:pt x="1983406" y="-33"/>
                  </a:moveTo>
                  <a:cubicBezTo>
                    <a:pt x="1987265" y="-3341"/>
                    <a:pt x="1987265" y="-3341"/>
                    <a:pt x="1983406" y="-33"/>
                  </a:cubicBezTo>
                  <a:close/>
                  <a:moveTo>
                    <a:pt x="5379942" y="195231"/>
                  </a:moveTo>
                  <a:cubicBezTo>
                    <a:pt x="5391384" y="198677"/>
                    <a:pt x="5395312" y="194886"/>
                    <a:pt x="5391798" y="183927"/>
                  </a:cubicBezTo>
                  <a:cubicBezTo>
                    <a:pt x="5380287" y="180481"/>
                    <a:pt x="5376358" y="184272"/>
                    <a:pt x="5379942" y="195231"/>
                  </a:cubicBezTo>
                  <a:moveTo>
                    <a:pt x="6358810" y="268773"/>
                  </a:moveTo>
                  <a:cubicBezTo>
                    <a:pt x="6381210" y="267395"/>
                    <a:pt x="6348195" y="247889"/>
                    <a:pt x="6358810" y="268773"/>
                  </a:cubicBezTo>
                  <a:moveTo>
                    <a:pt x="-2520" y="477270"/>
                  </a:moveTo>
                  <a:cubicBezTo>
                    <a:pt x="20088" y="475685"/>
                    <a:pt x="-13203" y="456524"/>
                    <a:pt x="-2520" y="477270"/>
                  </a:cubicBezTo>
                  <a:moveTo>
                    <a:pt x="196535" y="524552"/>
                  </a:moveTo>
                  <a:cubicBezTo>
                    <a:pt x="219211" y="524552"/>
                    <a:pt x="186954" y="503324"/>
                    <a:pt x="196535" y="524552"/>
                  </a:cubicBezTo>
                  <a:moveTo>
                    <a:pt x="3953892" y="979662"/>
                  </a:moveTo>
                  <a:cubicBezTo>
                    <a:pt x="3957545" y="976078"/>
                    <a:pt x="3957545" y="976078"/>
                    <a:pt x="3953892" y="979662"/>
                  </a:cubicBezTo>
                  <a:moveTo>
                    <a:pt x="3065453" y="1089872"/>
                  </a:moveTo>
                  <a:cubicBezTo>
                    <a:pt x="3069175" y="1086357"/>
                    <a:pt x="3069175" y="1086357"/>
                    <a:pt x="3065453" y="1089872"/>
                  </a:cubicBezTo>
                  <a:moveTo>
                    <a:pt x="4367508" y="1311465"/>
                  </a:moveTo>
                  <a:cubicBezTo>
                    <a:pt x="4370610" y="1284722"/>
                    <a:pt x="4372816" y="1257773"/>
                    <a:pt x="4373436" y="1230823"/>
                  </a:cubicBezTo>
                  <a:cubicBezTo>
                    <a:pt x="4370886" y="1232477"/>
                    <a:pt x="4365854" y="1235717"/>
                    <a:pt x="4363304" y="1237371"/>
                  </a:cubicBezTo>
                  <a:cubicBezTo>
                    <a:pt x="4361029" y="1232960"/>
                    <a:pt x="4356412" y="1224206"/>
                    <a:pt x="4354068" y="1219795"/>
                  </a:cubicBezTo>
                  <a:cubicBezTo>
                    <a:pt x="4352207" y="1233235"/>
                    <a:pt x="4350553" y="1246538"/>
                    <a:pt x="4348761" y="1259840"/>
                  </a:cubicBezTo>
                  <a:cubicBezTo>
                    <a:pt x="4353448" y="1260667"/>
                    <a:pt x="4362822" y="1262322"/>
                    <a:pt x="4367508" y="1263149"/>
                  </a:cubicBezTo>
                  <a:cubicBezTo>
                    <a:pt x="4365303" y="1271213"/>
                    <a:pt x="4363304" y="1279208"/>
                    <a:pt x="4361305" y="1287272"/>
                  </a:cubicBezTo>
                  <a:cubicBezTo>
                    <a:pt x="4363442" y="1295337"/>
                    <a:pt x="4365510" y="1303401"/>
                    <a:pt x="4367508" y="1311465"/>
                  </a:cubicBezTo>
                </a:path>
              </a:pathLst>
            </a:custGeom>
            <a:grpFill/>
            <a:ln w="689" cap="flat">
              <a:noFill/>
              <a:prstDash val="solid"/>
              <a:miter/>
            </a:ln>
          </p:spPr>
          <p:txBody>
            <a:bodyPr rtlCol="0" anchor="ctr"/>
            <a:lstStyle/>
            <a:p>
              <a:endParaRPr lang="en-US" sz="2400" dirty="0"/>
            </a:p>
          </p:txBody>
        </p:sp>
        <p:sp>
          <p:nvSpPr>
            <p:cNvPr id="362" name="Graphic 8">
              <a:extLst>
                <a:ext uri="{FF2B5EF4-FFF2-40B4-BE49-F238E27FC236}">
                  <a16:creationId xmlns:a16="http://schemas.microsoft.com/office/drawing/2014/main" id="{829F80ED-5A43-4B31-9CFE-BD92685C2EF1}"/>
                </a:ext>
              </a:extLst>
            </p:cNvPr>
            <p:cNvSpPr/>
            <p:nvPr/>
          </p:nvSpPr>
          <p:spPr>
            <a:xfrm flipV="1">
              <a:off x="6607240" y="2349055"/>
              <a:ext cx="9424" cy="10284"/>
            </a:xfrm>
            <a:custGeom>
              <a:avLst/>
              <a:gdLst>
                <a:gd name="connsiteX0" fmla="*/ -8197 w 9424"/>
                <a:gd name="connsiteY0" fmla="*/ 4525 h 10284"/>
                <a:gd name="connsiteX1" fmla="*/ -8197 w 9424"/>
                <a:gd name="connsiteY1" fmla="*/ 4525 h 10284"/>
                <a:gd name="connsiteX2" fmla="*/ -8197 w 9424"/>
                <a:gd name="connsiteY2" fmla="*/ 4525 h 10284"/>
              </a:gdLst>
              <a:ahLst/>
              <a:cxnLst>
                <a:cxn ang="0">
                  <a:pos x="connsiteX0" y="connsiteY0"/>
                </a:cxn>
                <a:cxn ang="0">
                  <a:pos x="connsiteX1" y="connsiteY1"/>
                </a:cxn>
                <a:cxn ang="0">
                  <a:pos x="connsiteX2" y="connsiteY2"/>
                </a:cxn>
              </a:cxnLst>
              <a:rect l="l" t="t" r="r" b="b"/>
              <a:pathLst>
                <a:path w="9424" h="10284">
                  <a:moveTo>
                    <a:pt x="-8197" y="4525"/>
                  </a:moveTo>
                  <a:cubicBezTo>
                    <a:pt x="12480" y="15209"/>
                    <a:pt x="-7163" y="-18220"/>
                    <a:pt x="-8197" y="4525"/>
                  </a:cubicBezTo>
                  <a:lnTo>
                    <a:pt x="-8197" y="4525"/>
                  </a:lnTo>
                </a:path>
              </a:pathLst>
            </a:custGeom>
            <a:grpFill/>
            <a:ln w="689" cap="flat">
              <a:noFill/>
              <a:prstDash val="solid"/>
              <a:miter/>
            </a:ln>
          </p:spPr>
          <p:txBody>
            <a:bodyPr rtlCol="0" anchor="ctr"/>
            <a:lstStyle/>
            <a:p>
              <a:endParaRPr lang="en-US" sz="2400" dirty="0"/>
            </a:p>
          </p:txBody>
        </p:sp>
        <p:sp>
          <p:nvSpPr>
            <p:cNvPr id="363" name="Graphic 8">
              <a:extLst>
                <a:ext uri="{FF2B5EF4-FFF2-40B4-BE49-F238E27FC236}">
                  <a16:creationId xmlns:a16="http://schemas.microsoft.com/office/drawing/2014/main" id="{D2FB69B6-8025-42A6-917E-4EA2596F1A48}"/>
                </a:ext>
              </a:extLst>
            </p:cNvPr>
            <p:cNvSpPr/>
            <p:nvPr/>
          </p:nvSpPr>
          <p:spPr>
            <a:xfrm flipV="1">
              <a:off x="1383512" y="2365424"/>
              <a:ext cx="2991700" cy="521208"/>
            </a:xfrm>
            <a:custGeom>
              <a:avLst/>
              <a:gdLst>
                <a:gd name="connsiteX0" fmla="*/ 2980519 w 2991700"/>
                <a:gd name="connsiteY0" fmla="*/ -3142 h 521208"/>
                <a:gd name="connsiteX1" fmla="*/ 2984585 w 2991700"/>
                <a:gd name="connsiteY1" fmla="*/ 13262 h 521208"/>
                <a:gd name="connsiteX2" fmla="*/ 2980519 w 2991700"/>
                <a:gd name="connsiteY2" fmla="*/ -3142 h 521208"/>
                <a:gd name="connsiteX3" fmla="*/ -3504 w 2991700"/>
                <a:gd name="connsiteY3" fmla="*/ 518066 h 521208"/>
                <a:gd name="connsiteX4" fmla="*/ -3504 w 2991700"/>
                <a:gd name="connsiteY4" fmla="*/ 518066 h 521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1700" h="521208">
                  <a:moveTo>
                    <a:pt x="2980519" y="-3142"/>
                  </a:moveTo>
                  <a:cubicBezTo>
                    <a:pt x="2974591" y="5680"/>
                    <a:pt x="2975970" y="11126"/>
                    <a:pt x="2984585" y="13262"/>
                  </a:cubicBezTo>
                  <a:cubicBezTo>
                    <a:pt x="2990513" y="4509"/>
                    <a:pt x="2989134" y="-936"/>
                    <a:pt x="2980519" y="-3142"/>
                  </a:cubicBezTo>
                  <a:close/>
                  <a:moveTo>
                    <a:pt x="-3504" y="518066"/>
                  </a:moveTo>
                  <a:cubicBezTo>
                    <a:pt x="287" y="514482"/>
                    <a:pt x="287" y="514482"/>
                    <a:pt x="-3504" y="518066"/>
                  </a:cubicBezTo>
                </a:path>
              </a:pathLst>
            </a:custGeom>
            <a:grpFill/>
            <a:ln w="689" cap="flat">
              <a:noFill/>
              <a:prstDash val="solid"/>
              <a:miter/>
            </a:ln>
          </p:spPr>
          <p:txBody>
            <a:bodyPr rtlCol="0" anchor="ctr"/>
            <a:lstStyle/>
            <a:p>
              <a:endParaRPr lang="en-US" sz="2400" dirty="0"/>
            </a:p>
          </p:txBody>
        </p:sp>
        <p:sp>
          <p:nvSpPr>
            <p:cNvPr id="364" name="Graphic 8">
              <a:extLst>
                <a:ext uri="{FF2B5EF4-FFF2-40B4-BE49-F238E27FC236}">
                  <a16:creationId xmlns:a16="http://schemas.microsoft.com/office/drawing/2014/main" id="{C0E46DD7-1E12-43F1-ABC9-BF1999E74E2B}"/>
                </a:ext>
              </a:extLst>
            </p:cNvPr>
            <p:cNvSpPr/>
            <p:nvPr/>
          </p:nvSpPr>
          <p:spPr>
            <a:xfrm flipV="1">
              <a:off x="5589292" y="2365355"/>
              <a:ext cx="86362" cy="37627"/>
            </a:xfrm>
            <a:custGeom>
              <a:avLst/>
              <a:gdLst>
                <a:gd name="connsiteX0" fmla="*/ -6966 w 86362"/>
                <a:gd name="connsiteY0" fmla="*/ 17753 h 37627"/>
                <a:gd name="connsiteX1" fmla="*/ 44521 w 86362"/>
                <a:gd name="connsiteY1" fmla="*/ 32847 h 37627"/>
                <a:gd name="connsiteX2" fmla="*/ 57685 w 86362"/>
                <a:gd name="connsiteY2" fmla="*/ 18924 h 37627"/>
                <a:gd name="connsiteX3" fmla="*/ 79397 w 86362"/>
                <a:gd name="connsiteY3" fmla="*/ 33261 h 37627"/>
                <a:gd name="connsiteX4" fmla="*/ 77674 w 86362"/>
                <a:gd name="connsiteY4" fmla="*/ 15961 h 37627"/>
                <a:gd name="connsiteX5" fmla="*/ 19432 w 86362"/>
                <a:gd name="connsiteY5" fmla="*/ 19821 h 37627"/>
                <a:gd name="connsiteX6" fmla="*/ 51207 w 86362"/>
                <a:gd name="connsiteY6" fmla="*/ 4243 h 37627"/>
                <a:gd name="connsiteX7" fmla="*/ 12815 w 86362"/>
                <a:gd name="connsiteY7" fmla="*/ -2994 h 37627"/>
                <a:gd name="connsiteX8" fmla="*/ 8818 w 86362"/>
                <a:gd name="connsiteY8" fmla="*/ 26920 h 37627"/>
                <a:gd name="connsiteX9" fmla="*/ -6966 w 86362"/>
                <a:gd name="connsiteY9" fmla="*/ 17753 h 37627"/>
                <a:gd name="connsiteX10" fmla="*/ -6966 w 86362"/>
                <a:gd name="connsiteY10" fmla="*/ 17753 h 37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362" h="37627">
                  <a:moveTo>
                    <a:pt x="-6966" y="17753"/>
                  </a:moveTo>
                  <a:cubicBezTo>
                    <a:pt x="-6345" y="44496"/>
                    <a:pt x="27910" y="29539"/>
                    <a:pt x="44521" y="32847"/>
                  </a:cubicBezTo>
                  <a:cubicBezTo>
                    <a:pt x="48863" y="28229"/>
                    <a:pt x="53205" y="23611"/>
                    <a:pt x="57685" y="18924"/>
                  </a:cubicBezTo>
                  <a:cubicBezTo>
                    <a:pt x="64854" y="23680"/>
                    <a:pt x="72229" y="28367"/>
                    <a:pt x="79397" y="33261"/>
                  </a:cubicBezTo>
                  <a:cubicBezTo>
                    <a:pt x="78983" y="28919"/>
                    <a:pt x="78094" y="20303"/>
                    <a:pt x="77674" y="15961"/>
                  </a:cubicBezTo>
                  <a:cubicBezTo>
                    <a:pt x="58237" y="16443"/>
                    <a:pt x="38731" y="17753"/>
                    <a:pt x="19432" y="19821"/>
                  </a:cubicBezTo>
                  <a:cubicBezTo>
                    <a:pt x="19432" y="453"/>
                    <a:pt x="36457" y="-3131"/>
                    <a:pt x="51207" y="4243"/>
                  </a:cubicBezTo>
                  <a:cubicBezTo>
                    <a:pt x="39834" y="-3545"/>
                    <a:pt x="26118" y="-4372"/>
                    <a:pt x="12815" y="-2994"/>
                  </a:cubicBezTo>
                  <a:cubicBezTo>
                    <a:pt x="29082" y="3692"/>
                    <a:pt x="11230" y="17201"/>
                    <a:pt x="8818" y="26920"/>
                  </a:cubicBezTo>
                  <a:cubicBezTo>
                    <a:pt x="3097" y="24714"/>
                    <a:pt x="-2141" y="21681"/>
                    <a:pt x="-6966" y="17753"/>
                  </a:cubicBezTo>
                  <a:lnTo>
                    <a:pt x="-6966" y="17753"/>
                  </a:lnTo>
                </a:path>
              </a:pathLst>
            </a:custGeom>
            <a:grpFill/>
            <a:ln w="689" cap="flat">
              <a:noFill/>
              <a:prstDash val="solid"/>
              <a:miter/>
            </a:ln>
          </p:spPr>
          <p:txBody>
            <a:bodyPr rtlCol="0" anchor="ctr"/>
            <a:lstStyle/>
            <a:p>
              <a:endParaRPr lang="en-US" sz="2400" dirty="0"/>
            </a:p>
          </p:txBody>
        </p:sp>
        <p:sp>
          <p:nvSpPr>
            <p:cNvPr id="365" name="Graphic 8">
              <a:extLst>
                <a:ext uri="{FF2B5EF4-FFF2-40B4-BE49-F238E27FC236}">
                  <a16:creationId xmlns:a16="http://schemas.microsoft.com/office/drawing/2014/main" id="{7E2F0855-021F-42EC-B837-25669007A97D}"/>
                </a:ext>
              </a:extLst>
            </p:cNvPr>
            <p:cNvSpPr/>
            <p:nvPr/>
          </p:nvSpPr>
          <p:spPr>
            <a:xfrm flipV="1">
              <a:off x="5567533" y="2370969"/>
              <a:ext cx="12130" cy="12214"/>
            </a:xfrm>
            <a:custGeom>
              <a:avLst/>
              <a:gdLst>
                <a:gd name="connsiteX0" fmla="*/ -6017 w 12130"/>
                <a:gd name="connsiteY0" fmla="*/ 7867 h 12214"/>
                <a:gd name="connsiteX1" fmla="*/ 4391 w 12130"/>
                <a:gd name="connsiteY1" fmla="*/ -2816 h 12214"/>
                <a:gd name="connsiteX2" fmla="*/ -6017 w 12130"/>
                <a:gd name="connsiteY2" fmla="*/ 7867 h 12214"/>
                <a:gd name="connsiteX3" fmla="*/ -6017 w 12130"/>
                <a:gd name="connsiteY3" fmla="*/ 7867 h 12214"/>
              </a:gdLst>
              <a:ahLst/>
              <a:cxnLst>
                <a:cxn ang="0">
                  <a:pos x="connsiteX0" y="connsiteY0"/>
                </a:cxn>
                <a:cxn ang="0">
                  <a:pos x="connsiteX1" y="connsiteY1"/>
                </a:cxn>
                <a:cxn ang="0">
                  <a:pos x="connsiteX2" y="connsiteY2"/>
                </a:cxn>
                <a:cxn ang="0">
                  <a:pos x="connsiteX3" y="connsiteY3"/>
                </a:cxn>
              </a:cxnLst>
              <a:rect l="l" t="t" r="r" b="b"/>
              <a:pathLst>
                <a:path w="12130" h="12214">
                  <a:moveTo>
                    <a:pt x="-6017" y="7867"/>
                  </a:moveTo>
                  <a:cubicBezTo>
                    <a:pt x="3564" y="10417"/>
                    <a:pt x="7010" y="6833"/>
                    <a:pt x="4391" y="-2816"/>
                  </a:cubicBezTo>
                  <a:cubicBezTo>
                    <a:pt x="-5189" y="-5229"/>
                    <a:pt x="-8705" y="-1713"/>
                    <a:pt x="-6017" y="7867"/>
                  </a:cubicBezTo>
                  <a:lnTo>
                    <a:pt x="-6017" y="7867"/>
                  </a:lnTo>
                </a:path>
              </a:pathLst>
            </a:custGeom>
            <a:grpFill/>
            <a:ln w="689" cap="flat">
              <a:noFill/>
              <a:prstDash val="solid"/>
              <a:miter/>
            </a:ln>
          </p:spPr>
          <p:txBody>
            <a:bodyPr rtlCol="0" anchor="ctr"/>
            <a:lstStyle/>
            <a:p>
              <a:endParaRPr lang="en-US" sz="2400" dirty="0"/>
            </a:p>
          </p:txBody>
        </p:sp>
        <p:sp>
          <p:nvSpPr>
            <p:cNvPr id="366" name="Graphic 8">
              <a:extLst>
                <a:ext uri="{FF2B5EF4-FFF2-40B4-BE49-F238E27FC236}">
                  <a16:creationId xmlns:a16="http://schemas.microsoft.com/office/drawing/2014/main" id="{231AB87D-4550-4841-960A-0D9FEAFBCA4A}"/>
                </a:ext>
              </a:extLst>
            </p:cNvPr>
            <p:cNvSpPr/>
            <p:nvPr/>
          </p:nvSpPr>
          <p:spPr>
            <a:xfrm flipV="1">
              <a:off x="5705292" y="2372592"/>
              <a:ext cx="2636" cy="2739"/>
            </a:xfrm>
            <a:custGeom>
              <a:avLst/>
              <a:gdLst>
                <a:gd name="connsiteX0" fmla="*/ -7059 w 2636"/>
                <a:gd name="connsiteY0" fmla="*/ -817 h 2739"/>
                <a:gd name="connsiteX1" fmla="*/ -7059 w 2636"/>
                <a:gd name="connsiteY1" fmla="*/ -817 h 2739"/>
                <a:gd name="connsiteX2" fmla="*/ -7059 w 2636"/>
                <a:gd name="connsiteY2" fmla="*/ -817 h 2739"/>
              </a:gdLst>
              <a:ahLst/>
              <a:cxnLst>
                <a:cxn ang="0">
                  <a:pos x="connsiteX0" y="connsiteY0"/>
                </a:cxn>
                <a:cxn ang="0">
                  <a:pos x="connsiteX1" y="connsiteY1"/>
                </a:cxn>
                <a:cxn ang="0">
                  <a:pos x="connsiteX2" y="connsiteY2"/>
                </a:cxn>
              </a:cxnLst>
              <a:rect l="l" t="t" r="r" b="b"/>
              <a:pathLst>
                <a:path w="2636" h="2739">
                  <a:moveTo>
                    <a:pt x="-7059" y="-817"/>
                  </a:moveTo>
                  <a:cubicBezTo>
                    <a:pt x="-3544" y="-4470"/>
                    <a:pt x="-3544" y="-4470"/>
                    <a:pt x="-7059" y="-817"/>
                  </a:cubicBezTo>
                  <a:lnTo>
                    <a:pt x="-7059" y="-817"/>
                  </a:lnTo>
                </a:path>
              </a:pathLst>
            </a:custGeom>
            <a:grpFill/>
            <a:ln w="689" cap="flat">
              <a:noFill/>
              <a:prstDash val="solid"/>
              <a:miter/>
            </a:ln>
          </p:spPr>
          <p:txBody>
            <a:bodyPr rtlCol="0" anchor="ctr"/>
            <a:lstStyle/>
            <a:p>
              <a:endParaRPr lang="en-US" sz="2400" dirty="0"/>
            </a:p>
          </p:txBody>
        </p:sp>
        <p:sp>
          <p:nvSpPr>
            <p:cNvPr id="367" name="Graphic 8">
              <a:extLst>
                <a:ext uri="{FF2B5EF4-FFF2-40B4-BE49-F238E27FC236}">
                  <a16:creationId xmlns:a16="http://schemas.microsoft.com/office/drawing/2014/main" id="{0377EAAB-1AFD-4211-B3CD-735B5004E054}"/>
                </a:ext>
              </a:extLst>
            </p:cNvPr>
            <p:cNvSpPr/>
            <p:nvPr/>
          </p:nvSpPr>
          <p:spPr>
            <a:xfrm flipV="1">
              <a:off x="4346788" y="2379553"/>
              <a:ext cx="2688" cy="2894"/>
            </a:xfrm>
            <a:custGeom>
              <a:avLst/>
              <a:gdLst>
                <a:gd name="connsiteX0" fmla="*/ -5351 w 2688"/>
                <a:gd name="connsiteY0" fmla="*/ -650 h 2894"/>
                <a:gd name="connsiteX1" fmla="*/ -5351 w 2688"/>
                <a:gd name="connsiteY1" fmla="*/ -650 h 2894"/>
                <a:gd name="connsiteX2" fmla="*/ -5351 w 2688"/>
                <a:gd name="connsiteY2" fmla="*/ -650 h 2894"/>
              </a:gdLst>
              <a:ahLst/>
              <a:cxnLst>
                <a:cxn ang="0">
                  <a:pos x="connsiteX0" y="connsiteY0"/>
                </a:cxn>
                <a:cxn ang="0">
                  <a:pos x="connsiteX1" y="connsiteY1"/>
                </a:cxn>
                <a:cxn ang="0">
                  <a:pos x="connsiteX2" y="connsiteY2"/>
                </a:cxn>
              </a:cxnLst>
              <a:rect l="l" t="t" r="r" b="b"/>
              <a:pathLst>
                <a:path w="2688" h="2894">
                  <a:moveTo>
                    <a:pt x="-5351" y="-650"/>
                  </a:moveTo>
                  <a:cubicBezTo>
                    <a:pt x="-1767" y="-4510"/>
                    <a:pt x="-1767" y="-4510"/>
                    <a:pt x="-5351" y="-650"/>
                  </a:cubicBezTo>
                  <a:lnTo>
                    <a:pt x="-5351" y="-650"/>
                  </a:lnTo>
                </a:path>
              </a:pathLst>
            </a:custGeom>
            <a:grpFill/>
            <a:ln w="689" cap="flat">
              <a:noFill/>
              <a:prstDash val="solid"/>
              <a:miter/>
            </a:ln>
          </p:spPr>
          <p:txBody>
            <a:bodyPr rtlCol="0" anchor="ctr"/>
            <a:lstStyle/>
            <a:p>
              <a:endParaRPr lang="en-US" sz="2400" dirty="0"/>
            </a:p>
          </p:txBody>
        </p:sp>
        <p:sp>
          <p:nvSpPr>
            <p:cNvPr id="368" name="Graphic 8">
              <a:extLst>
                <a:ext uri="{FF2B5EF4-FFF2-40B4-BE49-F238E27FC236}">
                  <a16:creationId xmlns:a16="http://schemas.microsoft.com/office/drawing/2014/main" id="{A0355896-F0BC-46F4-B2AE-C29B91F05AEF}"/>
                </a:ext>
              </a:extLst>
            </p:cNvPr>
            <p:cNvSpPr/>
            <p:nvPr/>
          </p:nvSpPr>
          <p:spPr>
            <a:xfrm flipV="1">
              <a:off x="2397393" y="2383263"/>
              <a:ext cx="426596" cy="757131"/>
            </a:xfrm>
            <a:custGeom>
              <a:avLst/>
              <a:gdLst>
                <a:gd name="connsiteX0" fmla="*/ 415275 w 426596"/>
                <a:gd name="connsiteY0" fmla="*/ 6507 h 757131"/>
                <a:gd name="connsiteX1" fmla="*/ 415275 w 426596"/>
                <a:gd name="connsiteY1" fmla="*/ 6507 h 757131"/>
                <a:gd name="connsiteX2" fmla="*/ -3166 w 426596"/>
                <a:gd name="connsiteY2" fmla="*/ 752064 h 757131"/>
                <a:gd name="connsiteX3" fmla="*/ -3166 w 426596"/>
                <a:gd name="connsiteY3" fmla="*/ 752064 h 757131"/>
              </a:gdLst>
              <a:ahLst/>
              <a:cxnLst>
                <a:cxn ang="0">
                  <a:pos x="connsiteX0" y="connsiteY0"/>
                </a:cxn>
                <a:cxn ang="0">
                  <a:pos x="connsiteX1" y="connsiteY1"/>
                </a:cxn>
                <a:cxn ang="0">
                  <a:pos x="connsiteX2" y="connsiteY2"/>
                </a:cxn>
                <a:cxn ang="0">
                  <a:pos x="connsiteX3" y="connsiteY3"/>
                </a:cxn>
              </a:cxnLst>
              <a:rect l="l" t="t" r="r" b="b"/>
              <a:pathLst>
                <a:path w="426596" h="757131">
                  <a:moveTo>
                    <a:pt x="415275" y="6507"/>
                  </a:moveTo>
                  <a:cubicBezTo>
                    <a:pt x="438089" y="5335"/>
                    <a:pt x="404661" y="-14102"/>
                    <a:pt x="415275" y="6507"/>
                  </a:cubicBezTo>
                  <a:close/>
                  <a:moveTo>
                    <a:pt x="-3166" y="752064"/>
                  </a:moveTo>
                  <a:cubicBezTo>
                    <a:pt x="17442" y="762679"/>
                    <a:pt x="-1925" y="729319"/>
                    <a:pt x="-3166" y="752064"/>
                  </a:cubicBezTo>
                </a:path>
              </a:pathLst>
            </a:custGeom>
            <a:grpFill/>
            <a:ln w="689" cap="flat">
              <a:noFill/>
              <a:prstDash val="solid"/>
              <a:miter/>
            </a:ln>
          </p:spPr>
          <p:txBody>
            <a:bodyPr rtlCol="0" anchor="ctr"/>
            <a:lstStyle/>
            <a:p>
              <a:endParaRPr lang="en-US" sz="2400" dirty="0"/>
            </a:p>
          </p:txBody>
        </p:sp>
        <p:sp>
          <p:nvSpPr>
            <p:cNvPr id="369" name="Graphic 8">
              <a:extLst>
                <a:ext uri="{FF2B5EF4-FFF2-40B4-BE49-F238E27FC236}">
                  <a16:creationId xmlns:a16="http://schemas.microsoft.com/office/drawing/2014/main" id="{04A0A12C-C528-4B96-B637-600F5943A75B}"/>
                </a:ext>
              </a:extLst>
            </p:cNvPr>
            <p:cNvSpPr/>
            <p:nvPr/>
          </p:nvSpPr>
          <p:spPr>
            <a:xfrm flipV="1">
              <a:off x="3069408" y="2393821"/>
              <a:ext cx="3780239" cy="891677"/>
            </a:xfrm>
            <a:custGeom>
              <a:avLst/>
              <a:gdLst>
                <a:gd name="connsiteX0" fmla="*/ 3728355 w 3780239"/>
                <a:gd name="connsiteY0" fmla="*/ 44974 h 891677"/>
                <a:gd name="connsiteX1" fmla="*/ 3769089 w 3780239"/>
                <a:gd name="connsiteY1" fmla="*/ 51729 h 891677"/>
                <a:gd name="connsiteX2" fmla="*/ 3759026 w 3780239"/>
                <a:gd name="connsiteY2" fmla="*/ 29190 h 891677"/>
                <a:gd name="connsiteX3" fmla="*/ 3774120 w 3780239"/>
                <a:gd name="connsiteY3" fmla="*/ 1689 h 891677"/>
                <a:gd name="connsiteX4" fmla="*/ 3749307 w 3780239"/>
                <a:gd name="connsiteY4" fmla="*/ -1136 h 891677"/>
                <a:gd name="connsiteX5" fmla="*/ 3747722 w 3780239"/>
                <a:gd name="connsiteY5" fmla="*/ 24228 h 891677"/>
                <a:gd name="connsiteX6" fmla="*/ 3746620 w 3780239"/>
                <a:gd name="connsiteY6" fmla="*/ -447 h 891677"/>
                <a:gd name="connsiteX7" fmla="*/ 3726494 w 3780239"/>
                <a:gd name="connsiteY7" fmla="*/ -2791 h 891677"/>
                <a:gd name="connsiteX8" fmla="*/ 3728355 w 3780239"/>
                <a:gd name="connsiteY8" fmla="*/ 44974 h 891677"/>
                <a:gd name="connsiteX9" fmla="*/ -5362 w 3780239"/>
                <a:gd name="connsiteY9" fmla="*/ 349897 h 891677"/>
                <a:gd name="connsiteX10" fmla="*/ 16143 w 3780239"/>
                <a:gd name="connsiteY10" fmla="*/ 347484 h 891677"/>
                <a:gd name="connsiteX11" fmla="*/ 14558 w 3780239"/>
                <a:gd name="connsiteY11" fmla="*/ 340661 h 891677"/>
                <a:gd name="connsiteX12" fmla="*/ 4288 w 3780239"/>
                <a:gd name="connsiteY12" fmla="*/ 335974 h 891677"/>
                <a:gd name="connsiteX13" fmla="*/ 7458 w 3780239"/>
                <a:gd name="connsiteY13" fmla="*/ 320810 h 891677"/>
                <a:gd name="connsiteX14" fmla="*/ -6120 w 3780239"/>
                <a:gd name="connsiteY14" fmla="*/ 319018 h 891677"/>
                <a:gd name="connsiteX15" fmla="*/ -5362 w 3780239"/>
                <a:gd name="connsiteY15" fmla="*/ 349897 h 891677"/>
                <a:gd name="connsiteX16" fmla="*/ 650870 w 3780239"/>
                <a:gd name="connsiteY16" fmla="*/ 888887 h 891677"/>
                <a:gd name="connsiteX17" fmla="*/ 650870 w 3780239"/>
                <a:gd name="connsiteY17" fmla="*/ 888887 h 89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80239" h="891677">
                  <a:moveTo>
                    <a:pt x="3728355" y="44974"/>
                  </a:moveTo>
                  <a:cubicBezTo>
                    <a:pt x="3741795" y="47938"/>
                    <a:pt x="3755442" y="49385"/>
                    <a:pt x="3769089" y="51729"/>
                  </a:cubicBezTo>
                  <a:cubicBezTo>
                    <a:pt x="3765298" y="44423"/>
                    <a:pt x="3761928" y="36910"/>
                    <a:pt x="3759026" y="29190"/>
                  </a:cubicBezTo>
                  <a:cubicBezTo>
                    <a:pt x="3763092" y="19610"/>
                    <a:pt x="3768744" y="10719"/>
                    <a:pt x="3774120" y="1689"/>
                  </a:cubicBezTo>
                  <a:cubicBezTo>
                    <a:pt x="3767917" y="1000"/>
                    <a:pt x="3755511" y="-378"/>
                    <a:pt x="3749307" y="-1136"/>
                  </a:cubicBezTo>
                  <a:cubicBezTo>
                    <a:pt x="3748825" y="7410"/>
                    <a:pt x="3748343" y="15819"/>
                    <a:pt x="3747722" y="24228"/>
                  </a:cubicBezTo>
                  <a:cubicBezTo>
                    <a:pt x="3747446" y="18024"/>
                    <a:pt x="3746895" y="5687"/>
                    <a:pt x="3746620" y="-447"/>
                  </a:cubicBezTo>
                  <a:cubicBezTo>
                    <a:pt x="3741588" y="-1068"/>
                    <a:pt x="3731525" y="-2239"/>
                    <a:pt x="3726494" y="-2791"/>
                  </a:cubicBezTo>
                  <a:cubicBezTo>
                    <a:pt x="3741174" y="12304"/>
                    <a:pt x="3726356" y="28984"/>
                    <a:pt x="3728355" y="44974"/>
                  </a:cubicBezTo>
                  <a:close/>
                  <a:moveTo>
                    <a:pt x="-5362" y="349897"/>
                  </a:moveTo>
                  <a:cubicBezTo>
                    <a:pt x="15" y="349345"/>
                    <a:pt x="10767" y="348105"/>
                    <a:pt x="16143" y="347484"/>
                  </a:cubicBezTo>
                  <a:lnTo>
                    <a:pt x="14558" y="340661"/>
                  </a:lnTo>
                  <a:cubicBezTo>
                    <a:pt x="12008" y="339489"/>
                    <a:pt x="6838" y="337145"/>
                    <a:pt x="4288" y="335974"/>
                  </a:cubicBezTo>
                  <a:cubicBezTo>
                    <a:pt x="5322" y="330942"/>
                    <a:pt x="6356" y="325911"/>
                    <a:pt x="7458" y="320810"/>
                  </a:cubicBezTo>
                  <a:cubicBezTo>
                    <a:pt x="4081" y="320397"/>
                    <a:pt x="-2742" y="319501"/>
                    <a:pt x="-6120" y="319018"/>
                  </a:cubicBezTo>
                  <a:cubicBezTo>
                    <a:pt x="-5913" y="329357"/>
                    <a:pt x="-5637" y="339696"/>
                    <a:pt x="-5362" y="349897"/>
                  </a:cubicBezTo>
                  <a:moveTo>
                    <a:pt x="650870" y="888887"/>
                  </a:moveTo>
                  <a:cubicBezTo>
                    <a:pt x="654523" y="885303"/>
                    <a:pt x="654523" y="885303"/>
                    <a:pt x="650870" y="888887"/>
                  </a:cubicBezTo>
                </a:path>
              </a:pathLst>
            </a:custGeom>
            <a:grpFill/>
            <a:ln w="689" cap="flat">
              <a:noFill/>
              <a:prstDash val="solid"/>
              <a:miter/>
            </a:ln>
          </p:spPr>
          <p:txBody>
            <a:bodyPr rtlCol="0" anchor="ctr"/>
            <a:lstStyle/>
            <a:p>
              <a:endParaRPr lang="en-US" sz="2400" dirty="0"/>
            </a:p>
          </p:txBody>
        </p:sp>
        <p:sp>
          <p:nvSpPr>
            <p:cNvPr id="370" name="Graphic 8">
              <a:extLst>
                <a:ext uri="{FF2B5EF4-FFF2-40B4-BE49-F238E27FC236}">
                  <a16:creationId xmlns:a16="http://schemas.microsoft.com/office/drawing/2014/main" id="{E0738B0F-3CBA-4430-A24D-26CC80F66524}"/>
                </a:ext>
              </a:extLst>
            </p:cNvPr>
            <p:cNvSpPr/>
            <p:nvPr/>
          </p:nvSpPr>
          <p:spPr>
            <a:xfrm flipV="1">
              <a:off x="998499" y="2398783"/>
              <a:ext cx="7880496" cy="799111"/>
            </a:xfrm>
            <a:custGeom>
              <a:avLst/>
              <a:gdLst>
                <a:gd name="connsiteX0" fmla="*/ 7850349 w 7880496"/>
                <a:gd name="connsiteY0" fmla="*/ 15131 h 799111"/>
                <a:gd name="connsiteX1" fmla="*/ 7851796 w 7880496"/>
                <a:gd name="connsiteY1" fmla="*/ 59173 h 799111"/>
                <a:gd name="connsiteX2" fmla="*/ 7859792 w 7880496"/>
                <a:gd name="connsiteY2" fmla="*/ 40839 h 799111"/>
                <a:gd name="connsiteX3" fmla="*/ 7873577 w 7880496"/>
                <a:gd name="connsiteY3" fmla="*/ 43872 h 799111"/>
                <a:gd name="connsiteX4" fmla="*/ 7874403 w 7880496"/>
                <a:gd name="connsiteY4" fmla="*/ 25538 h 799111"/>
                <a:gd name="connsiteX5" fmla="*/ 7852830 w 7880496"/>
                <a:gd name="connsiteY5" fmla="*/ 4723 h 799111"/>
                <a:gd name="connsiteX6" fmla="*/ 7823262 w 7880496"/>
                <a:gd name="connsiteY6" fmla="*/ 6377 h 799111"/>
                <a:gd name="connsiteX7" fmla="*/ 7808580 w 7880496"/>
                <a:gd name="connsiteY7" fmla="*/ 12925 h 799111"/>
                <a:gd name="connsiteX8" fmla="*/ 7779495 w 7880496"/>
                <a:gd name="connsiteY8" fmla="*/ -2859 h 799111"/>
                <a:gd name="connsiteX9" fmla="*/ 7786869 w 7880496"/>
                <a:gd name="connsiteY9" fmla="*/ 10513 h 799111"/>
                <a:gd name="connsiteX10" fmla="*/ 7850349 w 7880496"/>
                <a:gd name="connsiteY10" fmla="*/ 15131 h 799111"/>
                <a:gd name="connsiteX11" fmla="*/ 14239 w 7880496"/>
                <a:gd name="connsiteY11" fmla="*/ 796253 h 799111"/>
                <a:gd name="connsiteX12" fmla="*/ 27266 w 7880496"/>
                <a:gd name="connsiteY12" fmla="*/ 790326 h 799111"/>
                <a:gd name="connsiteX13" fmla="*/ 37329 w 7880496"/>
                <a:gd name="connsiteY13" fmla="*/ 795082 h 799111"/>
                <a:gd name="connsiteX14" fmla="*/ 34434 w 7880496"/>
                <a:gd name="connsiteY14" fmla="*/ 773577 h 799111"/>
                <a:gd name="connsiteX15" fmla="*/ 1075 w 7880496"/>
                <a:gd name="connsiteY15" fmla="*/ 764203 h 799111"/>
                <a:gd name="connsiteX16" fmla="*/ -6093 w 7880496"/>
                <a:gd name="connsiteY16" fmla="*/ 778747 h 799111"/>
                <a:gd name="connsiteX17" fmla="*/ 14239 w 7880496"/>
                <a:gd name="connsiteY17" fmla="*/ 796253 h 799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80496" h="799111">
                  <a:moveTo>
                    <a:pt x="7850349" y="15131"/>
                  </a:moveTo>
                  <a:cubicBezTo>
                    <a:pt x="7850280" y="29812"/>
                    <a:pt x="7850762" y="44493"/>
                    <a:pt x="7851796" y="59173"/>
                  </a:cubicBezTo>
                  <a:cubicBezTo>
                    <a:pt x="7853795" y="54556"/>
                    <a:pt x="7857793" y="45457"/>
                    <a:pt x="7859792" y="40839"/>
                  </a:cubicBezTo>
                  <a:cubicBezTo>
                    <a:pt x="7863238" y="41598"/>
                    <a:pt x="7870130" y="43114"/>
                    <a:pt x="7873577" y="43872"/>
                  </a:cubicBezTo>
                  <a:cubicBezTo>
                    <a:pt x="7873783" y="39254"/>
                    <a:pt x="7874197" y="30087"/>
                    <a:pt x="7874403" y="25538"/>
                  </a:cubicBezTo>
                  <a:cubicBezTo>
                    <a:pt x="7864823" y="20369"/>
                    <a:pt x="7846696" y="20093"/>
                    <a:pt x="7852830" y="4723"/>
                  </a:cubicBezTo>
                  <a:cubicBezTo>
                    <a:pt x="7846833" y="21816"/>
                    <a:pt x="7834220" y="13407"/>
                    <a:pt x="7823262" y="6377"/>
                  </a:cubicBezTo>
                  <a:cubicBezTo>
                    <a:pt x="7818230" y="8583"/>
                    <a:pt x="7813336" y="10788"/>
                    <a:pt x="7808580" y="12925"/>
                  </a:cubicBezTo>
                  <a:cubicBezTo>
                    <a:pt x="7798931" y="7342"/>
                    <a:pt x="7789351" y="1966"/>
                    <a:pt x="7779495" y="-2859"/>
                  </a:cubicBezTo>
                  <a:cubicBezTo>
                    <a:pt x="7781286" y="519"/>
                    <a:pt x="7785009" y="7204"/>
                    <a:pt x="7786869" y="10513"/>
                  </a:cubicBezTo>
                  <a:cubicBezTo>
                    <a:pt x="7807822" y="13407"/>
                    <a:pt x="7829534" y="25331"/>
                    <a:pt x="7850349" y="15131"/>
                  </a:cubicBezTo>
                  <a:close/>
                  <a:moveTo>
                    <a:pt x="14239" y="796253"/>
                  </a:moveTo>
                  <a:cubicBezTo>
                    <a:pt x="17479" y="794737"/>
                    <a:pt x="24027" y="791773"/>
                    <a:pt x="27266" y="790326"/>
                  </a:cubicBezTo>
                  <a:cubicBezTo>
                    <a:pt x="29816" y="791498"/>
                    <a:pt x="34848" y="793910"/>
                    <a:pt x="37329" y="795082"/>
                  </a:cubicBezTo>
                  <a:cubicBezTo>
                    <a:pt x="36295" y="787982"/>
                    <a:pt x="35330" y="780814"/>
                    <a:pt x="34434" y="773577"/>
                  </a:cubicBezTo>
                  <a:cubicBezTo>
                    <a:pt x="22304" y="774611"/>
                    <a:pt x="11276" y="770476"/>
                    <a:pt x="1075" y="764203"/>
                  </a:cubicBezTo>
                  <a:cubicBezTo>
                    <a:pt x="-8712" y="761240"/>
                    <a:pt x="-4577" y="773233"/>
                    <a:pt x="-6093" y="778747"/>
                  </a:cubicBezTo>
                  <a:cubicBezTo>
                    <a:pt x="730" y="784536"/>
                    <a:pt x="7485" y="790395"/>
                    <a:pt x="14239" y="796253"/>
                  </a:cubicBezTo>
                </a:path>
              </a:pathLst>
            </a:custGeom>
            <a:grpFill/>
            <a:ln w="689" cap="flat">
              <a:noFill/>
              <a:prstDash val="solid"/>
              <a:miter/>
            </a:ln>
          </p:spPr>
          <p:txBody>
            <a:bodyPr rtlCol="0" anchor="ctr"/>
            <a:lstStyle/>
            <a:p>
              <a:endParaRPr lang="en-US" sz="2400" dirty="0"/>
            </a:p>
          </p:txBody>
        </p:sp>
        <p:sp>
          <p:nvSpPr>
            <p:cNvPr id="371" name="Graphic 8">
              <a:extLst>
                <a:ext uri="{FF2B5EF4-FFF2-40B4-BE49-F238E27FC236}">
                  <a16:creationId xmlns:a16="http://schemas.microsoft.com/office/drawing/2014/main" id="{4E144E3E-0EC7-4E89-A06F-B7AF4A10A2E4}"/>
                </a:ext>
              </a:extLst>
            </p:cNvPr>
            <p:cNvSpPr/>
            <p:nvPr/>
          </p:nvSpPr>
          <p:spPr>
            <a:xfrm flipV="1">
              <a:off x="1970129" y="2407812"/>
              <a:ext cx="5083791" cy="650998"/>
            </a:xfrm>
            <a:custGeom>
              <a:avLst/>
              <a:gdLst>
                <a:gd name="connsiteX0" fmla="*/ 1193800 w 5083791"/>
                <a:gd name="connsiteY0" fmla="*/ 14340 h 650998"/>
                <a:gd name="connsiteX1" fmla="*/ 1201727 w 5083791"/>
                <a:gd name="connsiteY1" fmla="*/ -892 h 650998"/>
                <a:gd name="connsiteX2" fmla="*/ 1193800 w 5083791"/>
                <a:gd name="connsiteY2" fmla="*/ 14340 h 650998"/>
                <a:gd name="connsiteX3" fmla="*/ -5557 w 5083791"/>
                <a:gd name="connsiteY3" fmla="*/ 36327 h 650998"/>
                <a:gd name="connsiteX4" fmla="*/ 9951 w 5083791"/>
                <a:gd name="connsiteY4" fmla="*/ 31640 h 650998"/>
                <a:gd name="connsiteX5" fmla="*/ -5557 w 5083791"/>
                <a:gd name="connsiteY5" fmla="*/ 36327 h 650998"/>
                <a:gd name="connsiteX6" fmla="*/ 3158635 w 5083791"/>
                <a:gd name="connsiteY6" fmla="*/ 277494 h 650998"/>
                <a:gd name="connsiteX7" fmla="*/ 3175314 w 5083791"/>
                <a:gd name="connsiteY7" fmla="*/ 268120 h 650998"/>
                <a:gd name="connsiteX8" fmla="*/ 3158635 w 5083791"/>
                <a:gd name="connsiteY8" fmla="*/ 277494 h 650998"/>
                <a:gd name="connsiteX9" fmla="*/ 1862163 w 5083791"/>
                <a:gd name="connsiteY9" fmla="*/ 277287 h 650998"/>
                <a:gd name="connsiteX10" fmla="*/ 1877395 w 5083791"/>
                <a:gd name="connsiteY10" fmla="*/ 272532 h 650998"/>
                <a:gd name="connsiteX11" fmla="*/ 1862163 w 5083791"/>
                <a:gd name="connsiteY11" fmla="*/ 277287 h 650998"/>
                <a:gd name="connsiteX12" fmla="*/ 5067365 w 5083791"/>
                <a:gd name="connsiteY12" fmla="*/ 525347 h 650998"/>
                <a:gd name="connsiteX13" fmla="*/ 5077221 w 5083791"/>
                <a:gd name="connsiteY13" fmla="*/ 514664 h 650998"/>
                <a:gd name="connsiteX14" fmla="*/ 5067365 w 5083791"/>
                <a:gd name="connsiteY14" fmla="*/ 525347 h 650998"/>
                <a:gd name="connsiteX15" fmla="*/ 4322703 w 5083791"/>
                <a:gd name="connsiteY15" fmla="*/ 648033 h 650998"/>
                <a:gd name="connsiteX16" fmla="*/ 4315742 w 5083791"/>
                <a:gd name="connsiteY16" fmla="*/ 618740 h 650998"/>
                <a:gd name="connsiteX17" fmla="*/ 4322703 w 5083791"/>
                <a:gd name="connsiteY17" fmla="*/ 648033 h 65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83791" h="650998">
                  <a:moveTo>
                    <a:pt x="1193800" y="14340"/>
                  </a:moveTo>
                  <a:cubicBezTo>
                    <a:pt x="1204002" y="23162"/>
                    <a:pt x="1211652" y="4346"/>
                    <a:pt x="1201727" y="-892"/>
                  </a:cubicBezTo>
                  <a:cubicBezTo>
                    <a:pt x="1191664" y="-9025"/>
                    <a:pt x="1184840" y="9033"/>
                    <a:pt x="1193800" y="14340"/>
                  </a:cubicBezTo>
                  <a:close/>
                  <a:moveTo>
                    <a:pt x="-5557" y="36327"/>
                  </a:moveTo>
                  <a:cubicBezTo>
                    <a:pt x="2783" y="42323"/>
                    <a:pt x="7952" y="40738"/>
                    <a:pt x="9951" y="31640"/>
                  </a:cubicBezTo>
                  <a:cubicBezTo>
                    <a:pt x="1611" y="25712"/>
                    <a:pt x="-3558" y="27298"/>
                    <a:pt x="-5557" y="36327"/>
                  </a:cubicBezTo>
                  <a:moveTo>
                    <a:pt x="3158635" y="277494"/>
                  </a:moveTo>
                  <a:cubicBezTo>
                    <a:pt x="3164286" y="284593"/>
                    <a:pt x="3179519" y="277081"/>
                    <a:pt x="3175314" y="268120"/>
                  </a:cubicBezTo>
                  <a:cubicBezTo>
                    <a:pt x="3169456" y="262124"/>
                    <a:pt x="3155120" y="268948"/>
                    <a:pt x="3158635" y="277494"/>
                  </a:cubicBezTo>
                  <a:moveTo>
                    <a:pt x="1862163" y="277287"/>
                  </a:moveTo>
                  <a:cubicBezTo>
                    <a:pt x="1870640" y="283284"/>
                    <a:pt x="1875672" y="281699"/>
                    <a:pt x="1877395" y="272532"/>
                  </a:cubicBezTo>
                  <a:cubicBezTo>
                    <a:pt x="1868848" y="266604"/>
                    <a:pt x="1863748" y="268258"/>
                    <a:pt x="1862163" y="277287"/>
                  </a:cubicBezTo>
                  <a:moveTo>
                    <a:pt x="5067365" y="525347"/>
                  </a:moveTo>
                  <a:cubicBezTo>
                    <a:pt x="5076807" y="527966"/>
                    <a:pt x="5080116" y="524382"/>
                    <a:pt x="5077221" y="514664"/>
                  </a:cubicBezTo>
                  <a:cubicBezTo>
                    <a:pt x="5067640" y="512113"/>
                    <a:pt x="5064332" y="515629"/>
                    <a:pt x="5067365" y="525347"/>
                  </a:cubicBezTo>
                  <a:moveTo>
                    <a:pt x="4322703" y="648033"/>
                  </a:moveTo>
                  <a:cubicBezTo>
                    <a:pt x="4335109" y="645965"/>
                    <a:pt x="4328423" y="613984"/>
                    <a:pt x="4315742" y="618740"/>
                  </a:cubicBezTo>
                  <a:cubicBezTo>
                    <a:pt x="4311124" y="628183"/>
                    <a:pt x="4314845" y="641416"/>
                    <a:pt x="4322703" y="648033"/>
                  </a:cubicBezTo>
                </a:path>
              </a:pathLst>
            </a:custGeom>
            <a:grpFill/>
            <a:ln w="689" cap="flat">
              <a:noFill/>
              <a:prstDash val="solid"/>
              <a:miter/>
            </a:ln>
          </p:spPr>
          <p:txBody>
            <a:bodyPr rtlCol="0" anchor="ctr"/>
            <a:lstStyle/>
            <a:p>
              <a:endParaRPr lang="en-US" sz="2400" dirty="0"/>
            </a:p>
          </p:txBody>
        </p:sp>
        <p:sp>
          <p:nvSpPr>
            <p:cNvPr id="372" name="Graphic 8">
              <a:extLst>
                <a:ext uri="{FF2B5EF4-FFF2-40B4-BE49-F238E27FC236}">
                  <a16:creationId xmlns:a16="http://schemas.microsoft.com/office/drawing/2014/main" id="{7588D7F3-BC68-488A-B513-7F0A15B476EF}"/>
                </a:ext>
              </a:extLst>
            </p:cNvPr>
            <p:cNvSpPr/>
            <p:nvPr/>
          </p:nvSpPr>
          <p:spPr>
            <a:xfrm flipV="1">
              <a:off x="1643124" y="2414222"/>
              <a:ext cx="3712875" cy="729134"/>
            </a:xfrm>
            <a:custGeom>
              <a:avLst/>
              <a:gdLst>
                <a:gd name="connsiteX0" fmla="*/ -3292 w 3712875"/>
                <a:gd name="connsiteY0" fmla="*/ 10806 h 729134"/>
                <a:gd name="connsiteX1" fmla="*/ 8425 w 3712875"/>
                <a:gd name="connsiteY1" fmla="*/ -2014 h 729134"/>
                <a:gd name="connsiteX2" fmla="*/ -3292 w 3712875"/>
                <a:gd name="connsiteY2" fmla="*/ 10806 h 729134"/>
                <a:gd name="connsiteX3" fmla="*/ 3705749 w 3712875"/>
                <a:gd name="connsiteY3" fmla="*/ 726244 h 729134"/>
                <a:gd name="connsiteX4" fmla="*/ 3705749 w 3712875"/>
                <a:gd name="connsiteY4" fmla="*/ 726244 h 7291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2875" h="729134">
                  <a:moveTo>
                    <a:pt x="-3292" y="10806"/>
                  </a:moveTo>
                  <a:cubicBezTo>
                    <a:pt x="7529" y="13701"/>
                    <a:pt x="11389" y="9428"/>
                    <a:pt x="8425" y="-2014"/>
                  </a:cubicBezTo>
                  <a:cubicBezTo>
                    <a:pt x="-2396" y="-4909"/>
                    <a:pt x="-6325" y="-636"/>
                    <a:pt x="-3292" y="10806"/>
                  </a:cubicBezTo>
                  <a:close/>
                  <a:moveTo>
                    <a:pt x="3705749" y="726244"/>
                  </a:moveTo>
                  <a:cubicBezTo>
                    <a:pt x="3709540" y="722453"/>
                    <a:pt x="3709540" y="722453"/>
                    <a:pt x="3705749" y="726244"/>
                  </a:cubicBezTo>
                </a:path>
              </a:pathLst>
            </a:custGeom>
            <a:grpFill/>
            <a:ln w="689" cap="flat">
              <a:noFill/>
              <a:prstDash val="solid"/>
              <a:miter/>
            </a:ln>
          </p:spPr>
          <p:txBody>
            <a:bodyPr rtlCol="0" anchor="ctr"/>
            <a:lstStyle/>
            <a:p>
              <a:endParaRPr lang="en-US" sz="2400" dirty="0"/>
            </a:p>
          </p:txBody>
        </p:sp>
        <p:sp>
          <p:nvSpPr>
            <p:cNvPr id="373" name="Graphic 8">
              <a:extLst>
                <a:ext uri="{FF2B5EF4-FFF2-40B4-BE49-F238E27FC236}">
                  <a16:creationId xmlns:a16="http://schemas.microsoft.com/office/drawing/2014/main" id="{D8ED8B89-C5A5-41EE-94C9-9EB5093851FC}"/>
                </a:ext>
              </a:extLst>
            </p:cNvPr>
            <p:cNvSpPr/>
            <p:nvPr/>
          </p:nvSpPr>
          <p:spPr>
            <a:xfrm flipV="1">
              <a:off x="6862882" y="2414567"/>
              <a:ext cx="2326" cy="2946"/>
            </a:xfrm>
            <a:custGeom>
              <a:avLst/>
              <a:gdLst>
                <a:gd name="connsiteX0" fmla="*/ -8514 w 2326"/>
                <a:gd name="connsiteY0" fmla="*/ -541 h 2946"/>
                <a:gd name="connsiteX1" fmla="*/ -8514 w 2326"/>
                <a:gd name="connsiteY1" fmla="*/ -541 h 2946"/>
                <a:gd name="connsiteX2" fmla="*/ -8514 w 2326"/>
                <a:gd name="connsiteY2" fmla="*/ -541 h 2946"/>
              </a:gdLst>
              <a:ahLst/>
              <a:cxnLst>
                <a:cxn ang="0">
                  <a:pos x="connsiteX0" y="connsiteY0"/>
                </a:cxn>
                <a:cxn ang="0">
                  <a:pos x="connsiteX1" y="connsiteY1"/>
                </a:cxn>
                <a:cxn ang="0">
                  <a:pos x="connsiteX2" y="connsiteY2"/>
                </a:cxn>
              </a:cxnLst>
              <a:rect l="l" t="t" r="r" b="b"/>
              <a:pathLst>
                <a:path w="2326" h="2946">
                  <a:moveTo>
                    <a:pt x="-8514" y="-541"/>
                  </a:moveTo>
                  <a:cubicBezTo>
                    <a:pt x="-5413" y="-4469"/>
                    <a:pt x="-5413" y="-4469"/>
                    <a:pt x="-8514" y="-541"/>
                  </a:cubicBezTo>
                  <a:lnTo>
                    <a:pt x="-8514" y="-541"/>
                  </a:lnTo>
                </a:path>
              </a:pathLst>
            </a:custGeom>
            <a:grpFill/>
            <a:ln w="689" cap="flat">
              <a:noFill/>
              <a:prstDash val="solid"/>
              <a:miter/>
            </a:ln>
          </p:spPr>
          <p:txBody>
            <a:bodyPr rtlCol="0" anchor="ctr"/>
            <a:lstStyle/>
            <a:p>
              <a:endParaRPr lang="en-US" sz="2400" dirty="0"/>
            </a:p>
          </p:txBody>
        </p:sp>
        <p:sp>
          <p:nvSpPr>
            <p:cNvPr id="374" name="Graphic 8">
              <a:extLst>
                <a:ext uri="{FF2B5EF4-FFF2-40B4-BE49-F238E27FC236}">
                  <a16:creationId xmlns:a16="http://schemas.microsoft.com/office/drawing/2014/main" id="{328D6663-2779-4253-9C9C-7D6DC78B9CD9}"/>
                </a:ext>
              </a:extLst>
            </p:cNvPr>
            <p:cNvSpPr/>
            <p:nvPr/>
          </p:nvSpPr>
          <p:spPr>
            <a:xfrm flipV="1">
              <a:off x="522435" y="2421184"/>
              <a:ext cx="3183609" cy="1335623"/>
            </a:xfrm>
            <a:custGeom>
              <a:avLst/>
              <a:gdLst>
                <a:gd name="connsiteX0" fmla="*/ 1625942 w 3183609"/>
                <a:gd name="connsiteY0" fmla="*/ 55243 h 1335623"/>
                <a:gd name="connsiteX1" fmla="*/ 1635591 w 3183609"/>
                <a:gd name="connsiteY1" fmla="*/ 59447 h 1335623"/>
                <a:gd name="connsiteX2" fmla="*/ 1633868 w 3183609"/>
                <a:gd name="connsiteY2" fmla="*/ 47454 h 1335623"/>
                <a:gd name="connsiteX3" fmla="*/ 1663712 w 3183609"/>
                <a:gd name="connsiteY3" fmla="*/ 44146 h 1335623"/>
                <a:gd name="connsiteX4" fmla="*/ 1667296 w 3183609"/>
                <a:gd name="connsiteY4" fmla="*/ 39252 h 1335623"/>
                <a:gd name="connsiteX5" fmla="*/ 1675154 w 3183609"/>
                <a:gd name="connsiteY5" fmla="*/ 37460 h 1335623"/>
                <a:gd name="connsiteX6" fmla="*/ 1675429 w 3183609"/>
                <a:gd name="connsiteY6" fmla="*/ 56001 h 1335623"/>
                <a:gd name="connsiteX7" fmla="*/ 1680323 w 3183609"/>
                <a:gd name="connsiteY7" fmla="*/ 8856 h 1335623"/>
                <a:gd name="connsiteX8" fmla="*/ 1678945 w 3183609"/>
                <a:gd name="connsiteY8" fmla="*/ -2378 h 1335623"/>
                <a:gd name="connsiteX9" fmla="*/ 1650823 w 3183609"/>
                <a:gd name="connsiteY9" fmla="*/ 1688 h 1335623"/>
                <a:gd name="connsiteX10" fmla="*/ 1644758 w 3183609"/>
                <a:gd name="connsiteY10" fmla="*/ 23124 h 1335623"/>
                <a:gd name="connsiteX11" fmla="*/ 1619876 w 3183609"/>
                <a:gd name="connsiteY11" fmla="*/ 26777 h 1335623"/>
                <a:gd name="connsiteX12" fmla="*/ 1637728 w 3183609"/>
                <a:gd name="connsiteY12" fmla="*/ 2378 h 1335623"/>
                <a:gd name="connsiteX13" fmla="*/ 1614362 w 3183609"/>
                <a:gd name="connsiteY13" fmla="*/ 50556 h 1335623"/>
                <a:gd name="connsiteX14" fmla="*/ 1625942 w 3183609"/>
                <a:gd name="connsiteY14" fmla="*/ 55243 h 1335623"/>
                <a:gd name="connsiteX15" fmla="*/ 279637 w 3183609"/>
                <a:gd name="connsiteY15" fmla="*/ 693829 h 1335623"/>
                <a:gd name="connsiteX16" fmla="*/ 279637 w 3183609"/>
                <a:gd name="connsiteY16" fmla="*/ 693829 h 1335623"/>
                <a:gd name="connsiteX17" fmla="*/ -2542 w 3183609"/>
                <a:gd name="connsiteY17" fmla="*/ 740974 h 1335623"/>
                <a:gd name="connsiteX18" fmla="*/ -2542 w 3183609"/>
                <a:gd name="connsiteY18" fmla="*/ 740974 h 1335623"/>
                <a:gd name="connsiteX19" fmla="*/ 3172886 w 3183609"/>
                <a:gd name="connsiteY19" fmla="*/ 1333243 h 1335623"/>
                <a:gd name="connsiteX20" fmla="*/ 3172886 w 3183609"/>
                <a:gd name="connsiteY20" fmla="*/ 1333243 h 133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83609" h="1335623">
                  <a:moveTo>
                    <a:pt x="1625942" y="55243"/>
                  </a:moveTo>
                  <a:lnTo>
                    <a:pt x="1635591" y="59447"/>
                  </a:lnTo>
                  <a:cubicBezTo>
                    <a:pt x="1635178" y="56483"/>
                    <a:pt x="1634350" y="50418"/>
                    <a:pt x="1633868" y="47454"/>
                  </a:cubicBezTo>
                  <a:cubicBezTo>
                    <a:pt x="1645585" y="56001"/>
                    <a:pt x="1657785" y="61791"/>
                    <a:pt x="1663712" y="44146"/>
                  </a:cubicBezTo>
                  <a:cubicBezTo>
                    <a:pt x="1646550" y="46834"/>
                    <a:pt x="1658750" y="24985"/>
                    <a:pt x="1667296" y="39252"/>
                  </a:cubicBezTo>
                  <a:cubicBezTo>
                    <a:pt x="1669226" y="38770"/>
                    <a:pt x="1673224" y="37874"/>
                    <a:pt x="1675154" y="37460"/>
                  </a:cubicBezTo>
                  <a:cubicBezTo>
                    <a:pt x="1675223" y="42078"/>
                    <a:pt x="1675361" y="51383"/>
                    <a:pt x="1675429" y="56001"/>
                  </a:cubicBezTo>
                  <a:cubicBezTo>
                    <a:pt x="1685424" y="42078"/>
                    <a:pt x="1681357" y="24709"/>
                    <a:pt x="1680323" y="8856"/>
                  </a:cubicBezTo>
                  <a:cubicBezTo>
                    <a:pt x="1679979" y="6030"/>
                    <a:pt x="1679289" y="448"/>
                    <a:pt x="1678945" y="-2378"/>
                  </a:cubicBezTo>
                  <a:cubicBezTo>
                    <a:pt x="1669226" y="-2447"/>
                    <a:pt x="1659853" y="-1069"/>
                    <a:pt x="1650823" y="1688"/>
                  </a:cubicBezTo>
                  <a:cubicBezTo>
                    <a:pt x="1648687" y="8856"/>
                    <a:pt x="1646688" y="16025"/>
                    <a:pt x="1644758" y="23124"/>
                  </a:cubicBezTo>
                  <a:cubicBezTo>
                    <a:pt x="1636418" y="24433"/>
                    <a:pt x="1628147" y="25674"/>
                    <a:pt x="1619876" y="26777"/>
                  </a:cubicBezTo>
                  <a:cubicBezTo>
                    <a:pt x="1625873" y="18782"/>
                    <a:pt x="1631938" y="10717"/>
                    <a:pt x="1637728" y="2378"/>
                  </a:cubicBezTo>
                  <a:cubicBezTo>
                    <a:pt x="1610985" y="4376"/>
                    <a:pt x="1614225" y="30981"/>
                    <a:pt x="1614362" y="50556"/>
                  </a:cubicBezTo>
                  <a:cubicBezTo>
                    <a:pt x="1617257" y="51727"/>
                    <a:pt x="1623047" y="54071"/>
                    <a:pt x="1625942" y="55243"/>
                  </a:cubicBezTo>
                  <a:close/>
                  <a:moveTo>
                    <a:pt x="279637" y="693829"/>
                  </a:moveTo>
                  <a:cubicBezTo>
                    <a:pt x="300521" y="704099"/>
                    <a:pt x="280395" y="671153"/>
                    <a:pt x="279637" y="693829"/>
                  </a:cubicBezTo>
                  <a:moveTo>
                    <a:pt x="-2542" y="740974"/>
                  </a:moveTo>
                  <a:cubicBezTo>
                    <a:pt x="18136" y="751450"/>
                    <a:pt x="-1712" y="718091"/>
                    <a:pt x="-2542" y="740974"/>
                  </a:cubicBezTo>
                  <a:moveTo>
                    <a:pt x="3172886" y="1333243"/>
                  </a:moveTo>
                  <a:cubicBezTo>
                    <a:pt x="3195562" y="1332761"/>
                    <a:pt x="3162823" y="1312152"/>
                    <a:pt x="3172886" y="1333243"/>
                  </a:cubicBezTo>
                </a:path>
              </a:pathLst>
            </a:custGeom>
            <a:grpFill/>
            <a:ln w="689" cap="flat">
              <a:noFill/>
              <a:prstDash val="solid"/>
              <a:miter/>
            </a:ln>
          </p:spPr>
          <p:txBody>
            <a:bodyPr rtlCol="0" anchor="ctr"/>
            <a:lstStyle/>
            <a:p>
              <a:endParaRPr lang="en-US" sz="2400" dirty="0"/>
            </a:p>
          </p:txBody>
        </p:sp>
        <p:sp>
          <p:nvSpPr>
            <p:cNvPr id="375" name="Graphic 8">
              <a:extLst>
                <a:ext uri="{FF2B5EF4-FFF2-40B4-BE49-F238E27FC236}">
                  <a16:creationId xmlns:a16="http://schemas.microsoft.com/office/drawing/2014/main" id="{424378B7-92BA-4C63-9080-826A6361E24B}"/>
                </a:ext>
              </a:extLst>
            </p:cNvPr>
            <p:cNvSpPr/>
            <p:nvPr/>
          </p:nvSpPr>
          <p:spPr>
            <a:xfrm flipV="1">
              <a:off x="7956498" y="2419598"/>
              <a:ext cx="14493" cy="23824"/>
            </a:xfrm>
            <a:custGeom>
              <a:avLst/>
              <a:gdLst>
                <a:gd name="connsiteX0" fmla="*/ -513 w 14493"/>
                <a:gd name="connsiteY0" fmla="*/ 20363 h 23824"/>
                <a:gd name="connsiteX1" fmla="*/ -7750 w 14493"/>
                <a:gd name="connsiteY1" fmla="*/ -3347 h 23824"/>
                <a:gd name="connsiteX2" fmla="*/ -513 w 14493"/>
                <a:gd name="connsiteY2" fmla="*/ 20363 h 23824"/>
                <a:gd name="connsiteX3" fmla="*/ -513 w 14493"/>
                <a:gd name="connsiteY3" fmla="*/ 20363 h 23824"/>
              </a:gdLst>
              <a:ahLst/>
              <a:cxnLst>
                <a:cxn ang="0">
                  <a:pos x="connsiteX0" y="connsiteY0"/>
                </a:cxn>
                <a:cxn ang="0">
                  <a:pos x="connsiteX1" y="connsiteY1"/>
                </a:cxn>
                <a:cxn ang="0">
                  <a:pos x="connsiteX2" y="connsiteY2"/>
                </a:cxn>
                <a:cxn ang="0">
                  <a:pos x="connsiteX3" y="connsiteY3"/>
                </a:cxn>
              </a:cxnLst>
              <a:rect l="l" t="t" r="r" b="b"/>
              <a:pathLst>
                <a:path w="14493" h="23824">
                  <a:moveTo>
                    <a:pt x="-513" y="20363"/>
                  </a:moveTo>
                  <a:cubicBezTo>
                    <a:pt x="10585" y="17744"/>
                    <a:pt x="1487" y="-5277"/>
                    <a:pt x="-7750" y="-3347"/>
                  </a:cubicBezTo>
                  <a:cubicBezTo>
                    <a:pt x="-12436" y="4372"/>
                    <a:pt x="-9197" y="16917"/>
                    <a:pt x="-513" y="20363"/>
                  </a:cubicBezTo>
                  <a:lnTo>
                    <a:pt x="-513" y="20363"/>
                  </a:lnTo>
                </a:path>
              </a:pathLst>
            </a:custGeom>
            <a:grpFill/>
            <a:ln w="689" cap="flat">
              <a:noFill/>
              <a:prstDash val="solid"/>
              <a:miter/>
            </a:ln>
          </p:spPr>
          <p:txBody>
            <a:bodyPr rtlCol="0" anchor="ctr"/>
            <a:lstStyle/>
            <a:p>
              <a:endParaRPr lang="en-US" sz="2400" dirty="0"/>
            </a:p>
          </p:txBody>
        </p:sp>
        <p:sp>
          <p:nvSpPr>
            <p:cNvPr id="376" name="Graphic 8">
              <a:extLst>
                <a:ext uri="{FF2B5EF4-FFF2-40B4-BE49-F238E27FC236}">
                  <a16:creationId xmlns:a16="http://schemas.microsoft.com/office/drawing/2014/main" id="{9346967F-C7D6-4DF7-B40D-E7EF548F2C8B}"/>
                </a:ext>
              </a:extLst>
            </p:cNvPr>
            <p:cNvSpPr/>
            <p:nvPr/>
          </p:nvSpPr>
          <p:spPr>
            <a:xfrm flipV="1">
              <a:off x="2558952" y="2420426"/>
              <a:ext cx="6113252" cy="746530"/>
            </a:xfrm>
            <a:custGeom>
              <a:avLst/>
              <a:gdLst>
                <a:gd name="connsiteX0" fmla="*/ 22417 w 6113252"/>
                <a:gd name="connsiteY0" fmla="*/ 4930 h 746530"/>
                <a:gd name="connsiteX1" fmla="*/ 22417 w 6113252"/>
                <a:gd name="connsiteY1" fmla="*/ 4930 h 746530"/>
                <a:gd name="connsiteX2" fmla="*/ 844 w 6113252"/>
                <a:gd name="connsiteY2" fmla="*/ 94118 h 746530"/>
                <a:gd name="connsiteX3" fmla="*/ 26001 w 6113252"/>
                <a:gd name="connsiteY3" fmla="*/ 75853 h 746530"/>
                <a:gd name="connsiteX4" fmla="*/ 14698 w 6113252"/>
                <a:gd name="connsiteY4" fmla="*/ 62620 h 746530"/>
                <a:gd name="connsiteX5" fmla="*/ 33928 w 6113252"/>
                <a:gd name="connsiteY5" fmla="*/ 33327 h 746530"/>
                <a:gd name="connsiteX6" fmla="*/ 25795 w 6113252"/>
                <a:gd name="connsiteY6" fmla="*/ 35463 h 746530"/>
                <a:gd name="connsiteX7" fmla="*/ 15318 w 6113252"/>
                <a:gd name="connsiteY7" fmla="*/ 41046 h 746530"/>
                <a:gd name="connsiteX8" fmla="*/ -6944 w 6113252"/>
                <a:gd name="connsiteY8" fmla="*/ 48559 h 746530"/>
                <a:gd name="connsiteX9" fmla="*/ 2912 w 6113252"/>
                <a:gd name="connsiteY9" fmla="*/ 60897 h 746530"/>
                <a:gd name="connsiteX10" fmla="*/ -1430 w 6113252"/>
                <a:gd name="connsiteY10" fmla="*/ 87088 h 746530"/>
                <a:gd name="connsiteX11" fmla="*/ 844 w 6113252"/>
                <a:gd name="connsiteY11" fmla="*/ 94118 h 746530"/>
                <a:gd name="connsiteX12" fmla="*/ 6103775 w 6113252"/>
                <a:gd name="connsiteY12" fmla="*/ 743664 h 746530"/>
                <a:gd name="connsiteX13" fmla="*/ 6103775 w 6113252"/>
                <a:gd name="connsiteY13" fmla="*/ 743664 h 74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13252" h="746530">
                  <a:moveTo>
                    <a:pt x="22417" y="4930"/>
                  </a:moveTo>
                  <a:cubicBezTo>
                    <a:pt x="45025" y="14993"/>
                    <a:pt x="23451" y="-16851"/>
                    <a:pt x="22417" y="4930"/>
                  </a:cubicBezTo>
                  <a:close/>
                  <a:moveTo>
                    <a:pt x="844" y="94118"/>
                  </a:moveTo>
                  <a:cubicBezTo>
                    <a:pt x="9115" y="88053"/>
                    <a:pt x="17524" y="81850"/>
                    <a:pt x="26001" y="75853"/>
                  </a:cubicBezTo>
                  <a:cubicBezTo>
                    <a:pt x="23176" y="72545"/>
                    <a:pt x="17524" y="65928"/>
                    <a:pt x="14698" y="62620"/>
                  </a:cubicBezTo>
                  <a:cubicBezTo>
                    <a:pt x="32825" y="62689"/>
                    <a:pt x="31860" y="46216"/>
                    <a:pt x="33928" y="33327"/>
                  </a:cubicBezTo>
                  <a:lnTo>
                    <a:pt x="25795" y="35463"/>
                  </a:lnTo>
                  <a:cubicBezTo>
                    <a:pt x="23176" y="36842"/>
                    <a:pt x="17937" y="39668"/>
                    <a:pt x="15318" y="41046"/>
                  </a:cubicBezTo>
                  <a:cubicBezTo>
                    <a:pt x="7805" y="43390"/>
                    <a:pt x="361" y="45940"/>
                    <a:pt x="-6944" y="48559"/>
                  </a:cubicBezTo>
                  <a:cubicBezTo>
                    <a:pt x="-4463" y="51661"/>
                    <a:pt x="430" y="57795"/>
                    <a:pt x="2912" y="60897"/>
                  </a:cubicBezTo>
                  <a:cubicBezTo>
                    <a:pt x="1809" y="67444"/>
                    <a:pt x="-328" y="80540"/>
                    <a:pt x="-1430" y="87088"/>
                  </a:cubicBezTo>
                  <a:lnTo>
                    <a:pt x="844" y="94118"/>
                  </a:lnTo>
                  <a:moveTo>
                    <a:pt x="6103775" y="743664"/>
                  </a:moveTo>
                  <a:cubicBezTo>
                    <a:pt x="6107152" y="739804"/>
                    <a:pt x="6107152" y="739804"/>
                    <a:pt x="6103775" y="743664"/>
                  </a:cubicBezTo>
                </a:path>
              </a:pathLst>
            </a:custGeom>
            <a:grpFill/>
            <a:ln w="689" cap="flat">
              <a:noFill/>
              <a:prstDash val="solid"/>
              <a:miter/>
            </a:ln>
          </p:spPr>
          <p:txBody>
            <a:bodyPr rtlCol="0" anchor="ctr"/>
            <a:lstStyle/>
            <a:p>
              <a:endParaRPr lang="en-US" sz="2400" dirty="0"/>
            </a:p>
          </p:txBody>
        </p:sp>
        <p:sp>
          <p:nvSpPr>
            <p:cNvPr id="377" name="Graphic 8">
              <a:extLst>
                <a:ext uri="{FF2B5EF4-FFF2-40B4-BE49-F238E27FC236}">
                  <a16:creationId xmlns:a16="http://schemas.microsoft.com/office/drawing/2014/main" id="{4EBAC78D-0C0C-4553-9F96-2E1CE9502423}"/>
                </a:ext>
              </a:extLst>
            </p:cNvPr>
            <p:cNvSpPr/>
            <p:nvPr/>
          </p:nvSpPr>
          <p:spPr>
            <a:xfrm flipV="1">
              <a:off x="1607741" y="2434693"/>
              <a:ext cx="5422869" cy="713180"/>
            </a:xfrm>
            <a:custGeom>
              <a:avLst/>
              <a:gdLst>
                <a:gd name="connsiteX0" fmla="*/ 707694 w 5422869"/>
                <a:gd name="connsiteY0" fmla="*/ -27 h 713180"/>
                <a:gd name="connsiteX1" fmla="*/ 707694 w 5422869"/>
                <a:gd name="connsiteY1" fmla="*/ -27 h 713180"/>
                <a:gd name="connsiteX2" fmla="*/ 5414763 w 5422869"/>
                <a:gd name="connsiteY2" fmla="*/ 510773 h 713180"/>
                <a:gd name="connsiteX3" fmla="*/ 5414763 w 5422869"/>
                <a:gd name="connsiteY3" fmla="*/ 510773 h 713180"/>
                <a:gd name="connsiteX4" fmla="*/ -3195 w 5422869"/>
                <a:gd name="connsiteY4" fmla="*/ 710310 h 713180"/>
                <a:gd name="connsiteX5" fmla="*/ -3195 w 5422869"/>
                <a:gd name="connsiteY5" fmla="*/ 710310 h 71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22869" h="713180">
                  <a:moveTo>
                    <a:pt x="707694" y="-27"/>
                  </a:moveTo>
                  <a:cubicBezTo>
                    <a:pt x="711485" y="-3818"/>
                    <a:pt x="711485" y="-3818"/>
                    <a:pt x="707694" y="-27"/>
                  </a:cubicBezTo>
                  <a:close/>
                  <a:moveTo>
                    <a:pt x="5414763" y="510773"/>
                  </a:moveTo>
                  <a:cubicBezTo>
                    <a:pt x="5418486" y="506982"/>
                    <a:pt x="5418486" y="506982"/>
                    <a:pt x="5414763" y="510773"/>
                  </a:cubicBezTo>
                  <a:moveTo>
                    <a:pt x="-3195" y="710310"/>
                  </a:moveTo>
                  <a:cubicBezTo>
                    <a:pt x="19275" y="709000"/>
                    <a:pt x="-13671" y="689288"/>
                    <a:pt x="-3195" y="710310"/>
                  </a:cubicBezTo>
                </a:path>
              </a:pathLst>
            </a:custGeom>
            <a:grpFill/>
            <a:ln w="689" cap="flat">
              <a:noFill/>
              <a:prstDash val="solid"/>
              <a:miter/>
            </a:ln>
          </p:spPr>
          <p:txBody>
            <a:bodyPr rtlCol="0" anchor="ctr"/>
            <a:lstStyle/>
            <a:p>
              <a:endParaRPr lang="en-US" sz="2400" dirty="0"/>
            </a:p>
          </p:txBody>
        </p:sp>
        <p:sp>
          <p:nvSpPr>
            <p:cNvPr id="378" name="Graphic 8">
              <a:extLst>
                <a:ext uri="{FF2B5EF4-FFF2-40B4-BE49-F238E27FC236}">
                  <a16:creationId xmlns:a16="http://schemas.microsoft.com/office/drawing/2014/main" id="{AE9CB1A1-9D18-4B8C-8A05-CA863980935C}"/>
                </a:ext>
              </a:extLst>
            </p:cNvPr>
            <p:cNvSpPr/>
            <p:nvPr/>
          </p:nvSpPr>
          <p:spPr>
            <a:xfrm flipV="1">
              <a:off x="5608247" y="2435313"/>
              <a:ext cx="2791" cy="2532"/>
            </a:xfrm>
            <a:custGeom>
              <a:avLst/>
              <a:gdLst>
                <a:gd name="connsiteX0" fmla="*/ -6937 w 2791"/>
                <a:gd name="connsiteY0" fmla="*/ -921 h 2532"/>
                <a:gd name="connsiteX1" fmla="*/ -6937 w 2791"/>
                <a:gd name="connsiteY1" fmla="*/ -921 h 2532"/>
                <a:gd name="connsiteX2" fmla="*/ -6937 w 2791"/>
                <a:gd name="connsiteY2" fmla="*/ -921 h 2532"/>
              </a:gdLst>
              <a:ahLst/>
              <a:cxnLst>
                <a:cxn ang="0">
                  <a:pos x="connsiteX0" y="connsiteY0"/>
                </a:cxn>
                <a:cxn ang="0">
                  <a:pos x="connsiteX1" y="connsiteY1"/>
                </a:cxn>
                <a:cxn ang="0">
                  <a:pos x="connsiteX2" y="connsiteY2"/>
                </a:cxn>
              </a:cxnLst>
              <a:rect l="l" t="t" r="r" b="b"/>
              <a:pathLst>
                <a:path w="2791" h="2532">
                  <a:moveTo>
                    <a:pt x="-6937" y="-921"/>
                  </a:moveTo>
                  <a:cubicBezTo>
                    <a:pt x="-3215" y="-4298"/>
                    <a:pt x="-3215" y="-4298"/>
                    <a:pt x="-6937" y="-921"/>
                  </a:cubicBezTo>
                  <a:lnTo>
                    <a:pt x="-6937" y="-921"/>
                  </a:lnTo>
                </a:path>
              </a:pathLst>
            </a:custGeom>
            <a:grpFill/>
            <a:ln w="689" cap="flat">
              <a:noFill/>
              <a:prstDash val="solid"/>
              <a:miter/>
            </a:ln>
          </p:spPr>
          <p:txBody>
            <a:bodyPr rtlCol="0" anchor="ctr"/>
            <a:lstStyle/>
            <a:p>
              <a:endParaRPr lang="en-US" sz="2400" dirty="0"/>
            </a:p>
          </p:txBody>
        </p:sp>
        <p:sp>
          <p:nvSpPr>
            <p:cNvPr id="379" name="Graphic 8">
              <a:extLst>
                <a:ext uri="{FF2B5EF4-FFF2-40B4-BE49-F238E27FC236}">
                  <a16:creationId xmlns:a16="http://schemas.microsoft.com/office/drawing/2014/main" id="{EFC0D06E-FEDB-4C09-857B-749A88C812BF}"/>
                </a:ext>
              </a:extLst>
            </p:cNvPr>
            <p:cNvSpPr/>
            <p:nvPr/>
          </p:nvSpPr>
          <p:spPr>
            <a:xfrm flipV="1">
              <a:off x="7104876" y="2434762"/>
              <a:ext cx="1183737" cy="914952"/>
            </a:xfrm>
            <a:custGeom>
              <a:avLst/>
              <a:gdLst>
                <a:gd name="connsiteX0" fmla="*/ 202175 w 1183737"/>
                <a:gd name="connsiteY0" fmla="*/ 8509 h 914952"/>
                <a:gd name="connsiteX1" fmla="*/ 213065 w 1183737"/>
                <a:gd name="connsiteY1" fmla="*/ -1899 h 914952"/>
                <a:gd name="connsiteX2" fmla="*/ 202175 w 1183737"/>
                <a:gd name="connsiteY2" fmla="*/ 8509 h 914952"/>
                <a:gd name="connsiteX3" fmla="*/ 1161193 w 1183737"/>
                <a:gd name="connsiteY3" fmla="*/ 773848 h 914952"/>
                <a:gd name="connsiteX4" fmla="*/ 1171187 w 1183737"/>
                <a:gd name="connsiteY4" fmla="*/ 757375 h 914952"/>
                <a:gd name="connsiteX5" fmla="*/ 1161193 w 1183737"/>
                <a:gd name="connsiteY5" fmla="*/ 773848 h 914952"/>
                <a:gd name="connsiteX6" fmla="*/ -9561 w 1183737"/>
                <a:gd name="connsiteY6" fmla="*/ 912248 h 914952"/>
                <a:gd name="connsiteX7" fmla="*/ -9561 w 1183737"/>
                <a:gd name="connsiteY7" fmla="*/ 912248 h 9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3737" h="914952">
                  <a:moveTo>
                    <a:pt x="202175" y="8509"/>
                  </a:moveTo>
                  <a:cubicBezTo>
                    <a:pt x="211825" y="11059"/>
                    <a:pt x="215409" y="7613"/>
                    <a:pt x="213065" y="-1899"/>
                  </a:cubicBezTo>
                  <a:cubicBezTo>
                    <a:pt x="203209" y="-4449"/>
                    <a:pt x="199625" y="-934"/>
                    <a:pt x="202175" y="8509"/>
                  </a:cubicBezTo>
                  <a:close/>
                  <a:moveTo>
                    <a:pt x="1161193" y="773848"/>
                  </a:moveTo>
                  <a:cubicBezTo>
                    <a:pt x="1170636" y="780809"/>
                    <a:pt x="1178769" y="763647"/>
                    <a:pt x="1171187" y="757375"/>
                  </a:cubicBezTo>
                  <a:cubicBezTo>
                    <a:pt x="1161399" y="749931"/>
                    <a:pt x="1153266" y="767645"/>
                    <a:pt x="1161193" y="773848"/>
                  </a:cubicBezTo>
                  <a:moveTo>
                    <a:pt x="-9561" y="912248"/>
                  </a:moveTo>
                  <a:cubicBezTo>
                    <a:pt x="-5977" y="908664"/>
                    <a:pt x="-5977" y="908664"/>
                    <a:pt x="-9561" y="912248"/>
                  </a:cubicBezTo>
                </a:path>
              </a:pathLst>
            </a:custGeom>
            <a:grpFill/>
            <a:ln w="689" cap="flat">
              <a:noFill/>
              <a:prstDash val="solid"/>
              <a:miter/>
            </a:ln>
          </p:spPr>
          <p:txBody>
            <a:bodyPr rtlCol="0" anchor="ctr"/>
            <a:lstStyle/>
            <a:p>
              <a:endParaRPr lang="en-US" sz="2400" dirty="0"/>
            </a:p>
          </p:txBody>
        </p:sp>
        <p:sp>
          <p:nvSpPr>
            <p:cNvPr id="380" name="Graphic 8">
              <a:extLst>
                <a:ext uri="{FF2B5EF4-FFF2-40B4-BE49-F238E27FC236}">
                  <a16:creationId xmlns:a16="http://schemas.microsoft.com/office/drawing/2014/main" id="{A88E0BD1-6510-4430-A060-AE9C14A5F4FC}"/>
                </a:ext>
              </a:extLst>
            </p:cNvPr>
            <p:cNvSpPr/>
            <p:nvPr/>
          </p:nvSpPr>
          <p:spPr>
            <a:xfrm flipV="1">
              <a:off x="8028172" y="2438553"/>
              <a:ext cx="52469" cy="68373"/>
            </a:xfrm>
            <a:custGeom>
              <a:avLst/>
              <a:gdLst>
                <a:gd name="connsiteX0" fmla="*/ 10615 w 52469"/>
                <a:gd name="connsiteY0" fmla="*/ 26106 h 68373"/>
                <a:gd name="connsiteX1" fmla="*/ 11167 w 52469"/>
                <a:gd name="connsiteY1" fmla="*/ 64979 h 68373"/>
                <a:gd name="connsiteX2" fmla="*/ 18679 w 52469"/>
                <a:gd name="connsiteY2" fmla="*/ 41200 h 68373"/>
                <a:gd name="connsiteX3" fmla="*/ 13648 w 52469"/>
                <a:gd name="connsiteY3" fmla="*/ 31275 h 68373"/>
                <a:gd name="connsiteX4" fmla="*/ 42458 w 52469"/>
                <a:gd name="connsiteY4" fmla="*/ 11011 h 68373"/>
                <a:gd name="connsiteX5" fmla="*/ 552 w 52469"/>
                <a:gd name="connsiteY5" fmla="*/ 13699 h 68373"/>
                <a:gd name="connsiteX6" fmla="*/ -9718 w 52469"/>
                <a:gd name="connsiteY6" fmla="*/ -3394 h 68373"/>
                <a:gd name="connsiteX7" fmla="*/ -9648 w 52469"/>
                <a:gd name="connsiteY7" fmla="*/ 27898 h 68373"/>
                <a:gd name="connsiteX8" fmla="*/ 10615 w 52469"/>
                <a:gd name="connsiteY8" fmla="*/ 26106 h 68373"/>
                <a:gd name="connsiteX9" fmla="*/ 10615 w 52469"/>
                <a:gd name="connsiteY9" fmla="*/ 26106 h 68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69" h="68373">
                  <a:moveTo>
                    <a:pt x="10615" y="26106"/>
                  </a:moveTo>
                  <a:cubicBezTo>
                    <a:pt x="11580" y="39063"/>
                    <a:pt x="10684" y="52090"/>
                    <a:pt x="11167" y="64979"/>
                  </a:cubicBezTo>
                  <a:cubicBezTo>
                    <a:pt x="13648" y="57122"/>
                    <a:pt x="16198" y="49195"/>
                    <a:pt x="18679" y="41200"/>
                  </a:cubicBezTo>
                  <a:cubicBezTo>
                    <a:pt x="17439" y="38719"/>
                    <a:pt x="14889" y="33756"/>
                    <a:pt x="13648" y="31275"/>
                  </a:cubicBezTo>
                  <a:cubicBezTo>
                    <a:pt x="24814" y="27140"/>
                    <a:pt x="34257" y="19765"/>
                    <a:pt x="42458" y="11011"/>
                  </a:cubicBezTo>
                  <a:cubicBezTo>
                    <a:pt x="28467" y="10667"/>
                    <a:pt x="12890" y="3981"/>
                    <a:pt x="552" y="13699"/>
                  </a:cubicBezTo>
                  <a:cubicBezTo>
                    <a:pt x="-3032" y="8047"/>
                    <a:pt x="-6340" y="2327"/>
                    <a:pt x="-9718" y="-3394"/>
                  </a:cubicBezTo>
                  <a:cubicBezTo>
                    <a:pt x="-10269" y="7082"/>
                    <a:pt x="-9924" y="17490"/>
                    <a:pt x="-9648" y="27898"/>
                  </a:cubicBezTo>
                  <a:cubicBezTo>
                    <a:pt x="-4617" y="27484"/>
                    <a:pt x="5515" y="26519"/>
                    <a:pt x="10615" y="26106"/>
                  </a:cubicBezTo>
                  <a:lnTo>
                    <a:pt x="10615" y="26106"/>
                  </a:lnTo>
                </a:path>
              </a:pathLst>
            </a:custGeom>
            <a:grpFill/>
            <a:ln w="689" cap="flat">
              <a:noFill/>
              <a:prstDash val="solid"/>
              <a:miter/>
            </a:ln>
          </p:spPr>
          <p:txBody>
            <a:bodyPr rtlCol="0" anchor="ctr"/>
            <a:lstStyle/>
            <a:p>
              <a:endParaRPr lang="en-US" sz="2400" dirty="0"/>
            </a:p>
          </p:txBody>
        </p:sp>
        <p:sp>
          <p:nvSpPr>
            <p:cNvPr id="381" name="Graphic 8">
              <a:extLst>
                <a:ext uri="{FF2B5EF4-FFF2-40B4-BE49-F238E27FC236}">
                  <a16:creationId xmlns:a16="http://schemas.microsoft.com/office/drawing/2014/main" id="{E3C4458A-994E-4CBE-B2E4-9662851FCF35}"/>
                </a:ext>
              </a:extLst>
            </p:cNvPr>
            <p:cNvSpPr/>
            <p:nvPr/>
          </p:nvSpPr>
          <p:spPr>
            <a:xfrm flipV="1">
              <a:off x="564068" y="2445032"/>
              <a:ext cx="54310" cy="133300"/>
            </a:xfrm>
            <a:custGeom>
              <a:avLst/>
              <a:gdLst>
                <a:gd name="connsiteX0" fmla="*/ 8952 w 54310"/>
                <a:gd name="connsiteY0" fmla="*/ 126731 h 133300"/>
                <a:gd name="connsiteX1" fmla="*/ 14881 w 54310"/>
                <a:gd name="connsiteY1" fmla="*/ 129970 h 133300"/>
                <a:gd name="connsiteX2" fmla="*/ 23497 w 54310"/>
                <a:gd name="connsiteY2" fmla="*/ 129763 h 133300"/>
                <a:gd name="connsiteX3" fmla="*/ 36248 w 54310"/>
                <a:gd name="connsiteY3" fmla="*/ 110327 h 133300"/>
                <a:gd name="connsiteX4" fmla="*/ 53684 w 54310"/>
                <a:gd name="connsiteY4" fmla="*/ 96886 h 133300"/>
                <a:gd name="connsiteX5" fmla="*/ 38108 w 54310"/>
                <a:gd name="connsiteY5" fmla="*/ 67869 h 133300"/>
                <a:gd name="connsiteX6" fmla="*/ 15156 w 54310"/>
                <a:gd name="connsiteY6" fmla="*/ 68972 h 133300"/>
                <a:gd name="connsiteX7" fmla="*/ 32320 w 54310"/>
                <a:gd name="connsiteY7" fmla="*/ 39748 h 133300"/>
                <a:gd name="connsiteX8" fmla="*/ 14466 w 54310"/>
                <a:gd name="connsiteY8" fmla="*/ 18243 h 133300"/>
                <a:gd name="connsiteX9" fmla="*/ 16189 w 54310"/>
                <a:gd name="connsiteY9" fmla="*/ -3330 h 133300"/>
                <a:gd name="connsiteX10" fmla="*/ 13570 w 54310"/>
                <a:gd name="connsiteY10" fmla="*/ 79035 h 133300"/>
                <a:gd name="connsiteX11" fmla="*/ 30045 w 54310"/>
                <a:gd name="connsiteY11" fmla="*/ 105916 h 133300"/>
                <a:gd name="connsiteX12" fmla="*/ 7229 w 54310"/>
                <a:gd name="connsiteY12" fmla="*/ 113359 h 133300"/>
                <a:gd name="connsiteX13" fmla="*/ -627 w 54310"/>
                <a:gd name="connsiteY13" fmla="*/ 121355 h 133300"/>
                <a:gd name="connsiteX14" fmla="*/ 8952 w 54310"/>
                <a:gd name="connsiteY14" fmla="*/ 126731 h 133300"/>
                <a:gd name="connsiteX15" fmla="*/ 8952 w 54310"/>
                <a:gd name="connsiteY15" fmla="*/ 126731 h 13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310" h="133300">
                  <a:moveTo>
                    <a:pt x="8952" y="126731"/>
                  </a:moveTo>
                  <a:cubicBezTo>
                    <a:pt x="10471" y="127558"/>
                    <a:pt x="13366" y="129143"/>
                    <a:pt x="14881" y="129970"/>
                  </a:cubicBezTo>
                  <a:lnTo>
                    <a:pt x="23497" y="129763"/>
                  </a:lnTo>
                  <a:cubicBezTo>
                    <a:pt x="26736" y="122664"/>
                    <a:pt x="31011" y="116185"/>
                    <a:pt x="36248" y="110327"/>
                  </a:cubicBezTo>
                  <a:cubicBezTo>
                    <a:pt x="41692" y="105502"/>
                    <a:pt x="47550" y="101022"/>
                    <a:pt x="53684" y="96886"/>
                  </a:cubicBezTo>
                  <a:cubicBezTo>
                    <a:pt x="48514" y="87237"/>
                    <a:pt x="43345" y="77519"/>
                    <a:pt x="38108" y="67869"/>
                  </a:cubicBezTo>
                  <a:cubicBezTo>
                    <a:pt x="30459" y="68421"/>
                    <a:pt x="22874" y="68834"/>
                    <a:pt x="15156" y="68972"/>
                  </a:cubicBezTo>
                  <a:cubicBezTo>
                    <a:pt x="19980" y="58771"/>
                    <a:pt x="25979" y="49122"/>
                    <a:pt x="32320" y="39748"/>
                  </a:cubicBezTo>
                  <a:cubicBezTo>
                    <a:pt x="26388" y="32511"/>
                    <a:pt x="20462" y="25343"/>
                    <a:pt x="14466" y="18243"/>
                  </a:cubicBezTo>
                  <a:cubicBezTo>
                    <a:pt x="14881" y="12867"/>
                    <a:pt x="15775" y="2046"/>
                    <a:pt x="16189" y="-3330"/>
                  </a:cubicBezTo>
                  <a:cubicBezTo>
                    <a:pt x="9157" y="23344"/>
                    <a:pt x="7574" y="52154"/>
                    <a:pt x="13570" y="79035"/>
                  </a:cubicBezTo>
                  <a:cubicBezTo>
                    <a:pt x="18739" y="88202"/>
                    <a:pt x="24460" y="97024"/>
                    <a:pt x="30045" y="105916"/>
                  </a:cubicBezTo>
                  <a:cubicBezTo>
                    <a:pt x="22390" y="108397"/>
                    <a:pt x="14741" y="110602"/>
                    <a:pt x="7229" y="113359"/>
                  </a:cubicBezTo>
                  <a:lnTo>
                    <a:pt x="-627" y="121355"/>
                  </a:lnTo>
                  <a:lnTo>
                    <a:pt x="8952" y="126731"/>
                  </a:lnTo>
                  <a:lnTo>
                    <a:pt x="8952" y="126731"/>
                  </a:lnTo>
                </a:path>
              </a:pathLst>
            </a:custGeom>
            <a:grpFill/>
            <a:ln w="689" cap="flat">
              <a:noFill/>
              <a:prstDash val="solid"/>
              <a:miter/>
            </a:ln>
          </p:spPr>
          <p:txBody>
            <a:bodyPr rtlCol="0" anchor="ctr"/>
            <a:lstStyle/>
            <a:p>
              <a:endParaRPr lang="en-US" sz="2400" dirty="0"/>
            </a:p>
          </p:txBody>
        </p:sp>
        <p:sp>
          <p:nvSpPr>
            <p:cNvPr id="382" name="Graphic 8">
              <a:extLst>
                <a:ext uri="{FF2B5EF4-FFF2-40B4-BE49-F238E27FC236}">
                  <a16:creationId xmlns:a16="http://schemas.microsoft.com/office/drawing/2014/main" id="{25572067-6763-4C9E-955B-FE13732F0C9E}"/>
                </a:ext>
              </a:extLst>
            </p:cNvPr>
            <p:cNvSpPr/>
            <p:nvPr/>
          </p:nvSpPr>
          <p:spPr>
            <a:xfrm flipV="1">
              <a:off x="2285976" y="2446023"/>
              <a:ext cx="12132" cy="12210"/>
            </a:xfrm>
            <a:custGeom>
              <a:avLst/>
              <a:gdLst>
                <a:gd name="connsiteX0" fmla="*/ -2110 w 12132"/>
                <a:gd name="connsiteY0" fmla="*/ 7706 h 12210"/>
                <a:gd name="connsiteX1" fmla="*/ 8711 w 12132"/>
                <a:gd name="connsiteY1" fmla="*/ -2426 h 12210"/>
                <a:gd name="connsiteX2" fmla="*/ -2110 w 12132"/>
                <a:gd name="connsiteY2" fmla="*/ 7706 h 12210"/>
                <a:gd name="connsiteX3" fmla="*/ -2110 w 12132"/>
                <a:gd name="connsiteY3" fmla="*/ 7706 h 12210"/>
              </a:gdLst>
              <a:ahLst/>
              <a:cxnLst>
                <a:cxn ang="0">
                  <a:pos x="connsiteX0" y="connsiteY0"/>
                </a:cxn>
                <a:cxn ang="0">
                  <a:pos x="connsiteX1" y="connsiteY1"/>
                </a:cxn>
                <a:cxn ang="0">
                  <a:pos x="connsiteX2" y="connsiteY2"/>
                </a:cxn>
                <a:cxn ang="0">
                  <a:pos x="connsiteX3" y="connsiteY3"/>
                </a:cxn>
              </a:cxnLst>
              <a:rect l="l" t="t" r="r" b="b"/>
              <a:pathLst>
                <a:path w="12132" h="12210">
                  <a:moveTo>
                    <a:pt x="-2110" y="7706"/>
                  </a:moveTo>
                  <a:cubicBezTo>
                    <a:pt x="7333" y="10739"/>
                    <a:pt x="10986" y="7362"/>
                    <a:pt x="8711" y="-2426"/>
                  </a:cubicBezTo>
                  <a:cubicBezTo>
                    <a:pt x="-731" y="-5321"/>
                    <a:pt x="-4384" y="-1943"/>
                    <a:pt x="-2110" y="7706"/>
                  </a:cubicBezTo>
                  <a:lnTo>
                    <a:pt x="-2110" y="7706"/>
                  </a:lnTo>
                </a:path>
              </a:pathLst>
            </a:custGeom>
            <a:grpFill/>
            <a:ln w="689" cap="flat">
              <a:noFill/>
              <a:prstDash val="solid"/>
              <a:miter/>
            </a:ln>
          </p:spPr>
          <p:txBody>
            <a:bodyPr rtlCol="0" anchor="ctr"/>
            <a:lstStyle/>
            <a:p>
              <a:endParaRPr lang="en-US" sz="2400" dirty="0"/>
            </a:p>
          </p:txBody>
        </p:sp>
        <p:sp>
          <p:nvSpPr>
            <p:cNvPr id="383" name="Graphic 8">
              <a:extLst>
                <a:ext uri="{FF2B5EF4-FFF2-40B4-BE49-F238E27FC236}">
                  <a16:creationId xmlns:a16="http://schemas.microsoft.com/office/drawing/2014/main" id="{0AB5E7D9-2497-4233-B70D-4CD0202F138B}"/>
                </a:ext>
              </a:extLst>
            </p:cNvPr>
            <p:cNvSpPr/>
            <p:nvPr/>
          </p:nvSpPr>
          <p:spPr>
            <a:xfrm flipV="1">
              <a:off x="412312" y="2463271"/>
              <a:ext cx="5747721" cy="946981"/>
            </a:xfrm>
            <a:custGeom>
              <a:avLst/>
              <a:gdLst>
                <a:gd name="connsiteX0" fmla="*/ 5735804 w 5747721"/>
                <a:gd name="connsiteY0" fmla="*/ 13566 h 946981"/>
                <a:gd name="connsiteX1" fmla="*/ 5740490 w 5747721"/>
                <a:gd name="connsiteY1" fmla="*/ -2631 h 946981"/>
                <a:gd name="connsiteX2" fmla="*/ 5735804 w 5747721"/>
                <a:gd name="connsiteY2" fmla="*/ 13566 h 946981"/>
                <a:gd name="connsiteX3" fmla="*/ 5548 w 5747721"/>
                <a:gd name="connsiteY3" fmla="*/ 920683 h 946981"/>
                <a:gd name="connsiteX4" fmla="*/ 5133 w 5747721"/>
                <a:gd name="connsiteY4" fmla="*/ 944255 h 946981"/>
                <a:gd name="connsiteX5" fmla="*/ 5548 w 5747721"/>
                <a:gd name="connsiteY5" fmla="*/ 920683 h 94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47721" h="946981">
                  <a:moveTo>
                    <a:pt x="5735804" y="13566"/>
                  </a:moveTo>
                  <a:cubicBezTo>
                    <a:pt x="5744419" y="11636"/>
                    <a:pt x="5746004" y="6260"/>
                    <a:pt x="5740490" y="-2631"/>
                  </a:cubicBezTo>
                  <a:cubicBezTo>
                    <a:pt x="5731600" y="-701"/>
                    <a:pt x="5730083" y="4744"/>
                    <a:pt x="5735804" y="13566"/>
                  </a:cubicBezTo>
                  <a:close/>
                  <a:moveTo>
                    <a:pt x="5548" y="920683"/>
                  </a:moveTo>
                  <a:cubicBezTo>
                    <a:pt x="-7480" y="915996"/>
                    <a:pt x="-6788" y="946254"/>
                    <a:pt x="5133" y="944255"/>
                  </a:cubicBezTo>
                  <a:cubicBezTo>
                    <a:pt x="9821" y="936536"/>
                    <a:pt x="9961" y="928678"/>
                    <a:pt x="5548" y="920683"/>
                  </a:cubicBezTo>
                </a:path>
              </a:pathLst>
            </a:custGeom>
            <a:grpFill/>
            <a:ln w="689" cap="flat">
              <a:noFill/>
              <a:prstDash val="solid"/>
              <a:miter/>
            </a:ln>
          </p:spPr>
          <p:txBody>
            <a:bodyPr rtlCol="0" anchor="ctr"/>
            <a:lstStyle/>
            <a:p>
              <a:endParaRPr lang="en-US" sz="2400" dirty="0"/>
            </a:p>
          </p:txBody>
        </p:sp>
        <p:sp>
          <p:nvSpPr>
            <p:cNvPr id="384" name="Graphic 8">
              <a:extLst>
                <a:ext uri="{FF2B5EF4-FFF2-40B4-BE49-F238E27FC236}">
                  <a16:creationId xmlns:a16="http://schemas.microsoft.com/office/drawing/2014/main" id="{3A2A9D48-7BF7-4D1D-9608-610F9096D14B}"/>
                </a:ext>
              </a:extLst>
            </p:cNvPr>
            <p:cNvSpPr/>
            <p:nvPr/>
          </p:nvSpPr>
          <p:spPr>
            <a:xfrm flipV="1">
              <a:off x="1611032" y="2462194"/>
              <a:ext cx="3990655" cy="1043933"/>
            </a:xfrm>
            <a:custGeom>
              <a:avLst/>
              <a:gdLst>
                <a:gd name="connsiteX0" fmla="*/ 3978116 w 3990655"/>
                <a:gd name="connsiteY0" fmla="*/ 6959 h 1043933"/>
                <a:gd name="connsiteX1" fmla="*/ 3978116 w 3990655"/>
                <a:gd name="connsiteY1" fmla="*/ 6959 h 1043933"/>
                <a:gd name="connsiteX2" fmla="*/ -4418 w 3990655"/>
                <a:gd name="connsiteY2" fmla="*/ 1041380 h 1043933"/>
                <a:gd name="connsiteX3" fmla="*/ -4418 w 3990655"/>
                <a:gd name="connsiteY3" fmla="*/ 1041380 h 1043933"/>
              </a:gdLst>
              <a:ahLst/>
              <a:cxnLst>
                <a:cxn ang="0">
                  <a:pos x="connsiteX0" y="connsiteY0"/>
                </a:cxn>
                <a:cxn ang="0">
                  <a:pos x="connsiteX1" y="connsiteY1"/>
                </a:cxn>
                <a:cxn ang="0">
                  <a:pos x="connsiteX2" y="connsiteY2"/>
                </a:cxn>
                <a:cxn ang="0">
                  <a:pos x="connsiteX3" y="connsiteY3"/>
                </a:cxn>
              </a:cxnLst>
              <a:rect l="l" t="t" r="r" b="b"/>
              <a:pathLst>
                <a:path w="3990655" h="1043933">
                  <a:moveTo>
                    <a:pt x="3978116" y="6959"/>
                  </a:moveTo>
                  <a:cubicBezTo>
                    <a:pt x="4000654" y="6477"/>
                    <a:pt x="3968053" y="-14200"/>
                    <a:pt x="3978116" y="6959"/>
                  </a:cubicBezTo>
                  <a:close/>
                  <a:moveTo>
                    <a:pt x="-4418" y="1041380"/>
                  </a:moveTo>
                  <a:cubicBezTo>
                    <a:pt x="-765" y="1037796"/>
                    <a:pt x="-765" y="1037796"/>
                    <a:pt x="-4418" y="1041380"/>
                  </a:cubicBezTo>
                </a:path>
              </a:pathLst>
            </a:custGeom>
            <a:grpFill/>
            <a:ln w="689" cap="flat">
              <a:noFill/>
              <a:prstDash val="solid"/>
              <a:miter/>
            </a:ln>
          </p:spPr>
          <p:txBody>
            <a:bodyPr rtlCol="0" anchor="ctr"/>
            <a:lstStyle/>
            <a:p>
              <a:endParaRPr lang="en-US" sz="2400" dirty="0"/>
            </a:p>
          </p:txBody>
        </p:sp>
        <p:sp>
          <p:nvSpPr>
            <p:cNvPr id="385" name="Graphic 8">
              <a:extLst>
                <a:ext uri="{FF2B5EF4-FFF2-40B4-BE49-F238E27FC236}">
                  <a16:creationId xmlns:a16="http://schemas.microsoft.com/office/drawing/2014/main" id="{A01D6C69-8E81-4F33-B4B9-BFDC7E049D76}"/>
                </a:ext>
              </a:extLst>
            </p:cNvPr>
            <p:cNvSpPr/>
            <p:nvPr/>
          </p:nvSpPr>
          <p:spPr>
            <a:xfrm flipV="1">
              <a:off x="2296832" y="2459230"/>
              <a:ext cx="36185" cy="23897"/>
            </a:xfrm>
            <a:custGeom>
              <a:avLst/>
              <a:gdLst>
                <a:gd name="connsiteX0" fmla="*/ -2794 w 36185"/>
                <a:gd name="connsiteY0" fmla="*/ -108 h 23897"/>
                <a:gd name="connsiteX1" fmla="*/ 33391 w 36185"/>
                <a:gd name="connsiteY1" fmla="*/ 20501 h 23897"/>
                <a:gd name="connsiteX2" fmla="*/ -2794 w 36185"/>
                <a:gd name="connsiteY2" fmla="*/ -108 h 23897"/>
                <a:gd name="connsiteX3" fmla="*/ -2794 w 36185"/>
                <a:gd name="connsiteY3" fmla="*/ -108 h 23897"/>
              </a:gdLst>
              <a:ahLst/>
              <a:cxnLst>
                <a:cxn ang="0">
                  <a:pos x="connsiteX0" y="connsiteY0"/>
                </a:cxn>
                <a:cxn ang="0">
                  <a:pos x="connsiteX1" y="connsiteY1"/>
                </a:cxn>
                <a:cxn ang="0">
                  <a:pos x="connsiteX2" y="connsiteY2"/>
                </a:cxn>
                <a:cxn ang="0">
                  <a:pos x="connsiteX3" y="connsiteY3"/>
                </a:cxn>
              </a:cxnLst>
              <a:rect l="l" t="t" r="r" b="b"/>
              <a:pathLst>
                <a:path w="36185" h="23897">
                  <a:moveTo>
                    <a:pt x="-2794" y="-108"/>
                  </a:moveTo>
                  <a:cubicBezTo>
                    <a:pt x="7269" y="9886"/>
                    <a:pt x="19193" y="17744"/>
                    <a:pt x="33391" y="20501"/>
                  </a:cubicBezTo>
                  <a:cubicBezTo>
                    <a:pt x="27808" y="4855"/>
                    <a:pt x="15333" y="-10240"/>
                    <a:pt x="-2794" y="-108"/>
                  </a:cubicBezTo>
                  <a:lnTo>
                    <a:pt x="-2794" y="-108"/>
                  </a:lnTo>
                </a:path>
              </a:pathLst>
            </a:custGeom>
            <a:grpFill/>
            <a:ln w="689" cap="flat">
              <a:noFill/>
              <a:prstDash val="solid"/>
              <a:miter/>
            </a:ln>
          </p:spPr>
          <p:txBody>
            <a:bodyPr rtlCol="0" anchor="ctr"/>
            <a:lstStyle/>
            <a:p>
              <a:endParaRPr lang="en-US" sz="2400" dirty="0"/>
            </a:p>
          </p:txBody>
        </p:sp>
        <p:sp>
          <p:nvSpPr>
            <p:cNvPr id="386" name="Graphic 8">
              <a:extLst>
                <a:ext uri="{FF2B5EF4-FFF2-40B4-BE49-F238E27FC236}">
                  <a16:creationId xmlns:a16="http://schemas.microsoft.com/office/drawing/2014/main" id="{A40AB283-833E-4D3D-A925-C9C2C4093BA4}"/>
                </a:ext>
              </a:extLst>
            </p:cNvPr>
            <p:cNvSpPr/>
            <p:nvPr/>
          </p:nvSpPr>
          <p:spPr>
            <a:xfrm flipV="1">
              <a:off x="3111363" y="2462470"/>
              <a:ext cx="1652952" cy="465741"/>
            </a:xfrm>
            <a:custGeom>
              <a:avLst/>
              <a:gdLst>
                <a:gd name="connsiteX0" fmla="*/ -3505 w 1652952"/>
                <a:gd name="connsiteY0" fmla="*/ 21458 h 465741"/>
                <a:gd name="connsiteX1" fmla="*/ 13037 w 1652952"/>
                <a:gd name="connsiteY1" fmla="*/ -2252 h 465741"/>
                <a:gd name="connsiteX2" fmla="*/ -3505 w 1652952"/>
                <a:gd name="connsiteY2" fmla="*/ 21458 h 465741"/>
                <a:gd name="connsiteX3" fmla="*/ 1645378 w 1652952"/>
                <a:gd name="connsiteY3" fmla="*/ 462713 h 465741"/>
                <a:gd name="connsiteX4" fmla="*/ 1645378 w 1652952"/>
                <a:gd name="connsiteY4" fmla="*/ 462713 h 4657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2952" h="465741">
                  <a:moveTo>
                    <a:pt x="-3505" y="21458"/>
                  </a:moveTo>
                  <a:cubicBezTo>
                    <a:pt x="7109" y="23801"/>
                    <a:pt x="19102" y="7190"/>
                    <a:pt x="13037" y="-2252"/>
                  </a:cubicBezTo>
                  <a:cubicBezTo>
                    <a:pt x="1526" y="-7146"/>
                    <a:pt x="-8537" y="12360"/>
                    <a:pt x="-3505" y="21458"/>
                  </a:cubicBezTo>
                  <a:close/>
                  <a:moveTo>
                    <a:pt x="1645378" y="462713"/>
                  </a:moveTo>
                  <a:cubicBezTo>
                    <a:pt x="1649031" y="459198"/>
                    <a:pt x="1649031" y="459198"/>
                    <a:pt x="1645378" y="462713"/>
                  </a:cubicBezTo>
                </a:path>
              </a:pathLst>
            </a:custGeom>
            <a:grpFill/>
            <a:ln w="689" cap="flat">
              <a:noFill/>
              <a:prstDash val="solid"/>
              <a:miter/>
            </a:ln>
          </p:spPr>
          <p:txBody>
            <a:bodyPr rtlCol="0" anchor="ctr"/>
            <a:lstStyle/>
            <a:p>
              <a:endParaRPr lang="en-US" sz="2400" dirty="0"/>
            </a:p>
          </p:txBody>
        </p:sp>
        <p:sp>
          <p:nvSpPr>
            <p:cNvPr id="387" name="Graphic 8">
              <a:extLst>
                <a:ext uri="{FF2B5EF4-FFF2-40B4-BE49-F238E27FC236}">
                  <a16:creationId xmlns:a16="http://schemas.microsoft.com/office/drawing/2014/main" id="{CA24BF6E-73F3-4123-9B01-39100B63305B}"/>
                </a:ext>
              </a:extLst>
            </p:cNvPr>
            <p:cNvSpPr/>
            <p:nvPr/>
          </p:nvSpPr>
          <p:spPr>
            <a:xfrm flipV="1">
              <a:off x="5716845" y="2462332"/>
              <a:ext cx="15075" cy="17231"/>
            </a:xfrm>
            <a:custGeom>
              <a:avLst/>
              <a:gdLst>
                <a:gd name="connsiteX0" fmla="*/ 1837 w 15075"/>
                <a:gd name="connsiteY0" fmla="*/ 13834 h 17231"/>
                <a:gd name="connsiteX1" fmla="*/ -783 w 15075"/>
                <a:gd name="connsiteY1" fmla="*/ -3397 h 17231"/>
                <a:gd name="connsiteX2" fmla="*/ 1837 w 15075"/>
                <a:gd name="connsiteY2" fmla="*/ 13834 h 17231"/>
                <a:gd name="connsiteX3" fmla="*/ 1837 w 15075"/>
                <a:gd name="connsiteY3" fmla="*/ 13834 h 17231"/>
              </a:gdLst>
              <a:ahLst/>
              <a:cxnLst>
                <a:cxn ang="0">
                  <a:pos x="connsiteX0" y="connsiteY0"/>
                </a:cxn>
                <a:cxn ang="0">
                  <a:pos x="connsiteX1" y="connsiteY1"/>
                </a:cxn>
                <a:cxn ang="0">
                  <a:pos x="connsiteX2" y="connsiteY2"/>
                </a:cxn>
                <a:cxn ang="0">
                  <a:pos x="connsiteX3" y="connsiteY3"/>
                </a:cxn>
              </a:cxnLst>
              <a:rect l="l" t="t" r="r" b="b"/>
              <a:pathLst>
                <a:path w="15075" h="17231">
                  <a:moveTo>
                    <a:pt x="1837" y="13834"/>
                  </a:moveTo>
                  <a:cubicBezTo>
                    <a:pt x="12520" y="13352"/>
                    <a:pt x="7764" y="-3259"/>
                    <a:pt x="-783" y="-3397"/>
                  </a:cubicBezTo>
                  <a:cubicBezTo>
                    <a:pt x="-11604" y="-2846"/>
                    <a:pt x="-6986" y="13834"/>
                    <a:pt x="1837" y="13834"/>
                  </a:cubicBezTo>
                  <a:lnTo>
                    <a:pt x="1837" y="13834"/>
                  </a:lnTo>
                </a:path>
              </a:pathLst>
            </a:custGeom>
            <a:grpFill/>
            <a:ln w="689" cap="flat">
              <a:noFill/>
              <a:prstDash val="solid"/>
              <a:miter/>
            </a:ln>
          </p:spPr>
          <p:txBody>
            <a:bodyPr rtlCol="0" anchor="ctr"/>
            <a:lstStyle/>
            <a:p>
              <a:endParaRPr lang="en-US" sz="2400" dirty="0"/>
            </a:p>
          </p:txBody>
        </p:sp>
        <p:sp>
          <p:nvSpPr>
            <p:cNvPr id="388" name="Graphic 8">
              <a:extLst>
                <a:ext uri="{FF2B5EF4-FFF2-40B4-BE49-F238E27FC236}">
                  <a16:creationId xmlns:a16="http://schemas.microsoft.com/office/drawing/2014/main" id="{36B0379A-EDC8-4329-9942-F00916030283}"/>
                </a:ext>
              </a:extLst>
            </p:cNvPr>
            <p:cNvSpPr/>
            <p:nvPr/>
          </p:nvSpPr>
          <p:spPr>
            <a:xfrm flipV="1">
              <a:off x="1387199" y="2473367"/>
              <a:ext cx="13189" cy="25632"/>
            </a:xfrm>
            <a:custGeom>
              <a:avLst/>
              <a:gdLst>
                <a:gd name="connsiteX0" fmla="*/ 1225 w 13189"/>
                <a:gd name="connsiteY0" fmla="*/ -3372 h 25632"/>
                <a:gd name="connsiteX1" fmla="*/ 10875 w 13189"/>
                <a:gd name="connsiteY1" fmla="*/ 21786 h 25632"/>
                <a:gd name="connsiteX2" fmla="*/ 1225 w 13189"/>
                <a:gd name="connsiteY2" fmla="*/ -3372 h 25632"/>
                <a:gd name="connsiteX3" fmla="*/ 1225 w 13189"/>
                <a:gd name="connsiteY3" fmla="*/ -3372 h 25632"/>
              </a:gdLst>
              <a:ahLst/>
              <a:cxnLst>
                <a:cxn ang="0">
                  <a:pos x="connsiteX0" y="connsiteY0"/>
                </a:cxn>
                <a:cxn ang="0">
                  <a:pos x="connsiteX1" y="connsiteY1"/>
                </a:cxn>
                <a:cxn ang="0">
                  <a:pos x="connsiteX2" y="connsiteY2"/>
                </a:cxn>
                <a:cxn ang="0">
                  <a:pos x="connsiteX3" y="connsiteY3"/>
                </a:cxn>
              </a:cxnLst>
              <a:rect l="l" t="t" r="r" b="b"/>
              <a:pathLst>
                <a:path w="13189" h="25632">
                  <a:moveTo>
                    <a:pt x="1225" y="-3372"/>
                  </a:moveTo>
                  <a:cubicBezTo>
                    <a:pt x="-4633" y="4210"/>
                    <a:pt x="-1532" y="25714"/>
                    <a:pt x="10875" y="21786"/>
                  </a:cubicBezTo>
                  <a:cubicBezTo>
                    <a:pt x="13287" y="13928"/>
                    <a:pt x="9083" y="-960"/>
                    <a:pt x="1225" y="-3372"/>
                  </a:cubicBezTo>
                  <a:lnTo>
                    <a:pt x="1225" y="-3372"/>
                  </a:lnTo>
                </a:path>
              </a:pathLst>
            </a:custGeom>
            <a:grpFill/>
            <a:ln w="689" cap="flat">
              <a:noFill/>
              <a:prstDash val="solid"/>
              <a:miter/>
            </a:ln>
          </p:spPr>
          <p:txBody>
            <a:bodyPr rtlCol="0" anchor="ctr"/>
            <a:lstStyle/>
            <a:p>
              <a:endParaRPr lang="en-US" sz="2400" dirty="0"/>
            </a:p>
          </p:txBody>
        </p:sp>
        <p:sp>
          <p:nvSpPr>
            <p:cNvPr id="389" name="Graphic 8">
              <a:extLst>
                <a:ext uri="{FF2B5EF4-FFF2-40B4-BE49-F238E27FC236}">
                  <a16:creationId xmlns:a16="http://schemas.microsoft.com/office/drawing/2014/main" id="{2F11D7BC-A68A-4FBA-9E4E-89D98F6A1E3A}"/>
                </a:ext>
              </a:extLst>
            </p:cNvPr>
            <p:cNvSpPr/>
            <p:nvPr/>
          </p:nvSpPr>
          <p:spPr>
            <a:xfrm flipV="1">
              <a:off x="5685442" y="2473242"/>
              <a:ext cx="9607" cy="10181"/>
            </a:xfrm>
            <a:custGeom>
              <a:avLst/>
              <a:gdLst>
                <a:gd name="connsiteX0" fmla="*/ -7038 w 9607"/>
                <a:gd name="connsiteY0" fmla="*/ 4611 h 10181"/>
                <a:gd name="connsiteX1" fmla="*/ -7038 w 9607"/>
                <a:gd name="connsiteY1" fmla="*/ 4611 h 10181"/>
                <a:gd name="connsiteX2" fmla="*/ -7038 w 9607"/>
                <a:gd name="connsiteY2" fmla="*/ 4611 h 10181"/>
              </a:gdLst>
              <a:ahLst/>
              <a:cxnLst>
                <a:cxn ang="0">
                  <a:pos x="connsiteX0" y="connsiteY0"/>
                </a:cxn>
                <a:cxn ang="0">
                  <a:pos x="connsiteX1" y="connsiteY1"/>
                </a:cxn>
                <a:cxn ang="0">
                  <a:pos x="connsiteX2" y="connsiteY2"/>
                </a:cxn>
              </a:cxnLst>
              <a:rect l="l" t="t" r="r" b="b"/>
              <a:pathLst>
                <a:path w="9607" h="10181">
                  <a:moveTo>
                    <a:pt x="-7038" y="4611"/>
                  </a:moveTo>
                  <a:cubicBezTo>
                    <a:pt x="14052" y="15294"/>
                    <a:pt x="-6004" y="-17858"/>
                    <a:pt x="-7038" y="4611"/>
                  </a:cubicBezTo>
                  <a:lnTo>
                    <a:pt x="-7038" y="4611"/>
                  </a:lnTo>
                </a:path>
              </a:pathLst>
            </a:custGeom>
            <a:grpFill/>
            <a:ln w="689" cap="flat">
              <a:noFill/>
              <a:prstDash val="solid"/>
              <a:miter/>
            </a:ln>
          </p:spPr>
          <p:txBody>
            <a:bodyPr rtlCol="0" anchor="ctr"/>
            <a:lstStyle/>
            <a:p>
              <a:endParaRPr lang="en-US" sz="2400" dirty="0"/>
            </a:p>
          </p:txBody>
        </p:sp>
        <p:sp>
          <p:nvSpPr>
            <p:cNvPr id="390" name="Graphic 8">
              <a:extLst>
                <a:ext uri="{FF2B5EF4-FFF2-40B4-BE49-F238E27FC236}">
                  <a16:creationId xmlns:a16="http://schemas.microsoft.com/office/drawing/2014/main" id="{215807FC-4F05-4C6E-9E63-29D189C3B982}"/>
                </a:ext>
              </a:extLst>
            </p:cNvPr>
            <p:cNvSpPr/>
            <p:nvPr/>
          </p:nvSpPr>
          <p:spPr>
            <a:xfrm flipV="1">
              <a:off x="7708601" y="2480899"/>
              <a:ext cx="12013" cy="12423"/>
            </a:xfrm>
            <a:custGeom>
              <a:avLst/>
              <a:gdLst>
                <a:gd name="connsiteX0" fmla="*/ -8358 w 12013"/>
                <a:gd name="connsiteY0" fmla="*/ 7080 h 12423"/>
                <a:gd name="connsiteX1" fmla="*/ 1291 w 12013"/>
                <a:gd name="connsiteY1" fmla="*/ -1398 h 12423"/>
                <a:gd name="connsiteX2" fmla="*/ -8358 w 12013"/>
                <a:gd name="connsiteY2" fmla="*/ 7080 h 12423"/>
                <a:gd name="connsiteX3" fmla="*/ -8358 w 12013"/>
                <a:gd name="connsiteY3" fmla="*/ 7080 h 12423"/>
              </a:gdLst>
              <a:ahLst/>
              <a:cxnLst>
                <a:cxn ang="0">
                  <a:pos x="connsiteX0" y="connsiteY0"/>
                </a:cxn>
                <a:cxn ang="0">
                  <a:pos x="connsiteX1" y="connsiteY1"/>
                </a:cxn>
                <a:cxn ang="0">
                  <a:pos x="connsiteX2" y="connsiteY2"/>
                </a:cxn>
                <a:cxn ang="0">
                  <a:pos x="connsiteX3" y="connsiteY3"/>
                </a:cxn>
              </a:cxnLst>
              <a:rect l="l" t="t" r="r" b="b"/>
              <a:pathLst>
                <a:path w="12013" h="12423">
                  <a:moveTo>
                    <a:pt x="-8358" y="7080"/>
                  </a:moveTo>
                  <a:cubicBezTo>
                    <a:pt x="1153" y="11422"/>
                    <a:pt x="4393" y="8596"/>
                    <a:pt x="1291" y="-1398"/>
                  </a:cubicBezTo>
                  <a:cubicBezTo>
                    <a:pt x="-8427" y="-5740"/>
                    <a:pt x="-11598" y="-2914"/>
                    <a:pt x="-8358" y="7080"/>
                  </a:cubicBezTo>
                  <a:lnTo>
                    <a:pt x="-8358" y="7080"/>
                  </a:lnTo>
                </a:path>
              </a:pathLst>
            </a:custGeom>
            <a:grpFill/>
            <a:ln w="689" cap="flat">
              <a:noFill/>
              <a:prstDash val="solid"/>
              <a:miter/>
            </a:ln>
          </p:spPr>
          <p:txBody>
            <a:bodyPr rtlCol="0" anchor="ctr"/>
            <a:lstStyle/>
            <a:p>
              <a:endParaRPr lang="en-US" sz="2400" dirty="0"/>
            </a:p>
          </p:txBody>
        </p:sp>
        <p:sp>
          <p:nvSpPr>
            <p:cNvPr id="391" name="Graphic 8">
              <a:extLst>
                <a:ext uri="{FF2B5EF4-FFF2-40B4-BE49-F238E27FC236}">
                  <a16:creationId xmlns:a16="http://schemas.microsoft.com/office/drawing/2014/main" id="{F8372DE8-E985-46F3-B665-AB1CB75F7A72}"/>
                </a:ext>
              </a:extLst>
            </p:cNvPr>
            <p:cNvSpPr/>
            <p:nvPr/>
          </p:nvSpPr>
          <p:spPr>
            <a:xfrm flipV="1">
              <a:off x="6911129" y="2492107"/>
              <a:ext cx="3205" cy="2894"/>
            </a:xfrm>
            <a:custGeom>
              <a:avLst/>
              <a:gdLst>
                <a:gd name="connsiteX0" fmla="*/ -8576 w 3205"/>
                <a:gd name="connsiteY0" fmla="*/ -465 h 2894"/>
                <a:gd name="connsiteX1" fmla="*/ -8576 w 3205"/>
                <a:gd name="connsiteY1" fmla="*/ -465 h 2894"/>
                <a:gd name="connsiteX2" fmla="*/ -8576 w 3205"/>
                <a:gd name="connsiteY2" fmla="*/ -465 h 2894"/>
              </a:gdLst>
              <a:ahLst/>
              <a:cxnLst>
                <a:cxn ang="0">
                  <a:pos x="connsiteX0" y="connsiteY0"/>
                </a:cxn>
                <a:cxn ang="0">
                  <a:pos x="connsiteX1" y="connsiteY1"/>
                </a:cxn>
                <a:cxn ang="0">
                  <a:pos x="connsiteX2" y="connsiteY2"/>
                </a:cxn>
              </a:cxnLst>
              <a:rect l="l" t="t" r="r" b="b"/>
              <a:pathLst>
                <a:path w="3205" h="2894">
                  <a:moveTo>
                    <a:pt x="-8576" y="-465"/>
                  </a:moveTo>
                  <a:cubicBezTo>
                    <a:pt x="-4302" y="-4325"/>
                    <a:pt x="-4302" y="-4325"/>
                    <a:pt x="-8576" y="-465"/>
                  </a:cubicBezTo>
                  <a:lnTo>
                    <a:pt x="-8576" y="-465"/>
                  </a:lnTo>
                </a:path>
              </a:pathLst>
            </a:custGeom>
            <a:grpFill/>
            <a:ln w="689" cap="flat">
              <a:noFill/>
              <a:prstDash val="solid"/>
              <a:miter/>
            </a:ln>
          </p:spPr>
          <p:txBody>
            <a:bodyPr rtlCol="0" anchor="ctr"/>
            <a:lstStyle/>
            <a:p>
              <a:endParaRPr lang="en-US" sz="2400" dirty="0"/>
            </a:p>
          </p:txBody>
        </p:sp>
        <p:sp>
          <p:nvSpPr>
            <p:cNvPr id="392" name="Graphic 8">
              <a:extLst>
                <a:ext uri="{FF2B5EF4-FFF2-40B4-BE49-F238E27FC236}">
                  <a16:creationId xmlns:a16="http://schemas.microsoft.com/office/drawing/2014/main" id="{4B974670-4E10-4970-9802-E39E9240632C}"/>
                </a:ext>
              </a:extLst>
            </p:cNvPr>
            <p:cNvSpPr/>
            <p:nvPr/>
          </p:nvSpPr>
          <p:spPr>
            <a:xfrm flipV="1">
              <a:off x="4741588" y="2492856"/>
              <a:ext cx="14887" cy="11914"/>
            </a:xfrm>
            <a:custGeom>
              <a:avLst/>
              <a:gdLst>
                <a:gd name="connsiteX0" fmla="*/ -5855 w 14887"/>
                <a:gd name="connsiteY0" fmla="*/ 5038 h 11914"/>
                <a:gd name="connsiteX1" fmla="*/ 9033 w 14887"/>
                <a:gd name="connsiteY1" fmla="*/ 75 h 11914"/>
                <a:gd name="connsiteX2" fmla="*/ -5855 w 14887"/>
                <a:gd name="connsiteY2" fmla="*/ 5038 h 11914"/>
                <a:gd name="connsiteX3" fmla="*/ -5855 w 14887"/>
                <a:gd name="connsiteY3" fmla="*/ 5038 h 11914"/>
              </a:gdLst>
              <a:ahLst/>
              <a:cxnLst>
                <a:cxn ang="0">
                  <a:pos x="connsiteX0" y="connsiteY0"/>
                </a:cxn>
                <a:cxn ang="0">
                  <a:pos x="connsiteX1" y="connsiteY1"/>
                </a:cxn>
                <a:cxn ang="0">
                  <a:pos x="connsiteX2" y="connsiteY2"/>
                </a:cxn>
                <a:cxn ang="0">
                  <a:pos x="connsiteX3" y="connsiteY3"/>
                </a:cxn>
              </a:cxnLst>
              <a:rect l="l" t="t" r="r" b="b"/>
              <a:pathLst>
                <a:path w="14887" h="11914">
                  <a:moveTo>
                    <a:pt x="-5855" y="5038"/>
                  </a:moveTo>
                  <a:cubicBezTo>
                    <a:pt x="2485" y="11034"/>
                    <a:pt x="7448" y="9380"/>
                    <a:pt x="9033" y="75"/>
                  </a:cubicBezTo>
                  <a:cubicBezTo>
                    <a:pt x="486" y="-5783"/>
                    <a:pt x="-4476" y="-4129"/>
                    <a:pt x="-5855" y="5038"/>
                  </a:cubicBezTo>
                  <a:lnTo>
                    <a:pt x="-5855" y="5038"/>
                  </a:lnTo>
                </a:path>
              </a:pathLst>
            </a:custGeom>
            <a:grpFill/>
            <a:ln w="689" cap="flat">
              <a:noFill/>
              <a:prstDash val="solid"/>
              <a:miter/>
            </a:ln>
          </p:spPr>
          <p:txBody>
            <a:bodyPr rtlCol="0" anchor="ctr"/>
            <a:lstStyle/>
            <a:p>
              <a:endParaRPr lang="en-US" sz="2400" dirty="0"/>
            </a:p>
          </p:txBody>
        </p:sp>
        <p:sp>
          <p:nvSpPr>
            <p:cNvPr id="393" name="Graphic 8">
              <a:extLst>
                <a:ext uri="{FF2B5EF4-FFF2-40B4-BE49-F238E27FC236}">
                  <a16:creationId xmlns:a16="http://schemas.microsoft.com/office/drawing/2014/main" id="{B1E2E465-304E-4385-A175-D8F8DFE15486}"/>
                </a:ext>
              </a:extLst>
            </p:cNvPr>
            <p:cNvSpPr/>
            <p:nvPr/>
          </p:nvSpPr>
          <p:spPr>
            <a:xfrm flipV="1">
              <a:off x="4993232" y="2494933"/>
              <a:ext cx="946828" cy="899879"/>
            </a:xfrm>
            <a:custGeom>
              <a:avLst/>
              <a:gdLst>
                <a:gd name="connsiteX0" fmla="*/ 13851 w 946828"/>
                <a:gd name="connsiteY0" fmla="*/ 41632 h 899879"/>
                <a:gd name="connsiteX1" fmla="*/ 61341 w 946828"/>
                <a:gd name="connsiteY1" fmla="*/ 47008 h 899879"/>
                <a:gd name="connsiteX2" fmla="*/ 66786 w 946828"/>
                <a:gd name="connsiteY2" fmla="*/ 33912 h 899879"/>
                <a:gd name="connsiteX3" fmla="*/ 57274 w 946828"/>
                <a:gd name="connsiteY3" fmla="*/ 19645 h 899879"/>
                <a:gd name="connsiteX4" fmla="*/ 75401 w 946828"/>
                <a:gd name="connsiteY4" fmla="*/ 19300 h 899879"/>
                <a:gd name="connsiteX5" fmla="*/ 66372 w 946828"/>
                <a:gd name="connsiteY5" fmla="*/ 7307 h 899879"/>
                <a:gd name="connsiteX6" fmla="*/ 58935 w 946828"/>
                <a:gd name="connsiteY6" fmla="*/ -2618 h 899879"/>
                <a:gd name="connsiteX7" fmla="*/ 39078 w 946828"/>
                <a:gd name="connsiteY7" fmla="*/ 966 h 899879"/>
                <a:gd name="connsiteX8" fmla="*/ 36045 w 946828"/>
                <a:gd name="connsiteY8" fmla="*/ 45492 h 899879"/>
                <a:gd name="connsiteX9" fmla="*/ 41145 w 946828"/>
                <a:gd name="connsiteY9" fmla="*/ 21782 h 899879"/>
                <a:gd name="connsiteX10" fmla="*/ 22749 w 946828"/>
                <a:gd name="connsiteY10" fmla="*/ 11029 h 899879"/>
                <a:gd name="connsiteX11" fmla="*/ 14196 w 946828"/>
                <a:gd name="connsiteY11" fmla="*/ 27640 h 899879"/>
                <a:gd name="connsiteX12" fmla="*/ -4345 w 946828"/>
                <a:gd name="connsiteY12" fmla="*/ 29708 h 899879"/>
                <a:gd name="connsiteX13" fmla="*/ -6757 w 946828"/>
                <a:gd name="connsiteY13" fmla="*/ 46939 h 899879"/>
                <a:gd name="connsiteX14" fmla="*/ 756 w 946828"/>
                <a:gd name="connsiteY14" fmla="*/ 41080 h 899879"/>
                <a:gd name="connsiteX15" fmla="*/ 13851 w 946828"/>
                <a:gd name="connsiteY15" fmla="*/ 41632 h 899879"/>
                <a:gd name="connsiteX16" fmla="*/ 925862 w 946828"/>
                <a:gd name="connsiteY16" fmla="*/ 895677 h 899879"/>
                <a:gd name="connsiteX17" fmla="*/ 937373 w 946828"/>
                <a:gd name="connsiteY17" fmla="*/ 879273 h 899879"/>
                <a:gd name="connsiteX18" fmla="*/ 925862 w 946828"/>
                <a:gd name="connsiteY18" fmla="*/ 895677 h 89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6828" h="899879">
                  <a:moveTo>
                    <a:pt x="13851" y="41632"/>
                  </a:moveTo>
                  <a:cubicBezTo>
                    <a:pt x="28325" y="49558"/>
                    <a:pt x="45419" y="48524"/>
                    <a:pt x="61341" y="47008"/>
                  </a:cubicBezTo>
                  <a:cubicBezTo>
                    <a:pt x="62719" y="43700"/>
                    <a:pt x="65476" y="37221"/>
                    <a:pt x="66786" y="33912"/>
                  </a:cubicBezTo>
                  <a:cubicBezTo>
                    <a:pt x="64442" y="30328"/>
                    <a:pt x="59686" y="23229"/>
                    <a:pt x="57274" y="19645"/>
                  </a:cubicBezTo>
                  <a:cubicBezTo>
                    <a:pt x="61823" y="19507"/>
                    <a:pt x="70852" y="19369"/>
                    <a:pt x="75401" y="19300"/>
                  </a:cubicBezTo>
                  <a:cubicBezTo>
                    <a:pt x="73126" y="16337"/>
                    <a:pt x="68646" y="10340"/>
                    <a:pt x="66372" y="7307"/>
                  </a:cubicBezTo>
                  <a:cubicBezTo>
                    <a:pt x="64511" y="4826"/>
                    <a:pt x="60789" y="-137"/>
                    <a:pt x="58935" y="-2618"/>
                  </a:cubicBezTo>
                  <a:cubicBezTo>
                    <a:pt x="52242" y="-1377"/>
                    <a:pt x="45626" y="-205"/>
                    <a:pt x="39078" y="966"/>
                  </a:cubicBezTo>
                  <a:cubicBezTo>
                    <a:pt x="42455" y="15027"/>
                    <a:pt x="53483" y="36463"/>
                    <a:pt x="36045" y="45492"/>
                  </a:cubicBezTo>
                  <a:cubicBezTo>
                    <a:pt x="37562" y="37634"/>
                    <a:pt x="39285" y="29708"/>
                    <a:pt x="41145" y="21782"/>
                  </a:cubicBezTo>
                  <a:cubicBezTo>
                    <a:pt x="34942" y="18266"/>
                    <a:pt x="28808" y="14682"/>
                    <a:pt x="22749" y="11029"/>
                  </a:cubicBezTo>
                  <a:cubicBezTo>
                    <a:pt x="20606" y="15165"/>
                    <a:pt x="16333" y="23436"/>
                    <a:pt x="14196" y="27640"/>
                  </a:cubicBezTo>
                  <a:cubicBezTo>
                    <a:pt x="9578" y="28123"/>
                    <a:pt x="273" y="29156"/>
                    <a:pt x="-4345" y="29708"/>
                  </a:cubicBezTo>
                  <a:cubicBezTo>
                    <a:pt x="-4896" y="34050"/>
                    <a:pt x="-6137" y="42666"/>
                    <a:pt x="-6757" y="46939"/>
                  </a:cubicBezTo>
                  <a:lnTo>
                    <a:pt x="756" y="41080"/>
                  </a:lnTo>
                  <a:cubicBezTo>
                    <a:pt x="5512" y="32465"/>
                    <a:pt x="9854" y="32603"/>
                    <a:pt x="13851" y="41632"/>
                  </a:cubicBezTo>
                  <a:close/>
                  <a:moveTo>
                    <a:pt x="925862" y="895677"/>
                  </a:moveTo>
                  <a:cubicBezTo>
                    <a:pt x="935098" y="902363"/>
                    <a:pt x="944954" y="886165"/>
                    <a:pt x="937373" y="879273"/>
                  </a:cubicBezTo>
                  <a:cubicBezTo>
                    <a:pt x="928274" y="873276"/>
                    <a:pt x="918487" y="888922"/>
                    <a:pt x="925862" y="895677"/>
                  </a:cubicBezTo>
                </a:path>
              </a:pathLst>
            </a:custGeom>
            <a:grpFill/>
            <a:ln w="689" cap="flat">
              <a:noFill/>
              <a:prstDash val="solid"/>
              <a:miter/>
            </a:ln>
          </p:spPr>
          <p:txBody>
            <a:bodyPr rtlCol="0" anchor="ctr"/>
            <a:lstStyle/>
            <a:p>
              <a:endParaRPr lang="en-US" sz="2400" dirty="0"/>
            </a:p>
          </p:txBody>
        </p:sp>
        <p:sp>
          <p:nvSpPr>
            <p:cNvPr id="394" name="Graphic 8">
              <a:extLst>
                <a:ext uri="{FF2B5EF4-FFF2-40B4-BE49-F238E27FC236}">
                  <a16:creationId xmlns:a16="http://schemas.microsoft.com/office/drawing/2014/main" id="{5706B9FE-6BC6-4FB0-9627-C285A2182D22}"/>
                </a:ext>
              </a:extLst>
            </p:cNvPr>
            <p:cNvSpPr/>
            <p:nvPr/>
          </p:nvSpPr>
          <p:spPr>
            <a:xfrm flipV="1">
              <a:off x="2834268" y="2503549"/>
              <a:ext cx="2994882" cy="846669"/>
            </a:xfrm>
            <a:custGeom>
              <a:avLst/>
              <a:gdLst>
                <a:gd name="connsiteX0" fmla="*/ 2947647 w 2994882"/>
                <a:gd name="connsiteY0" fmla="*/ 15756 h 846669"/>
                <a:gd name="connsiteX1" fmla="*/ 2972941 w 2994882"/>
                <a:gd name="connsiteY1" fmla="*/ 21821 h 846669"/>
                <a:gd name="connsiteX2" fmla="*/ 2989553 w 2994882"/>
                <a:gd name="connsiteY2" fmla="*/ 1281 h 846669"/>
                <a:gd name="connsiteX3" fmla="*/ 2945579 w 2994882"/>
                <a:gd name="connsiteY3" fmla="*/ -2647 h 846669"/>
                <a:gd name="connsiteX4" fmla="*/ 2947647 w 2994882"/>
                <a:gd name="connsiteY4" fmla="*/ 15756 h 846669"/>
                <a:gd name="connsiteX5" fmla="*/ -1707 w 2994882"/>
                <a:gd name="connsiteY5" fmla="*/ 844023 h 846669"/>
                <a:gd name="connsiteX6" fmla="*/ 2635 w 2994882"/>
                <a:gd name="connsiteY6" fmla="*/ 828377 h 846669"/>
                <a:gd name="connsiteX7" fmla="*/ -1707 w 2994882"/>
                <a:gd name="connsiteY7" fmla="*/ 844023 h 84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4882" h="846669">
                  <a:moveTo>
                    <a:pt x="2947647" y="15756"/>
                  </a:moveTo>
                  <a:cubicBezTo>
                    <a:pt x="2956055" y="17754"/>
                    <a:pt x="2964395" y="19822"/>
                    <a:pt x="2972941" y="21821"/>
                  </a:cubicBezTo>
                  <a:cubicBezTo>
                    <a:pt x="2981350" y="17823"/>
                    <a:pt x="2987623" y="10586"/>
                    <a:pt x="2989553" y="1281"/>
                  </a:cubicBezTo>
                  <a:cubicBezTo>
                    <a:pt x="2974872" y="179"/>
                    <a:pt x="2960122" y="-1269"/>
                    <a:pt x="2945579" y="-2647"/>
                  </a:cubicBezTo>
                  <a:cubicBezTo>
                    <a:pt x="2946130" y="1902"/>
                    <a:pt x="2947164" y="11138"/>
                    <a:pt x="2947647" y="15756"/>
                  </a:cubicBezTo>
                  <a:close/>
                  <a:moveTo>
                    <a:pt x="-1707" y="844023"/>
                  </a:moveTo>
                  <a:cubicBezTo>
                    <a:pt x="7184" y="842300"/>
                    <a:pt x="8631" y="837061"/>
                    <a:pt x="2635" y="828377"/>
                  </a:cubicBezTo>
                  <a:cubicBezTo>
                    <a:pt x="-6256" y="830169"/>
                    <a:pt x="-7704" y="835407"/>
                    <a:pt x="-1707" y="844023"/>
                  </a:cubicBezTo>
                </a:path>
              </a:pathLst>
            </a:custGeom>
            <a:grpFill/>
            <a:ln w="689" cap="flat">
              <a:noFill/>
              <a:prstDash val="solid"/>
              <a:miter/>
            </a:ln>
          </p:spPr>
          <p:txBody>
            <a:bodyPr rtlCol="0" anchor="ctr"/>
            <a:lstStyle/>
            <a:p>
              <a:endParaRPr lang="en-US" sz="2400" dirty="0"/>
            </a:p>
          </p:txBody>
        </p:sp>
        <p:sp>
          <p:nvSpPr>
            <p:cNvPr id="395" name="Graphic 8">
              <a:extLst>
                <a:ext uri="{FF2B5EF4-FFF2-40B4-BE49-F238E27FC236}">
                  <a16:creationId xmlns:a16="http://schemas.microsoft.com/office/drawing/2014/main" id="{A2474AA8-6BC1-4E45-8CB6-A7FB1234B85C}"/>
                </a:ext>
              </a:extLst>
            </p:cNvPr>
            <p:cNvSpPr/>
            <p:nvPr/>
          </p:nvSpPr>
          <p:spPr>
            <a:xfrm flipV="1">
              <a:off x="7104071" y="2501127"/>
              <a:ext cx="12025" cy="12350"/>
            </a:xfrm>
            <a:custGeom>
              <a:avLst/>
              <a:gdLst>
                <a:gd name="connsiteX0" fmla="*/ -8019 w 12025"/>
                <a:gd name="connsiteY0" fmla="*/ 8176 h 12350"/>
                <a:gd name="connsiteX1" fmla="*/ 2458 w 12025"/>
                <a:gd name="connsiteY1" fmla="*/ -2576 h 12350"/>
                <a:gd name="connsiteX2" fmla="*/ -8019 w 12025"/>
                <a:gd name="connsiteY2" fmla="*/ 8176 h 12350"/>
                <a:gd name="connsiteX3" fmla="*/ -8019 w 12025"/>
                <a:gd name="connsiteY3" fmla="*/ 8176 h 12350"/>
              </a:gdLst>
              <a:ahLst/>
              <a:cxnLst>
                <a:cxn ang="0">
                  <a:pos x="connsiteX0" y="connsiteY0"/>
                </a:cxn>
                <a:cxn ang="0">
                  <a:pos x="connsiteX1" y="connsiteY1"/>
                </a:cxn>
                <a:cxn ang="0">
                  <a:pos x="connsiteX2" y="connsiteY2"/>
                </a:cxn>
                <a:cxn ang="0">
                  <a:pos x="connsiteX3" y="connsiteY3"/>
                </a:cxn>
              </a:cxnLst>
              <a:rect l="l" t="t" r="r" b="b"/>
              <a:pathLst>
                <a:path w="12025" h="12350">
                  <a:moveTo>
                    <a:pt x="-8019" y="8176"/>
                  </a:moveTo>
                  <a:cubicBezTo>
                    <a:pt x="1424" y="10796"/>
                    <a:pt x="4870" y="7280"/>
                    <a:pt x="2458" y="-2576"/>
                  </a:cubicBezTo>
                  <a:cubicBezTo>
                    <a:pt x="-7054" y="-5057"/>
                    <a:pt x="-10569" y="-1473"/>
                    <a:pt x="-8019" y="8176"/>
                  </a:cubicBezTo>
                  <a:lnTo>
                    <a:pt x="-8019" y="8176"/>
                  </a:lnTo>
                </a:path>
              </a:pathLst>
            </a:custGeom>
            <a:grpFill/>
            <a:ln w="689" cap="flat">
              <a:noFill/>
              <a:prstDash val="solid"/>
              <a:miter/>
            </a:ln>
          </p:spPr>
          <p:txBody>
            <a:bodyPr rtlCol="0" anchor="ctr"/>
            <a:lstStyle/>
            <a:p>
              <a:endParaRPr lang="en-US" sz="2400" dirty="0"/>
            </a:p>
          </p:txBody>
        </p:sp>
        <p:sp>
          <p:nvSpPr>
            <p:cNvPr id="396" name="Graphic 8">
              <a:extLst>
                <a:ext uri="{FF2B5EF4-FFF2-40B4-BE49-F238E27FC236}">
                  <a16:creationId xmlns:a16="http://schemas.microsoft.com/office/drawing/2014/main" id="{59CD88E1-D63F-4A5E-A51C-BE961A55C068}"/>
                </a:ext>
              </a:extLst>
            </p:cNvPr>
            <p:cNvSpPr/>
            <p:nvPr/>
          </p:nvSpPr>
          <p:spPr>
            <a:xfrm flipV="1">
              <a:off x="6849992" y="2510097"/>
              <a:ext cx="2688" cy="2894"/>
            </a:xfrm>
            <a:custGeom>
              <a:avLst/>
              <a:gdLst>
                <a:gd name="connsiteX0" fmla="*/ -8498 w 2688"/>
                <a:gd name="connsiteY0" fmla="*/ -435 h 2894"/>
                <a:gd name="connsiteX1" fmla="*/ -8498 w 2688"/>
                <a:gd name="connsiteY1" fmla="*/ -435 h 2894"/>
                <a:gd name="connsiteX2" fmla="*/ -8498 w 2688"/>
                <a:gd name="connsiteY2" fmla="*/ -435 h 2894"/>
              </a:gdLst>
              <a:ahLst/>
              <a:cxnLst>
                <a:cxn ang="0">
                  <a:pos x="connsiteX0" y="connsiteY0"/>
                </a:cxn>
                <a:cxn ang="0">
                  <a:pos x="connsiteX1" y="connsiteY1"/>
                </a:cxn>
                <a:cxn ang="0">
                  <a:pos x="connsiteX2" y="connsiteY2"/>
                </a:cxn>
              </a:cxnLst>
              <a:rect l="l" t="t" r="r" b="b"/>
              <a:pathLst>
                <a:path w="2688" h="2894">
                  <a:moveTo>
                    <a:pt x="-8498" y="-435"/>
                  </a:moveTo>
                  <a:cubicBezTo>
                    <a:pt x="-4914" y="-4295"/>
                    <a:pt x="-4914" y="-4295"/>
                    <a:pt x="-8498" y="-435"/>
                  </a:cubicBezTo>
                  <a:lnTo>
                    <a:pt x="-8498" y="-435"/>
                  </a:lnTo>
                </a:path>
              </a:pathLst>
            </a:custGeom>
            <a:grpFill/>
            <a:ln w="689" cap="flat">
              <a:noFill/>
              <a:prstDash val="solid"/>
              <a:miter/>
            </a:ln>
          </p:spPr>
          <p:txBody>
            <a:bodyPr rtlCol="0" anchor="ctr"/>
            <a:lstStyle/>
            <a:p>
              <a:endParaRPr lang="en-US" sz="2400" dirty="0"/>
            </a:p>
          </p:txBody>
        </p:sp>
        <p:sp>
          <p:nvSpPr>
            <p:cNvPr id="397" name="Graphic 8">
              <a:extLst>
                <a:ext uri="{FF2B5EF4-FFF2-40B4-BE49-F238E27FC236}">
                  <a16:creationId xmlns:a16="http://schemas.microsoft.com/office/drawing/2014/main" id="{68C8111E-5871-4C78-B6A3-B1C785F82E2B}"/>
                </a:ext>
              </a:extLst>
            </p:cNvPr>
            <p:cNvSpPr/>
            <p:nvPr/>
          </p:nvSpPr>
          <p:spPr>
            <a:xfrm flipV="1">
              <a:off x="589637" y="2528775"/>
              <a:ext cx="55566" cy="1282963"/>
            </a:xfrm>
            <a:custGeom>
              <a:avLst/>
              <a:gdLst>
                <a:gd name="connsiteX0" fmla="*/ 48277 w 55566"/>
                <a:gd name="connsiteY0" fmla="*/ 30837 h 1282963"/>
                <a:gd name="connsiteX1" fmla="*/ 53104 w 55566"/>
                <a:gd name="connsiteY1" fmla="*/ 27115 h 1282963"/>
                <a:gd name="connsiteX2" fmla="*/ 51034 w 55566"/>
                <a:gd name="connsiteY2" fmla="*/ -2247 h 1282963"/>
                <a:gd name="connsiteX3" fmla="*/ 45456 w 55566"/>
                <a:gd name="connsiteY3" fmla="*/ 18982 h 1282963"/>
                <a:gd name="connsiteX4" fmla="*/ 48277 w 55566"/>
                <a:gd name="connsiteY4" fmla="*/ 30837 h 1282963"/>
                <a:gd name="connsiteX5" fmla="*/ 3823 w 55566"/>
                <a:gd name="connsiteY5" fmla="*/ 1265277 h 1282963"/>
                <a:gd name="connsiteX6" fmla="*/ 36425 w 55566"/>
                <a:gd name="connsiteY6" fmla="*/ 1280716 h 1282963"/>
                <a:gd name="connsiteX7" fmla="*/ 40833 w 55566"/>
                <a:gd name="connsiteY7" fmla="*/ 1246460 h 1282963"/>
                <a:gd name="connsiteX8" fmla="*/ 28289 w 55566"/>
                <a:gd name="connsiteY8" fmla="*/ 1248183 h 1282963"/>
                <a:gd name="connsiteX9" fmla="*/ 11680 w 55566"/>
                <a:gd name="connsiteY9" fmla="*/ 1260521 h 1282963"/>
                <a:gd name="connsiteX10" fmla="*/ -660 w 55566"/>
                <a:gd name="connsiteY10" fmla="*/ 1243014 h 1282963"/>
                <a:gd name="connsiteX11" fmla="*/ 3823 w 55566"/>
                <a:gd name="connsiteY11" fmla="*/ 1265277 h 128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566" h="1282963">
                  <a:moveTo>
                    <a:pt x="48277" y="30837"/>
                  </a:moveTo>
                  <a:cubicBezTo>
                    <a:pt x="49448" y="29872"/>
                    <a:pt x="51864" y="28011"/>
                    <a:pt x="53104" y="27115"/>
                  </a:cubicBezTo>
                  <a:cubicBezTo>
                    <a:pt x="56066" y="17052"/>
                    <a:pt x="55379" y="7265"/>
                    <a:pt x="51034" y="-2247"/>
                  </a:cubicBezTo>
                  <a:cubicBezTo>
                    <a:pt x="45108" y="2095"/>
                    <a:pt x="43248" y="9125"/>
                    <a:pt x="45456" y="18982"/>
                  </a:cubicBezTo>
                  <a:cubicBezTo>
                    <a:pt x="46142" y="21945"/>
                    <a:pt x="47588" y="27873"/>
                    <a:pt x="48277" y="30837"/>
                  </a:cubicBezTo>
                  <a:close/>
                  <a:moveTo>
                    <a:pt x="3823" y="1265277"/>
                  </a:moveTo>
                  <a:cubicBezTo>
                    <a:pt x="14440" y="1270929"/>
                    <a:pt x="25534" y="1275684"/>
                    <a:pt x="36425" y="1280716"/>
                  </a:cubicBezTo>
                  <a:cubicBezTo>
                    <a:pt x="36767" y="1269205"/>
                    <a:pt x="38558" y="1257833"/>
                    <a:pt x="40833" y="1246460"/>
                  </a:cubicBezTo>
                  <a:cubicBezTo>
                    <a:pt x="37734" y="1246874"/>
                    <a:pt x="31461" y="1247770"/>
                    <a:pt x="28289" y="1248183"/>
                  </a:cubicBezTo>
                  <a:cubicBezTo>
                    <a:pt x="22708" y="1252250"/>
                    <a:pt x="17124" y="1256386"/>
                    <a:pt x="11680" y="1260521"/>
                  </a:cubicBezTo>
                  <a:cubicBezTo>
                    <a:pt x="7542" y="1254731"/>
                    <a:pt x="3409" y="1248873"/>
                    <a:pt x="-660" y="1243014"/>
                  </a:cubicBezTo>
                  <a:cubicBezTo>
                    <a:pt x="103" y="1250596"/>
                    <a:pt x="1615" y="1258040"/>
                    <a:pt x="3823" y="1265277"/>
                  </a:cubicBezTo>
                </a:path>
              </a:pathLst>
            </a:custGeom>
            <a:grpFill/>
            <a:ln w="689" cap="flat">
              <a:noFill/>
              <a:prstDash val="solid"/>
              <a:miter/>
            </a:ln>
          </p:spPr>
          <p:txBody>
            <a:bodyPr rtlCol="0" anchor="ctr"/>
            <a:lstStyle/>
            <a:p>
              <a:endParaRPr lang="en-US" sz="2400" dirty="0"/>
            </a:p>
          </p:txBody>
        </p:sp>
        <p:sp>
          <p:nvSpPr>
            <p:cNvPr id="398" name="Graphic 8">
              <a:extLst>
                <a:ext uri="{FF2B5EF4-FFF2-40B4-BE49-F238E27FC236}">
                  <a16:creationId xmlns:a16="http://schemas.microsoft.com/office/drawing/2014/main" id="{6698FF46-0066-496C-B806-A9CFA800101C}"/>
                </a:ext>
              </a:extLst>
            </p:cNvPr>
            <p:cNvSpPr/>
            <p:nvPr/>
          </p:nvSpPr>
          <p:spPr>
            <a:xfrm flipV="1">
              <a:off x="825705" y="2544903"/>
              <a:ext cx="3129375" cy="568369"/>
            </a:xfrm>
            <a:custGeom>
              <a:avLst/>
              <a:gdLst>
                <a:gd name="connsiteX0" fmla="*/ -2889 w 3129375"/>
                <a:gd name="connsiteY0" fmla="*/ -172 h 568369"/>
                <a:gd name="connsiteX1" fmla="*/ -2889 w 3129375"/>
                <a:gd name="connsiteY1" fmla="*/ -172 h 568369"/>
                <a:gd name="connsiteX2" fmla="*/ 3118431 w 3129375"/>
                <a:gd name="connsiteY2" fmla="*/ 565562 h 568369"/>
                <a:gd name="connsiteX3" fmla="*/ 3123050 w 3129375"/>
                <a:gd name="connsiteY3" fmla="*/ 549778 h 568369"/>
                <a:gd name="connsiteX4" fmla="*/ 3118431 w 3129375"/>
                <a:gd name="connsiteY4" fmla="*/ 565562 h 5683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29375" h="568369">
                  <a:moveTo>
                    <a:pt x="-2889" y="-172"/>
                  </a:moveTo>
                  <a:cubicBezTo>
                    <a:pt x="764" y="-3687"/>
                    <a:pt x="764" y="-3687"/>
                    <a:pt x="-2889" y="-172"/>
                  </a:cubicBezTo>
                  <a:close/>
                  <a:moveTo>
                    <a:pt x="3118431" y="565562"/>
                  </a:moveTo>
                  <a:cubicBezTo>
                    <a:pt x="3127323" y="563770"/>
                    <a:pt x="3128839" y="558531"/>
                    <a:pt x="3123050" y="549778"/>
                  </a:cubicBezTo>
                  <a:cubicBezTo>
                    <a:pt x="3114158" y="551639"/>
                    <a:pt x="3112573" y="556877"/>
                    <a:pt x="3118431" y="565562"/>
                  </a:cubicBezTo>
                </a:path>
              </a:pathLst>
            </a:custGeom>
            <a:grpFill/>
            <a:ln w="689" cap="flat">
              <a:noFill/>
              <a:prstDash val="solid"/>
              <a:miter/>
            </a:ln>
          </p:spPr>
          <p:txBody>
            <a:bodyPr rtlCol="0" anchor="ctr"/>
            <a:lstStyle/>
            <a:p>
              <a:endParaRPr lang="en-US" sz="2400" dirty="0"/>
            </a:p>
          </p:txBody>
        </p:sp>
        <p:sp>
          <p:nvSpPr>
            <p:cNvPr id="399" name="Graphic 8">
              <a:extLst>
                <a:ext uri="{FF2B5EF4-FFF2-40B4-BE49-F238E27FC236}">
                  <a16:creationId xmlns:a16="http://schemas.microsoft.com/office/drawing/2014/main" id="{41F32B12-3132-4CBC-8DB0-D995DCED4F3E}"/>
                </a:ext>
              </a:extLst>
            </p:cNvPr>
            <p:cNvSpPr/>
            <p:nvPr/>
          </p:nvSpPr>
          <p:spPr>
            <a:xfrm flipV="1">
              <a:off x="6883447" y="2553112"/>
              <a:ext cx="1986459" cy="278106"/>
            </a:xfrm>
            <a:custGeom>
              <a:avLst/>
              <a:gdLst>
                <a:gd name="connsiteX0" fmla="*/ -8710 w 1986459"/>
                <a:gd name="connsiteY0" fmla="*/ 8686 h 278106"/>
                <a:gd name="connsiteX1" fmla="*/ 1352 w 1986459"/>
                <a:gd name="connsiteY1" fmla="*/ -2479 h 278106"/>
                <a:gd name="connsiteX2" fmla="*/ -8710 w 1986459"/>
                <a:gd name="connsiteY2" fmla="*/ 8686 h 278106"/>
                <a:gd name="connsiteX3" fmla="*/ 1969012 w 1986459"/>
                <a:gd name="connsiteY3" fmla="*/ 275011 h 278106"/>
                <a:gd name="connsiteX4" fmla="*/ 1969082 w 1986459"/>
                <a:gd name="connsiteY4" fmla="*/ 253093 h 278106"/>
                <a:gd name="connsiteX5" fmla="*/ 1969012 w 1986459"/>
                <a:gd name="connsiteY5" fmla="*/ 275011 h 27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459" h="278106">
                  <a:moveTo>
                    <a:pt x="-8710" y="8686"/>
                  </a:moveTo>
                  <a:cubicBezTo>
                    <a:pt x="870" y="10823"/>
                    <a:pt x="4178" y="7101"/>
                    <a:pt x="1352" y="-2479"/>
                  </a:cubicBezTo>
                  <a:cubicBezTo>
                    <a:pt x="-8366" y="-4547"/>
                    <a:pt x="-11743" y="-825"/>
                    <a:pt x="-8710" y="8686"/>
                  </a:cubicBezTo>
                  <a:close/>
                  <a:moveTo>
                    <a:pt x="1969012" y="275011"/>
                  </a:moveTo>
                  <a:cubicBezTo>
                    <a:pt x="1979144" y="276459"/>
                    <a:pt x="1979282" y="252128"/>
                    <a:pt x="1969082" y="253093"/>
                  </a:cubicBezTo>
                  <a:cubicBezTo>
                    <a:pt x="1963705" y="260399"/>
                    <a:pt x="1963705" y="267705"/>
                    <a:pt x="1969012" y="275011"/>
                  </a:cubicBezTo>
                </a:path>
              </a:pathLst>
            </a:custGeom>
            <a:grpFill/>
            <a:ln w="689" cap="flat">
              <a:noFill/>
              <a:prstDash val="solid"/>
              <a:miter/>
            </a:ln>
          </p:spPr>
          <p:txBody>
            <a:bodyPr rtlCol="0" anchor="ctr"/>
            <a:lstStyle/>
            <a:p>
              <a:endParaRPr lang="en-US" sz="2400" dirty="0"/>
            </a:p>
          </p:txBody>
        </p:sp>
        <p:sp>
          <p:nvSpPr>
            <p:cNvPr id="400" name="Graphic 8">
              <a:extLst>
                <a:ext uri="{FF2B5EF4-FFF2-40B4-BE49-F238E27FC236}">
                  <a16:creationId xmlns:a16="http://schemas.microsoft.com/office/drawing/2014/main" id="{EA21E876-2C06-4E2E-8D48-9128A2B61C90}"/>
                </a:ext>
              </a:extLst>
            </p:cNvPr>
            <p:cNvSpPr/>
            <p:nvPr/>
          </p:nvSpPr>
          <p:spPr>
            <a:xfrm flipV="1">
              <a:off x="5147003" y="2558964"/>
              <a:ext cx="2739" cy="2533"/>
            </a:xfrm>
            <a:custGeom>
              <a:avLst/>
              <a:gdLst>
                <a:gd name="connsiteX0" fmla="*/ -6357 w 2739"/>
                <a:gd name="connsiteY0" fmla="*/ -717 h 2533"/>
                <a:gd name="connsiteX1" fmla="*/ -6357 w 2739"/>
                <a:gd name="connsiteY1" fmla="*/ -717 h 2533"/>
                <a:gd name="connsiteX2" fmla="*/ -6357 w 2739"/>
                <a:gd name="connsiteY2" fmla="*/ -717 h 2533"/>
              </a:gdLst>
              <a:ahLst/>
              <a:cxnLst>
                <a:cxn ang="0">
                  <a:pos x="connsiteX0" y="connsiteY0"/>
                </a:cxn>
                <a:cxn ang="0">
                  <a:pos x="connsiteX1" y="connsiteY1"/>
                </a:cxn>
                <a:cxn ang="0">
                  <a:pos x="connsiteX2" y="connsiteY2"/>
                </a:cxn>
              </a:cxnLst>
              <a:rect l="l" t="t" r="r" b="b"/>
              <a:pathLst>
                <a:path w="2739" h="2533">
                  <a:moveTo>
                    <a:pt x="-6357" y="-717"/>
                  </a:moveTo>
                  <a:cubicBezTo>
                    <a:pt x="-2704" y="-4095"/>
                    <a:pt x="-2704" y="-4095"/>
                    <a:pt x="-6357" y="-717"/>
                  </a:cubicBezTo>
                  <a:lnTo>
                    <a:pt x="-6357" y="-717"/>
                  </a:lnTo>
                </a:path>
              </a:pathLst>
            </a:custGeom>
            <a:grpFill/>
            <a:ln w="689" cap="flat">
              <a:noFill/>
              <a:prstDash val="solid"/>
              <a:miter/>
            </a:ln>
          </p:spPr>
          <p:txBody>
            <a:bodyPr rtlCol="0" anchor="ctr"/>
            <a:lstStyle/>
            <a:p>
              <a:endParaRPr lang="en-US" sz="2400" dirty="0"/>
            </a:p>
          </p:txBody>
        </p:sp>
        <p:sp>
          <p:nvSpPr>
            <p:cNvPr id="401" name="Graphic 8">
              <a:extLst>
                <a:ext uri="{FF2B5EF4-FFF2-40B4-BE49-F238E27FC236}">
                  <a16:creationId xmlns:a16="http://schemas.microsoft.com/office/drawing/2014/main" id="{185872E5-99D0-402D-9F3F-745A19333A89}"/>
                </a:ext>
              </a:extLst>
            </p:cNvPr>
            <p:cNvSpPr/>
            <p:nvPr/>
          </p:nvSpPr>
          <p:spPr>
            <a:xfrm flipV="1">
              <a:off x="8797163" y="2558964"/>
              <a:ext cx="10221" cy="9521"/>
            </a:xfrm>
            <a:custGeom>
              <a:avLst/>
              <a:gdLst>
                <a:gd name="connsiteX0" fmla="*/ -8795 w 10221"/>
                <a:gd name="connsiteY0" fmla="*/ 6277 h 9521"/>
                <a:gd name="connsiteX1" fmla="*/ -8795 w 10221"/>
                <a:gd name="connsiteY1" fmla="*/ 6277 h 9521"/>
                <a:gd name="connsiteX2" fmla="*/ -8795 w 10221"/>
                <a:gd name="connsiteY2" fmla="*/ 6277 h 9521"/>
              </a:gdLst>
              <a:ahLst/>
              <a:cxnLst>
                <a:cxn ang="0">
                  <a:pos x="connsiteX0" y="connsiteY0"/>
                </a:cxn>
                <a:cxn ang="0">
                  <a:pos x="connsiteX1" y="connsiteY1"/>
                </a:cxn>
                <a:cxn ang="0">
                  <a:pos x="connsiteX2" y="connsiteY2"/>
                </a:cxn>
              </a:cxnLst>
              <a:rect l="l" t="t" r="r" b="b"/>
              <a:pathLst>
                <a:path w="10221" h="9521">
                  <a:moveTo>
                    <a:pt x="-8795" y="6277"/>
                  </a:moveTo>
                  <a:cubicBezTo>
                    <a:pt x="13812" y="4692"/>
                    <a:pt x="-19410" y="-14331"/>
                    <a:pt x="-8795" y="6277"/>
                  </a:cubicBezTo>
                  <a:lnTo>
                    <a:pt x="-8795" y="6277"/>
                  </a:lnTo>
                </a:path>
              </a:pathLst>
            </a:custGeom>
            <a:grpFill/>
            <a:ln w="689" cap="flat">
              <a:noFill/>
              <a:prstDash val="solid"/>
              <a:miter/>
            </a:ln>
          </p:spPr>
          <p:txBody>
            <a:bodyPr rtlCol="0" anchor="ctr"/>
            <a:lstStyle/>
            <a:p>
              <a:endParaRPr lang="en-US" sz="2400" dirty="0"/>
            </a:p>
          </p:txBody>
        </p:sp>
        <p:sp>
          <p:nvSpPr>
            <p:cNvPr id="402" name="Graphic 8">
              <a:extLst>
                <a:ext uri="{FF2B5EF4-FFF2-40B4-BE49-F238E27FC236}">
                  <a16:creationId xmlns:a16="http://schemas.microsoft.com/office/drawing/2014/main" id="{C4C4D8D0-2A3A-4AC4-AA3C-AFDD7B903D6C}"/>
                </a:ext>
              </a:extLst>
            </p:cNvPr>
            <p:cNvSpPr/>
            <p:nvPr/>
          </p:nvSpPr>
          <p:spPr>
            <a:xfrm flipV="1">
              <a:off x="3230623" y="2565305"/>
              <a:ext cx="2739" cy="2636"/>
            </a:xfrm>
            <a:custGeom>
              <a:avLst/>
              <a:gdLst>
                <a:gd name="connsiteX0" fmla="*/ -3947 w 2739"/>
                <a:gd name="connsiteY0" fmla="*/ -603 h 2636"/>
                <a:gd name="connsiteX1" fmla="*/ -3947 w 2739"/>
                <a:gd name="connsiteY1" fmla="*/ -603 h 2636"/>
                <a:gd name="connsiteX2" fmla="*/ -3947 w 2739"/>
                <a:gd name="connsiteY2" fmla="*/ -603 h 2636"/>
              </a:gdLst>
              <a:ahLst/>
              <a:cxnLst>
                <a:cxn ang="0">
                  <a:pos x="connsiteX0" y="connsiteY0"/>
                </a:cxn>
                <a:cxn ang="0">
                  <a:pos x="connsiteX1" y="connsiteY1"/>
                </a:cxn>
                <a:cxn ang="0">
                  <a:pos x="connsiteX2" y="connsiteY2"/>
                </a:cxn>
              </a:cxnLst>
              <a:rect l="l" t="t" r="r" b="b"/>
              <a:pathLst>
                <a:path w="2739" h="2636">
                  <a:moveTo>
                    <a:pt x="-3947" y="-603"/>
                  </a:moveTo>
                  <a:cubicBezTo>
                    <a:pt x="-294" y="-4118"/>
                    <a:pt x="-294" y="-4118"/>
                    <a:pt x="-3947" y="-603"/>
                  </a:cubicBezTo>
                  <a:lnTo>
                    <a:pt x="-3947" y="-603"/>
                  </a:lnTo>
                </a:path>
              </a:pathLst>
            </a:custGeom>
            <a:grpFill/>
            <a:ln w="689" cap="flat">
              <a:noFill/>
              <a:prstDash val="solid"/>
              <a:miter/>
            </a:ln>
          </p:spPr>
          <p:txBody>
            <a:bodyPr rtlCol="0" anchor="ctr"/>
            <a:lstStyle/>
            <a:p>
              <a:endParaRPr lang="en-US" sz="2400" dirty="0"/>
            </a:p>
          </p:txBody>
        </p:sp>
        <p:sp>
          <p:nvSpPr>
            <p:cNvPr id="403" name="Graphic 8">
              <a:extLst>
                <a:ext uri="{FF2B5EF4-FFF2-40B4-BE49-F238E27FC236}">
                  <a16:creationId xmlns:a16="http://schemas.microsoft.com/office/drawing/2014/main" id="{3A1380BE-43B8-4C1C-93B8-90385A9B19A3}"/>
                </a:ext>
              </a:extLst>
            </p:cNvPr>
            <p:cNvSpPr/>
            <p:nvPr/>
          </p:nvSpPr>
          <p:spPr>
            <a:xfrm flipV="1">
              <a:off x="4319462" y="2564685"/>
              <a:ext cx="1253839" cy="798449"/>
            </a:xfrm>
            <a:custGeom>
              <a:avLst/>
              <a:gdLst>
                <a:gd name="connsiteX0" fmla="*/ 1226370 w 1253839"/>
                <a:gd name="connsiteY0" fmla="*/ 16464 h 798449"/>
                <a:gd name="connsiteX1" fmla="*/ 1241533 w 1253839"/>
                <a:gd name="connsiteY1" fmla="*/ 18600 h 798449"/>
                <a:gd name="connsiteX2" fmla="*/ 1247737 w 1253839"/>
                <a:gd name="connsiteY2" fmla="*/ -2559 h 798449"/>
                <a:gd name="connsiteX3" fmla="*/ 1217754 w 1253839"/>
                <a:gd name="connsiteY3" fmla="*/ -2422 h 798449"/>
                <a:gd name="connsiteX4" fmla="*/ 1226370 w 1253839"/>
                <a:gd name="connsiteY4" fmla="*/ 16464 h 798449"/>
                <a:gd name="connsiteX5" fmla="*/ 821 w 1253839"/>
                <a:gd name="connsiteY5" fmla="*/ 795863 h 798449"/>
                <a:gd name="connsiteX6" fmla="*/ 63 w 1253839"/>
                <a:gd name="connsiteY6" fmla="*/ 781182 h 798449"/>
                <a:gd name="connsiteX7" fmla="*/ 821 w 1253839"/>
                <a:gd name="connsiteY7" fmla="*/ 795863 h 79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3839" h="798449">
                  <a:moveTo>
                    <a:pt x="1226370" y="16464"/>
                  </a:moveTo>
                  <a:cubicBezTo>
                    <a:pt x="1230161" y="17015"/>
                    <a:pt x="1237742" y="18049"/>
                    <a:pt x="1241533" y="18600"/>
                  </a:cubicBezTo>
                  <a:cubicBezTo>
                    <a:pt x="1243877" y="11639"/>
                    <a:pt x="1245944" y="4609"/>
                    <a:pt x="1247737" y="-2559"/>
                  </a:cubicBezTo>
                  <a:cubicBezTo>
                    <a:pt x="1237673" y="-2628"/>
                    <a:pt x="1227679" y="-2559"/>
                    <a:pt x="1217754" y="-2422"/>
                  </a:cubicBezTo>
                  <a:cubicBezTo>
                    <a:pt x="1220442" y="3988"/>
                    <a:pt x="1223337" y="10261"/>
                    <a:pt x="1226370" y="16464"/>
                  </a:cubicBezTo>
                  <a:close/>
                  <a:moveTo>
                    <a:pt x="821" y="795863"/>
                  </a:moveTo>
                  <a:cubicBezTo>
                    <a:pt x="9299" y="791521"/>
                    <a:pt x="9023" y="786628"/>
                    <a:pt x="63" y="781182"/>
                  </a:cubicBezTo>
                  <a:cubicBezTo>
                    <a:pt x="-8415" y="785525"/>
                    <a:pt x="-8139" y="790418"/>
                    <a:pt x="821" y="795863"/>
                  </a:cubicBezTo>
                </a:path>
              </a:pathLst>
            </a:custGeom>
            <a:grpFill/>
            <a:ln w="689" cap="flat">
              <a:noFill/>
              <a:prstDash val="solid"/>
              <a:miter/>
            </a:ln>
          </p:spPr>
          <p:txBody>
            <a:bodyPr rtlCol="0" anchor="ctr"/>
            <a:lstStyle/>
            <a:p>
              <a:endParaRPr lang="en-US" sz="2400" dirty="0"/>
            </a:p>
          </p:txBody>
        </p:sp>
        <p:sp>
          <p:nvSpPr>
            <p:cNvPr id="404" name="Graphic 8">
              <a:extLst>
                <a:ext uri="{FF2B5EF4-FFF2-40B4-BE49-F238E27FC236}">
                  <a16:creationId xmlns:a16="http://schemas.microsoft.com/office/drawing/2014/main" id="{DF4035C5-4342-4AFD-9271-CB501CCDF1D1}"/>
                </a:ext>
              </a:extLst>
            </p:cNvPr>
            <p:cNvSpPr/>
            <p:nvPr/>
          </p:nvSpPr>
          <p:spPr>
            <a:xfrm flipV="1">
              <a:off x="7882966" y="2565719"/>
              <a:ext cx="2481" cy="2894"/>
            </a:xfrm>
            <a:custGeom>
              <a:avLst/>
              <a:gdLst>
                <a:gd name="connsiteX0" fmla="*/ -9797 w 2481"/>
                <a:gd name="connsiteY0" fmla="*/ -344 h 2894"/>
                <a:gd name="connsiteX1" fmla="*/ -9797 w 2481"/>
                <a:gd name="connsiteY1" fmla="*/ -344 h 2894"/>
                <a:gd name="connsiteX2" fmla="*/ -9797 w 2481"/>
                <a:gd name="connsiteY2" fmla="*/ -344 h 2894"/>
              </a:gdLst>
              <a:ahLst/>
              <a:cxnLst>
                <a:cxn ang="0">
                  <a:pos x="connsiteX0" y="connsiteY0"/>
                </a:cxn>
                <a:cxn ang="0">
                  <a:pos x="connsiteX1" y="connsiteY1"/>
                </a:cxn>
                <a:cxn ang="0">
                  <a:pos x="connsiteX2" y="connsiteY2"/>
                </a:cxn>
              </a:cxnLst>
              <a:rect l="l" t="t" r="r" b="b"/>
              <a:pathLst>
                <a:path w="2481" h="2894">
                  <a:moveTo>
                    <a:pt x="-9797" y="-344"/>
                  </a:moveTo>
                  <a:cubicBezTo>
                    <a:pt x="-6489" y="-4204"/>
                    <a:pt x="-6489" y="-4204"/>
                    <a:pt x="-9797" y="-344"/>
                  </a:cubicBezTo>
                  <a:lnTo>
                    <a:pt x="-9797" y="-344"/>
                  </a:lnTo>
                </a:path>
              </a:pathLst>
            </a:custGeom>
            <a:grpFill/>
            <a:ln w="689" cap="flat">
              <a:noFill/>
              <a:prstDash val="solid"/>
              <a:miter/>
            </a:ln>
          </p:spPr>
          <p:txBody>
            <a:bodyPr rtlCol="0" anchor="ctr"/>
            <a:lstStyle/>
            <a:p>
              <a:endParaRPr lang="en-US" sz="2400" dirty="0"/>
            </a:p>
          </p:txBody>
        </p:sp>
        <p:sp>
          <p:nvSpPr>
            <p:cNvPr id="405" name="Graphic 8">
              <a:extLst>
                <a:ext uri="{FF2B5EF4-FFF2-40B4-BE49-F238E27FC236}">
                  <a16:creationId xmlns:a16="http://schemas.microsoft.com/office/drawing/2014/main" id="{D89DB133-BA36-43B0-B10D-27CB0D3B93A8}"/>
                </a:ext>
              </a:extLst>
            </p:cNvPr>
            <p:cNvSpPr/>
            <p:nvPr/>
          </p:nvSpPr>
          <p:spPr>
            <a:xfrm flipV="1">
              <a:off x="2443341" y="2577511"/>
              <a:ext cx="12292" cy="12186"/>
            </a:xfrm>
            <a:custGeom>
              <a:avLst/>
              <a:gdLst>
                <a:gd name="connsiteX0" fmla="*/ -1284 w 12292"/>
                <a:gd name="connsiteY0" fmla="*/ 7534 h 12186"/>
                <a:gd name="connsiteX1" fmla="*/ 7607 w 12292"/>
                <a:gd name="connsiteY1" fmla="*/ -1771 h 12186"/>
                <a:gd name="connsiteX2" fmla="*/ -1284 w 12292"/>
                <a:gd name="connsiteY2" fmla="*/ 7534 h 12186"/>
                <a:gd name="connsiteX3" fmla="*/ -1284 w 12292"/>
                <a:gd name="connsiteY3" fmla="*/ 7534 h 12186"/>
              </a:gdLst>
              <a:ahLst/>
              <a:cxnLst>
                <a:cxn ang="0">
                  <a:pos x="connsiteX0" y="connsiteY0"/>
                </a:cxn>
                <a:cxn ang="0">
                  <a:pos x="connsiteX1" y="connsiteY1"/>
                </a:cxn>
                <a:cxn ang="0">
                  <a:pos x="connsiteX2" y="connsiteY2"/>
                </a:cxn>
                <a:cxn ang="0">
                  <a:pos x="connsiteX3" y="connsiteY3"/>
                </a:cxn>
              </a:cxnLst>
              <a:rect l="l" t="t" r="r" b="b"/>
              <a:pathLst>
                <a:path w="12292" h="12186">
                  <a:moveTo>
                    <a:pt x="-1284" y="7534"/>
                  </a:moveTo>
                  <a:cubicBezTo>
                    <a:pt x="8641" y="11118"/>
                    <a:pt x="11605" y="8017"/>
                    <a:pt x="7607" y="-1771"/>
                  </a:cubicBezTo>
                  <a:cubicBezTo>
                    <a:pt x="-2249" y="-5355"/>
                    <a:pt x="-5213" y="-2253"/>
                    <a:pt x="-1284" y="7534"/>
                  </a:cubicBezTo>
                  <a:lnTo>
                    <a:pt x="-1284" y="7534"/>
                  </a:lnTo>
                </a:path>
              </a:pathLst>
            </a:custGeom>
            <a:grpFill/>
            <a:ln w="689" cap="flat">
              <a:noFill/>
              <a:prstDash val="solid"/>
              <a:miter/>
            </a:ln>
          </p:spPr>
          <p:txBody>
            <a:bodyPr rtlCol="0" anchor="ctr"/>
            <a:lstStyle/>
            <a:p>
              <a:endParaRPr lang="en-US" sz="2400" dirty="0"/>
            </a:p>
          </p:txBody>
        </p:sp>
        <p:sp>
          <p:nvSpPr>
            <p:cNvPr id="406" name="Graphic 8">
              <a:extLst>
                <a:ext uri="{FF2B5EF4-FFF2-40B4-BE49-F238E27FC236}">
                  <a16:creationId xmlns:a16="http://schemas.microsoft.com/office/drawing/2014/main" id="{CE37B169-D1AC-4F86-86B2-A20607B94F28}"/>
                </a:ext>
              </a:extLst>
            </p:cNvPr>
            <p:cNvSpPr/>
            <p:nvPr/>
          </p:nvSpPr>
          <p:spPr>
            <a:xfrm flipV="1">
              <a:off x="7866097" y="2585776"/>
              <a:ext cx="15845" cy="20220"/>
            </a:xfrm>
            <a:custGeom>
              <a:avLst/>
              <a:gdLst>
                <a:gd name="connsiteX0" fmla="*/ -6769 w 15845"/>
                <a:gd name="connsiteY0" fmla="*/ 15444 h 20220"/>
                <a:gd name="connsiteX1" fmla="*/ 3294 w 15845"/>
                <a:gd name="connsiteY1" fmla="*/ -1374 h 20220"/>
                <a:gd name="connsiteX2" fmla="*/ -6769 w 15845"/>
                <a:gd name="connsiteY2" fmla="*/ 15444 h 20220"/>
                <a:gd name="connsiteX3" fmla="*/ -6769 w 15845"/>
                <a:gd name="connsiteY3" fmla="*/ 15444 h 20220"/>
              </a:gdLst>
              <a:ahLst/>
              <a:cxnLst>
                <a:cxn ang="0">
                  <a:pos x="connsiteX0" y="connsiteY0"/>
                </a:cxn>
                <a:cxn ang="0">
                  <a:pos x="connsiteX1" y="connsiteY1"/>
                </a:cxn>
                <a:cxn ang="0">
                  <a:pos x="connsiteX2" y="connsiteY2"/>
                </a:cxn>
                <a:cxn ang="0">
                  <a:pos x="connsiteX3" y="connsiteY3"/>
                </a:cxn>
              </a:cxnLst>
              <a:rect l="l" t="t" r="r" b="b"/>
              <a:pathLst>
                <a:path w="15845" h="20220">
                  <a:moveTo>
                    <a:pt x="-6769" y="15444"/>
                  </a:moveTo>
                  <a:cubicBezTo>
                    <a:pt x="2674" y="22336"/>
                    <a:pt x="10393" y="4898"/>
                    <a:pt x="3294" y="-1374"/>
                  </a:cubicBezTo>
                  <a:cubicBezTo>
                    <a:pt x="-6562" y="-8956"/>
                    <a:pt x="-14282" y="9241"/>
                    <a:pt x="-6769" y="15444"/>
                  </a:cubicBezTo>
                  <a:lnTo>
                    <a:pt x="-6769" y="15444"/>
                  </a:lnTo>
                </a:path>
              </a:pathLst>
            </a:custGeom>
            <a:grpFill/>
            <a:ln w="689" cap="flat">
              <a:noFill/>
              <a:prstDash val="solid"/>
              <a:miter/>
            </a:ln>
          </p:spPr>
          <p:txBody>
            <a:bodyPr rtlCol="0" anchor="ctr"/>
            <a:lstStyle/>
            <a:p>
              <a:endParaRPr lang="en-US" sz="2400" dirty="0"/>
            </a:p>
          </p:txBody>
        </p:sp>
        <p:sp>
          <p:nvSpPr>
            <p:cNvPr id="407" name="Graphic 8">
              <a:extLst>
                <a:ext uri="{FF2B5EF4-FFF2-40B4-BE49-F238E27FC236}">
                  <a16:creationId xmlns:a16="http://schemas.microsoft.com/office/drawing/2014/main" id="{8379FF65-AD1C-4320-BDA0-70AB314CA423}"/>
                </a:ext>
              </a:extLst>
            </p:cNvPr>
            <p:cNvSpPr/>
            <p:nvPr/>
          </p:nvSpPr>
          <p:spPr>
            <a:xfrm flipV="1">
              <a:off x="4746896" y="2605336"/>
              <a:ext cx="2410500" cy="635706"/>
            </a:xfrm>
            <a:custGeom>
              <a:avLst/>
              <a:gdLst>
                <a:gd name="connsiteX0" fmla="*/ 2390796 w 2410500"/>
                <a:gd name="connsiteY0" fmla="*/ 18024 h 635706"/>
                <a:gd name="connsiteX1" fmla="*/ 2390796 w 2410500"/>
                <a:gd name="connsiteY1" fmla="*/ 18024 h 635706"/>
                <a:gd name="connsiteX2" fmla="*/ 2361434 w 2410500"/>
                <a:gd name="connsiteY2" fmla="*/ 15681 h 635706"/>
                <a:gd name="connsiteX3" fmla="*/ 2399963 w 2410500"/>
                <a:gd name="connsiteY3" fmla="*/ 25468 h 635706"/>
                <a:gd name="connsiteX4" fmla="*/ 2403133 w 2410500"/>
                <a:gd name="connsiteY4" fmla="*/ 241 h 635706"/>
                <a:gd name="connsiteX5" fmla="*/ 2399274 w 2410500"/>
                <a:gd name="connsiteY5" fmla="*/ -2653 h 635706"/>
                <a:gd name="connsiteX6" fmla="*/ 2383490 w 2410500"/>
                <a:gd name="connsiteY6" fmla="*/ 5618 h 635706"/>
                <a:gd name="connsiteX7" fmla="*/ 2382249 w 2410500"/>
                <a:gd name="connsiteY7" fmla="*/ 13406 h 635706"/>
                <a:gd name="connsiteX8" fmla="*/ 2361434 w 2410500"/>
                <a:gd name="connsiteY8" fmla="*/ 15681 h 635706"/>
                <a:gd name="connsiteX9" fmla="*/ 247929 w 2410500"/>
                <a:gd name="connsiteY9" fmla="*/ 292275 h 635706"/>
                <a:gd name="connsiteX10" fmla="*/ 249859 w 2410500"/>
                <a:gd name="connsiteY10" fmla="*/ 291517 h 635706"/>
                <a:gd name="connsiteX11" fmla="*/ 247998 w 2410500"/>
                <a:gd name="connsiteY11" fmla="*/ 291793 h 635706"/>
                <a:gd name="connsiteX12" fmla="*/ 247929 w 2410500"/>
                <a:gd name="connsiteY12" fmla="*/ 292275 h 635706"/>
                <a:gd name="connsiteX13" fmla="*/ -7368 w 2410500"/>
                <a:gd name="connsiteY13" fmla="*/ 398419 h 635706"/>
                <a:gd name="connsiteX14" fmla="*/ -7368 w 2410500"/>
                <a:gd name="connsiteY14" fmla="*/ 398419 h 635706"/>
                <a:gd name="connsiteX15" fmla="*/ 2314496 w 2410500"/>
                <a:gd name="connsiteY15" fmla="*/ 631246 h 635706"/>
                <a:gd name="connsiteX16" fmla="*/ 2323732 w 2410500"/>
                <a:gd name="connsiteY16" fmla="*/ 622355 h 635706"/>
                <a:gd name="connsiteX17" fmla="*/ 2314496 w 2410500"/>
                <a:gd name="connsiteY17" fmla="*/ 631246 h 63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0500" h="635706">
                  <a:moveTo>
                    <a:pt x="2390796" y="18024"/>
                  </a:moveTo>
                  <a:cubicBezTo>
                    <a:pt x="2394518" y="14509"/>
                    <a:pt x="2394518" y="14509"/>
                    <a:pt x="2390796" y="18024"/>
                  </a:cubicBezTo>
                  <a:close/>
                  <a:moveTo>
                    <a:pt x="2361434" y="15681"/>
                  </a:moveTo>
                  <a:cubicBezTo>
                    <a:pt x="2366052" y="31740"/>
                    <a:pt x="2387556" y="23193"/>
                    <a:pt x="2399963" y="25468"/>
                  </a:cubicBezTo>
                  <a:cubicBezTo>
                    <a:pt x="2400927" y="17128"/>
                    <a:pt x="2401961" y="8719"/>
                    <a:pt x="2403133" y="241"/>
                  </a:cubicBezTo>
                  <a:lnTo>
                    <a:pt x="2399274" y="-2653"/>
                  </a:lnTo>
                  <a:cubicBezTo>
                    <a:pt x="2395345" y="-586"/>
                    <a:pt x="2387418" y="3550"/>
                    <a:pt x="2383490" y="5618"/>
                  </a:cubicBezTo>
                  <a:lnTo>
                    <a:pt x="2382249" y="13406"/>
                  </a:lnTo>
                  <a:cubicBezTo>
                    <a:pt x="2377080" y="13958"/>
                    <a:pt x="2366672" y="15060"/>
                    <a:pt x="2361434" y="15681"/>
                  </a:cubicBezTo>
                  <a:moveTo>
                    <a:pt x="247929" y="292275"/>
                  </a:moveTo>
                  <a:cubicBezTo>
                    <a:pt x="248412" y="292068"/>
                    <a:pt x="249377" y="291724"/>
                    <a:pt x="249859" y="291517"/>
                  </a:cubicBezTo>
                  <a:lnTo>
                    <a:pt x="247998" y="291793"/>
                  </a:lnTo>
                  <a:lnTo>
                    <a:pt x="247929" y="292275"/>
                  </a:lnTo>
                  <a:moveTo>
                    <a:pt x="-7368" y="398419"/>
                  </a:moveTo>
                  <a:cubicBezTo>
                    <a:pt x="-3370" y="394628"/>
                    <a:pt x="-3370" y="394628"/>
                    <a:pt x="-7368" y="398419"/>
                  </a:cubicBezTo>
                  <a:moveTo>
                    <a:pt x="2314496" y="631246"/>
                  </a:moveTo>
                  <a:cubicBezTo>
                    <a:pt x="2323939" y="635382"/>
                    <a:pt x="2327041" y="632418"/>
                    <a:pt x="2323732" y="622355"/>
                  </a:cubicBezTo>
                  <a:cubicBezTo>
                    <a:pt x="2314152" y="618082"/>
                    <a:pt x="2311050" y="621046"/>
                    <a:pt x="2314496" y="631246"/>
                  </a:cubicBezTo>
                </a:path>
              </a:pathLst>
            </a:custGeom>
            <a:grpFill/>
            <a:ln w="689" cap="flat">
              <a:noFill/>
              <a:prstDash val="solid"/>
              <a:miter/>
            </a:ln>
          </p:spPr>
          <p:txBody>
            <a:bodyPr rtlCol="0" anchor="ctr"/>
            <a:lstStyle/>
            <a:p>
              <a:endParaRPr lang="en-US" sz="2400" dirty="0"/>
            </a:p>
          </p:txBody>
        </p:sp>
        <p:sp>
          <p:nvSpPr>
            <p:cNvPr id="408" name="Graphic 8">
              <a:extLst>
                <a:ext uri="{FF2B5EF4-FFF2-40B4-BE49-F238E27FC236}">
                  <a16:creationId xmlns:a16="http://schemas.microsoft.com/office/drawing/2014/main" id="{ED063167-9190-43B2-ABFE-E30D4F393DF1}"/>
                </a:ext>
              </a:extLst>
            </p:cNvPr>
            <p:cNvSpPr/>
            <p:nvPr/>
          </p:nvSpPr>
          <p:spPr>
            <a:xfrm flipV="1">
              <a:off x="3663401" y="2636297"/>
              <a:ext cx="2178661" cy="827414"/>
            </a:xfrm>
            <a:custGeom>
              <a:avLst/>
              <a:gdLst>
                <a:gd name="connsiteX0" fmla="*/ 2164715 w 2178661"/>
                <a:gd name="connsiteY0" fmla="*/ 7248 h 827414"/>
                <a:gd name="connsiteX1" fmla="*/ 2164715 w 2178661"/>
                <a:gd name="connsiteY1" fmla="*/ 7248 h 827414"/>
                <a:gd name="connsiteX2" fmla="*/ -5860 w 2178661"/>
                <a:gd name="connsiteY2" fmla="*/ 817595 h 827414"/>
                <a:gd name="connsiteX3" fmla="*/ 12888 w 2178661"/>
                <a:gd name="connsiteY3" fmla="*/ 824970 h 827414"/>
                <a:gd name="connsiteX4" fmla="*/ 13026 w 2178661"/>
                <a:gd name="connsiteY4" fmla="*/ 812564 h 827414"/>
                <a:gd name="connsiteX5" fmla="*/ 30188 w 2178661"/>
                <a:gd name="connsiteY5" fmla="*/ 822971 h 827414"/>
                <a:gd name="connsiteX6" fmla="*/ 39769 w 2178661"/>
                <a:gd name="connsiteY6" fmla="*/ 761766 h 827414"/>
                <a:gd name="connsiteX7" fmla="*/ 38666 w 2178661"/>
                <a:gd name="connsiteY7" fmla="*/ 762111 h 827414"/>
                <a:gd name="connsiteX8" fmla="*/ 31360 w 2178661"/>
                <a:gd name="connsiteY8" fmla="*/ 786855 h 827414"/>
                <a:gd name="connsiteX9" fmla="*/ 17782 w 2178661"/>
                <a:gd name="connsiteY9" fmla="*/ 751221 h 827414"/>
                <a:gd name="connsiteX10" fmla="*/ 9649 w 2178661"/>
                <a:gd name="connsiteY10" fmla="*/ 818629 h 827414"/>
                <a:gd name="connsiteX11" fmla="*/ -5860 w 2178661"/>
                <a:gd name="connsiteY11" fmla="*/ 817595 h 827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78661" h="827414">
                  <a:moveTo>
                    <a:pt x="2164715" y="7248"/>
                  </a:moveTo>
                  <a:cubicBezTo>
                    <a:pt x="2187322" y="5456"/>
                    <a:pt x="2154238" y="-13636"/>
                    <a:pt x="2164715" y="7248"/>
                  </a:cubicBezTo>
                  <a:close/>
                  <a:moveTo>
                    <a:pt x="-5860" y="817595"/>
                  </a:moveTo>
                  <a:cubicBezTo>
                    <a:pt x="344" y="820076"/>
                    <a:pt x="6547" y="822489"/>
                    <a:pt x="12888" y="824970"/>
                  </a:cubicBezTo>
                  <a:cubicBezTo>
                    <a:pt x="12888" y="821868"/>
                    <a:pt x="13026" y="815665"/>
                    <a:pt x="13026" y="812564"/>
                  </a:cubicBezTo>
                  <a:cubicBezTo>
                    <a:pt x="17368" y="815183"/>
                    <a:pt x="25915" y="820352"/>
                    <a:pt x="30188" y="822971"/>
                  </a:cubicBezTo>
                  <a:cubicBezTo>
                    <a:pt x="42388" y="804706"/>
                    <a:pt x="41629" y="782788"/>
                    <a:pt x="39769" y="761766"/>
                  </a:cubicBezTo>
                  <a:lnTo>
                    <a:pt x="38666" y="762111"/>
                  </a:lnTo>
                  <a:cubicBezTo>
                    <a:pt x="38252" y="771140"/>
                    <a:pt x="35771" y="779411"/>
                    <a:pt x="31360" y="786855"/>
                  </a:cubicBezTo>
                  <a:cubicBezTo>
                    <a:pt x="28947" y="774310"/>
                    <a:pt x="27086" y="760801"/>
                    <a:pt x="17782" y="751221"/>
                  </a:cubicBezTo>
                  <a:cubicBezTo>
                    <a:pt x="14129" y="773552"/>
                    <a:pt x="11441" y="796091"/>
                    <a:pt x="9649" y="818629"/>
                  </a:cubicBezTo>
                  <a:cubicBezTo>
                    <a:pt x="5789" y="818353"/>
                    <a:pt x="-1931" y="817871"/>
                    <a:pt x="-5860" y="817595"/>
                  </a:cubicBezTo>
                </a:path>
              </a:pathLst>
            </a:custGeom>
            <a:grpFill/>
            <a:ln w="689" cap="flat">
              <a:noFill/>
              <a:prstDash val="solid"/>
              <a:miter/>
            </a:ln>
          </p:spPr>
          <p:txBody>
            <a:bodyPr rtlCol="0" anchor="ctr"/>
            <a:lstStyle/>
            <a:p>
              <a:endParaRPr lang="en-US" sz="2400" dirty="0"/>
            </a:p>
          </p:txBody>
        </p:sp>
        <p:sp>
          <p:nvSpPr>
            <p:cNvPr id="409" name="Graphic 8">
              <a:extLst>
                <a:ext uri="{FF2B5EF4-FFF2-40B4-BE49-F238E27FC236}">
                  <a16:creationId xmlns:a16="http://schemas.microsoft.com/office/drawing/2014/main" id="{64D0A87D-B3D9-4E03-8D99-C229E918E9AB}"/>
                </a:ext>
              </a:extLst>
            </p:cNvPr>
            <p:cNvSpPr/>
            <p:nvPr/>
          </p:nvSpPr>
          <p:spPr>
            <a:xfrm flipV="1">
              <a:off x="4592823" y="2648704"/>
              <a:ext cx="3744363" cy="378878"/>
            </a:xfrm>
            <a:custGeom>
              <a:avLst/>
              <a:gdLst>
                <a:gd name="connsiteX0" fmla="*/ -7435 w 3744363"/>
                <a:gd name="connsiteY0" fmla="*/ -2793 h 378878"/>
                <a:gd name="connsiteX1" fmla="*/ 5936 w 3744363"/>
                <a:gd name="connsiteY1" fmla="*/ 31669 h 378878"/>
                <a:gd name="connsiteX2" fmla="*/ -7435 w 3744363"/>
                <a:gd name="connsiteY2" fmla="*/ -2793 h 378878"/>
                <a:gd name="connsiteX3" fmla="*/ 3728349 w 3744363"/>
                <a:gd name="connsiteY3" fmla="*/ 376086 h 378878"/>
                <a:gd name="connsiteX4" fmla="*/ 3728349 w 3744363"/>
                <a:gd name="connsiteY4" fmla="*/ 376086 h 378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63" h="378878">
                  <a:moveTo>
                    <a:pt x="-7435" y="-2793"/>
                  </a:moveTo>
                  <a:cubicBezTo>
                    <a:pt x="-9434" y="8097"/>
                    <a:pt x="-6539" y="29739"/>
                    <a:pt x="5936" y="31669"/>
                  </a:cubicBezTo>
                  <a:cubicBezTo>
                    <a:pt x="9107" y="20710"/>
                    <a:pt x="4696" y="-450"/>
                    <a:pt x="-7435" y="-2793"/>
                  </a:cubicBezTo>
                  <a:close/>
                  <a:moveTo>
                    <a:pt x="3728349" y="376086"/>
                  </a:moveTo>
                  <a:cubicBezTo>
                    <a:pt x="3750956" y="374224"/>
                    <a:pt x="3717321" y="355339"/>
                    <a:pt x="3728349" y="376086"/>
                  </a:cubicBezTo>
                </a:path>
              </a:pathLst>
            </a:custGeom>
            <a:grpFill/>
            <a:ln w="689" cap="flat">
              <a:noFill/>
              <a:prstDash val="solid"/>
              <a:miter/>
            </a:ln>
          </p:spPr>
          <p:txBody>
            <a:bodyPr rtlCol="0" anchor="ctr"/>
            <a:lstStyle/>
            <a:p>
              <a:endParaRPr lang="en-US" sz="2400" dirty="0"/>
            </a:p>
          </p:txBody>
        </p:sp>
        <p:sp>
          <p:nvSpPr>
            <p:cNvPr id="410" name="Graphic 8">
              <a:extLst>
                <a:ext uri="{FF2B5EF4-FFF2-40B4-BE49-F238E27FC236}">
                  <a16:creationId xmlns:a16="http://schemas.microsoft.com/office/drawing/2014/main" id="{D1C304DF-849D-4627-84B8-D3E5ECDC6EA1}"/>
                </a:ext>
              </a:extLst>
            </p:cNvPr>
            <p:cNvSpPr/>
            <p:nvPr/>
          </p:nvSpPr>
          <p:spPr>
            <a:xfrm flipV="1">
              <a:off x="8671808" y="2650496"/>
              <a:ext cx="34186" cy="33842"/>
            </a:xfrm>
            <a:custGeom>
              <a:avLst/>
              <a:gdLst>
                <a:gd name="connsiteX0" fmla="*/ -10809 w 34186"/>
                <a:gd name="connsiteY0" fmla="*/ 28011 h 33842"/>
                <a:gd name="connsiteX1" fmla="*/ 11040 w 34186"/>
                <a:gd name="connsiteY1" fmla="*/ 30768 h 33842"/>
                <a:gd name="connsiteX2" fmla="*/ 23377 w 34186"/>
                <a:gd name="connsiteY2" fmla="*/ -3074 h 33842"/>
                <a:gd name="connsiteX3" fmla="*/ -10809 w 34186"/>
                <a:gd name="connsiteY3" fmla="*/ 28011 h 33842"/>
                <a:gd name="connsiteX4" fmla="*/ -10809 w 34186"/>
                <a:gd name="connsiteY4" fmla="*/ 28011 h 338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86" h="33842">
                  <a:moveTo>
                    <a:pt x="-10809" y="28011"/>
                  </a:moveTo>
                  <a:cubicBezTo>
                    <a:pt x="-5364" y="28700"/>
                    <a:pt x="5595" y="30079"/>
                    <a:pt x="11040" y="30768"/>
                  </a:cubicBezTo>
                  <a:cubicBezTo>
                    <a:pt x="14625" y="19327"/>
                    <a:pt x="18967" y="8161"/>
                    <a:pt x="23377" y="-3074"/>
                  </a:cubicBezTo>
                  <a:cubicBezTo>
                    <a:pt x="5182" y="-1902"/>
                    <a:pt x="-2262" y="14915"/>
                    <a:pt x="-10809" y="28011"/>
                  </a:cubicBezTo>
                  <a:lnTo>
                    <a:pt x="-10809" y="28011"/>
                  </a:lnTo>
                </a:path>
              </a:pathLst>
            </a:custGeom>
            <a:grpFill/>
            <a:ln w="689" cap="flat">
              <a:noFill/>
              <a:prstDash val="solid"/>
              <a:miter/>
            </a:ln>
          </p:spPr>
          <p:txBody>
            <a:bodyPr rtlCol="0" anchor="ctr"/>
            <a:lstStyle/>
            <a:p>
              <a:endParaRPr lang="en-US" sz="2400" dirty="0"/>
            </a:p>
          </p:txBody>
        </p:sp>
        <p:sp>
          <p:nvSpPr>
            <p:cNvPr id="411" name="Graphic 8">
              <a:extLst>
                <a:ext uri="{FF2B5EF4-FFF2-40B4-BE49-F238E27FC236}">
                  <a16:creationId xmlns:a16="http://schemas.microsoft.com/office/drawing/2014/main" id="{220CB1AD-5BF7-49A6-B331-9459B2117291}"/>
                </a:ext>
              </a:extLst>
            </p:cNvPr>
            <p:cNvSpPr/>
            <p:nvPr/>
          </p:nvSpPr>
          <p:spPr>
            <a:xfrm flipV="1">
              <a:off x="587748" y="2678617"/>
              <a:ext cx="55101" cy="89257"/>
            </a:xfrm>
            <a:custGeom>
              <a:avLst/>
              <a:gdLst>
                <a:gd name="connsiteX0" fmla="*/ 23632 w 55101"/>
                <a:gd name="connsiteY0" fmla="*/ 41336 h 89257"/>
                <a:gd name="connsiteX1" fmla="*/ 22532 w 55101"/>
                <a:gd name="connsiteY1" fmla="*/ 27965 h 89257"/>
                <a:gd name="connsiteX2" fmla="*/ 23632 w 55101"/>
                <a:gd name="connsiteY2" fmla="*/ 41336 h 89257"/>
                <a:gd name="connsiteX3" fmla="*/ 680 w 55101"/>
                <a:gd name="connsiteY3" fmla="*/ 86275 h 89257"/>
                <a:gd name="connsiteX4" fmla="*/ 9643 w 55101"/>
                <a:gd name="connsiteY4" fmla="*/ 54915 h 89257"/>
                <a:gd name="connsiteX5" fmla="*/ 34178 w 55101"/>
                <a:gd name="connsiteY5" fmla="*/ 65805 h 89257"/>
                <a:gd name="connsiteX6" fmla="*/ 32248 w 55101"/>
                <a:gd name="connsiteY6" fmla="*/ 41957 h 89257"/>
                <a:gd name="connsiteX7" fmla="*/ 49342 w 55101"/>
                <a:gd name="connsiteY7" fmla="*/ 52433 h 89257"/>
                <a:gd name="connsiteX8" fmla="*/ 54444 w 55101"/>
                <a:gd name="connsiteY8" fmla="*/ 23278 h 89257"/>
                <a:gd name="connsiteX9" fmla="*/ 40659 w 55101"/>
                <a:gd name="connsiteY9" fmla="*/ 35891 h 89257"/>
                <a:gd name="connsiteX10" fmla="*/ 36524 w 55101"/>
                <a:gd name="connsiteY10" fmla="*/ 12802 h 89257"/>
                <a:gd name="connsiteX11" fmla="*/ 32663 w 55101"/>
                <a:gd name="connsiteY11" fmla="*/ 6874 h 89257"/>
                <a:gd name="connsiteX12" fmla="*/ 33078 w 55101"/>
                <a:gd name="connsiteY12" fmla="*/ -2982 h 89257"/>
                <a:gd name="connsiteX13" fmla="*/ 5645 w 55101"/>
                <a:gd name="connsiteY13" fmla="*/ -2155 h 89257"/>
                <a:gd name="connsiteX14" fmla="*/ 1370 w 55101"/>
                <a:gd name="connsiteY14" fmla="*/ 15076 h 89257"/>
                <a:gd name="connsiteX15" fmla="*/ 15779 w 55101"/>
                <a:gd name="connsiteY15" fmla="*/ 17902 h 89257"/>
                <a:gd name="connsiteX16" fmla="*/ 680 w 55101"/>
                <a:gd name="connsiteY16" fmla="*/ 19763 h 89257"/>
                <a:gd name="connsiteX17" fmla="*/ 823 w 55101"/>
                <a:gd name="connsiteY17" fmla="*/ 44645 h 89257"/>
                <a:gd name="connsiteX18" fmla="*/ 17912 w 55101"/>
                <a:gd name="connsiteY18" fmla="*/ 38373 h 89257"/>
                <a:gd name="connsiteX19" fmla="*/ 19357 w 55101"/>
                <a:gd name="connsiteY19" fmla="*/ 55535 h 89257"/>
                <a:gd name="connsiteX20" fmla="*/ -421 w 55101"/>
                <a:gd name="connsiteY20" fmla="*/ 46368 h 89257"/>
                <a:gd name="connsiteX21" fmla="*/ 680 w 55101"/>
                <a:gd name="connsiteY21" fmla="*/ 86275 h 8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101" h="89257">
                  <a:moveTo>
                    <a:pt x="23632" y="41336"/>
                  </a:moveTo>
                  <a:cubicBezTo>
                    <a:pt x="13846" y="36305"/>
                    <a:pt x="13501" y="31825"/>
                    <a:pt x="22532" y="27965"/>
                  </a:cubicBezTo>
                  <a:cubicBezTo>
                    <a:pt x="32386" y="33065"/>
                    <a:pt x="32733" y="37546"/>
                    <a:pt x="23632" y="41336"/>
                  </a:cubicBezTo>
                  <a:close/>
                  <a:moveTo>
                    <a:pt x="680" y="86275"/>
                  </a:moveTo>
                  <a:cubicBezTo>
                    <a:pt x="4333" y="76074"/>
                    <a:pt x="7090" y="65529"/>
                    <a:pt x="9643" y="54915"/>
                  </a:cubicBezTo>
                  <a:cubicBezTo>
                    <a:pt x="17844" y="58568"/>
                    <a:pt x="25978" y="62221"/>
                    <a:pt x="34178" y="65805"/>
                  </a:cubicBezTo>
                  <a:cubicBezTo>
                    <a:pt x="33694" y="59808"/>
                    <a:pt x="32733" y="47884"/>
                    <a:pt x="32248" y="41957"/>
                  </a:cubicBezTo>
                  <a:cubicBezTo>
                    <a:pt x="36524" y="44576"/>
                    <a:pt x="45072" y="49814"/>
                    <a:pt x="49342" y="52433"/>
                  </a:cubicBezTo>
                  <a:cubicBezTo>
                    <a:pt x="50925" y="42715"/>
                    <a:pt x="52517" y="32996"/>
                    <a:pt x="54444" y="23278"/>
                  </a:cubicBezTo>
                  <a:cubicBezTo>
                    <a:pt x="50998" y="26449"/>
                    <a:pt x="44106" y="32721"/>
                    <a:pt x="40659" y="35891"/>
                  </a:cubicBezTo>
                  <a:cubicBezTo>
                    <a:pt x="39626" y="30102"/>
                    <a:pt x="37555" y="18522"/>
                    <a:pt x="36524" y="12802"/>
                  </a:cubicBezTo>
                  <a:cubicBezTo>
                    <a:pt x="35557" y="11285"/>
                    <a:pt x="33626" y="8322"/>
                    <a:pt x="32663" y="6874"/>
                  </a:cubicBezTo>
                  <a:cubicBezTo>
                    <a:pt x="32800" y="4393"/>
                    <a:pt x="32937" y="-501"/>
                    <a:pt x="33078" y="-2982"/>
                  </a:cubicBezTo>
                  <a:cubicBezTo>
                    <a:pt x="23910" y="-2638"/>
                    <a:pt x="14740" y="-2431"/>
                    <a:pt x="5645" y="-2155"/>
                  </a:cubicBezTo>
                  <a:cubicBezTo>
                    <a:pt x="4541" y="2187"/>
                    <a:pt x="2473" y="10803"/>
                    <a:pt x="1370" y="15076"/>
                  </a:cubicBezTo>
                  <a:cubicBezTo>
                    <a:pt x="4956" y="15834"/>
                    <a:pt x="12193" y="17213"/>
                    <a:pt x="15779" y="17902"/>
                  </a:cubicBezTo>
                  <a:cubicBezTo>
                    <a:pt x="11985" y="18384"/>
                    <a:pt x="4474" y="19281"/>
                    <a:pt x="680" y="19763"/>
                  </a:cubicBezTo>
                  <a:cubicBezTo>
                    <a:pt x="680" y="25966"/>
                    <a:pt x="823" y="38373"/>
                    <a:pt x="823" y="44645"/>
                  </a:cubicBezTo>
                  <a:cubicBezTo>
                    <a:pt x="5093" y="43060"/>
                    <a:pt x="13641" y="39958"/>
                    <a:pt x="17912" y="38373"/>
                  </a:cubicBezTo>
                  <a:lnTo>
                    <a:pt x="19357" y="55535"/>
                  </a:lnTo>
                  <a:cubicBezTo>
                    <a:pt x="14398" y="53191"/>
                    <a:pt x="4474" y="48643"/>
                    <a:pt x="-421" y="46368"/>
                  </a:cubicBezTo>
                  <a:cubicBezTo>
                    <a:pt x="-836" y="59670"/>
                    <a:pt x="-836" y="73042"/>
                    <a:pt x="680" y="86275"/>
                  </a:cubicBezTo>
                </a:path>
              </a:pathLst>
            </a:custGeom>
            <a:grpFill/>
            <a:ln w="689" cap="flat">
              <a:noFill/>
              <a:prstDash val="solid"/>
              <a:miter/>
            </a:ln>
          </p:spPr>
          <p:txBody>
            <a:bodyPr rtlCol="0" anchor="ctr"/>
            <a:lstStyle/>
            <a:p>
              <a:endParaRPr lang="en-US" sz="2400" dirty="0"/>
            </a:p>
          </p:txBody>
        </p:sp>
        <p:sp>
          <p:nvSpPr>
            <p:cNvPr id="412" name="Graphic 8">
              <a:extLst>
                <a:ext uri="{FF2B5EF4-FFF2-40B4-BE49-F238E27FC236}">
                  <a16:creationId xmlns:a16="http://schemas.microsoft.com/office/drawing/2014/main" id="{9E2389DD-87ED-4F9B-97B6-C9E9DD129E1E}"/>
                </a:ext>
              </a:extLst>
            </p:cNvPr>
            <p:cNvSpPr/>
            <p:nvPr/>
          </p:nvSpPr>
          <p:spPr>
            <a:xfrm flipV="1">
              <a:off x="3092998" y="2710619"/>
              <a:ext cx="18724" cy="17640"/>
            </a:xfrm>
            <a:custGeom>
              <a:avLst/>
              <a:gdLst>
                <a:gd name="connsiteX0" fmla="*/ 9707 w 18724"/>
                <a:gd name="connsiteY0" fmla="*/ 14604 h 17640"/>
                <a:gd name="connsiteX1" fmla="*/ -1941 w 18724"/>
                <a:gd name="connsiteY1" fmla="*/ -352 h 17640"/>
                <a:gd name="connsiteX2" fmla="*/ 9707 w 18724"/>
                <a:gd name="connsiteY2" fmla="*/ 14604 h 17640"/>
                <a:gd name="connsiteX3" fmla="*/ 9707 w 18724"/>
                <a:gd name="connsiteY3" fmla="*/ 14604 h 17640"/>
              </a:gdLst>
              <a:ahLst/>
              <a:cxnLst>
                <a:cxn ang="0">
                  <a:pos x="connsiteX0" y="connsiteY0"/>
                </a:cxn>
                <a:cxn ang="0">
                  <a:pos x="connsiteX1" y="connsiteY1"/>
                </a:cxn>
                <a:cxn ang="0">
                  <a:pos x="connsiteX2" y="connsiteY2"/>
                </a:cxn>
                <a:cxn ang="0">
                  <a:pos x="connsiteX3" y="connsiteY3"/>
                </a:cxn>
              </a:cxnLst>
              <a:rect l="l" t="t" r="r" b="b"/>
              <a:pathLst>
                <a:path w="18724" h="17640">
                  <a:moveTo>
                    <a:pt x="9707" y="14604"/>
                  </a:moveTo>
                  <a:cubicBezTo>
                    <a:pt x="23354" y="10745"/>
                    <a:pt x="7019" y="-10277"/>
                    <a:pt x="-1941" y="-352"/>
                  </a:cubicBezTo>
                  <a:cubicBezTo>
                    <a:pt x="-8076" y="6954"/>
                    <a:pt x="2470" y="15362"/>
                    <a:pt x="9707" y="14604"/>
                  </a:cubicBezTo>
                  <a:lnTo>
                    <a:pt x="9707" y="14604"/>
                  </a:lnTo>
                </a:path>
              </a:pathLst>
            </a:custGeom>
            <a:grpFill/>
            <a:ln w="689" cap="flat">
              <a:noFill/>
              <a:prstDash val="solid"/>
              <a:miter/>
            </a:ln>
          </p:spPr>
          <p:txBody>
            <a:bodyPr rtlCol="0" anchor="ctr"/>
            <a:lstStyle/>
            <a:p>
              <a:endParaRPr lang="en-US" sz="2400" dirty="0"/>
            </a:p>
          </p:txBody>
        </p:sp>
        <p:sp>
          <p:nvSpPr>
            <p:cNvPr id="413" name="Graphic 8">
              <a:extLst>
                <a:ext uri="{FF2B5EF4-FFF2-40B4-BE49-F238E27FC236}">
                  <a16:creationId xmlns:a16="http://schemas.microsoft.com/office/drawing/2014/main" id="{2541AD03-DF44-4491-8A37-74CB4BB441BD}"/>
                </a:ext>
              </a:extLst>
            </p:cNvPr>
            <p:cNvSpPr/>
            <p:nvPr/>
          </p:nvSpPr>
          <p:spPr>
            <a:xfrm flipV="1">
              <a:off x="6904305" y="2710323"/>
              <a:ext cx="1804679" cy="543470"/>
            </a:xfrm>
            <a:custGeom>
              <a:avLst/>
              <a:gdLst>
                <a:gd name="connsiteX0" fmla="*/ 1788751 w 1804679"/>
                <a:gd name="connsiteY0" fmla="*/ 11573 h 543470"/>
                <a:gd name="connsiteX1" fmla="*/ 1787855 w 1804679"/>
                <a:gd name="connsiteY1" fmla="*/ -2557 h 543470"/>
                <a:gd name="connsiteX2" fmla="*/ 1788751 w 1804679"/>
                <a:gd name="connsiteY2" fmla="*/ 11573 h 543470"/>
                <a:gd name="connsiteX3" fmla="*/ -9700 w 1804679"/>
                <a:gd name="connsiteY3" fmla="*/ 540914 h 543470"/>
                <a:gd name="connsiteX4" fmla="*/ -9700 w 1804679"/>
                <a:gd name="connsiteY4" fmla="*/ 540914 h 543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4679" h="543470">
                  <a:moveTo>
                    <a:pt x="1788751" y="11573"/>
                  </a:moveTo>
                  <a:cubicBezTo>
                    <a:pt x="1797367" y="7506"/>
                    <a:pt x="1797022" y="2820"/>
                    <a:pt x="1787855" y="-2557"/>
                  </a:cubicBezTo>
                  <a:cubicBezTo>
                    <a:pt x="1779032" y="1510"/>
                    <a:pt x="1779308" y="6266"/>
                    <a:pt x="1788751" y="11573"/>
                  </a:cubicBezTo>
                  <a:close/>
                  <a:moveTo>
                    <a:pt x="-9700" y="540914"/>
                  </a:moveTo>
                  <a:cubicBezTo>
                    <a:pt x="-6046" y="537537"/>
                    <a:pt x="-6046" y="537537"/>
                    <a:pt x="-9700" y="540914"/>
                  </a:cubicBezTo>
                </a:path>
              </a:pathLst>
            </a:custGeom>
            <a:grpFill/>
            <a:ln w="689" cap="flat">
              <a:noFill/>
              <a:prstDash val="solid"/>
              <a:miter/>
            </a:ln>
          </p:spPr>
          <p:txBody>
            <a:bodyPr rtlCol="0" anchor="ctr"/>
            <a:lstStyle/>
            <a:p>
              <a:endParaRPr lang="en-US" sz="2400" dirty="0"/>
            </a:p>
          </p:txBody>
        </p:sp>
        <p:sp>
          <p:nvSpPr>
            <p:cNvPr id="414" name="Graphic 8">
              <a:extLst>
                <a:ext uri="{FF2B5EF4-FFF2-40B4-BE49-F238E27FC236}">
                  <a16:creationId xmlns:a16="http://schemas.microsoft.com/office/drawing/2014/main" id="{1951B13D-1061-47FE-8532-CC024D3965CF}"/>
                </a:ext>
              </a:extLst>
            </p:cNvPr>
            <p:cNvSpPr/>
            <p:nvPr/>
          </p:nvSpPr>
          <p:spPr>
            <a:xfrm flipV="1">
              <a:off x="5015516" y="2715867"/>
              <a:ext cx="12095" cy="12269"/>
            </a:xfrm>
            <a:custGeom>
              <a:avLst/>
              <a:gdLst>
                <a:gd name="connsiteX0" fmla="*/ -5323 w 12095"/>
                <a:gd name="connsiteY0" fmla="*/ 8558 h 12269"/>
                <a:gd name="connsiteX1" fmla="*/ 5085 w 12095"/>
                <a:gd name="connsiteY1" fmla="*/ -2264 h 12269"/>
                <a:gd name="connsiteX2" fmla="*/ -5323 w 12095"/>
                <a:gd name="connsiteY2" fmla="*/ 8558 h 12269"/>
                <a:gd name="connsiteX3" fmla="*/ -5323 w 12095"/>
                <a:gd name="connsiteY3" fmla="*/ 8558 h 12269"/>
              </a:gdLst>
              <a:ahLst/>
              <a:cxnLst>
                <a:cxn ang="0">
                  <a:pos x="connsiteX0" y="connsiteY0"/>
                </a:cxn>
                <a:cxn ang="0">
                  <a:pos x="connsiteX1" y="connsiteY1"/>
                </a:cxn>
                <a:cxn ang="0">
                  <a:pos x="connsiteX2" y="connsiteY2"/>
                </a:cxn>
                <a:cxn ang="0">
                  <a:pos x="connsiteX3" y="connsiteY3"/>
                </a:cxn>
              </a:cxnLst>
              <a:rect l="l" t="t" r="r" b="b"/>
              <a:pathLst>
                <a:path w="12095" h="12269">
                  <a:moveTo>
                    <a:pt x="-5323" y="8558"/>
                  </a:moveTo>
                  <a:cubicBezTo>
                    <a:pt x="4189" y="10970"/>
                    <a:pt x="7635" y="7386"/>
                    <a:pt x="5085" y="-2264"/>
                  </a:cubicBezTo>
                  <a:cubicBezTo>
                    <a:pt x="-4495" y="-4676"/>
                    <a:pt x="-8011" y="-1023"/>
                    <a:pt x="-5323" y="8558"/>
                  </a:cubicBezTo>
                  <a:lnTo>
                    <a:pt x="-5323" y="8558"/>
                  </a:lnTo>
                </a:path>
              </a:pathLst>
            </a:custGeom>
            <a:grpFill/>
            <a:ln w="689" cap="flat">
              <a:noFill/>
              <a:prstDash val="solid"/>
              <a:miter/>
            </a:ln>
          </p:spPr>
          <p:txBody>
            <a:bodyPr rtlCol="0" anchor="ctr"/>
            <a:lstStyle/>
            <a:p>
              <a:endParaRPr lang="en-US" sz="2400" dirty="0"/>
            </a:p>
          </p:txBody>
        </p:sp>
        <p:sp>
          <p:nvSpPr>
            <p:cNvPr id="415" name="Graphic 8">
              <a:extLst>
                <a:ext uri="{FF2B5EF4-FFF2-40B4-BE49-F238E27FC236}">
                  <a16:creationId xmlns:a16="http://schemas.microsoft.com/office/drawing/2014/main" id="{8E1D6B0B-C015-4559-A274-EE41E2B84116}"/>
                </a:ext>
              </a:extLst>
            </p:cNvPr>
            <p:cNvSpPr/>
            <p:nvPr/>
          </p:nvSpPr>
          <p:spPr>
            <a:xfrm flipV="1">
              <a:off x="5570983" y="2715699"/>
              <a:ext cx="10251" cy="9685"/>
            </a:xfrm>
            <a:custGeom>
              <a:avLst/>
              <a:gdLst>
                <a:gd name="connsiteX0" fmla="*/ -4576 w 10251"/>
                <a:gd name="connsiteY0" fmla="*/ 6699 h 9685"/>
                <a:gd name="connsiteX1" fmla="*/ -4576 w 10251"/>
                <a:gd name="connsiteY1" fmla="*/ 6699 h 9685"/>
                <a:gd name="connsiteX2" fmla="*/ -4576 w 10251"/>
                <a:gd name="connsiteY2" fmla="*/ 6699 h 9685"/>
              </a:gdLst>
              <a:ahLst/>
              <a:cxnLst>
                <a:cxn ang="0">
                  <a:pos x="connsiteX0" y="connsiteY0"/>
                </a:cxn>
                <a:cxn ang="0">
                  <a:pos x="connsiteX1" y="connsiteY1"/>
                </a:cxn>
                <a:cxn ang="0">
                  <a:pos x="connsiteX2" y="connsiteY2"/>
                </a:cxn>
              </a:cxnLst>
              <a:rect l="l" t="t" r="r" b="b"/>
              <a:pathLst>
                <a:path w="10251" h="9685">
                  <a:moveTo>
                    <a:pt x="-4576" y="6699"/>
                  </a:moveTo>
                  <a:cubicBezTo>
                    <a:pt x="17893" y="4425"/>
                    <a:pt x="-15673" y="-13909"/>
                    <a:pt x="-4576" y="6699"/>
                  </a:cubicBezTo>
                  <a:lnTo>
                    <a:pt x="-4576" y="6699"/>
                  </a:lnTo>
                </a:path>
              </a:pathLst>
            </a:custGeom>
            <a:grpFill/>
            <a:ln w="689" cap="flat">
              <a:noFill/>
              <a:prstDash val="solid"/>
              <a:miter/>
            </a:ln>
          </p:spPr>
          <p:txBody>
            <a:bodyPr rtlCol="0" anchor="ctr"/>
            <a:lstStyle/>
            <a:p>
              <a:endParaRPr lang="en-US" sz="2400" dirty="0"/>
            </a:p>
          </p:txBody>
        </p:sp>
        <p:sp>
          <p:nvSpPr>
            <p:cNvPr id="416" name="Graphic 8">
              <a:extLst>
                <a:ext uri="{FF2B5EF4-FFF2-40B4-BE49-F238E27FC236}">
                  <a16:creationId xmlns:a16="http://schemas.microsoft.com/office/drawing/2014/main" id="{B317CC1B-35CD-4F9F-8BFC-4C1429F2D5E9}"/>
                </a:ext>
              </a:extLst>
            </p:cNvPr>
            <p:cNvSpPr/>
            <p:nvPr/>
          </p:nvSpPr>
          <p:spPr>
            <a:xfrm flipV="1">
              <a:off x="604420" y="2723556"/>
              <a:ext cx="14185" cy="13371"/>
            </a:xfrm>
            <a:custGeom>
              <a:avLst/>
              <a:gdLst>
                <a:gd name="connsiteX0" fmla="*/ 6965 w 14185"/>
                <a:gd name="connsiteY0" fmla="*/ 10401 h 13371"/>
                <a:gd name="connsiteX1" fmla="*/ 5864 w 14185"/>
                <a:gd name="connsiteY1" fmla="*/ -2971 h 13371"/>
                <a:gd name="connsiteX2" fmla="*/ 6965 w 14185"/>
                <a:gd name="connsiteY2" fmla="*/ 10401 h 13371"/>
                <a:gd name="connsiteX3" fmla="*/ 6965 w 14185"/>
                <a:gd name="connsiteY3" fmla="*/ 10401 h 13371"/>
              </a:gdLst>
              <a:ahLst/>
              <a:cxnLst>
                <a:cxn ang="0">
                  <a:pos x="connsiteX0" y="connsiteY0"/>
                </a:cxn>
                <a:cxn ang="0">
                  <a:pos x="connsiteX1" y="connsiteY1"/>
                </a:cxn>
                <a:cxn ang="0">
                  <a:pos x="connsiteX2" y="connsiteY2"/>
                </a:cxn>
                <a:cxn ang="0">
                  <a:pos x="connsiteX3" y="connsiteY3"/>
                </a:cxn>
              </a:cxnLst>
              <a:rect l="l" t="t" r="r" b="b"/>
              <a:pathLst>
                <a:path w="14185" h="13371">
                  <a:moveTo>
                    <a:pt x="6965" y="10401"/>
                  </a:moveTo>
                  <a:cubicBezTo>
                    <a:pt x="16066" y="6610"/>
                    <a:pt x="15718" y="2130"/>
                    <a:pt x="5864" y="-2971"/>
                  </a:cubicBezTo>
                  <a:cubicBezTo>
                    <a:pt x="-3166" y="889"/>
                    <a:pt x="-2822" y="5369"/>
                    <a:pt x="6965" y="10401"/>
                  </a:cubicBezTo>
                  <a:lnTo>
                    <a:pt x="6965" y="10401"/>
                  </a:lnTo>
                </a:path>
              </a:pathLst>
            </a:custGeom>
            <a:grpFill/>
            <a:ln w="689" cap="flat">
              <a:noFill/>
              <a:prstDash val="solid"/>
              <a:miter/>
            </a:ln>
          </p:spPr>
          <p:txBody>
            <a:bodyPr rtlCol="0" anchor="ctr"/>
            <a:lstStyle/>
            <a:p>
              <a:endParaRPr lang="en-US" sz="2400" dirty="0"/>
            </a:p>
          </p:txBody>
        </p:sp>
        <p:sp>
          <p:nvSpPr>
            <p:cNvPr id="417" name="Graphic 8">
              <a:extLst>
                <a:ext uri="{FF2B5EF4-FFF2-40B4-BE49-F238E27FC236}">
                  <a16:creationId xmlns:a16="http://schemas.microsoft.com/office/drawing/2014/main" id="{6916BDCE-2644-4675-B5AD-FE0FC37596C2}"/>
                </a:ext>
              </a:extLst>
            </p:cNvPr>
            <p:cNvSpPr/>
            <p:nvPr/>
          </p:nvSpPr>
          <p:spPr>
            <a:xfrm flipV="1">
              <a:off x="1105746" y="2724866"/>
              <a:ext cx="5787462" cy="1057579"/>
            </a:xfrm>
            <a:custGeom>
              <a:avLst/>
              <a:gdLst>
                <a:gd name="connsiteX0" fmla="*/ -4912 w 5787462"/>
                <a:gd name="connsiteY0" fmla="*/ 80393 h 1057579"/>
                <a:gd name="connsiteX1" fmla="*/ 70491 w 5787462"/>
                <a:gd name="connsiteY1" fmla="*/ 85217 h 1057579"/>
                <a:gd name="connsiteX2" fmla="*/ 64012 w 5787462"/>
                <a:gd name="connsiteY2" fmla="*/ 71846 h 1057579"/>
                <a:gd name="connsiteX3" fmla="*/ 75867 w 5787462"/>
                <a:gd name="connsiteY3" fmla="*/ 64540 h 1057579"/>
                <a:gd name="connsiteX4" fmla="*/ 83587 w 5787462"/>
                <a:gd name="connsiteY4" fmla="*/ -2110 h 1057579"/>
                <a:gd name="connsiteX5" fmla="*/ 64771 w 5787462"/>
                <a:gd name="connsiteY5" fmla="*/ 992 h 1057579"/>
                <a:gd name="connsiteX6" fmla="*/ 67734 w 5787462"/>
                <a:gd name="connsiteY6" fmla="*/ 33111 h 1057579"/>
                <a:gd name="connsiteX7" fmla="*/ 32031 w 5787462"/>
                <a:gd name="connsiteY7" fmla="*/ 84184 h 1057579"/>
                <a:gd name="connsiteX8" fmla="*/ 18729 w 5787462"/>
                <a:gd name="connsiteY8" fmla="*/ 35936 h 1057579"/>
                <a:gd name="connsiteX9" fmla="*/ 22589 w 5787462"/>
                <a:gd name="connsiteY9" fmla="*/ 79773 h 1057579"/>
                <a:gd name="connsiteX10" fmla="*/ -4912 w 5787462"/>
                <a:gd name="connsiteY10" fmla="*/ 80393 h 1057579"/>
                <a:gd name="connsiteX11" fmla="*/ 5779656 w 5787462"/>
                <a:gd name="connsiteY11" fmla="*/ 1055470 h 1057579"/>
                <a:gd name="connsiteX12" fmla="*/ 5779656 w 5787462"/>
                <a:gd name="connsiteY12" fmla="*/ 1055470 h 1057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87462" h="1057579">
                  <a:moveTo>
                    <a:pt x="-4912" y="80393"/>
                  </a:moveTo>
                  <a:cubicBezTo>
                    <a:pt x="19694" y="86596"/>
                    <a:pt x="45265" y="86803"/>
                    <a:pt x="70491" y="85217"/>
                  </a:cubicBezTo>
                  <a:cubicBezTo>
                    <a:pt x="68837" y="81840"/>
                    <a:pt x="65598" y="75155"/>
                    <a:pt x="64012" y="71846"/>
                  </a:cubicBezTo>
                  <a:cubicBezTo>
                    <a:pt x="66976" y="70054"/>
                    <a:pt x="72904" y="66401"/>
                    <a:pt x="75867" y="64540"/>
                  </a:cubicBezTo>
                  <a:cubicBezTo>
                    <a:pt x="75798" y="42140"/>
                    <a:pt x="80899" y="20153"/>
                    <a:pt x="83587" y="-2110"/>
                  </a:cubicBezTo>
                  <a:cubicBezTo>
                    <a:pt x="78900" y="-1283"/>
                    <a:pt x="69457" y="233"/>
                    <a:pt x="64771" y="992"/>
                  </a:cubicBezTo>
                  <a:cubicBezTo>
                    <a:pt x="65735" y="11744"/>
                    <a:pt x="66631" y="22427"/>
                    <a:pt x="67734" y="33111"/>
                  </a:cubicBezTo>
                  <a:cubicBezTo>
                    <a:pt x="60153" y="53030"/>
                    <a:pt x="55535" y="77567"/>
                    <a:pt x="32031" y="84184"/>
                  </a:cubicBezTo>
                  <a:cubicBezTo>
                    <a:pt x="29136" y="67986"/>
                    <a:pt x="35546" y="46551"/>
                    <a:pt x="18729" y="35936"/>
                  </a:cubicBezTo>
                  <a:cubicBezTo>
                    <a:pt x="19694" y="50617"/>
                    <a:pt x="21072" y="65161"/>
                    <a:pt x="22589" y="79773"/>
                  </a:cubicBezTo>
                  <a:cubicBezTo>
                    <a:pt x="13422" y="80117"/>
                    <a:pt x="4255" y="80324"/>
                    <a:pt x="-4912" y="80393"/>
                  </a:cubicBezTo>
                  <a:close/>
                  <a:moveTo>
                    <a:pt x="5779656" y="1055470"/>
                  </a:moveTo>
                  <a:cubicBezTo>
                    <a:pt x="5783516" y="1051817"/>
                    <a:pt x="5783516" y="1051817"/>
                    <a:pt x="5779656" y="1055470"/>
                  </a:cubicBezTo>
                </a:path>
              </a:pathLst>
            </a:custGeom>
            <a:grpFill/>
            <a:ln w="689" cap="flat">
              <a:noFill/>
              <a:prstDash val="solid"/>
              <a:miter/>
            </a:ln>
          </p:spPr>
          <p:txBody>
            <a:bodyPr rtlCol="0" anchor="ctr"/>
            <a:lstStyle/>
            <a:p>
              <a:endParaRPr lang="en-US" sz="2400" dirty="0"/>
            </a:p>
          </p:txBody>
        </p:sp>
        <p:sp>
          <p:nvSpPr>
            <p:cNvPr id="418" name="Graphic 8">
              <a:extLst>
                <a:ext uri="{FF2B5EF4-FFF2-40B4-BE49-F238E27FC236}">
                  <a16:creationId xmlns:a16="http://schemas.microsoft.com/office/drawing/2014/main" id="{72A4D489-8DAF-4F5C-B198-10BBB71E1DF9}"/>
                </a:ext>
              </a:extLst>
            </p:cNvPr>
            <p:cNvSpPr/>
            <p:nvPr/>
          </p:nvSpPr>
          <p:spPr>
            <a:xfrm flipV="1">
              <a:off x="7896836" y="2735965"/>
              <a:ext cx="12093" cy="12268"/>
            </a:xfrm>
            <a:custGeom>
              <a:avLst/>
              <a:gdLst>
                <a:gd name="connsiteX0" fmla="*/ -8734 w 12093"/>
                <a:gd name="connsiteY0" fmla="*/ 8631 h 12268"/>
                <a:gd name="connsiteX1" fmla="*/ 1261 w 12093"/>
                <a:gd name="connsiteY1" fmla="*/ -2328 h 12268"/>
                <a:gd name="connsiteX2" fmla="*/ -8734 w 12093"/>
                <a:gd name="connsiteY2" fmla="*/ 8631 h 12268"/>
                <a:gd name="connsiteX3" fmla="*/ -8734 w 12093"/>
                <a:gd name="connsiteY3" fmla="*/ 8631 h 12268"/>
              </a:gdLst>
              <a:ahLst/>
              <a:cxnLst>
                <a:cxn ang="0">
                  <a:pos x="connsiteX0" y="connsiteY0"/>
                </a:cxn>
                <a:cxn ang="0">
                  <a:pos x="connsiteX1" y="connsiteY1"/>
                </a:cxn>
                <a:cxn ang="0">
                  <a:pos x="connsiteX2" y="connsiteY2"/>
                </a:cxn>
                <a:cxn ang="0">
                  <a:pos x="connsiteX3" y="connsiteY3"/>
                </a:cxn>
              </a:cxnLst>
              <a:rect l="l" t="t" r="r" b="b"/>
              <a:pathLst>
                <a:path w="12093" h="12268">
                  <a:moveTo>
                    <a:pt x="-8734" y="8631"/>
                  </a:moveTo>
                  <a:cubicBezTo>
                    <a:pt x="847" y="10974"/>
                    <a:pt x="4156" y="7321"/>
                    <a:pt x="1261" y="-2328"/>
                  </a:cubicBezTo>
                  <a:cubicBezTo>
                    <a:pt x="-8458" y="-4534"/>
                    <a:pt x="-11766" y="-881"/>
                    <a:pt x="-8734" y="8631"/>
                  </a:cubicBezTo>
                  <a:lnTo>
                    <a:pt x="-8734" y="8631"/>
                  </a:lnTo>
                </a:path>
              </a:pathLst>
            </a:custGeom>
            <a:grpFill/>
            <a:ln w="689" cap="flat">
              <a:noFill/>
              <a:prstDash val="solid"/>
              <a:miter/>
            </a:ln>
          </p:spPr>
          <p:txBody>
            <a:bodyPr rtlCol="0" anchor="ctr"/>
            <a:lstStyle/>
            <a:p>
              <a:endParaRPr lang="en-US" sz="2400" dirty="0"/>
            </a:p>
          </p:txBody>
        </p:sp>
        <p:sp>
          <p:nvSpPr>
            <p:cNvPr id="419" name="Graphic 8">
              <a:extLst>
                <a:ext uri="{FF2B5EF4-FFF2-40B4-BE49-F238E27FC236}">
                  <a16:creationId xmlns:a16="http://schemas.microsoft.com/office/drawing/2014/main" id="{9132C5DF-C128-4301-8A41-8055878CF7B2}"/>
                </a:ext>
              </a:extLst>
            </p:cNvPr>
            <p:cNvSpPr/>
            <p:nvPr/>
          </p:nvSpPr>
          <p:spPr>
            <a:xfrm flipV="1">
              <a:off x="8537956" y="2751402"/>
              <a:ext cx="2636" cy="2894"/>
            </a:xfrm>
            <a:custGeom>
              <a:avLst/>
              <a:gdLst>
                <a:gd name="connsiteX0" fmla="*/ -10621 w 2636"/>
                <a:gd name="connsiteY0" fmla="*/ -39 h 2894"/>
                <a:gd name="connsiteX1" fmla="*/ -10621 w 2636"/>
                <a:gd name="connsiteY1" fmla="*/ -39 h 2894"/>
                <a:gd name="connsiteX2" fmla="*/ -10621 w 2636"/>
                <a:gd name="connsiteY2" fmla="*/ -39 h 2894"/>
              </a:gdLst>
              <a:ahLst/>
              <a:cxnLst>
                <a:cxn ang="0">
                  <a:pos x="connsiteX0" y="connsiteY0"/>
                </a:cxn>
                <a:cxn ang="0">
                  <a:pos x="connsiteX1" y="connsiteY1"/>
                </a:cxn>
                <a:cxn ang="0">
                  <a:pos x="connsiteX2" y="connsiteY2"/>
                </a:cxn>
              </a:cxnLst>
              <a:rect l="l" t="t" r="r" b="b"/>
              <a:pathLst>
                <a:path w="2636" h="2894">
                  <a:moveTo>
                    <a:pt x="-10621" y="-39"/>
                  </a:moveTo>
                  <a:cubicBezTo>
                    <a:pt x="-7105" y="-3898"/>
                    <a:pt x="-7105" y="-3898"/>
                    <a:pt x="-10621" y="-39"/>
                  </a:cubicBezTo>
                  <a:lnTo>
                    <a:pt x="-10621" y="-39"/>
                  </a:lnTo>
                </a:path>
              </a:pathLst>
            </a:custGeom>
            <a:grpFill/>
            <a:ln w="689" cap="flat">
              <a:noFill/>
              <a:prstDash val="solid"/>
              <a:miter/>
            </a:ln>
          </p:spPr>
          <p:txBody>
            <a:bodyPr rtlCol="0" anchor="ctr"/>
            <a:lstStyle/>
            <a:p>
              <a:endParaRPr lang="en-US" sz="2400" dirty="0"/>
            </a:p>
          </p:txBody>
        </p:sp>
        <p:sp>
          <p:nvSpPr>
            <p:cNvPr id="420" name="Graphic 8">
              <a:extLst>
                <a:ext uri="{FF2B5EF4-FFF2-40B4-BE49-F238E27FC236}">
                  <a16:creationId xmlns:a16="http://schemas.microsoft.com/office/drawing/2014/main" id="{CF7ED35A-30AB-4FBB-96F3-5756FDA1EEF1}"/>
                </a:ext>
              </a:extLst>
            </p:cNvPr>
            <p:cNvSpPr/>
            <p:nvPr/>
          </p:nvSpPr>
          <p:spPr>
            <a:xfrm flipV="1">
              <a:off x="4626254" y="2756778"/>
              <a:ext cx="10032" cy="9903"/>
            </a:xfrm>
            <a:custGeom>
              <a:avLst/>
              <a:gdLst>
                <a:gd name="connsiteX0" fmla="*/ -3547 w 10032"/>
                <a:gd name="connsiteY0" fmla="*/ 6985 h 9903"/>
                <a:gd name="connsiteX1" fmla="*/ -3547 w 10032"/>
                <a:gd name="connsiteY1" fmla="*/ 6985 h 9903"/>
                <a:gd name="connsiteX2" fmla="*/ -3547 w 10032"/>
                <a:gd name="connsiteY2" fmla="*/ 6985 h 9903"/>
              </a:gdLst>
              <a:ahLst/>
              <a:cxnLst>
                <a:cxn ang="0">
                  <a:pos x="connsiteX0" y="connsiteY0"/>
                </a:cxn>
                <a:cxn ang="0">
                  <a:pos x="connsiteX1" y="connsiteY1"/>
                </a:cxn>
                <a:cxn ang="0">
                  <a:pos x="connsiteX2" y="connsiteY2"/>
                </a:cxn>
              </a:cxnLst>
              <a:rect l="l" t="t" r="r" b="b"/>
              <a:pathLst>
                <a:path w="10032" h="9903">
                  <a:moveTo>
                    <a:pt x="-3547" y="6985"/>
                  </a:moveTo>
                  <a:cubicBezTo>
                    <a:pt x="18585" y="5468"/>
                    <a:pt x="-14092" y="-14520"/>
                    <a:pt x="-3547" y="6985"/>
                  </a:cubicBezTo>
                  <a:lnTo>
                    <a:pt x="-3547" y="6985"/>
                  </a:lnTo>
                </a:path>
              </a:pathLst>
            </a:custGeom>
            <a:grpFill/>
            <a:ln w="689" cap="flat">
              <a:noFill/>
              <a:prstDash val="solid"/>
              <a:miter/>
            </a:ln>
          </p:spPr>
          <p:txBody>
            <a:bodyPr rtlCol="0" anchor="ctr"/>
            <a:lstStyle/>
            <a:p>
              <a:endParaRPr lang="en-US" sz="2400" dirty="0"/>
            </a:p>
          </p:txBody>
        </p:sp>
        <p:sp>
          <p:nvSpPr>
            <p:cNvPr id="421" name="Graphic 8">
              <a:extLst>
                <a:ext uri="{FF2B5EF4-FFF2-40B4-BE49-F238E27FC236}">
                  <a16:creationId xmlns:a16="http://schemas.microsoft.com/office/drawing/2014/main" id="{D23029F2-9EED-4CA1-A9DA-2B82F56BABB8}"/>
                </a:ext>
              </a:extLst>
            </p:cNvPr>
            <p:cNvSpPr/>
            <p:nvPr/>
          </p:nvSpPr>
          <p:spPr>
            <a:xfrm flipV="1">
              <a:off x="5607833" y="2759466"/>
              <a:ext cx="2698071" cy="579673"/>
            </a:xfrm>
            <a:custGeom>
              <a:avLst/>
              <a:gdLst>
                <a:gd name="connsiteX0" fmla="*/ -8631 w 2698071"/>
                <a:gd name="connsiteY0" fmla="*/ 397 h 579673"/>
                <a:gd name="connsiteX1" fmla="*/ -8631 w 2698071"/>
                <a:gd name="connsiteY1" fmla="*/ 397 h 579673"/>
                <a:gd name="connsiteX2" fmla="*/ 2686597 w 2698071"/>
                <a:gd name="connsiteY2" fmla="*/ 577227 h 579673"/>
                <a:gd name="connsiteX3" fmla="*/ 2686597 w 2698071"/>
                <a:gd name="connsiteY3" fmla="*/ 577227 h 579673"/>
              </a:gdLst>
              <a:ahLst/>
              <a:cxnLst>
                <a:cxn ang="0">
                  <a:pos x="connsiteX0" y="connsiteY0"/>
                </a:cxn>
                <a:cxn ang="0">
                  <a:pos x="connsiteX1" y="connsiteY1"/>
                </a:cxn>
                <a:cxn ang="0">
                  <a:pos x="connsiteX2" y="connsiteY2"/>
                </a:cxn>
                <a:cxn ang="0">
                  <a:pos x="connsiteX3" y="connsiteY3"/>
                </a:cxn>
              </a:cxnLst>
              <a:rect l="l" t="t" r="r" b="b"/>
              <a:pathLst>
                <a:path w="2698071" h="579673">
                  <a:moveTo>
                    <a:pt x="-8631" y="397"/>
                  </a:moveTo>
                  <a:cubicBezTo>
                    <a:pt x="-4771" y="-3394"/>
                    <a:pt x="-4771" y="-3394"/>
                    <a:pt x="-8631" y="397"/>
                  </a:cubicBezTo>
                  <a:close/>
                  <a:moveTo>
                    <a:pt x="2686597" y="577227"/>
                  </a:moveTo>
                  <a:cubicBezTo>
                    <a:pt x="2690388" y="573023"/>
                    <a:pt x="2690388" y="573023"/>
                    <a:pt x="2686597" y="577227"/>
                  </a:cubicBezTo>
                </a:path>
              </a:pathLst>
            </a:custGeom>
            <a:grpFill/>
            <a:ln w="689" cap="flat">
              <a:noFill/>
              <a:prstDash val="solid"/>
              <a:miter/>
            </a:ln>
          </p:spPr>
          <p:txBody>
            <a:bodyPr rtlCol="0" anchor="ctr"/>
            <a:lstStyle/>
            <a:p>
              <a:endParaRPr lang="en-US" sz="2400" dirty="0"/>
            </a:p>
          </p:txBody>
        </p:sp>
        <p:sp>
          <p:nvSpPr>
            <p:cNvPr id="422" name="Graphic 8">
              <a:extLst>
                <a:ext uri="{FF2B5EF4-FFF2-40B4-BE49-F238E27FC236}">
                  <a16:creationId xmlns:a16="http://schemas.microsoft.com/office/drawing/2014/main" id="{9E91CFAA-D049-46CC-BA94-6D4905FCF1BB}"/>
                </a:ext>
              </a:extLst>
            </p:cNvPr>
            <p:cNvSpPr/>
            <p:nvPr/>
          </p:nvSpPr>
          <p:spPr>
            <a:xfrm flipV="1">
              <a:off x="440073" y="2764842"/>
              <a:ext cx="2790" cy="2843"/>
            </a:xfrm>
            <a:custGeom>
              <a:avLst/>
              <a:gdLst>
                <a:gd name="connsiteX0" fmla="*/ -438 w 2790"/>
                <a:gd name="connsiteY0" fmla="*/ -68 h 2843"/>
                <a:gd name="connsiteX1" fmla="*/ -438 w 2790"/>
                <a:gd name="connsiteY1" fmla="*/ -68 h 2843"/>
                <a:gd name="connsiteX2" fmla="*/ -438 w 2790"/>
                <a:gd name="connsiteY2" fmla="*/ -68 h 2843"/>
              </a:gdLst>
              <a:ahLst/>
              <a:cxnLst>
                <a:cxn ang="0">
                  <a:pos x="connsiteX0" y="connsiteY0"/>
                </a:cxn>
                <a:cxn ang="0">
                  <a:pos x="connsiteX1" y="connsiteY1"/>
                </a:cxn>
                <a:cxn ang="0">
                  <a:pos x="connsiteX2" y="connsiteY2"/>
                </a:cxn>
              </a:cxnLst>
              <a:rect l="l" t="t" r="r" b="b"/>
              <a:pathLst>
                <a:path w="2790" h="2843">
                  <a:moveTo>
                    <a:pt x="-438" y="-68"/>
                  </a:moveTo>
                  <a:cubicBezTo>
                    <a:pt x="3283" y="-3859"/>
                    <a:pt x="3283" y="-3859"/>
                    <a:pt x="-438" y="-68"/>
                  </a:cubicBezTo>
                  <a:lnTo>
                    <a:pt x="-438" y="-68"/>
                  </a:lnTo>
                </a:path>
              </a:pathLst>
            </a:custGeom>
            <a:grpFill/>
            <a:ln w="689" cap="flat">
              <a:noFill/>
              <a:prstDash val="solid"/>
              <a:miter/>
            </a:ln>
          </p:spPr>
          <p:txBody>
            <a:bodyPr rtlCol="0" anchor="ctr"/>
            <a:lstStyle/>
            <a:p>
              <a:endParaRPr lang="en-US" sz="2400" dirty="0"/>
            </a:p>
          </p:txBody>
        </p:sp>
        <p:sp>
          <p:nvSpPr>
            <p:cNvPr id="423" name="Graphic 8">
              <a:extLst>
                <a:ext uri="{FF2B5EF4-FFF2-40B4-BE49-F238E27FC236}">
                  <a16:creationId xmlns:a16="http://schemas.microsoft.com/office/drawing/2014/main" id="{397D9335-7836-42DA-B67E-072836411301}"/>
                </a:ext>
              </a:extLst>
            </p:cNvPr>
            <p:cNvSpPr/>
            <p:nvPr/>
          </p:nvSpPr>
          <p:spPr>
            <a:xfrm flipV="1">
              <a:off x="4825968" y="2765876"/>
              <a:ext cx="1860673" cy="760855"/>
            </a:xfrm>
            <a:custGeom>
              <a:avLst/>
              <a:gdLst>
                <a:gd name="connsiteX0" fmla="*/ -4863 w 1860673"/>
                <a:gd name="connsiteY0" fmla="*/ 7152 h 760855"/>
                <a:gd name="connsiteX1" fmla="*/ -4863 w 1860673"/>
                <a:gd name="connsiteY1" fmla="*/ 7152 h 760855"/>
                <a:gd name="connsiteX2" fmla="*/ 1830117 w 1860673"/>
                <a:gd name="connsiteY2" fmla="*/ 163404 h 760855"/>
                <a:gd name="connsiteX3" fmla="*/ 1830117 w 1860673"/>
                <a:gd name="connsiteY3" fmla="*/ 163404 h 760855"/>
                <a:gd name="connsiteX4" fmla="*/ 1787178 w 1860673"/>
                <a:gd name="connsiteY4" fmla="*/ 168918 h 760855"/>
                <a:gd name="connsiteX5" fmla="*/ 1853552 w 1860673"/>
                <a:gd name="connsiteY5" fmla="*/ 174708 h 760855"/>
                <a:gd name="connsiteX6" fmla="*/ 1832461 w 1860673"/>
                <a:gd name="connsiteY6" fmla="*/ 133146 h 760855"/>
                <a:gd name="connsiteX7" fmla="*/ 1815161 w 1860673"/>
                <a:gd name="connsiteY7" fmla="*/ 142244 h 760855"/>
                <a:gd name="connsiteX8" fmla="*/ 1814679 w 1860673"/>
                <a:gd name="connsiteY8" fmla="*/ 167885 h 760855"/>
                <a:gd name="connsiteX9" fmla="*/ 1787178 w 1860673"/>
                <a:gd name="connsiteY9" fmla="*/ 168918 h 760855"/>
                <a:gd name="connsiteX10" fmla="*/ 747932 w 1860673"/>
                <a:gd name="connsiteY10" fmla="*/ 758569 h 760855"/>
                <a:gd name="connsiteX11" fmla="*/ 747932 w 1860673"/>
                <a:gd name="connsiteY11" fmla="*/ 758569 h 760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60673" h="760855">
                  <a:moveTo>
                    <a:pt x="-4863" y="7152"/>
                  </a:moveTo>
                  <a:cubicBezTo>
                    <a:pt x="17882" y="6187"/>
                    <a:pt x="-15822" y="-13594"/>
                    <a:pt x="-4863" y="7152"/>
                  </a:cubicBezTo>
                  <a:close/>
                  <a:moveTo>
                    <a:pt x="1830117" y="163404"/>
                  </a:moveTo>
                  <a:cubicBezTo>
                    <a:pt x="1833978" y="159820"/>
                    <a:pt x="1833978" y="159820"/>
                    <a:pt x="1830117" y="163404"/>
                  </a:cubicBezTo>
                  <a:moveTo>
                    <a:pt x="1787178" y="168918"/>
                  </a:moveTo>
                  <a:cubicBezTo>
                    <a:pt x="1808820" y="174432"/>
                    <a:pt x="1831358" y="173881"/>
                    <a:pt x="1853552" y="174708"/>
                  </a:cubicBezTo>
                  <a:cubicBezTo>
                    <a:pt x="1845488" y="161475"/>
                    <a:pt x="1838250" y="147621"/>
                    <a:pt x="1832461" y="133146"/>
                  </a:cubicBezTo>
                  <a:cubicBezTo>
                    <a:pt x="1826603" y="136248"/>
                    <a:pt x="1820882" y="139281"/>
                    <a:pt x="1815161" y="142244"/>
                  </a:cubicBezTo>
                  <a:cubicBezTo>
                    <a:pt x="1814885" y="150791"/>
                    <a:pt x="1814747" y="159407"/>
                    <a:pt x="1814679" y="167885"/>
                  </a:cubicBezTo>
                  <a:cubicBezTo>
                    <a:pt x="1805443" y="168436"/>
                    <a:pt x="1796276" y="168780"/>
                    <a:pt x="1787178" y="168918"/>
                  </a:cubicBezTo>
                  <a:moveTo>
                    <a:pt x="747932" y="758569"/>
                  </a:moveTo>
                  <a:cubicBezTo>
                    <a:pt x="751378" y="754640"/>
                    <a:pt x="751378" y="754640"/>
                    <a:pt x="747932" y="758569"/>
                  </a:cubicBezTo>
                </a:path>
              </a:pathLst>
            </a:custGeom>
            <a:grpFill/>
            <a:ln w="689" cap="flat">
              <a:noFill/>
              <a:prstDash val="solid"/>
              <a:miter/>
            </a:ln>
          </p:spPr>
          <p:txBody>
            <a:bodyPr rtlCol="0" anchor="ctr"/>
            <a:lstStyle/>
            <a:p>
              <a:endParaRPr lang="en-US" sz="2400" dirty="0"/>
            </a:p>
          </p:txBody>
        </p:sp>
        <p:sp>
          <p:nvSpPr>
            <p:cNvPr id="424" name="Graphic 8">
              <a:extLst>
                <a:ext uri="{FF2B5EF4-FFF2-40B4-BE49-F238E27FC236}">
                  <a16:creationId xmlns:a16="http://schemas.microsoft.com/office/drawing/2014/main" id="{4FE3710A-67E2-4B5F-9724-9E318B31CFDE}"/>
                </a:ext>
              </a:extLst>
            </p:cNvPr>
            <p:cNvSpPr/>
            <p:nvPr/>
          </p:nvSpPr>
          <p:spPr>
            <a:xfrm flipV="1">
              <a:off x="437113" y="2777875"/>
              <a:ext cx="14004" cy="14176"/>
            </a:xfrm>
            <a:custGeom>
              <a:avLst/>
              <a:gdLst>
                <a:gd name="connsiteX0" fmla="*/ 655 w 14004"/>
                <a:gd name="connsiteY0" fmla="*/ 9993 h 14176"/>
                <a:gd name="connsiteX1" fmla="*/ 12509 w 14004"/>
                <a:gd name="connsiteY1" fmla="*/ -1586 h 14176"/>
                <a:gd name="connsiteX2" fmla="*/ 655 w 14004"/>
                <a:gd name="connsiteY2" fmla="*/ 9993 h 14176"/>
                <a:gd name="connsiteX3" fmla="*/ 655 w 14004"/>
                <a:gd name="connsiteY3" fmla="*/ 9993 h 14176"/>
              </a:gdLst>
              <a:ahLst/>
              <a:cxnLst>
                <a:cxn ang="0">
                  <a:pos x="connsiteX0" y="connsiteY0"/>
                </a:cxn>
                <a:cxn ang="0">
                  <a:pos x="connsiteX1" y="connsiteY1"/>
                </a:cxn>
                <a:cxn ang="0">
                  <a:pos x="connsiteX2" y="connsiteY2"/>
                </a:cxn>
                <a:cxn ang="0">
                  <a:pos x="connsiteX3" y="connsiteY3"/>
                </a:cxn>
              </a:cxnLst>
              <a:rect l="l" t="t" r="r" b="b"/>
              <a:pathLst>
                <a:path w="14004" h="14176">
                  <a:moveTo>
                    <a:pt x="655" y="9993"/>
                  </a:moveTo>
                  <a:cubicBezTo>
                    <a:pt x="11685" y="13577"/>
                    <a:pt x="15678" y="9786"/>
                    <a:pt x="12509" y="-1586"/>
                  </a:cubicBezTo>
                  <a:cubicBezTo>
                    <a:pt x="1347" y="-5170"/>
                    <a:pt x="-2584" y="-1311"/>
                    <a:pt x="655" y="9993"/>
                  </a:cubicBezTo>
                  <a:lnTo>
                    <a:pt x="655" y="9993"/>
                  </a:lnTo>
                </a:path>
              </a:pathLst>
            </a:custGeom>
            <a:grpFill/>
            <a:ln w="689" cap="flat">
              <a:noFill/>
              <a:prstDash val="solid"/>
              <a:miter/>
            </a:ln>
          </p:spPr>
          <p:txBody>
            <a:bodyPr rtlCol="0" anchor="ctr"/>
            <a:lstStyle/>
            <a:p>
              <a:endParaRPr lang="en-US" sz="2400" dirty="0"/>
            </a:p>
          </p:txBody>
        </p:sp>
        <p:sp>
          <p:nvSpPr>
            <p:cNvPr id="425" name="Graphic 8">
              <a:extLst>
                <a:ext uri="{FF2B5EF4-FFF2-40B4-BE49-F238E27FC236}">
                  <a16:creationId xmlns:a16="http://schemas.microsoft.com/office/drawing/2014/main" id="{A64C9C6C-024B-42B1-9E6A-3F35E0437F2B}"/>
                </a:ext>
              </a:extLst>
            </p:cNvPr>
            <p:cNvSpPr/>
            <p:nvPr/>
          </p:nvSpPr>
          <p:spPr>
            <a:xfrm flipV="1">
              <a:off x="8679252" y="2781315"/>
              <a:ext cx="1378" cy="3790"/>
            </a:xfrm>
            <a:custGeom>
              <a:avLst/>
              <a:gdLst>
                <a:gd name="connsiteX0" fmla="*/ -10798 w 1378"/>
                <a:gd name="connsiteY0" fmla="*/ -2884 h 3790"/>
                <a:gd name="connsiteX1" fmla="*/ -9419 w 1378"/>
                <a:gd name="connsiteY1" fmla="*/ 907 h 3790"/>
                <a:gd name="connsiteX2" fmla="*/ -10798 w 1378"/>
                <a:gd name="connsiteY2" fmla="*/ -2884 h 3790"/>
                <a:gd name="connsiteX3" fmla="*/ -10798 w 1378"/>
                <a:gd name="connsiteY3" fmla="*/ -2884 h 3790"/>
              </a:gdLst>
              <a:ahLst/>
              <a:cxnLst>
                <a:cxn ang="0">
                  <a:pos x="connsiteX0" y="connsiteY0"/>
                </a:cxn>
                <a:cxn ang="0">
                  <a:pos x="connsiteX1" y="connsiteY1"/>
                </a:cxn>
                <a:cxn ang="0">
                  <a:pos x="connsiteX2" y="connsiteY2"/>
                </a:cxn>
                <a:cxn ang="0">
                  <a:pos x="connsiteX3" y="connsiteY3"/>
                </a:cxn>
              </a:cxnLst>
              <a:rect l="l" t="t" r="r" b="b"/>
              <a:pathLst>
                <a:path w="1378" h="3790">
                  <a:moveTo>
                    <a:pt x="-10798" y="-2884"/>
                  </a:moveTo>
                  <a:cubicBezTo>
                    <a:pt x="-10453" y="-1987"/>
                    <a:pt x="-9764" y="-58"/>
                    <a:pt x="-9419" y="907"/>
                  </a:cubicBezTo>
                  <a:cubicBezTo>
                    <a:pt x="-9764" y="-58"/>
                    <a:pt x="-10453" y="-1987"/>
                    <a:pt x="-10798" y="-2884"/>
                  </a:cubicBezTo>
                  <a:lnTo>
                    <a:pt x="-10798" y="-2884"/>
                  </a:lnTo>
                </a:path>
              </a:pathLst>
            </a:custGeom>
            <a:grpFill/>
            <a:ln w="689" cap="flat">
              <a:noFill/>
              <a:prstDash val="solid"/>
              <a:miter/>
            </a:ln>
          </p:spPr>
          <p:txBody>
            <a:bodyPr rtlCol="0" anchor="ctr"/>
            <a:lstStyle/>
            <a:p>
              <a:endParaRPr lang="en-US" sz="2400" dirty="0"/>
            </a:p>
          </p:txBody>
        </p:sp>
        <p:sp>
          <p:nvSpPr>
            <p:cNvPr id="426" name="Graphic 8">
              <a:extLst>
                <a:ext uri="{FF2B5EF4-FFF2-40B4-BE49-F238E27FC236}">
                  <a16:creationId xmlns:a16="http://schemas.microsoft.com/office/drawing/2014/main" id="{23C5B432-64B3-4CDA-8EE9-E3733872C6D9}"/>
                </a:ext>
              </a:extLst>
            </p:cNvPr>
            <p:cNvSpPr/>
            <p:nvPr/>
          </p:nvSpPr>
          <p:spPr>
            <a:xfrm flipV="1">
              <a:off x="2801513" y="2792685"/>
              <a:ext cx="12102" cy="12243"/>
            </a:xfrm>
            <a:custGeom>
              <a:avLst/>
              <a:gdLst>
                <a:gd name="connsiteX0" fmla="*/ -2118 w 12102"/>
                <a:gd name="connsiteY0" fmla="*/ 8832 h 12243"/>
                <a:gd name="connsiteX1" fmla="*/ 7462 w 12102"/>
                <a:gd name="connsiteY1" fmla="*/ -2334 h 12243"/>
                <a:gd name="connsiteX2" fmla="*/ -2118 w 12102"/>
                <a:gd name="connsiteY2" fmla="*/ 8832 h 12243"/>
                <a:gd name="connsiteX3" fmla="*/ -2118 w 12102"/>
                <a:gd name="connsiteY3" fmla="*/ 8832 h 12243"/>
              </a:gdLst>
              <a:ahLst/>
              <a:cxnLst>
                <a:cxn ang="0">
                  <a:pos x="connsiteX0" y="connsiteY0"/>
                </a:cxn>
                <a:cxn ang="0">
                  <a:pos x="connsiteX1" y="connsiteY1"/>
                </a:cxn>
                <a:cxn ang="0">
                  <a:pos x="connsiteX2" y="connsiteY2"/>
                </a:cxn>
                <a:cxn ang="0">
                  <a:pos x="connsiteX3" y="connsiteY3"/>
                </a:cxn>
              </a:cxnLst>
              <a:rect l="l" t="t" r="r" b="b"/>
              <a:pathLst>
                <a:path w="12102" h="12243">
                  <a:moveTo>
                    <a:pt x="-2118" y="8832"/>
                  </a:moveTo>
                  <a:cubicBezTo>
                    <a:pt x="7531" y="10899"/>
                    <a:pt x="10702" y="7177"/>
                    <a:pt x="7462" y="-2334"/>
                  </a:cubicBezTo>
                  <a:cubicBezTo>
                    <a:pt x="-2256" y="-4333"/>
                    <a:pt x="-5496" y="-611"/>
                    <a:pt x="-2118" y="8832"/>
                  </a:cubicBezTo>
                  <a:lnTo>
                    <a:pt x="-2118" y="8832"/>
                  </a:lnTo>
                </a:path>
              </a:pathLst>
            </a:custGeom>
            <a:grpFill/>
            <a:ln w="689" cap="flat">
              <a:noFill/>
              <a:prstDash val="solid"/>
              <a:miter/>
            </a:ln>
          </p:spPr>
          <p:txBody>
            <a:bodyPr rtlCol="0" anchor="ctr"/>
            <a:lstStyle/>
            <a:p>
              <a:endParaRPr lang="en-US" sz="2400" dirty="0"/>
            </a:p>
          </p:txBody>
        </p:sp>
        <p:sp>
          <p:nvSpPr>
            <p:cNvPr id="427" name="Graphic 8">
              <a:extLst>
                <a:ext uri="{FF2B5EF4-FFF2-40B4-BE49-F238E27FC236}">
                  <a16:creationId xmlns:a16="http://schemas.microsoft.com/office/drawing/2014/main" id="{47DCEFFE-9386-47A2-84EE-F6CCE65A2666}"/>
                </a:ext>
              </a:extLst>
            </p:cNvPr>
            <p:cNvSpPr/>
            <p:nvPr/>
          </p:nvSpPr>
          <p:spPr>
            <a:xfrm flipV="1">
              <a:off x="8117241" y="2791998"/>
              <a:ext cx="2894" cy="2843"/>
            </a:xfrm>
            <a:custGeom>
              <a:avLst/>
              <a:gdLst>
                <a:gd name="connsiteX0" fmla="*/ -10092 w 2894"/>
                <a:gd name="connsiteY0" fmla="*/ -24 h 2843"/>
                <a:gd name="connsiteX1" fmla="*/ -10092 w 2894"/>
                <a:gd name="connsiteY1" fmla="*/ -24 h 2843"/>
                <a:gd name="connsiteX2" fmla="*/ -10092 w 2894"/>
                <a:gd name="connsiteY2" fmla="*/ -24 h 2843"/>
              </a:gdLst>
              <a:ahLst/>
              <a:cxnLst>
                <a:cxn ang="0">
                  <a:pos x="connsiteX0" y="connsiteY0"/>
                </a:cxn>
                <a:cxn ang="0">
                  <a:pos x="connsiteX1" y="connsiteY1"/>
                </a:cxn>
                <a:cxn ang="0">
                  <a:pos x="connsiteX2" y="connsiteY2"/>
                </a:cxn>
              </a:cxnLst>
              <a:rect l="l" t="t" r="r" b="b"/>
              <a:pathLst>
                <a:path w="2894" h="2843">
                  <a:moveTo>
                    <a:pt x="-10092" y="-24"/>
                  </a:moveTo>
                  <a:cubicBezTo>
                    <a:pt x="-6232" y="-3814"/>
                    <a:pt x="-6232" y="-3814"/>
                    <a:pt x="-10092" y="-24"/>
                  </a:cubicBezTo>
                  <a:lnTo>
                    <a:pt x="-10092" y="-24"/>
                  </a:lnTo>
                </a:path>
              </a:pathLst>
            </a:custGeom>
            <a:grpFill/>
            <a:ln w="689" cap="flat">
              <a:noFill/>
              <a:prstDash val="solid"/>
              <a:miter/>
            </a:ln>
          </p:spPr>
          <p:txBody>
            <a:bodyPr rtlCol="0" anchor="ctr"/>
            <a:lstStyle/>
            <a:p>
              <a:endParaRPr lang="en-US" sz="2400" dirty="0"/>
            </a:p>
          </p:txBody>
        </p:sp>
        <p:sp>
          <p:nvSpPr>
            <p:cNvPr id="428" name="Graphic 8">
              <a:extLst>
                <a:ext uri="{FF2B5EF4-FFF2-40B4-BE49-F238E27FC236}">
                  <a16:creationId xmlns:a16="http://schemas.microsoft.com/office/drawing/2014/main" id="{F0ECD4DD-0BE9-462D-B0B1-B4031A53C136}"/>
                </a:ext>
              </a:extLst>
            </p:cNvPr>
            <p:cNvSpPr/>
            <p:nvPr/>
          </p:nvSpPr>
          <p:spPr>
            <a:xfrm flipV="1">
              <a:off x="2284977" y="2793308"/>
              <a:ext cx="31567" cy="75886"/>
            </a:xfrm>
            <a:custGeom>
              <a:avLst/>
              <a:gdLst>
                <a:gd name="connsiteX0" fmla="*/ -2776 w 31567"/>
                <a:gd name="connsiteY0" fmla="*/ 54403 h 75886"/>
                <a:gd name="connsiteX1" fmla="*/ 17694 w 31567"/>
                <a:gd name="connsiteY1" fmla="*/ 73082 h 75886"/>
                <a:gd name="connsiteX2" fmla="*/ 28791 w 31567"/>
                <a:gd name="connsiteY2" fmla="*/ 6087 h 75886"/>
                <a:gd name="connsiteX3" fmla="*/ 24724 w 31567"/>
                <a:gd name="connsiteY3" fmla="*/ 31175 h 75886"/>
                <a:gd name="connsiteX4" fmla="*/ 16591 w 31567"/>
                <a:gd name="connsiteY4" fmla="*/ 31175 h 75886"/>
                <a:gd name="connsiteX5" fmla="*/ 4736 w 31567"/>
                <a:gd name="connsiteY5" fmla="*/ -2805 h 75886"/>
                <a:gd name="connsiteX6" fmla="*/ -2776 w 31567"/>
                <a:gd name="connsiteY6" fmla="*/ 54403 h 75886"/>
                <a:gd name="connsiteX7" fmla="*/ -2776 w 31567"/>
                <a:gd name="connsiteY7" fmla="*/ 54403 h 75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67" h="75886">
                  <a:moveTo>
                    <a:pt x="-2776" y="54403"/>
                  </a:moveTo>
                  <a:cubicBezTo>
                    <a:pt x="3978" y="60744"/>
                    <a:pt x="10802" y="67016"/>
                    <a:pt x="17694" y="73082"/>
                  </a:cubicBezTo>
                  <a:cubicBezTo>
                    <a:pt x="26517" y="51853"/>
                    <a:pt x="28446" y="28832"/>
                    <a:pt x="28791" y="6087"/>
                  </a:cubicBezTo>
                  <a:cubicBezTo>
                    <a:pt x="27344" y="14496"/>
                    <a:pt x="25965" y="22835"/>
                    <a:pt x="24724" y="31175"/>
                  </a:cubicBezTo>
                  <a:lnTo>
                    <a:pt x="16591" y="31175"/>
                  </a:lnTo>
                  <a:cubicBezTo>
                    <a:pt x="13628" y="19596"/>
                    <a:pt x="9423" y="8292"/>
                    <a:pt x="4736" y="-2805"/>
                  </a:cubicBezTo>
                  <a:cubicBezTo>
                    <a:pt x="2048" y="16288"/>
                    <a:pt x="1221" y="35586"/>
                    <a:pt x="-2776" y="54403"/>
                  </a:cubicBezTo>
                  <a:lnTo>
                    <a:pt x="-2776" y="54403"/>
                  </a:lnTo>
                </a:path>
              </a:pathLst>
            </a:custGeom>
            <a:grpFill/>
            <a:ln w="689" cap="flat">
              <a:noFill/>
              <a:prstDash val="solid"/>
              <a:miter/>
            </a:ln>
          </p:spPr>
          <p:txBody>
            <a:bodyPr rtlCol="0" anchor="ctr"/>
            <a:lstStyle/>
            <a:p>
              <a:endParaRPr lang="en-US" sz="2400" dirty="0"/>
            </a:p>
          </p:txBody>
        </p:sp>
        <p:sp>
          <p:nvSpPr>
            <p:cNvPr id="429" name="Graphic 8">
              <a:extLst>
                <a:ext uri="{FF2B5EF4-FFF2-40B4-BE49-F238E27FC236}">
                  <a16:creationId xmlns:a16="http://schemas.microsoft.com/office/drawing/2014/main" id="{CBF9FAA1-28E8-4E54-88AD-BF7099E71694}"/>
                </a:ext>
              </a:extLst>
            </p:cNvPr>
            <p:cNvSpPr/>
            <p:nvPr/>
          </p:nvSpPr>
          <p:spPr>
            <a:xfrm flipV="1">
              <a:off x="8670223" y="2805714"/>
              <a:ext cx="23858" cy="89257"/>
            </a:xfrm>
            <a:custGeom>
              <a:avLst/>
              <a:gdLst>
                <a:gd name="connsiteX0" fmla="*/ -10800 w 23858"/>
                <a:gd name="connsiteY0" fmla="*/ 86484 h 89257"/>
                <a:gd name="connsiteX1" fmla="*/ 11393 w 23858"/>
                <a:gd name="connsiteY1" fmla="*/ 78420 h 89257"/>
                <a:gd name="connsiteX2" fmla="*/ 12979 w 23858"/>
                <a:gd name="connsiteY2" fmla="*/ 44164 h 89257"/>
                <a:gd name="connsiteX3" fmla="*/ 5121 w 23858"/>
                <a:gd name="connsiteY3" fmla="*/ -2429 h 89257"/>
                <a:gd name="connsiteX4" fmla="*/ 1192 w 23858"/>
                <a:gd name="connsiteY4" fmla="*/ -2635 h 89257"/>
                <a:gd name="connsiteX5" fmla="*/ -6320 w 23858"/>
                <a:gd name="connsiteY5" fmla="*/ -2773 h 89257"/>
                <a:gd name="connsiteX6" fmla="*/ -10800 w 23858"/>
                <a:gd name="connsiteY6" fmla="*/ 86484 h 89257"/>
                <a:gd name="connsiteX7" fmla="*/ -10800 w 23858"/>
                <a:gd name="connsiteY7" fmla="*/ 86484 h 8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58" h="89257">
                  <a:moveTo>
                    <a:pt x="-10800" y="86484"/>
                  </a:moveTo>
                  <a:cubicBezTo>
                    <a:pt x="-5286" y="84485"/>
                    <a:pt x="5810" y="80488"/>
                    <a:pt x="11393" y="78420"/>
                  </a:cubicBezTo>
                  <a:cubicBezTo>
                    <a:pt x="12841" y="67116"/>
                    <a:pt x="13254" y="55606"/>
                    <a:pt x="12979" y="44164"/>
                  </a:cubicBezTo>
                  <a:cubicBezTo>
                    <a:pt x="1468" y="30379"/>
                    <a:pt x="-7561" y="14251"/>
                    <a:pt x="5121" y="-2429"/>
                  </a:cubicBezTo>
                  <a:cubicBezTo>
                    <a:pt x="4156" y="-2498"/>
                    <a:pt x="2226" y="-2566"/>
                    <a:pt x="1192" y="-2635"/>
                  </a:cubicBezTo>
                  <a:lnTo>
                    <a:pt x="-6320" y="-2773"/>
                  </a:lnTo>
                  <a:cubicBezTo>
                    <a:pt x="-11214" y="26933"/>
                    <a:pt x="-4804" y="57053"/>
                    <a:pt x="-10800" y="86484"/>
                  </a:cubicBezTo>
                  <a:lnTo>
                    <a:pt x="-10800" y="86484"/>
                  </a:lnTo>
                </a:path>
              </a:pathLst>
            </a:custGeom>
            <a:grpFill/>
            <a:ln w="689" cap="flat">
              <a:noFill/>
              <a:prstDash val="solid"/>
              <a:miter/>
            </a:ln>
          </p:spPr>
          <p:txBody>
            <a:bodyPr rtlCol="0" anchor="ctr"/>
            <a:lstStyle/>
            <a:p>
              <a:endParaRPr lang="en-US" sz="2400" dirty="0"/>
            </a:p>
          </p:txBody>
        </p:sp>
        <p:sp>
          <p:nvSpPr>
            <p:cNvPr id="430" name="Graphic 8">
              <a:extLst>
                <a:ext uri="{FF2B5EF4-FFF2-40B4-BE49-F238E27FC236}">
                  <a16:creationId xmlns:a16="http://schemas.microsoft.com/office/drawing/2014/main" id="{CA0F69C5-17ED-44BC-89DA-8BECB4E1B2DC}"/>
                </a:ext>
              </a:extLst>
            </p:cNvPr>
            <p:cNvSpPr/>
            <p:nvPr/>
          </p:nvSpPr>
          <p:spPr>
            <a:xfrm flipV="1">
              <a:off x="6833822" y="2821774"/>
              <a:ext cx="1062821" cy="560527"/>
            </a:xfrm>
            <a:custGeom>
              <a:avLst/>
              <a:gdLst>
                <a:gd name="connsiteX0" fmla="*/ -8413 w 1062821"/>
                <a:gd name="connsiteY0" fmla="*/ 12630 h 560527"/>
                <a:gd name="connsiteX1" fmla="*/ 10542 w 1062821"/>
                <a:gd name="connsiteY1" fmla="*/ -879 h 560527"/>
                <a:gd name="connsiteX2" fmla="*/ -8413 w 1062821"/>
                <a:gd name="connsiteY2" fmla="*/ 12630 h 560527"/>
                <a:gd name="connsiteX3" fmla="*/ 1046823 w 1062821"/>
                <a:gd name="connsiteY3" fmla="*/ 193902 h 560527"/>
                <a:gd name="connsiteX4" fmla="*/ 1046203 w 1062821"/>
                <a:gd name="connsiteY4" fmla="*/ 175361 h 560527"/>
                <a:gd name="connsiteX5" fmla="*/ 1046823 w 1062821"/>
                <a:gd name="connsiteY5" fmla="*/ 193902 h 560527"/>
                <a:gd name="connsiteX6" fmla="*/ 62235 w 1062821"/>
                <a:gd name="connsiteY6" fmla="*/ 558168 h 560527"/>
                <a:gd name="connsiteX7" fmla="*/ 62235 w 1062821"/>
                <a:gd name="connsiteY7" fmla="*/ 558168 h 56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821" h="560527">
                  <a:moveTo>
                    <a:pt x="-8413" y="12630"/>
                  </a:moveTo>
                  <a:cubicBezTo>
                    <a:pt x="-831" y="18075"/>
                    <a:pt x="14125" y="8426"/>
                    <a:pt x="10542" y="-879"/>
                  </a:cubicBezTo>
                  <a:cubicBezTo>
                    <a:pt x="2822" y="-6049"/>
                    <a:pt x="-12686" y="3256"/>
                    <a:pt x="-8413" y="12630"/>
                  </a:cubicBezTo>
                  <a:close/>
                  <a:moveTo>
                    <a:pt x="1046823" y="193902"/>
                  </a:moveTo>
                  <a:cubicBezTo>
                    <a:pt x="1057369" y="194453"/>
                    <a:pt x="1054612" y="176808"/>
                    <a:pt x="1046203" y="175361"/>
                  </a:cubicBezTo>
                  <a:cubicBezTo>
                    <a:pt x="1035933" y="175499"/>
                    <a:pt x="1039172" y="191834"/>
                    <a:pt x="1046823" y="193902"/>
                  </a:cubicBezTo>
                  <a:moveTo>
                    <a:pt x="62235" y="558168"/>
                  </a:moveTo>
                  <a:cubicBezTo>
                    <a:pt x="65750" y="554722"/>
                    <a:pt x="65750" y="554722"/>
                    <a:pt x="62235" y="558168"/>
                  </a:cubicBezTo>
                </a:path>
              </a:pathLst>
            </a:custGeom>
            <a:grpFill/>
            <a:ln w="689" cap="flat">
              <a:noFill/>
              <a:prstDash val="solid"/>
              <a:miter/>
            </a:ln>
          </p:spPr>
          <p:txBody>
            <a:bodyPr rtlCol="0" anchor="ctr"/>
            <a:lstStyle/>
            <a:p>
              <a:endParaRPr lang="en-US" sz="2400" dirty="0"/>
            </a:p>
          </p:txBody>
        </p:sp>
        <p:sp>
          <p:nvSpPr>
            <p:cNvPr id="431" name="Graphic 8">
              <a:extLst>
                <a:ext uri="{FF2B5EF4-FFF2-40B4-BE49-F238E27FC236}">
                  <a16:creationId xmlns:a16="http://schemas.microsoft.com/office/drawing/2014/main" id="{3631CCAE-8ACE-42B1-9B75-E52357D8C72B}"/>
                </a:ext>
              </a:extLst>
            </p:cNvPr>
            <p:cNvSpPr/>
            <p:nvPr/>
          </p:nvSpPr>
          <p:spPr>
            <a:xfrm flipV="1">
              <a:off x="8420509" y="2820947"/>
              <a:ext cx="2636" cy="2791"/>
            </a:xfrm>
            <a:custGeom>
              <a:avLst/>
              <a:gdLst>
                <a:gd name="connsiteX0" fmla="*/ -10473 w 2636"/>
                <a:gd name="connsiteY0" fmla="*/ -28 h 2791"/>
                <a:gd name="connsiteX1" fmla="*/ -10473 w 2636"/>
                <a:gd name="connsiteY1" fmla="*/ -28 h 2791"/>
                <a:gd name="connsiteX2" fmla="*/ -10473 w 2636"/>
                <a:gd name="connsiteY2" fmla="*/ -28 h 2791"/>
              </a:gdLst>
              <a:ahLst/>
              <a:cxnLst>
                <a:cxn ang="0">
                  <a:pos x="connsiteX0" y="connsiteY0"/>
                </a:cxn>
                <a:cxn ang="0">
                  <a:pos x="connsiteX1" y="connsiteY1"/>
                </a:cxn>
                <a:cxn ang="0">
                  <a:pos x="connsiteX2" y="connsiteY2"/>
                </a:cxn>
              </a:cxnLst>
              <a:rect l="l" t="t" r="r" b="b"/>
              <a:pathLst>
                <a:path w="2636" h="2791">
                  <a:moveTo>
                    <a:pt x="-10473" y="-28"/>
                  </a:moveTo>
                  <a:cubicBezTo>
                    <a:pt x="-6958" y="-3750"/>
                    <a:pt x="-6958" y="-3750"/>
                    <a:pt x="-10473" y="-28"/>
                  </a:cubicBezTo>
                  <a:lnTo>
                    <a:pt x="-10473" y="-28"/>
                  </a:lnTo>
                </a:path>
              </a:pathLst>
            </a:custGeom>
            <a:grpFill/>
            <a:ln w="689" cap="flat">
              <a:noFill/>
              <a:prstDash val="solid"/>
              <a:miter/>
            </a:ln>
          </p:spPr>
          <p:txBody>
            <a:bodyPr rtlCol="0" anchor="ctr"/>
            <a:lstStyle/>
            <a:p>
              <a:endParaRPr lang="en-US" sz="2400" dirty="0"/>
            </a:p>
          </p:txBody>
        </p:sp>
        <p:sp>
          <p:nvSpPr>
            <p:cNvPr id="432" name="Graphic 8">
              <a:extLst>
                <a:ext uri="{FF2B5EF4-FFF2-40B4-BE49-F238E27FC236}">
                  <a16:creationId xmlns:a16="http://schemas.microsoft.com/office/drawing/2014/main" id="{173317BB-0553-4AE6-8978-FFB9D84CC787}"/>
                </a:ext>
              </a:extLst>
            </p:cNvPr>
            <p:cNvSpPr/>
            <p:nvPr/>
          </p:nvSpPr>
          <p:spPr>
            <a:xfrm flipV="1">
              <a:off x="6904650" y="2827289"/>
              <a:ext cx="34255" cy="69198"/>
            </a:xfrm>
            <a:custGeom>
              <a:avLst/>
              <a:gdLst>
                <a:gd name="connsiteX0" fmla="*/ -8587 w 34255"/>
                <a:gd name="connsiteY0" fmla="*/ 52661 h 69198"/>
                <a:gd name="connsiteX1" fmla="*/ 16709 w 34255"/>
                <a:gd name="connsiteY1" fmla="*/ 66101 h 69198"/>
                <a:gd name="connsiteX2" fmla="*/ 25669 w 34255"/>
                <a:gd name="connsiteY2" fmla="*/ 28124 h 69198"/>
                <a:gd name="connsiteX3" fmla="*/ 17191 w 34255"/>
                <a:gd name="connsiteY3" fmla="*/ 29709 h 69198"/>
                <a:gd name="connsiteX4" fmla="*/ 12504 w 34255"/>
                <a:gd name="connsiteY4" fmla="*/ 45010 h 69198"/>
                <a:gd name="connsiteX5" fmla="*/ 3544 w 34255"/>
                <a:gd name="connsiteY5" fmla="*/ -2754 h 69198"/>
                <a:gd name="connsiteX6" fmla="*/ -1963 w 34255"/>
                <a:gd name="connsiteY6" fmla="*/ 40806 h 69198"/>
                <a:gd name="connsiteX7" fmla="*/ -8587 w 34255"/>
                <a:gd name="connsiteY7" fmla="*/ 52661 h 69198"/>
                <a:gd name="connsiteX8" fmla="*/ -8587 w 34255"/>
                <a:gd name="connsiteY8" fmla="*/ 52661 h 69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55" h="69198">
                  <a:moveTo>
                    <a:pt x="-8587" y="52661"/>
                  </a:moveTo>
                  <a:cubicBezTo>
                    <a:pt x="-316" y="56934"/>
                    <a:pt x="6301" y="68583"/>
                    <a:pt x="16709" y="66101"/>
                  </a:cubicBezTo>
                  <a:cubicBezTo>
                    <a:pt x="22429" y="54246"/>
                    <a:pt x="23532" y="41013"/>
                    <a:pt x="25669" y="28124"/>
                  </a:cubicBezTo>
                  <a:lnTo>
                    <a:pt x="17191" y="29709"/>
                  </a:lnTo>
                  <a:cubicBezTo>
                    <a:pt x="16019" y="33500"/>
                    <a:pt x="13676" y="41151"/>
                    <a:pt x="12504" y="45010"/>
                  </a:cubicBezTo>
                  <a:cubicBezTo>
                    <a:pt x="12987" y="28538"/>
                    <a:pt x="10230" y="12340"/>
                    <a:pt x="3544" y="-2754"/>
                  </a:cubicBezTo>
                  <a:cubicBezTo>
                    <a:pt x="-798" y="11375"/>
                    <a:pt x="-1901" y="26125"/>
                    <a:pt x="-1963" y="40806"/>
                  </a:cubicBezTo>
                  <a:cubicBezTo>
                    <a:pt x="-3624" y="43770"/>
                    <a:pt x="-6932" y="49697"/>
                    <a:pt x="-8587" y="52661"/>
                  </a:cubicBezTo>
                  <a:lnTo>
                    <a:pt x="-8587" y="52661"/>
                  </a:lnTo>
                </a:path>
              </a:pathLst>
            </a:custGeom>
            <a:grpFill/>
            <a:ln w="689" cap="flat">
              <a:noFill/>
              <a:prstDash val="solid"/>
              <a:miter/>
            </a:ln>
          </p:spPr>
          <p:txBody>
            <a:bodyPr rtlCol="0" anchor="ctr"/>
            <a:lstStyle/>
            <a:p>
              <a:endParaRPr lang="en-US" sz="2400" dirty="0"/>
            </a:p>
          </p:txBody>
        </p:sp>
        <p:sp>
          <p:nvSpPr>
            <p:cNvPr id="433" name="Graphic 8">
              <a:extLst>
                <a:ext uri="{FF2B5EF4-FFF2-40B4-BE49-F238E27FC236}">
                  <a16:creationId xmlns:a16="http://schemas.microsoft.com/office/drawing/2014/main" id="{78178691-514A-41F7-85C0-62E82F509F75}"/>
                </a:ext>
              </a:extLst>
            </p:cNvPr>
            <p:cNvSpPr/>
            <p:nvPr/>
          </p:nvSpPr>
          <p:spPr>
            <a:xfrm flipV="1">
              <a:off x="596462" y="2828252"/>
              <a:ext cx="77955" cy="494120"/>
            </a:xfrm>
            <a:custGeom>
              <a:avLst/>
              <a:gdLst>
                <a:gd name="connsiteX0" fmla="*/ 48047 w 77955"/>
                <a:gd name="connsiteY0" fmla="*/ 134895 h 494120"/>
                <a:gd name="connsiteX1" fmla="*/ 48047 w 77955"/>
                <a:gd name="connsiteY1" fmla="*/ 134895 h 494120"/>
                <a:gd name="connsiteX2" fmla="*/ 28058 w 77955"/>
                <a:gd name="connsiteY2" fmla="*/ 201062 h 494120"/>
                <a:gd name="connsiteX3" fmla="*/ 27854 w 77955"/>
                <a:gd name="connsiteY3" fmla="*/ 185279 h 494120"/>
                <a:gd name="connsiteX4" fmla="*/ 40810 w 77955"/>
                <a:gd name="connsiteY4" fmla="*/ 197409 h 494120"/>
                <a:gd name="connsiteX5" fmla="*/ 43908 w 77955"/>
                <a:gd name="connsiteY5" fmla="*/ 169633 h 494120"/>
                <a:gd name="connsiteX6" fmla="*/ 46803 w 77955"/>
                <a:gd name="connsiteY6" fmla="*/ 202165 h 494120"/>
                <a:gd name="connsiteX7" fmla="*/ 28058 w 77955"/>
                <a:gd name="connsiteY7" fmla="*/ 201062 h 494120"/>
                <a:gd name="connsiteX8" fmla="*/ 38534 w 77955"/>
                <a:gd name="connsiteY8" fmla="*/ 284875 h 494120"/>
                <a:gd name="connsiteX9" fmla="*/ 45631 w 77955"/>
                <a:gd name="connsiteY9" fmla="*/ 233319 h 494120"/>
                <a:gd name="connsiteX10" fmla="*/ 32954 w 77955"/>
                <a:gd name="connsiteY10" fmla="*/ 217397 h 494120"/>
                <a:gd name="connsiteX11" fmla="*/ 59349 w 77955"/>
                <a:gd name="connsiteY11" fmla="*/ 232423 h 494120"/>
                <a:gd name="connsiteX12" fmla="*/ 38534 w 77955"/>
                <a:gd name="connsiteY12" fmla="*/ 284875 h 494120"/>
                <a:gd name="connsiteX13" fmla="*/ 34883 w 77955"/>
                <a:gd name="connsiteY13" fmla="*/ 373994 h 494120"/>
                <a:gd name="connsiteX14" fmla="*/ 34883 w 77955"/>
                <a:gd name="connsiteY14" fmla="*/ 373994 h 494120"/>
                <a:gd name="connsiteX15" fmla="*/ 14688 w 77955"/>
                <a:gd name="connsiteY15" fmla="*/ 417003 h 494120"/>
                <a:gd name="connsiteX16" fmla="*/ 14688 w 77955"/>
                <a:gd name="connsiteY16" fmla="*/ 417003 h 494120"/>
                <a:gd name="connsiteX17" fmla="*/ 14826 w 77955"/>
                <a:gd name="connsiteY17" fmla="*/ 450018 h 494120"/>
                <a:gd name="connsiteX18" fmla="*/ 14826 w 77955"/>
                <a:gd name="connsiteY18" fmla="*/ 450018 h 494120"/>
                <a:gd name="connsiteX19" fmla="*/ -682 w 77955"/>
                <a:gd name="connsiteY19" fmla="*/ 491717 h 494120"/>
                <a:gd name="connsiteX20" fmla="*/ 46186 w 77955"/>
                <a:gd name="connsiteY20" fmla="*/ 473108 h 494120"/>
                <a:gd name="connsiteX21" fmla="*/ 41843 w 77955"/>
                <a:gd name="connsiteY21" fmla="*/ 464354 h 494120"/>
                <a:gd name="connsiteX22" fmla="*/ 29992 w 77955"/>
                <a:gd name="connsiteY22" fmla="*/ 464354 h 494120"/>
                <a:gd name="connsiteX23" fmla="*/ 28473 w 77955"/>
                <a:gd name="connsiteY23" fmla="*/ 459736 h 494120"/>
                <a:gd name="connsiteX24" fmla="*/ 41291 w 77955"/>
                <a:gd name="connsiteY24" fmla="*/ 458978 h 494120"/>
                <a:gd name="connsiteX25" fmla="*/ 44185 w 77955"/>
                <a:gd name="connsiteY25" fmla="*/ 431960 h 494120"/>
                <a:gd name="connsiteX26" fmla="*/ 13932 w 77955"/>
                <a:gd name="connsiteY26" fmla="*/ 432511 h 494120"/>
                <a:gd name="connsiteX27" fmla="*/ 46671 w 77955"/>
                <a:gd name="connsiteY27" fmla="*/ 403356 h 494120"/>
                <a:gd name="connsiteX28" fmla="*/ 29440 w 77955"/>
                <a:gd name="connsiteY28" fmla="*/ 395154 h 494120"/>
                <a:gd name="connsiteX29" fmla="*/ 50733 w 77955"/>
                <a:gd name="connsiteY29" fmla="*/ 381714 h 494120"/>
                <a:gd name="connsiteX30" fmla="*/ 54732 w 77955"/>
                <a:gd name="connsiteY30" fmla="*/ 347734 h 494120"/>
                <a:gd name="connsiteX31" fmla="*/ 43292 w 77955"/>
                <a:gd name="connsiteY31" fmla="*/ 362553 h 494120"/>
                <a:gd name="connsiteX32" fmla="*/ 39016 w 77955"/>
                <a:gd name="connsiteY32" fmla="*/ 319406 h 494120"/>
                <a:gd name="connsiteX33" fmla="*/ 32331 w 77955"/>
                <a:gd name="connsiteY33" fmla="*/ 283565 h 494120"/>
                <a:gd name="connsiteX34" fmla="*/ 53423 w 77955"/>
                <a:gd name="connsiteY34" fmla="*/ 289493 h 494120"/>
                <a:gd name="connsiteX35" fmla="*/ 51148 w 77955"/>
                <a:gd name="connsiteY35" fmla="*/ 304380 h 494120"/>
                <a:gd name="connsiteX36" fmla="*/ 58456 w 77955"/>
                <a:gd name="connsiteY36" fmla="*/ 322921 h 494120"/>
                <a:gd name="connsiteX37" fmla="*/ 55903 w 77955"/>
                <a:gd name="connsiteY37" fmla="*/ 268264 h 494120"/>
                <a:gd name="connsiteX38" fmla="*/ 65762 w 77955"/>
                <a:gd name="connsiteY38" fmla="*/ 216157 h 494120"/>
                <a:gd name="connsiteX39" fmla="*/ 52664 w 77955"/>
                <a:gd name="connsiteY39" fmla="*/ 206232 h 494120"/>
                <a:gd name="connsiteX40" fmla="*/ 69965 w 77955"/>
                <a:gd name="connsiteY40" fmla="*/ 179765 h 494120"/>
                <a:gd name="connsiteX41" fmla="*/ 55628 w 77955"/>
                <a:gd name="connsiteY41" fmla="*/ 181763 h 494120"/>
                <a:gd name="connsiteX42" fmla="*/ 71478 w 77955"/>
                <a:gd name="connsiteY42" fmla="*/ 161913 h 494120"/>
                <a:gd name="connsiteX43" fmla="*/ 53079 w 77955"/>
                <a:gd name="connsiteY43" fmla="*/ 154125 h 494120"/>
                <a:gd name="connsiteX44" fmla="*/ 53286 w 77955"/>
                <a:gd name="connsiteY44" fmla="*/ 149645 h 494120"/>
                <a:gd name="connsiteX45" fmla="*/ 69828 w 77955"/>
                <a:gd name="connsiteY45" fmla="*/ 154125 h 494120"/>
                <a:gd name="connsiteX46" fmla="*/ 76925 w 77955"/>
                <a:gd name="connsiteY46" fmla="*/ 1388 h 494120"/>
                <a:gd name="connsiteX47" fmla="*/ 72241 w 77955"/>
                <a:gd name="connsiteY47" fmla="*/ -2403 h 494120"/>
                <a:gd name="connsiteX48" fmla="*/ 61969 w 77955"/>
                <a:gd name="connsiteY48" fmla="*/ 13312 h 494120"/>
                <a:gd name="connsiteX49" fmla="*/ 60246 w 77955"/>
                <a:gd name="connsiteY49" fmla="*/ 39572 h 494120"/>
                <a:gd name="connsiteX50" fmla="*/ 43429 w 77955"/>
                <a:gd name="connsiteY50" fmla="*/ 53977 h 494120"/>
                <a:gd name="connsiteX51" fmla="*/ 45357 w 77955"/>
                <a:gd name="connsiteY51" fmla="*/ 21514 h 494120"/>
                <a:gd name="connsiteX52" fmla="*/ 42258 w 77955"/>
                <a:gd name="connsiteY52" fmla="*/ 24271 h 494120"/>
                <a:gd name="connsiteX53" fmla="*/ 25854 w 77955"/>
                <a:gd name="connsiteY53" fmla="*/ 53219 h 494120"/>
                <a:gd name="connsiteX54" fmla="*/ 14615 w 77955"/>
                <a:gd name="connsiteY54" fmla="*/ 231251 h 494120"/>
                <a:gd name="connsiteX55" fmla="*/ 19653 w 77955"/>
                <a:gd name="connsiteY55" fmla="*/ 232768 h 494120"/>
                <a:gd name="connsiteX56" fmla="*/ 20614 w 77955"/>
                <a:gd name="connsiteY56" fmla="*/ 211677 h 494120"/>
                <a:gd name="connsiteX57" fmla="*/ 25302 w 77955"/>
                <a:gd name="connsiteY57" fmla="*/ 212021 h 494120"/>
                <a:gd name="connsiteX58" fmla="*/ 13032 w 77955"/>
                <a:gd name="connsiteY58" fmla="*/ 253238 h 494120"/>
                <a:gd name="connsiteX59" fmla="*/ 24887 w 77955"/>
                <a:gd name="connsiteY59" fmla="*/ 264059 h 494120"/>
                <a:gd name="connsiteX60" fmla="*/ 12136 w 77955"/>
                <a:gd name="connsiteY60" fmla="*/ 263026 h 494120"/>
                <a:gd name="connsiteX61" fmla="*/ 14755 w 77955"/>
                <a:gd name="connsiteY61" fmla="*/ 326850 h 494120"/>
                <a:gd name="connsiteX62" fmla="*/ 23855 w 77955"/>
                <a:gd name="connsiteY62" fmla="*/ 325678 h 494120"/>
                <a:gd name="connsiteX63" fmla="*/ 23855 w 77955"/>
                <a:gd name="connsiteY63" fmla="*/ 329745 h 494120"/>
                <a:gd name="connsiteX64" fmla="*/ 7244 w 77955"/>
                <a:gd name="connsiteY64" fmla="*/ 348768 h 494120"/>
                <a:gd name="connsiteX65" fmla="*/ -682 w 77955"/>
                <a:gd name="connsiteY65" fmla="*/ 491717 h 49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77955" h="494120">
                  <a:moveTo>
                    <a:pt x="48047" y="134895"/>
                  </a:moveTo>
                  <a:cubicBezTo>
                    <a:pt x="37363" y="114148"/>
                    <a:pt x="70655" y="133309"/>
                    <a:pt x="48047" y="134895"/>
                  </a:cubicBezTo>
                  <a:close/>
                  <a:moveTo>
                    <a:pt x="28058" y="201062"/>
                  </a:moveTo>
                  <a:cubicBezTo>
                    <a:pt x="27991" y="197134"/>
                    <a:pt x="27854" y="189207"/>
                    <a:pt x="27854" y="185279"/>
                  </a:cubicBezTo>
                  <a:cubicBezTo>
                    <a:pt x="31090" y="188311"/>
                    <a:pt x="37571" y="194377"/>
                    <a:pt x="40810" y="197409"/>
                  </a:cubicBezTo>
                  <a:cubicBezTo>
                    <a:pt x="41981" y="188242"/>
                    <a:pt x="43014" y="179006"/>
                    <a:pt x="43908" y="169633"/>
                  </a:cubicBezTo>
                  <a:cubicBezTo>
                    <a:pt x="44738" y="180523"/>
                    <a:pt x="45705" y="191413"/>
                    <a:pt x="46803" y="202165"/>
                  </a:cubicBezTo>
                  <a:cubicBezTo>
                    <a:pt x="40535" y="201751"/>
                    <a:pt x="34332" y="201338"/>
                    <a:pt x="28058" y="201062"/>
                  </a:cubicBezTo>
                  <a:moveTo>
                    <a:pt x="38534" y="284875"/>
                  </a:moveTo>
                  <a:cubicBezTo>
                    <a:pt x="43014" y="268057"/>
                    <a:pt x="44533" y="250688"/>
                    <a:pt x="45631" y="233319"/>
                  </a:cubicBezTo>
                  <a:cubicBezTo>
                    <a:pt x="41362" y="228150"/>
                    <a:pt x="37156" y="222842"/>
                    <a:pt x="32954" y="217397"/>
                  </a:cubicBezTo>
                  <a:cubicBezTo>
                    <a:pt x="41911" y="222222"/>
                    <a:pt x="50596" y="227392"/>
                    <a:pt x="59349" y="232423"/>
                  </a:cubicBezTo>
                  <a:cubicBezTo>
                    <a:pt x="52115" y="249999"/>
                    <a:pt x="55076" y="272399"/>
                    <a:pt x="38534" y="284875"/>
                  </a:cubicBezTo>
                  <a:moveTo>
                    <a:pt x="34883" y="373994"/>
                  </a:moveTo>
                  <a:cubicBezTo>
                    <a:pt x="38879" y="370134"/>
                    <a:pt x="38879" y="370134"/>
                    <a:pt x="34883" y="373994"/>
                  </a:cubicBezTo>
                  <a:moveTo>
                    <a:pt x="14688" y="417003"/>
                  </a:moveTo>
                  <a:cubicBezTo>
                    <a:pt x="18339" y="413488"/>
                    <a:pt x="18339" y="413488"/>
                    <a:pt x="14688" y="417003"/>
                  </a:cubicBezTo>
                  <a:moveTo>
                    <a:pt x="14826" y="450018"/>
                  </a:moveTo>
                  <a:cubicBezTo>
                    <a:pt x="2554" y="429685"/>
                    <a:pt x="37363" y="447950"/>
                    <a:pt x="14826" y="450018"/>
                  </a:cubicBezTo>
                  <a:moveTo>
                    <a:pt x="-682" y="491717"/>
                  </a:moveTo>
                  <a:cubicBezTo>
                    <a:pt x="10001" y="475727"/>
                    <a:pt x="29025" y="475382"/>
                    <a:pt x="46186" y="473108"/>
                  </a:cubicBezTo>
                  <a:lnTo>
                    <a:pt x="41843" y="464354"/>
                  </a:lnTo>
                  <a:cubicBezTo>
                    <a:pt x="38879" y="464354"/>
                    <a:pt x="32954" y="464354"/>
                    <a:pt x="29992" y="464354"/>
                  </a:cubicBezTo>
                  <a:lnTo>
                    <a:pt x="28473" y="459736"/>
                  </a:lnTo>
                  <a:cubicBezTo>
                    <a:pt x="31642" y="459530"/>
                    <a:pt x="38055" y="459185"/>
                    <a:pt x="41291" y="458978"/>
                  </a:cubicBezTo>
                  <a:cubicBezTo>
                    <a:pt x="42533" y="450087"/>
                    <a:pt x="43499" y="441058"/>
                    <a:pt x="44185" y="431960"/>
                  </a:cubicBezTo>
                  <a:cubicBezTo>
                    <a:pt x="36674" y="432098"/>
                    <a:pt x="21508" y="432373"/>
                    <a:pt x="13932" y="432511"/>
                  </a:cubicBezTo>
                  <a:cubicBezTo>
                    <a:pt x="24408" y="422586"/>
                    <a:pt x="39639" y="416452"/>
                    <a:pt x="46671" y="403356"/>
                  </a:cubicBezTo>
                  <a:cubicBezTo>
                    <a:pt x="42325" y="401288"/>
                    <a:pt x="33710" y="397222"/>
                    <a:pt x="29440" y="395154"/>
                  </a:cubicBezTo>
                  <a:cubicBezTo>
                    <a:pt x="36537" y="390743"/>
                    <a:pt x="43634" y="386263"/>
                    <a:pt x="50733" y="381714"/>
                  </a:cubicBezTo>
                  <a:cubicBezTo>
                    <a:pt x="52045" y="370410"/>
                    <a:pt x="53423" y="359106"/>
                    <a:pt x="54732" y="347734"/>
                  </a:cubicBezTo>
                  <a:cubicBezTo>
                    <a:pt x="51840" y="351387"/>
                    <a:pt x="46116" y="358831"/>
                    <a:pt x="43292" y="362553"/>
                  </a:cubicBezTo>
                  <a:cubicBezTo>
                    <a:pt x="42258" y="348147"/>
                    <a:pt x="40877" y="333742"/>
                    <a:pt x="39016" y="319406"/>
                  </a:cubicBezTo>
                  <a:cubicBezTo>
                    <a:pt x="26125" y="310652"/>
                    <a:pt x="28333" y="296454"/>
                    <a:pt x="32331" y="283565"/>
                  </a:cubicBezTo>
                  <a:cubicBezTo>
                    <a:pt x="37571" y="285081"/>
                    <a:pt x="48117" y="287976"/>
                    <a:pt x="53423" y="289493"/>
                  </a:cubicBezTo>
                  <a:cubicBezTo>
                    <a:pt x="52871" y="293215"/>
                    <a:pt x="51700" y="300658"/>
                    <a:pt x="51148" y="304380"/>
                  </a:cubicBezTo>
                  <a:cubicBezTo>
                    <a:pt x="52939" y="308998"/>
                    <a:pt x="56595" y="318303"/>
                    <a:pt x="58456" y="322921"/>
                  </a:cubicBezTo>
                  <a:cubicBezTo>
                    <a:pt x="58733" y="304725"/>
                    <a:pt x="56455" y="286529"/>
                    <a:pt x="55903" y="268264"/>
                  </a:cubicBezTo>
                  <a:cubicBezTo>
                    <a:pt x="66933" y="253031"/>
                    <a:pt x="63762" y="233733"/>
                    <a:pt x="65762" y="216157"/>
                  </a:cubicBezTo>
                  <a:cubicBezTo>
                    <a:pt x="62453" y="213675"/>
                    <a:pt x="55903" y="208713"/>
                    <a:pt x="52664" y="206232"/>
                  </a:cubicBezTo>
                  <a:cubicBezTo>
                    <a:pt x="65141" y="202441"/>
                    <a:pt x="68861" y="191826"/>
                    <a:pt x="69965" y="179765"/>
                  </a:cubicBezTo>
                  <a:cubicBezTo>
                    <a:pt x="66382" y="180247"/>
                    <a:pt x="59212" y="181281"/>
                    <a:pt x="55628" y="181763"/>
                  </a:cubicBezTo>
                  <a:cubicBezTo>
                    <a:pt x="61694" y="175767"/>
                    <a:pt x="70170" y="171356"/>
                    <a:pt x="71478" y="161913"/>
                  </a:cubicBezTo>
                  <a:cubicBezTo>
                    <a:pt x="66864" y="159983"/>
                    <a:pt x="57693" y="156055"/>
                    <a:pt x="53079" y="154125"/>
                  </a:cubicBezTo>
                  <a:lnTo>
                    <a:pt x="53286" y="149645"/>
                  </a:lnTo>
                  <a:cubicBezTo>
                    <a:pt x="57419" y="150747"/>
                    <a:pt x="65693" y="153022"/>
                    <a:pt x="69828" y="154125"/>
                  </a:cubicBezTo>
                  <a:cubicBezTo>
                    <a:pt x="72722" y="103258"/>
                    <a:pt x="78786" y="52323"/>
                    <a:pt x="76925" y="1388"/>
                  </a:cubicBezTo>
                  <a:cubicBezTo>
                    <a:pt x="75754" y="423"/>
                    <a:pt x="73412" y="-1438"/>
                    <a:pt x="72241" y="-2403"/>
                  </a:cubicBezTo>
                  <a:cubicBezTo>
                    <a:pt x="69688" y="1525"/>
                    <a:pt x="64518" y="9383"/>
                    <a:pt x="61969" y="13312"/>
                  </a:cubicBezTo>
                  <a:cubicBezTo>
                    <a:pt x="61624" y="22134"/>
                    <a:pt x="61072" y="30887"/>
                    <a:pt x="60246" y="39572"/>
                  </a:cubicBezTo>
                  <a:cubicBezTo>
                    <a:pt x="54802" y="44603"/>
                    <a:pt x="49078" y="49359"/>
                    <a:pt x="43429" y="53977"/>
                  </a:cubicBezTo>
                  <a:cubicBezTo>
                    <a:pt x="43777" y="43156"/>
                    <a:pt x="44393" y="32404"/>
                    <a:pt x="45357" y="21514"/>
                  </a:cubicBezTo>
                  <a:lnTo>
                    <a:pt x="42258" y="24271"/>
                  </a:lnTo>
                  <a:cubicBezTo>
                    <a:pt x="33985" y="31921"/>
                    <a:pt x="25302" y="41157"/>
                    <a:pt x="25854" y="53219"/>
                  </a:cubicBezTo>
                  <a:cubicBezTo>
                    <a:pt x="20684" y="112494"/>
                    <a:pt x="20269" y="172045"/>
                    <a:pt x="14615" y="231251"/>
                  </a:cubicBezTo>
                  <a:lnTo>
                    <a:pt x="19653" y="232768"/>
                  </a:lnTo>
                  <a:cubicBezTo>
                    <a:pt x="19925" y="227460"/>
                    <a:pt x="20409" y="216915"/>
                    <a:pt x="20614" y="211677"/>
                  </a:cubicBezTo>
                  <a:lnTo>
                    <a:pt x="25302" y="212021"/>
                  </a:lnTo>
                  <a:cubicBezTo>
                    <a:pt x="25783" y="227047"/>
                    <a:pt x="23304" y="241728"/>
                    <a:pt x="13032" y="253238"/>
                  </a:cubicBezTo>
                  <a:cubicBezTo>
                    <a:pt x="15997" y="255926"/>
                    <a:pt x="21923" y="261371"/>
                    <a:pt x="24887" y="264059"/>
                  </a:cubicBezTo>
                  <a:cubicBezTo>
                    <a:pt x="21648" y="263784"/>
                    <a:pt x="15307" y="263232"/>
                    <a:pt x="12136" y="263026"/>
                  </a:cubicBezTo>
                  <a:cubicBezTo>
                    <a:pt x="10690" y="284323"/>
                    <a:pt x="10690" y="305759"/>
                    <a:pt x="14755" y="326850"/>
                  </a:cubicBezTo>
                  <a:lnTo>
                    <a:pt x="23855" y="325678"/>
                  </a:lnTo>
                  <a:cubicBezTo>
                    <a:pt x="23855" y="326712"/>
                    <a:pt x="23855" y="328711"/>
                    <a:pt x="23855" y="329745"/>
                  </a:cubicBezTo>
                  <a:cubicBezTo>
                    <a:pt x="13721" y="331399"/>
                    <a:pt x="4761" y="337257"/>
                    <a:pt x="7244" y="348768"/>
                  </a:cubicBezTo>
                  <a:cubicBezTo>
                    <a:pt x="5176" y="396464"/>
                    <a:pt x="763" y="443953"/>
                    <a:pt x="-682" y="491717"/>
                  </a:cubicBezTo>
                </a:path>
              </a:pathLst>
            </a:custGeom>
            <a:grpFill/>
            <a:ln w="689" cap="flat">
              <a:noFill/>
              <a:prstDash val="solid"/>
              <a:miter/>
            </a:ln>
          </p:spPr>
          <p:txBody>
            <a:bodyPr rtlCol="0" anchor="ctr"/>
            <a:lstStyle/>
            <a:p>
              <a:endParaRPr lang="en-US" sz="2400" dirty="0"/>
            </a:p>
          </p:txBody>
        </p:sp>
        <p:sp>
          <p:nvSpPr>
            <p:cNvPr id="434" name="Graphic 8">
              <a:extLst>
                <a:ext uri="{FF2B5EF4-FFF2-40B4-BE49-F238E27FC236}">
                  <a16:creationId xmlns:a16="http://schemas.microsoft.com/office/drawing/2014/main" id="{186A09C4-7261-4891-A602-EFFA81722FBA}"/>
                </a:ext>
              </a:extLst>
            </p:cNvPr>
            <p:cNvSpPr/>
            <p:nvPr/>
          </p:nvSpPr>
          <p:spPr>
            <a:xfrm flipV="1">
              <a:off x="609268" y="2869952"/>
              <a:ext cx="3917377" cy="56013"/>
            </a:xfrm>
            <a:custGeom>
              <a:avLst/>
              <a:gdLst>
                <a:gd name="connsiteX0" fmla="*/ 3906100 w 3917377"/>
                <a:gd name="connsiteY0" fmla="*/ 6863 h 56013"/>
                <a:gd name="connsiteX1" fmla="*/ 3906100 w 3917377"/>
                <a:gd name="connsiteY1" fmla="*/ 6863 h 56013"/>
                <a:gd name="connsiteX2" fmla="*/ -410 w 3917377"/>
                <a:gd name="connsiteY2" fmla="*/ 53319 h 56013"/>
                <a:gd name="connsiteX3" fmla="*/ -410 w 3917377"/>
                <a:gd name="connsiteY3" fmla="*/ 53319 h 56013"/>
              </a:gdLst>
              <a:ahLst/>
              <a:cxnLst>
                <a:cxn ang="0">
                  <a:pos x="connsiteX0" y="connsiteY0"/>
                </a:cxn>
                <a:cxn ang="0">
                  <a:pos x="connsiteX1" y="connsiteY1"/>
                </a:cxn>
                <a:cxn ang="0">
                  <a:pos x="connsiteX2" y="connsiteY2"/>
                </a:cxn>
                <a:cxn ang="0">
                  <a:pos x="connsiteX3" y="connsiteY3"/>
                </a:cxn>
              </a:cxnLst>
              <a:rect l="l" t="t" r="r" b="b"/>
              <a:pathLst>
                <a:path w="3917377" h="56013">
                  <a:moveTo>
                    <a:pt x="3906100" y="6863"/>
                  </a:moveTo>
                  <a:cubicBezTo>
                    <a:pt x="3928638" y="6450"/>
                    <a:pt x="3896312" y="-14434"/>
                    <a:pt x="3906100" y="6863"/>
                  </a:cubicBezTo>
                  <a:close/>
                  <a:moveTo>
                    <a:pt x="-410" y="53319"/>
                  </a:moveTo>
                  <a:cubicBezTo>
                    <a:pt x="22128" y="51251"/>
                    <a:pt x="-12682" y="32986"/>
                    <a:pt x="-410" y="53319"/>
                  </a:cubicBezTo>
                </a:path>
              </a:pathLst>
            </a:custGeom>
            <a:grpFill/>
            <a:ln w="689" cap="flat">
              <a:noFill/>
              <a:prstDash val="solid"/>
              <a:miter/>
            </a:ln>
          </p:spPr>
          <p:txBody>
            <a:bodyPr rtlCol="0" anchor="ctr"/>
            <a:lstStyle/>
            <a:p>
              <a:endParaRPr lang="en-US" sz="2400" dirty="0"/>
            </a:p>
          </p:txBody>
        </p:sp>
        <p:sp>
          <p:nvSpPr>
            <p:cNvPr id="435" name="Graphic 8">
              <a:extLst>
                <a:ext uri="{FF2B5EF4-FFF2-40B4-BE49-F238E27FC236}">
                  <a16:creationId xmlns:a16="http://schemas.microsoft.com/office/drawing/2014/main" id="{E5C3477C-AFCB-490F-A595-D56C4AF2F2CD}"/>
                </a:ext>
              </a:extLst>
            </p:cNvPr>
            <p:cNvSpPr/>
            <p:nvPr/>
          </p:nvSpPr>
          <p:spPr>
            <a:xfrm flipV="1">
              <a:off x="4565305" y="2881406"/>
              <a:ext cx="12032" cy="12533"/>
            </a:xfrm>
            <a:custGeom>
              <a:avLst/>
              <a:gdLst>
                <a:gd name="connsiteX0" fmla="*/ -4417 w 12032"/>
                <a:gd name="connsiteY0" fmla="*/ 7697 h 12533"/>
                <a:gd name="connsiteX1" fmla="*/ 5302 w 12032"/>
                <a:gd name="connsiteY1" fmla="*/ -574 h 12533"/>
                <a:gd name="connsiteX2" fmla="*/ -4417 w 12032"/>
                <a:gd name="connsiteY2" fmla="*/ 7697 h 12533"/>
                <a:gd name="connsiteX3" fmla="*/ -4417 w 12032"/>
                <a:gd name="connsiteY3" fmla="*/ 7697 h 12533"/>
              </a:gdLst>
              <a:ahLst/>
              <a:cxnLst>
                <a:cxn ang="0">
                  <a:pos x="connsiteX0" y="connsiteY0"/>
                </a:cxn>
                <a:cxn ang="0">
                  <a:pos x="connsiteX1" y="connsiteY1"/>
                </a:cxn>
                <a:cxn ang="0">
                  <a:pos x="connsiteX2" y="connsiteY2"/>
                </a:cxn>
                <a:cxn ang="0">
                  <a:pos x="connsiteX3" y="connsiteY3"/>
                </a:cxn>
              </a:cxnLst>
              <a:rect l="l" t="t" r="r" b="b"/>
              <a:pathLst>
                <a:path w="12032" h="12533">
                  <a:moveTo>
                    <a:pt x="-4417" y="7697"/>
                  </a:moveTo>
                  <a:cubicBezTo>
                    <a:pt x="5095" y="12246"/>
                    <a:pt x="8334" y="9489"/>
                    <a:pt x="5302" y="-574"/>
                  </a:cubicBezTo>
                  <a:cubicBezTo>
                    <a:pt x="-4417" y="-5123"/>
                    <a:pt x="-7656" y="-2435"/>
                    <a:pt x="-4417" y="7697"/>
                  </a:cubicBezTo>
                  <a:lnTo>
                    <a:pt x="-4417" y="7697"/>
                  </a:lnTo>
                </a:path>
              </a:pathLst>
            </a:custGeom>
            <a:grpFill/>
            <a:ln w="689" cap="flat">
              <a:noFill/>
              <a:prstDash val="solid"/>
              <a:miter/>
            </a:ln>
          </p:spPr>
          <p:txBody>
            <a:bodyPr rtlCol="0" anchor="ctr"/>
            <a:lstStyle/>
            <a:p>
              <a:endParaRPr lang="en-US" sz="2400" dirty="0"/>
            </a:p>
          </p:txBody>
        </p:sp>
        <p:sp>
          <p:nvSpPr>
            <p:cNvPr id="436" name="Graphic 8">
              <a:extLst>
                <a:ext uri="{FF2B5EF4-FFF2-40B4-BE49-F238E27FC236}">
                  <a16:creationId xmlns:a16="http://schemas.microsoft.com/office/drawing/2014/main" id="{7DB4E5F3-6856-4673-B539-03C760476504}"/>
                </a:ext>
              </a:extLst>
            </p:cNvPr>
            <p:cNvSpPr/>
            <p:nvPr/>
          </p:nvSpPr>
          <p:spPr>
            <a:xfrm flipV="1">
              <a:off x="6288822" y="2894072"/>
              <a:ext cx="13970" cy="14166"/>
            </a:xfrm>
            <a:custGeom>
              <a:avLst/>
              <a:gdLst>
                <a:gd name="connsiteX0" fmla="*/ -6504 w 13970"/>
                <a:gd name="connsiteY0" fmla="*/ 10095 h 14166"/>
                <a:gd name="connsiteX1" fmla="*/ 4938 w 13970"/>
                <a:gd name="connsiteY1" fmla="*/ -1346 h 14166"/>
                <a:gd name="connsiteX2" fmla="*/ -6504 w 13970"/>
                <a:gd name="connsiteY2" fmla="*/ 10095 h 14166"/>
                <a:gd name="connsiteX3" fmla="*/ -6504 w 13970"/>
                <a:gd name="connsiteY3" fmla="*/ 10095 h 14166"/>
              </a:gdLst>
              <a:ahLst/>
              <a:cxnLst>
                <a:cxn ang="0">
                  <a:pos x="connsiteX0" y="connsiteY0"/>
                </a:cxn>
                <a:cxn ang="0">
                  <a:pos x="connsiteX1" y="connsiteY1"/>
                </a:cxn>
                <a:cxn ang="0">
                  <a:pos x="connsiteX2" y="connsiteY2"/>
                </a:cxn>
                <a:cxn ang="0">
                  <a:pos x="connsiteX3" y="connsiteY3"/>
                </a:cxn>
              </a:cxnLst>
              <a:rect l="l" t="t" r="r" b="b"/>
              <a:pathLst>
                <a:path w="13970" h="14166">
                  <a:moveTo>
                    <a:pt x="-6504" y="10095"/>
                  </a:moveTo>
                  <a:cubicBezTo>
                    <a:pt x="4593" y="13817"/>
                    <a:pt x="8391" y="10026"/>
                    <a:pt x="4938" y="-1346"/>
                  </a:cubicBezTo>
                  <a:cubicBezTo>
                    <a:pt x="-6228" y="-4999"/>
                    <a:pt x="-10088" y="-1208"/>
                    <a:pt x="-6504" y="10095"/>
                  </a:cubicBezTo>
                  <a:lnTo>
                    <a:pt x="-6504" y="10095"/>
                  </a:lnTo>
                </a:path>
              </a:pathLst>
            </a:custGeom>
            <a:grpFill/>
            <a:ln w="689" cap="flat">
              <a:noFill/>
              <a:prstDash val="solid"/>
              <a:miter/>
            </a:ln>
          </p:spPr>
          <p:txBody>
            <a:bodyPr rtlCol="0" anchor="ctr"/>
            <a:lstStyle/>
            <a:p>
              <a:endParaRPr lang="en-US" sz="2400" dirty="0"/>
            </a:p>
          </p:txBody>
        </p:sp>
        <p:sp>
          <p:nvSpPr>
            <p:cNvPr id="437" name="Graphic 8">
              <a:extLst>
                <a:ext uri="{FF2B5EF4-FFF2-40B4-BE49-F238E27FC236}">
                  <a16:creationId xmlns:a16="http://schemas.microsoft.com/office/drawing/2014/main" id="{BA659B14-9F42-4540-9E75-C80E017D4D39}"/>
                </a:ext>
              </a:extLst>
            </p:cNvPr>
            <p:cNvSpPr/>
            <p:nvPr/>
          </p:nvSpPr>
          <p:spPr>
            <a:xfrm flipV="1">
              <a:off x="6309349" y="2896052"/>
              <a:ext cx="12117" cy="12208"/>
            </a:xfrm>
            <a:custGeom>
              <a:avLst/>
              <a:gdLst>
                <a:gd name="connsiteX0" fmla="*/ -6861 w 12117"/>
                <a:gd name="connsiteY0" fmla="*/ 8602 h 12208"/>
                <a:gd name="connsiteX1" fmla="*/ 3409 w 12117"/>
                <a:gd name="connsiteY1" fmla="*/ -1805 h 12208"/>
                <a:gd name="connsiteX2" fmla="*/ -6861 w 12117"/>
                <a:gd name="connsiteY2" fmla="*/ 8602 h 12208"/>
                <a:gd name="connsiteX3" fmla="*/ -6861 w 12117"/>
                <a:gd name="connsiteY3" fmla="*/ 8602 h 12208"/>
              </a:gdLst>
              <a:ahLst/>
              <a:cxnLst>
                <a:cxn ang="0">
                  <a:pos x="connsiteX0" y="connsiteY0"/>
                </a:cxn>
                <a:cxn ang="0">
                  <a:pos x="connsiteX1" y="connsiteY1"/>
                </a:cxn>
                <a:cxn ang="0">
                  <a:pos x="connsiteX2" y="connsiteY2"/>
                </a:cxn>
                <a:cxn ang="0">
                  <a:pos x="connsiteX3" y="connsiteY3"/>
                </a:cxn>
              </a:cxnLst>
              <a:rect l="l" t="t" r="r" b="b"/>
              <a:pathLst>
                <a:path w="12117" h="12208">
                  <a:moveTo>
                    <a:pt x="-6861" y="8602"/>
                  </a:moveTo>
                  <a:cubicBezTo>
                    <a:pt x="2651" y="11359"/>
                    <a:pt x="6097" y="7913"/>
                    <a:pt x="3409" y="-1805"/>
                  </a:cubicBezTo>
                  <a:cubicBezTo>
                    <a:pt x="-6309" y="-4493"/>
                    <a:pt x="-9686" y="-1047"/>
                    <a:pt x="-6861" y="8602"/>
                  </a:cubicBezTo>
                  <a:lnTo>
                    <a:pt x="-6861" y="8602"/>
                  </a:lnTo>
                </a:path>
              </a:pathLst>
            </a:custGeom>
            <a:grpFill/>
            <a:ln w="689" cap="flat">
              <a:noFill/>
              <a:prstDash val="solid"/>
              <a:miter/>
            </a:ln>
          </p:spPr>
          <p:txBody>
            <a:bodyPr rtlCol="0" anchor="ctr"/>
            <a:lstStyle/>
            <a:p>
              <a:endParaRPr lang="en-US" sz="2400" dirty="0"/>
            </a:p>
          </p:txBody>
        </p:sp>
        <p:sp>
          <p:nvSpPr>
            <p:cNvPr id="438" name="Graphic 8">
              <a:extLst>
                <a:ext uri="{FF2B5EF4-FFF2-40B4-BE49-F238E27FC236}">
                  <a16:creationId xmlns:a16="http://schemas.microsoft.com/office/drawing/2014/main" id="{08EC6B97-FE84-4F0B-993F-A8CAD50F7BD1}"/>
                </a:ext>
              </a:extLst>
            </p:cNvPr>
            <p:cNvSpPr/>
            <p:nvPr/>
          </p:nvSpPr>
          <p:spPr>
            <a:xfrm flipV="1">
              <a:off x="7148884" y="2896626"/>
              <a:ext cx="7754" cy="11923"/>
            </a:xfrm>
            <a:custGeom>
              <a:avLst/>
              <a:gdLst>
                <a:gd name="connsiteX0" fmla="*/ -1123 w 7754"/>
                <a:gd name="connsiteY0" fmla="*/ -2687 h 11923"/>
                <a:gd name="connsiteX1" fmla="*/ -1123 w 7754"/>
                <a:gd name="connsiteY1" fmla="*/ 9237 h 11923"/>
                <a:gd name="connsiteX2" fmla="*/ -1123 w 7754"/>
                <a:gd name="connsiteY2" fmla="*/ -2687 h 11923"/>
                <a:gd name="connsiteX3" fmla="*/ -1123 w 7754"/>
                <a:gd name="connsiteY3" fmla="*/ -2687 h 11923"/>
              </a:gdLst>
              <a:ahLst/>
              <a:cxnLst>
                <a:cxn ang="0">
                  <a:pos x="connsiteX0" y="connsiteY0"/>
                </a:cxn>
                <a:cxn ang="0">
                  <a:pos x="connsiteX1" y="connsiteY1"/>
                </a:cxn>
                <a:cxn ang="0">
                  <a:pos x="connsiteX2" y="connsiteY2"/>
                </a:cxn>
                <a:cxn ang="0">
                  <a:pos x="connsiteX3" y="connsiteY3"/>
                </a:cxn>
              </a:cxnLst>
              <a:rect l="l" t="t" r="r" b="b"/>
              <a:pathLst>
                <a:path w="7754" h="11923">
                  <a:moveTo>
                    <a:pt x="-1123" y="-2687"/>
                  </a:moveTo>
                  <a:cubicBezTo>
                    <a:pt x="-11462" y="1104"/>
                    <a:pt x="-11462" y="5032"/>
                    <a:pt x="-1123" y="9237"/>
                  </a:cubicBezTo>
                  <a:cubicBezTo>
                    <a:pt x="-1123" y="6273"/>
                    <a:pt x="-1123" y="276"/>
                    <a:pt x="-1123" y="-2687"/>
                  </a:cubicBezTo>
                  <a:lnTo>
                    <a:pt x="-1123" y="-2687"/>
                  </a:lnTo>
                </a:path>
              </a:pathLst>
            </a:custGeom>
            <a:grpFill/>
            <a:ln w="689" cap="flat">
              <a:noFill/>
              <a:prstDash val="solid"/>
              <a:miter/>
            </a:ln>
          </p:spPr>
          <p:txBody>
            <a:bodyPr rtlCol="0" anchor="ctr"/>
            <a:lstStyle/>
            <a:p>
              <a:endParaRPr lang="en-US" sz="2400" dirty="0"/>
            </a:p>
          </p:txBody>
        </p:sp>
        <p:sp>
          <p:nvSpPr>
            <p:cNvPr id="439" name="Graphic 8">
              <a:extLst>
                <a:ext uri="{FF2B5EF4-FFF2-40B4-BE49-F238E27FC236}">
                  <a16:creationId xmlns:a16="http://schemas.microsoft.com/office/drawing/2014/main" id="{0558F651-09CF-4C1B-BA3B-5F6A5E097994}"/>
                </a:ext>
              </a:extLst>
            </p:cNvPr>
            <p:cNvSpPr/>
            <p:nvPr/>
          </p:nvSpPr>
          <p:spPr>
            <a:xfrm flipV="1">
              <a:off x="2724516" y="2927936"/>
              <a:ext cx="2480336" cy="598178"/>
            </a:xfrm>
            <a:custGeom>
              <a:avLst/>
              <a:gdLst>
                <a:gd name="connsiteX0" fmla="*/ -3083 w 2480336"/>
                <a:gd name="connsiteY0" fmla="*/ 7220 h 598178"/>
                <a:gd name="connsiteX1" fmla="*/ -3083 w 2480336"/>
                <a:gd name="connsiteY1" fmla="*/ 7220 h 598178"/>
                <a:gd name="connsiteX2" fmla="*/ 1892689 w 2480336"/>
                <a:gd name="connsiteY2" fmla="*/ 19971 h 598178"/>
                <a:gd name="connsiteX3" fmla="*/ 1892689 w 2480336"/>
                <a:gd name="connsiteY3" fmla="*/ 19971 h 598178"/>
                <a:gd name="connsiteX4" fmla="*/ 2466004 w 2480336"/>
                <a:gd name="connsiteY4" fmla="*/ 593424 h 598178"/>
                <a:gd name="connsiteX5" fmla="*/ 2466004 w 2480336"/>
                <a:gd name="connsiteY5" fmla="*/ 593424 h 59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0336" h="598178">
                  <a:moveTo>
                    <a:pt x="-3083" y="7220"/>
                  </a:moveTo>
                  <a:cubicBezTo>
                    <a:pt x="19662" y="7496"/>
                    <a:pt x="-12525" y="-14009"/>
                    <a:pt x="-3083" y="7220"/>
                  </a:cubicBezTo>
                  <a:close/>
                  <a:moveTo>
                    <a:pt x="1892689" y="19971"/>
                  </a:moveTo>
                  <a:cubicBezTo>
                    <a:pt x="1915365" y="18386"/>
                    <a:pt x="1881661" y="-499"/>
                    <a:pt x="1892689" y="19971"/>
                  </a:cubicBezTo>
                  <a:moveTo>
                    <a:pt x="2466004" y="593424"/>
                  </a:moveTo>
                  <a:cubicBezTo>
                    <a:pt x="2485923" y="605417"/>
                    <a:pt x="2468623" y="570748"/>
                    <a:pt x="2466004" y="593424"/>
                  </a:cubicBezTo>
                </a:path>
              </a:pathLst>
            </a:custGeom>
            <a:grpFill/>
            <a:ln w="689" cap="flat">
              <a:noFill/>
              <a:prstDash val="solid"/>
              <a:miter/>
            </a:ln>
          </p:spPr>
          <p:txBody>
            <a:bodyPr rtlCol="0" anchor="ctr"/>
            <a:lstStyle/>
            <a:p>
              <a:endParaRPr lang="en-US" sz="2400" dirty="0"/>
            </a:p>
          </p:txBody>
        </p:sp>
        <p:sp>
          <p:nvSpPr>
            <p:cNvPr id="440" name="Graphic 8">
              <a:extLst>
                <a:ext uri="{FF2B5EF4-FFF2-40B4-BE49-F238E27FC236}">
                  <a16:creationId xmlns:a16="http://schemas.microsoft.com/office/drawing/2014/main" id="{E270F6D6-5424-4FF5-A700-1ACD67B7C63A}"/>
                </a:ext>
              </a:extLst>
            </p:cNvPr>
            <p:cNvSpPr/>
            <p:nvPr/>
          </p:nvSpPr>
          <p:spPr>
            <a:xfrm flipV="1">
              <a:off x="2808993" y="2935916"/>
              <a:ext cx="13479" cy="14697"/>
            </a:xfrm>
            <a:custGeom>
              <a:avLst/>
              <a:gdLst>
                <a:gd name="connsiteX0" fmla="*/ -2304 w 13479"/>
                <a:gd name="connsiteY0" fmla="*/ 10771 h 14697"/>
                <a:gd name="connsiteX1" fmla="*/ 9000 w 13479"/>
                <a:gd name="connsiteY1" fmla="*/ -1360 h 14697"/>
                <a:gd name="connsiteX2" fmla="*/ -2304 w 13479"/>
                <a:gd name="connsiteY2" fmla="*/ 10771 h 14697"/>
                <a:gd name="connsiteX3" fmla="*/ -2304 w 13479"/>
                <a:gd name="connsiteY3" fmla="*/ 10771 h 14697"/>
              </a:gdLst>
              <a:ahLst/>
              <a:cxnLst>
                <a:cxn ang="0">
                  <a:pos x="connsiteX0" y="connsiteY0"/>
                </a:cxn>
                <a:cxn ang="0">
                  <a:pos x="connsiteX1" y="connsiteY1"/>
                </a:cxn>
                <a:cxn ang="0">
                  <a:pos x="connsiteX2" y="connsiteY2"/>
                </a:cxn>
                <a:cxn ang="0">
                  <a:pos x="connsiteX3" y="connsiteY3"/>
                </a:cxn>
              </a:cxnLst>
              <a:rect l="l" t="t" r="r" b="b"/>
              <a:pathLst>
                <a:path w="13479" h="14697">
                  <a:moveTo>
                    <a:pt x="-2304" y="10771"/>
                  </a:moveTo>
                  <a:cubicBezTo>
                    <a:pt x="8380" y="14424"/>
                    <a:pt x="12102" y="10426"/>
                    <a:pt x="9000" y="-1360"/>
                  </a:cubicBezTo>
                  <a:cubicBezTo>
                    <a:pt x="-1752" y="-4944"/>
                    <a:pt x="-5543" y="-878"/>
                    <a:pt x="-2304" y="10771"/>
                  </a:cubicBezTo>
                  <a:lnTo>
                    <a:pt x="-2304" y="10771"/>
                  </a:lnTo>
                </a:path>
              </a:pathLst>
            </a:custGeom>
            <a:grpFill/>
            <a:ln w="689" cap="flat">
              <a:noFill/>
              <a:prstDash val="solid"/>
              <a:miter/>
            </a:ln>
          </p:spPr>
          <p:txBody>
            <a:bodyPr rtlCol="0" anchor="ctr"/>
            <a:lstStyle/>
            <a:p>
              <a:endParaRPr lang="en-US" sz="2400" dirty="0"/>
            </a:p>
          </p:txBody>
        </p:sp>
        <p:sp>
          <p:nvSpPr>
            <p:cNvPr id="441" name="Graphic 8">
              <a:extLst>
                <a:ext uri="{FF2B5EF4-FFF2-40B4-BE49-F238E27FC236}">
                  <a16:creationId xmlns:a16="http://schemas.microsoft.com/office/drawing/2014/main" id="{8D3700C6-E55F-4CAF-8AD9-62B43D7B4FCB}"/>
                </a:ext>
              </a:extLst>
            </p:cNvPr>
            <p:cNvSpPr/>
            <p:nvPr/>
          </p:nvSpPr>
          <p:spPr>
            <a:xfrm flipV="1">
              <a:off x="5016756" y="2934480"/>
              <a:ext cx="10662" cy="10579"/>
            </a:xfrm>
            <a:custGeom>
              <a:avLst/>
              <a:gdLst>
                <a:gd name="connsiteX0" fmla="*/ 4051 w 10662"/>
                <a:gd name="connsiteY0" fmla="*/ -578 h 10579"/>
                <a:gd name="connsiteX1" fmla="*/ 4464 w 10662"/>
                <a:gd name="connsiteY1" fmla="*/ 5212 h 10579"/>
                <a:gd name="connsiteX2" fmla="*/ 4051 w 10662"/>
                <a:gd name="connsiteY2" fmla="*/ -578 h 10579"/>
                <a:gd name="connsiteX3" fmla="*/ 4051 w 10662"/>
                <a:gd name="connsiteY3" fmla="*/ -578 h 10579"/>
              </a:gdLst>
              <a:ahLst/>
              <a:cxnLst>
                <a:cxn ang="0">
                  <a:pos x="connsiteX0" y="connsiteY0"/>
                </a:cxn>
                <a:cxn ang="0">
                  <a:pos x="connsiteX1" y="connsiteY1"/>
                </a:cxn>
                <a:cxn ang="0">
                  <a:pos x="connsiteX2" y="connsiteY2"/>
                </a:cxn>
                <a:cxn ang="0">
                  <a:pos x="connsiteX3" y="connsiteY3"/>
                </a:cxn>
              </a:cxnLst>
              <a:rect l="l" t="t" r="r" b="b"/>
              <a:pathLst>
                <a:path w="10662" h="10579">
                  <a:moveTo>
                    <a:pt x="4051" y="-578"/>
                  </a:moveTo>
                  <a:cubicBezTo>
                    <a:pt x="-10554" y="-9883"/>
                    <a:pt x="-8769" y="16170"/>
                    <a:pt x="4464" y="5212"/>
                  </a:cubicBezTo>
                  <a:lnTo>
                    <a:pt x="4051" y="-578"/>
                  </a:lnTo>
                  <a:lnTo>
                    <a:pt x="4051" y="-578"/>
                  </a:lnTo>
                </a:path>
              </a:pathLst>
            </a:custGeom>
            <a:grpFill/>
            <a:ln w="689" cap="flat">
              <a:noFill/>
              <a:prstDash val="solid"/>
              <a:miter/>
            </a:ln>
          </p:spPr>
          <p:txBody>
            <a:bodyPr rtlCol="0" anchor="ctr"/>
            <a:lstStyle/>
            <a:p>
              <a:endParaRPr lang="en-US" sz="2400" dirty="0"/>
            </a:p>
          </p:txBody>
        </p:sp>
        <p:sp>
          <p:nvSpPr>
            <p:cNvPr id="442" name="Graphic 8">
              <a:extLst>
                <a:ext uri="{FF2B5EF4-FFF2-40B4-BE49-F238E27FC236}">
                  <a16:creationId xmlns:a16="http://schemas.microsoft.com/office/drawing/2014/main" id="{38D8C475-2FC9-41E4-A6CD-BE9C244AE090}"/>
                </a:ext>
              </a:extLst>
            </p:cNvPr>
            <p:cNvSpPr/>
            <p:nvPr/>
          </p:nvSpPr>
          <p:spPr>
            <a:xfrm flipV="1">
              <a:off x="6746537" y="2936602"/>
              <a:ext cx="3928" cy="5582"/>
            </a:xfrm>
            <a:custGeom>
              <a:avLst/>
              <a:gdLst>
                <a:gd name="connsiteX0" fmla="*/ -6577 w 3928"/>
                <a:gd name="connsiteY0" fmla="*/ 2956 h 5582"/>
                <a:gd name="connsiteX1" fmla="*/ -4440 w 3928"/>
                <a:gd name="connsiteY1" fmla="*/ -214 h 5582"/>
                <a:gd name="connsiteX2" fmla="*/ -6371 w 3928"/>
                <a:gd name="connsiteY2" fmla="*/ -2627 h 5582"/>
                <a:gd name="connsiteX3" fmla="*/ -8369 w 3928"/>
                <a:gd name="connsiteY3" fmla="*/ -214 h 5582"/>
                <a:gd name="connsiteX4" fmla="*/ -6577 w 3928"/>
                <a:gd name="connsiteY4" fmla="*/ 2956 h 5582"/>
                <a:gd name="connsiteX5" fmla="*/ -6577 w 3928"/>
                <a:gd name="connsiteY5" fmla="*/ 2956 h 5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28" h="5582">
                  <a:moveTo>
                    <a:pt x="-6577" y="2956"/>
                  </a:moveTo>
                  <a:lnTo>
                    <a:pt x="-4440" y="-214"/>
                  </a:lnTo>
                  <a:lnTo>
                    <a:pt x="-6371" y="-2627"/>
                  </a:lnTo>
                  <a:lnTo>
                    <a:pt x="-8369" y="-214"/>
                  </a:lnTo>
                  <a:lnTo>
                    <a:pt x="-6577" y="2956"/>
                  </a:lnTo>
                  <a:lnTo>
                    <a:pt x="-6577" y="2956"/>
                  </a:lnTo>
                </a:path>
              </a:pathLst>
            </a:custGeom>
            <a:grpFill/>
            <a:ln w="689" cap="flat">
              <a:noFill/>
              <a:prstDash val="solid"/>
              <a:miter/>
            </a:ln>
          </p:spPr>
          <p:txBody>
            <a:bodyPr rtlCol="0" anchor="ctr"/>
            <a:lstStyle/>
            <a:p>
              <a:endParaRPr lang="en-US" sz="2400" dirty="0"/>
            </a:p>
          </p:txBody>
        </p:sp>
        <p:sp>
          <p:nvSpPr>
            <p:cNvPr id="443" name="Graphic 8">
              <a:extLst>
                <a:ext uri="{FF2B5EF4-FFF2-40B4-BE49-F238E27FC236}">
                  <a16:creationId xmlns:a16="http://schemas.microsoft.com/office/drawing/2014/main" id="{DB9469E4-BF21-4F2D-9D91-A9A37456755D}"/>
                </a:ext>
              </a:extLst>
            </p:cNvPr>
            <p:cNvSpPr/>
            <p:nvPr/>
          </p:nvSpPr>
          <p:spPr>
            <a:xfrm flipV="1">
              <a:off x="632028" y="2945976"/>
              <a:ext cx="2996" cy="2894"/>
            </a:xfrm>
            <a:custGeom>
              <a:avLst/>
              <a:gdLst>
                <a:gd name="connsiteX0" fmla="*/ -680 w 2996"/>
                <a:gd name="connsiteY0" fmla="*/ 281 h 2894"/>
                <a:gd name="connsiteX1" fmla="*/ -680 w 2996"/>
                <a:gd name="connsiteY1" fmla="*/ 281 h 2894"/>
                <a:gd name="connsiteX2" fmla="*/ -680 w 2996"/>
                <a:gd name="connsiteY2" fmla="*/ 281 h 2894"/>
              </a:gdLst>
              <a:ahLst/>
              <a:cxnLst>
                <a:cxn ang="0">
                  <a:pos x="connsiteX0" y="connsiteY0"/>
                </a:cxn>
                <a:cxn ang="0">
                  <a:pos x="connsiteX1" y="connsiteY1"/>
                </a:cxn>
                <a:cxn ang="0">
                  <a:pos x="connsiteX2" y="connsiteY2"/>
                </a:cxn>
              </a:cxnLst>
              <a:rect l="l" t="t" r="r" b="b"/>
              <a:pathLst>
                <a:path w="2996" h="2894">
                  <a:moveTo>
                    <a:pt x="-680" y="281"/>
                  </a:moveTo>
                  <a:cubicBezTo>
                    <a:pt x="3316" y="-3578"/>
                    <a:pt x="3316" y="-3578"/>
                    <a:pt x="-680" y="281"/>
                  </a:cubicBezTo>
                  <a:lnTo>
                    <a:pt x="-680" y="281"/>
                  </a:lnTo>
                </a:path>
              </a:pathLst>
            </a:custGeom>
            <a:grpFill/>
            <a:ln w="689" cap="flat">
              <a:noFill/>
              <a:prstDash val="solid"/>
              <a:miter/>
            </a:ln>
          </p:spPr>
          <p:txBody>
            <a:bodyPr rtlCol="0" anchor="ctr"/>
            <a:lstStyle/>
            <a:p>
              <a:endParaRPr lang="en-US" sz="2400" dirty="0"/>
            </a:p>
          </p:txBody>
        </p:sp>
        <p:sp>
          <p:nvSpPr>
            <p:cNvPr id="444" name="Graphic 8">
              <a:extLst>
                <a:ext uri="{FF2B5EF4-FFF2-40B4-BE49-F238E27FC236}">
                  <a16:creationId xmlns:a16="http://schemas.microsoft.com/office/drawing/2014/main" id="{5924D139-CD01-4A4E-9C95-1A015BD225B7}"/>
                </a:ext>
              </a:extLst>
            </p:cNvPr>
            <p:cNvSpPr/>
            <p:nvPr/>
          </p:nvSpPr>
          <p:spPr>
            <a:xfrm flipV="1">
              <a:off x="4443855" y="2962037"/>
              <a:ext cx="17005" cy="15821"/>
            </a:xfrm>
            <a:custGeom>
              <a:avLst/>
              <a:gdLst>
                <a:gd name="connsiteX0" fmla="*/ 1389 w 17005"/>
                <a:gd name="connsiteY0" fmla="*/ 11730 h 15821"/>
                <a:gd name="connsiteX1" fmla="*/ 4560 w 17005"/>
                <a:gd name="connsiteY1" fmla="*/ -1228 h 15821"/>
                <a:gd name="connsiteX2" fmla="*/ 1389 w 17005"/>
                <a:gd name="connsiteY2" fmla="*/ 11730 h 15821"/>
                <a:gd name="connsiteX3" fmla="*/ 1389 w 17005"/>
                <a:gd name="connsiteY3" fmla="*/ 11730 h 15821"/>
              </a:gdLst>
              <a:ahLst/>
              <a:cxnLst>
                <a:cxn ang="0">
                  <a:pos x="connsiteX0" y="connsiteY0"/>
                </a:cxn>
                <a:cxn ang="0">
                  <a:pos x="connsiteX1" y="connsiteY1"/>
                </a:cxn>
                <a:cxn ang="0">
                  <a:pos x="connsiteX2" y="connsiteY2"/>
                </a:cxn>
                <a:cxn ang="0">
                  <a:pos x="connsiteX3" y="connsiteY3"/>
                </a:cxn>
              </a:cxnLst>
              <a:rect l="l" t="t" r="r" b="b"/>
              <a:pathLst>
                <a:path w="17005" h="15821">
                  <a:moveTo>
                    <a:pt x="1389" y="11730"/>
                  </a:moveTo>
                  <a:cubicBezTo>
                    <a:pt x="12762" y="18485"/>
                    <a:pt x="15588" y="564"/>
                    <a:pt x="4560" y="-1228"/>
                  </a:cubicBezTo>
                  <a:cubicBezTo>
                    <a:pt x="-6882" y="-7431"/>
                    <a:pt x="-9363" y="9662"/>
                    <a:pt x="1389" y="11730"/>
                  </a:cubicBezTo>
                  <a:lnTo>
                    <a:pt x="1389" y="11730"/>
                  </a:lnTo>
                </a:path>
              </a:pathLst>
            </a:custGeom>
            <a:grpFill/>
            <a:ln w="689" cap="flat">
              <a:noFill/>
              <a:prstDash val="solid"/>
              <a:miter/>
            </a:ln>
          </p:spPr>
          <p:txBody>
            <a:bodyPr rtlCol="0" anchor="ctr"/>
            <a:lstStyle/>
            <a:p>
              <a:endParaRPr lang="en-US" sz="2400" dirty="0"/>
            </a:p>
          </p:txBody>
        </p:sp>
        <p:sp>
          <p:nvSpPr>
            <p:cNvPr id="445" name="Graphic 8">
              <a:extLst>
                <a:ext uri="{FF2B5EF4-FFF2-40B4-BE49-F238E27FC236}">
                  <a16:creationId xmlns:a16="http://schemas.microsoft.com/office/drawing/2014/main" id="{3C207FC6-15E1-44CE-BB47-C7D5A264AD97}"/>
                </a:ext>
              </a:extLst>
            </p:cNvPr>
            <p:cNvSpPr/>
            <p:nvPr/>
          </p:nvSpPr>
          <p:spPr>
            <a:xfrm flipV="1">
              <a:off x="3072372" y="2972925"/>
              <a:ext cx="4031909" cy="408984"/>
            </a:xfrm>
            <a:custGeom>
              <a:avLst/>
              <a:gdLst>
                <a:gd name="connsiteX0" fmla="*/ 4017607 w 4031909"/>
                <a:gd name="connsiteY0" fmla="*/ 7262 h 408984"/>
                <a:gd name="connsiteX1" fmla="*/ 4017607 w 4031909"/>
                <a:gd name="connsiteY1" fmla="*/ 7262 h 408984"/>
                <a:gd name="connsiteX2" fmla="*/ -6281 w 4031909"/>
                <a:gd name="connsiteY2" fmla="*/ 406749 h 408984"/>
                <a:gd name="connsiteX3" fmla="*/ -6281 w 4031909"/>
                <a:gd name="connsiteY3" fmla="*/ 406749 h 408984"/>
              </a:gdLst>
              <a:ahLst/>
              <a:cxnLst>
                <a:cxn ang="0">
                  <a:pos x="connsiteX0" y="connsiteY0"/>
                </a:cxn>
                <a:cxn ang="0">
                  <a:pos x="connsiteX1" y="connsiteY1"/>
                </a:cxn>
                <a:cxn ang="0">
                  <a:pos x="connsiteX2" y="connsiteY2"/>
                </a:cxn>
                <a:cxn ang="0">
                  <a:pos x="connsiteX3" y="connsiteY3"/>
                </a:cxn>
              </a:cxnLst>
              <a:rect l="l" t="t" r="r" b="b"/>
              <a:pathLst>
                <a:path w="4031909" h="408984">
                  <a:moveTo>
                    <a:pt x="4017607" y="7262"/>
                  </a:moveTo>
                  <a:cubicBezTo>
                    <a:pt x="4040283" y="5263"/>
                    <a:pt x="4006510" y="-13070"/>
                    <a:pt x="4017607" y="7262"/>
                  </a:cubicBezTo>
                  <a:close/>
                  <a:moveTo>
                    <a:pt x="-6281" y="406749"/>
                  </a:moveTo>
                  <a:cubicBezTo>
                    <a:pt x="-2697" y="403096"/>
                    <a:pt x="-2697" y="403096"/>
                    <a:pt x="-6281" y="406749"/>
                  </a:cubicBezTo>
                </a:path>
              </a:pathLst>
            </a:custGeom>
            <a:grpFill/>
            <a:ln w="689" cap="flat">
              <a:noFill/>
              <a:prstDash val="solid"/>
              <a:miter/>
            </a:ln>
          </p:spPr>
          <p:txBody>
            <a:bodyPr rtlCol="0" anchor="ctr"/>
            <a:lstStyle/>
            <a:p>
              <a:endParaRPr lang="en-US" sz="2400" dirty="0"/>
            </a:p>
          </p:txBody>
        </p:sp>
        <p:sp>
          <p:nvSpPr>
            <p:cNvPr id="446" name="Graphic 8">
              <a:extLst>
                <a:ext uri="{FF2B5EF4-FFF2-40B4-BE49-F238E27FC236}">
                  <a16:creationId xmlns:a16="http://schemas.microsoft.com/office/drawing/2014/main" id="{36A4032E-F81C-4D09-B211-A07371896B9B}"/>
                </a:ext>
              </a:extLst>
            </p:cNvPr>
            <p:cNvSpPr/>
            <p:nvPr/>
          </p:nvSpPr>
          <p:spPr>
            <a:xfrm flipV="1">
              <a:off x="5183987" y="2977799"/>
              <a:ext cx="16241" cy="20035"/>
            </a:xfrm>
            <a:custGeom>
              <a:avLst/>
              <a:gdLst>
                <a:gd name="connsiteX0" fmla="*/ -2110 w 16241"/>
                <a:gd name="connsiteY0" fmla="*/ 15470 h 20035"/>
                <a:gd name="connsiteX1" fmla="*/ 5816 w 16241"/>
                <a:gd name="connsiteY1" fmla="*/ -245 h 20035"/>
                <a:gd name="connsiteX2" fmla="*/ -2110 w 16241"/>
                <a:gd name="connsiteY2" fmla="*/ 15470 h 20035"/>
                <a:gd name="connsiteX3" fmla="*/ -2110 w 16241"/>
                <a:gd name="connsiteY3" fmla="*/ 15470 h 20035"/>
              </a:gdLst>
              <a:ahLst/>
              <a:cxnLst>
                <a:cxn ang="0">
                  <a:pos x="connsiteX0" y="connsiteY0"/>
                </a:cxn>
                <a:cxn ang="0">
                  <a:pos x="connsiteX1" y="connsiteY1"/>
                </a:cxn>
                <a:cxn ang="0">
                  <a:pos x="connsiteX2" y="connsiteY2"/>
                </a:cxn>
                <a:cxn ang="0">
                  <a:pos x="connsiteX3" y="connsiteY3"/>
                </a:cxn>
              </a:cxnLst>
              <a:rect l="l" t="t" r="r" b="b"/>
              <a:pathLst>
                <a:path w="16241" h="20035">
                  <a:moveTo>
                    <a:pt x="-2110" y="15470"/>
                  </a:moveTo>
                  <a:cubicBezTo>
                    <a:pt x="8098" y="23534"/>
                    <a:pt x="14363" y="5200"/>
                    <a:pt x="5816" y="-245"/>
                  </a:cubicBezTo>
                  <a:cubicBezTo>
                    <a:pt x="-4453" y="-9136"/>
                    <a:pt x="-11277" y="10232"/>
                    <a:pt x="-2110" y="15470"/>
                  </a:cubicBezTo>
                  <a:lnTo>
                    <a:pt x="-2110" y="15470"/>
                  </a:lnTo>
                </a:path>
              </a:pathLst>
            </a:custGeom>
            <a:grpFill/>
            <a:ln w="689" cap="flat">
              <a:noFill/>
              <a:prstDash val="solid"/>
              <a:miter/>
            </a:ln>
          </p:spPr>
          <p:txBody>
            <a:bodyPr rtlCol="0" anchor="ctr"/>
            <a:lstStyle/>
            <a:p>
              <a:endParaRPr lang="en-US" sz="2400" dirty="0"/>
            </a:p>
          </p:txBody>
        </p:sp>
        <p:sp>
          <p:nvSpPr>
            <p:cNvPr id="447" name="Graphic 8">
              <a:extLst>
                <a:ext uri="{FF2B5EF4-FFF2-40B4-BE49-F238E27FC236}">
                  <a16:creationId xmlns:a16="http://schemas.microsoft.com/office/drawing/2014/main" id="{4A60BCF2-4DF8-4AA1-994E-B6C4CDFF9636}"/>
                </a:ext>
              </a:extLst>
            </p:cNvPr>
            <p:cNvSpPr/>
            <p:nvPr/>
          </p:nvSpPr>
          <p:spPr>
            <a:xfrm flipV="1">
              <a:off x="4553838" y="2986434"/>
              <a:ext cx="2636" cy="2791"/>
            </a:xfrm>
            <a:custGeom>
              <a:avLst/>
              <a:gdLst>
                <a:gd name="connsiteX0" fmla="*/ -5611 w 2636"/>
                <a:gd name="connsiteY0" fmla="*/ 244 h 2791"/>
                <a:gd name="connsiteX1" fmla="*/ -5611 w 2636"/>
                <a:gd name="connsiteY1" fmla="*/ 244 h 2791"/>
                <a:gd name="connsiteX2" fmla="*/ -5611 w 2636"/>
                <a:gd name="connsiteY2" fmla="*/ 244 h 2791"/>
              </a:gdLst>
              <a:ahLst/>
              <a:cxnLst>
                <a:cxn ang="0">
                  <a:pos x="connsiteX0" y="connsiteY0"/>
                </a:cxn>
                <a:cxn ang="0">
                  <a:pos x="connsiteX1" y="connsiteY1"/>
                </a:cxn>
                <a:cxn ang="0">
                  <a:pos x="connsiteX2" y="connsiteY2"/>
                </a:cxn>
              </a:cxnLst>
              <a:rect l="l" t="t" r="r" b="b"/>
              <a:pathLst>
                <a:path w="2636" h="2791">
                  <a:moveTo>
                    <a:pt x="-5611" y="244"/>
                  </a:moveTo>
                  <a:cubicBezTo>
                    <a:pt x="-2096" y="-3478"/>
                    <a:pt x="-2096" y="-3478"/>
                    <a:pt x="-5611" y="244"/>
                  </a:cubicBezTo>
                  <a:lnTo>
                    <a:pt x="-5611" y="244"/>
                  </a:lnTo>
                </a:path>
              </a:pathLst>
            </a:custGeom>
            <a:grpFill/>
            <a:ln w="689" cap="flat">
              <a:noFill/>
              <a:prstDash val="solid"/>
              <a:miter/>
            </a:ln>
          </p:spPr>
          <p:txBody>
            <a:bodyPr rtlCol="0" anchor="ctr"/>
            <a:lstStyle/>
            <a:p>
              <a:endParaRPr lang="en-US" sz="2400" dirty="0"/>
            </a:p>
          </p:txBody>
        </p:sp>
        <p:sp>
          <p:nvSpPr>
            <p:cNvPr id="448" name="Graphic 8">
              <a:extLst>
                <a:ext uri="{FF2B5EF4-FFF2-40B4-BE49-F238E27FC236}">
                  <a16:creationId xmlns:a16="http://schemas.microsoft.com/office/drawing/2014/main" id="{99915D18-86D0-4244-B050-B6E093C5414E}"/>
                </a:ext>
              </a:extLst>
            </p:cNvPr>
            <p:cNvSpPr/>
            <p:nvPr/>
          </p:nvSpPr>
          <p:spPr>
            <a:xfrm flipV="1">
              <a:off x="8799319" y="3014073"/>
              <a:ext cx="2791" cy="2998"/>
            </a:xfrm>
            <a:custGeom>
              <a:avLst/>
              <a:gdLst>
                <a:gd name="connsiteX0" fmla="*/ -10949 w 2791"/>
                <a:gd name="connsiteY0" fmla="*/ 497 h 2998"/>
                <a:gd name="connsiteX1" fmla="*/ -10949 w 2791"/>
                <a:gd name="connsiteY1" fmla="*/ 497 h 2998"/>
                <a:gd name="connsiteX2" fmla="*/ -10949 w 2791"/>
                <a:gd name="connsiteY2" fmla="*/ 497 h 2998"/>
              </a:gdLst>
              <a:ahLst/>
              <a:cxnLst>
                <a:cxn ang="0">
                  <a:pos x="connsiteX0" y="connsiteY0"/>
                </a:cxn>
                <a:cxn ang="0">
                  <a:pos x="connsiteX1" y="connsiteY1"/>
                </a:cxn>
                <a:cxn ang="0">
                  <a:pos x="connsiteX2" y="connsiteY2"/>
                </a:cxn>
              </a:cxnLst>
              <a:rect l="l" t="t" r="r" b="b"/>
              <a:pathLst>
                <a:path w="2791" h="2998">
                  <a:moveTo>
                    <a:pt x="-10949" y="497"/>
                  </a:moveTo>
                  <a:cubicBezTo>
                    <a:pt x="-7227" y="-3501"/>
                    <a:pt x="-7227" y="-3501"/>
                    <a:pt x="-10949" y="497"/>
                  </a:cubicBezTo>
                  <a:lnTo>
                    <a:pt x="-10949" y="497"/>
                  </a:lnTo>
                </a:path>
              </a:pathLst>
            </a:custGeom>
            <a:grpFill/>
            <a:ln w="689" cap="flat">
              <a:noFill/>
              <a:prstDash val="solid"/>
              <a:miter/>
            </a:ln>
          </p:spPr>
          <p:txBody>
            <a:bodyPr rtlCol="0" anchor="ctr"/>
            <a:lstStyle/>
            <a:p>
              <a:endParaRPr lang="en-US" sz="2400" dirty="0"/>
            </a:p>
          </p:txBody>
        </p:sp>
        <p:sp>
          <p:nvSpPr>
            <p:cNvPr id="449" name="Graphic 8">
              <a:extLst>
                <a:ext uri="{FF2B5EF4-FFF2-40B4-BE49-F238E27FC236}">
                  <a16:creationId xmlns:a16="http://schemas.microsoft.com/office/drawing/2014/main" id="{8B384EB0-C6D7-4D51-8457-6DCB8D34C12A}"/>
                </a:ext>
              </a:extLst>
            </p:cNvPr>
            <p:cNvSpPr/>
            <p:nvPr/>
          </p:nvSpPr>
          <p:spPr>
            <a:xfrm flipV="1">
              <a:off x="2286011" y="3023772"/>
              <a:ext cx="9560" cy="10221"/>
            </a:xfrm>
            <a:custGeom>
              <a:avLst/>
              <a:gdLst>
                <a:gd name="connsiteX0" fmla="*/ -2764 w 9560"/>
                <a:gd name="connsiteY0" fmla="*/ 5586 h 10221"/>
                <a:gd name="connsiteX1" fmla="*/ -2764 w 9560"/>
                <a:gd name="connsiteY1" fmla="*/ 5586 h 10221"/>
                <a:gd name="connsiteX2" fmla="*/ -2764 w 9560"/>
                <a:gd name="connsiteY2" fmla="*/ 5586 h 10221"/>
              </a:gdLst>
              <a:ahLst/>
              <a:cxnLst>
                <a:cxn ang="0">
                  <a:pos x="connsiteX0" y="connsiteY0"/>
                </a:cxn>
                <a:cxn ang="0">
                  <a:pos x="connsiteX1" y="connsiteY1"/>
                </a:cxn>
                <a:cxn ang="0">
                  <a:pos x="connsiteX2" y="connsiteY2"/>
                </a:cxn>
              </a:cxnLst>
              <a:rect l="l" t="t" r="r" b="b"/>
              <a:pathLst>
                <a:path w="9560" h="10221">
                  <a:moveTo>
                    <a:pt x="-2764" y="5586"/>
                  </a:moveTo>
                  <a:cubicBezTo>
                    <a:pt x="18327" y="16201"/>
                    <a:pt x="-1937" y="-17021"/>
                    <a:pt x="-2764" y="5586"/>
                  </a:cubicBezTo>
                  <a:lnTo>
                    <a:pt x="-2764" y="5586"/>
                  </a:lnTo>
                </a:path>
              </a:pathLst>
            </a:custGeom>
            <a:grpFill/>
            <a:ln w="689" cap="flat">
              <a:noFill/>
              <a:prstDash val="solid"/>
              <a:miter/>
            </a:ln>
          </p:spPr>
          <p:txBody>
            <a:bodyPr rtlCol="0" anchor="ctr"/>
            <a:lstStyle/>
            <a:p>
              <a:endParaRPr lang="en-US" sz="2400" dirty="0"/>
            </a:p>
          </p:txBody>
        </p:sp>
        <p:sp>
          <p:nvSpPr>
            <p:cNvPr id="450" name="Graphic 8">
              <a:extLst>
                <a:ext uri="{FF2B5EF4-FFF2-40B4-BE49-F238E27FC236}">
                  <a16:creationId xmlns:a16="http://schemas.microsoft.com/office/drawing/2014/main" id="{1AEACDEB-69AB-4A39-9F8D-C47E277477C8}"/>
                </a:ext>
              </a:extLst>
            </p:cNvPr>
            <p:cNvSpPr/>
            <p:nvPr/>
          </p:nvSpPr>
          <p:spPr>
            <a:xfrm flipV="1">
              <a:off x="4939471" y="3032129"/>
              <a:ext cx="19088" cy="20643"/>
            </a:xfrm>
            <a:custGeom>
              <a:avLst/>
              <a:gdLst>
                <a:gd name="connsiteX0" fmla="*/ -4452 w 19088"/>
                <a:gd name="connsiteY0" fmla="*/ 16804 h 20643"/>
                <a:gd name="connsiteX1" fmla="*/ 10988 w 19088"/>
                <a:gd name="connsiteY1" fmla="*/ -978 h 20643"/>
                <a:gd name="connsiteX2" fmla="*/ -4452 w 19088"/>
                <a:gd name="connsiteY2" fmla="*/ 16804 h 20643"/>
                <a:gd name="connsiteX3" fmla="*/ -4452 w 19088"/>
                <a:gd name="connsiteY3" fmla="*/ 16804 h 20643"/>
              </a:gdLst>
              <a:ahLst/>
              <a:cxnLst>
                <a:cxn ang="0">
                  <a:pos x="connsiteX0" y="connsiteY0"/>
                </a:cxn>
                <a:cxn ang="0">
                  <a:pos x="connsiteX1" y="connsiteY1"/>
                </a:cxn>
                <a:cxn ang="0">
                  <a:pos x="connsiteX2" y="connsiteY2"/>
                </a:cxn>
                <a:cxn ang="0">
                  <a:pos x="connsiteX3" y="connsiteY3"/>
                </a:cxn>
              </a:cxnLst>
              <a:rect l="l" t="t" r="r" b="b"/>
              <a:pathLst>
                <a:path w="19088" h="20643">
                  <a:moveTo>
                    <a:pt x="-4452" y="16804"/>
                  </a:moveTo>
                  <a:cubicBezTo>
                    <a:pt x="4646" y="22870"/>
                    <a:pt x="18087" y="7500"/>
                    <a:pt x="10988" y="-978"/>
                  </a:cubicBezTo>
                  <a:cubicBezTo>
                    <a:pt x="1338" y="-7319"/>
                    <a:pt x="-10517" y="8258"/>
                    <a:pt x="-4452" y="16804"/>
                  </a:cubicBezTo>
                  <a:lnTo>
                    <a:pt x="-4452" y="16804"/>
                  </a:lnTo>
                </a:path>
              </a:pathLst>
            </a:custGeom>
            <a:grpFill/>
            <a:ln w="689" cap="flat">
              <a:noFill/>
              <a:prstDash val="solid"/>
              <a:miter/>
            </a:ln>
          </p:spPr>
          <p:txBody>
            <a:bodyPr rtlCol="0" anchor="ctr"/>
            <a:lstStyle/>
            <a:p>
              <a:endParaRPr lang="en-US" sz="2400" dirty="0"/>
            </a:p>
          </p:txBody>
        </p:sp>
        <p:sp>
          <p:nvSpPr>
            <p:cNvPr id="451" name="Graphic 8">
              <a:extLst>
                <a:ext uri="{FF2B5EF4-FFF2-40B4-BE49-F238E27FC236}">
                  <a16:creationId xmlns:a16="http://schemas.microsoft.com/office/drawing/2014/main" id="{A5CBE8C9-617F-41EA-8B77-B51CA73181C3}"/>
                </a:ext>
              </a:extLst>
            </p:cNvPr>
            <p:cNvSpPr/>
            <p:nvPr/>
          </p:nvSpPr>
          <p:spPr>
            <a:xfrm flipV="1">
              <a:off x="4546325" y="3061356"/>
              <a:ext cx="2739" cy="2584"/>
            </a:xfrm>
            <a:custGeom>
              <a:avLst/>
              <a:gdLst>
                <a:gd name="connsiteX0" fmla="*/ -5602 w 2739"/>
                <a:gd name="connsiteY0" fmla="*/ 161 h 2584"/>
                <a:gd name="connsiteX1" fmla="*/ -5602 w 2739"/>
                <a:gd name="connsiteY1" fmla="*/ 161 h 2584"/>
                <a:gd name="connsiteX2" fmla="*/ -5602 w 2739"/>
                <a:gd name="connsiteY2" fmla="*/ 161 h 2584"/>
              </a:gdLst>
              <a:ahLst/>
              <a:cxnLst>
                <a:cxn ang="0">
                  <a:pos x="connsiteX0" y="connsiteY0"/>
                </a:cxn>
                <a:cxn ang="0">
                  <a:pos x="connsiteX1" y="connsiteY1"/>
                </a:cxn>
                <a:cxn ang="0">
                  <a:pos x="connsiteX2" y="connsiteY2"/>
                </a:cxn>
              </a:cxnLst>
              <a:rect l="l" t="t" r="r" b="b"/>
              <a:pathLst>
                <a:path w="2739" h="2584">
                  <a:moveTo>
                    <a:pt x="-5602" y="161"/>
                  </a:moveTo>
                  <a:cubicBezTo>
                    <a:pt x="-1949" y="-3286"/>
                    <a:pt x="-1949" y="-3286"/>
                    <a:pt x="-5602" y="161"/>
                  </a:cubicBezTo>
                  <a:lnTo>
                    <a:pt x="-5602" y="161"/>
                  </a:lnTo>
                </a:path>
              </a:pathLst>
            </a:custGeom>
            <a:grpFill/>
            <a:ln w="689" cap="flat">
              <a:noFill/>
              <a:prstDash val="solid"/>
              <a:miter/>
            </a:ln>
          </p:spPr>
          <p:txBody>
            <a:bodyPr rtlCol="0" anchor="ctr"/>
            <a:lstStyle/>
            <a:p>
              <a:endParaRPr lang="en-US" sz="2400" dirty="0"/>
            </a:p>
          </p:txBody>
        </p:sp>
        <p:sp>
          <p:nvSpPr>
            <p:cNvPr id="452" name="Graphic 8">
              <a:extLst>
                <a:ext uri="{FF2B5EF4-FFF2-40B4-BE49-F238E27FC236}">
                  <a16:creationId xmlns:a16="http://schemas.microsoft.com/office/drawing/2014/main" id="{ABE30872-9AE1-4981-B930-992456B35892}"/>
                </a:ext>
              </a:extLst>
            </p:cNvPr>
            <p:cNvSpPr/>
            <p:nvPr/>
          </p:nvSpPr>
          <p:spPr>
            <a:xfrm flipV="1">
              <a:off x="8635278" y="3072177"/>
              <a:ext cx="37977" cy="56587"/>
            </a:xfrm>
            <a:custGeom>
              <a:avLst/>
              <a:gdLst>
                <a:gd name="connsiteX0" fmla="*/ 2951 w 37977"/>
                <a:gd name="connsiteY0" fmla="*/ 54225 h 56587"/>
                <a:gd name="connsiteX1" fmla="*/ 27212 w 37977"/>
                <a:gd name="connsiteY1" fmla="*/ 40371 h 56587"/>
                <a:gd name="connsiteX2" fmla="*/ 5983 w 37977"/>
                <a:gd name="connsiteY2" fmla="*/ 34513 h 56587"/>
                <a:gd name="connsiteX3" fmla="*/ 24799 w 37977"/>
                <a:gd name="connsiteY3" fmla="*/ 32238 h 56587"/>
                <a:gd name="connsiteX4" fmla="*/ 25282 w 37977"/>
                <a:gd name="connsiteY4" fmla="*/ 19074 h 56587"/>
                <a:gd name="connsiteX5" fmla="*/ 7776 w 37977"/>
                <a:gd name="connsiteY5" fmla="*/ 23278 h 56587"/>
                <a:gd name="connsiteX6" fmla="*/ 13979 w 37977"/>
                <a:gd name="connsiteY6" fmla="*/ 14938 h 56587"/>
                <a:gd name="connsiteX7" fmla="*/ 5983 w 37977"/>
                <a:gd name="connsiteY7" fmla="*/ -2362 h 56587"/>
                <a:gd name="connsiteX8" fmla="*/ -9180 w 37977"/>
                <a:gd name="connsiteY8" fmla="*/ 13215 h 56587"/>
                <a:gd name="connsiteX9" fmla="*/ -10765 w 37977"/>
                <a:gd name="connsiteY9" fmla="*/ 34168 h 56587"/>
                <a:gd name="connsiteX10" fmla="*/ 2951 w 37977"/>
                <a:gd name="connsiteY10" fmla="*/ 54225 h 56587"/>
                <a:gd name="connsiteX11" fmla="*/ 2951 w 37977"/>
                <a:gd name="connsiteY11" fmla="*/ 54225 h 5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977" h="56587">
                  <a:moveTo>
                    <a:pt x="2951" y="54225"/>
                  </a:moveTo>
                  <a:cubicBezTo>
                    <a:pt x="12048" y="51744"/>
                    <a:pt x="21561" y="48987"/>
                    <a:pt x="27212" y="40371"/>
                  </a:cubicBezTo>
                  <a:cubicBezTo>
                    <a:pt x="21905" y="38924"/>
                    <a:pt x="11291" y="35960"/>
                    <a:pt x="5983" y="34513"/>
                  </a:cubicBezTo>
                  <a:cubicBezTo>
                    <a:pt x="10670" y="33961"/>
                    <a:pt x="20113" y="32790"/>
                    <a:pt x="24799" y="32238"/>
                  </a:cubicBezTo>
                  <a:lnTo>
                    <a:pt x="25282" y="19074"/>
                  </a:lnTo>
                  <a:cubicBezTo>
                    <a:pt x="20940" y="20176"/>
                    <a:pt x="12186" y="22244"/>
                    <a:pt x="7776" y="23278"/>
                  </a:cubicBezTo>
                  <a:cubicBezTo>
                    <a:pt x="9361" y="21210"/>
                    <a:pt x="12393" y="17075"/>
                    <a:pt x="13979" y="14938"/>
                  </a:cubicBezTo>
                  <a:cubicBezTo>
                    <a:pt x="11980" y="10665"/>
                    <a:pt x="7982" y="1980"/>
                    <a:pt x="5983" y="-2362"/>
                  </a:cubicBezTo>
                  <a:cubicBezTo>
                    <a:pt x="814" y="2876"/>
                    <a:pt x="-4286" y="8115"/>
                    <a:pt x="-9180" y="13215"/>
                  </a:cubicBezTo>
                  <a:cubicBezTo>
                    <a:pt x="-9800" y="20245"/>
                    <a:pt x="-10421" y="27276"/>
                    <a:pt x="-10765" y="34168"/>
                  </a:cubicBezTo>
                  <a:cubicBezTo>
                    <a:pt x="-6147" y="40785"/>
                    <a:pt x="-1805" y="47608"/>
                    <a:pt x="2951" y="54225"/>
                  </a:cubicBezTo>
                  <a:lnTo>
                    <a:pt x="2951" y="54225"/>
                  </a:lnTo>
                </a:path>
              </a:pathLst>
            </a:custGeom>
            <a:grpFill/>
            <a:ln w="689" cap="flat">
              <a:noFill/>
              <a:prstDash val="solid"/>
              <a:miter/>
            </a:ln>
          </p:spPr>
          <p:txBody>
            <a:bodyPr rtlCol="0" anchor="ctr"/>
            <a:lstStyle/>
            <a:p>
              <a:endParaRPr lang="en-US" sz="2400" dirty="0"/>
            </a:p>
          </p:txBody>
        </p:sp>
        <p:sp>
          <p:nvSpPr>
            <p:cNvPr id="453" name="Graphic 8">
              <a:extLst>
                <a:ext uri="{FF2B5EF4-FFF2-40B4-BE49-F238E27FC236}">
                  <a16:creationId xmlns:a16="http://schemas.microsoft.com/office/drawing/2014/main" id="{01505B30-5443-46F2-B137-F1170D31C646}"/>
                </a:ext>
              </a:extLst>
            </p:cNvPr>
            <p:cNvSpPr/>
            <p:nvPr/>
          </p:nvSpPr>
          <p:spPr>
            <a:xfrm flipV="1">
              <a:off x="8882580" y="3075830"/>
              <a:ext cx="2739" cy="2739"/>
            </a:xfrm>
            <a:custGeom>
              <a:avLst/>
              <a:gdLst>
                <a:gd name="connsiteX0" fmla="*/ -11054 w 2739"/>
                <a:gd name="connsiteY0" fmla="*/ 340 h 2739"/>
                <a:gd name="connsiteX1" fmla="*/ -11054 w 2739"/>
                <a:gd name="connsiteY1" fmla="*/ 340 h 2739"/>
                <a:gd name="connsiteX2" fmla="*/ -11054 w 2739"/>
                <a:gd name="connsiteY2" fmla="*/ 340 h 2739"/>
              </a:gdLst>
              <a:ahLst/>
              <a:cxnLst>
                <a:cxn ang="0">
                  <a:pos x="connsiteX0" y="connsiteY0"/>
                </a:cxn>
                <a:cxn ang="0">
                  <a:pos x="connsiteX1" y="connsiteY1"/>
                </a:cxn>
                <a:cxn ang="0">
                  <a:pos x="connsiteX2" y="connsiteY2"/>
                </a:cxn>
              </a:cxnLst>
              <a:rect l="l" t="t" r="r" b="b"/>
              <a:pathLst>
                <a:path w="2739" h="2739">
                  <a:moveTo>
                    <a:pt x="-11054" y="340"/>
                  </a:moveTo>
                  <a:cubicBezTo>
                    <a:pt x="-7401" y="-3313"/>
                    <a:pt x="-7401" y="-3313"/>
                    <a:pt x="-11054" y="340"/>
                  </a:cubicBezTo>
                  <a:lnTo>
                    <a:pt x="-11054" y="340"/>
                  </a:lnTo>
                </a:path>
              </a:pathLst>
            </a:custGeom>
            <a:grpFill/>
            <a:ln w="689" cap="flat">
              <a:noFill/>
              <a:prstDash val="solid"/>
              <a:miter/>
            </a:ln>
          </p:spPr>
          <p:txBody>
            <a:bodyPr rtlCol="0" anchor="ctr"/>
            <a:lstStyle/>
            <a:p>
              <a:endParaRPr lang="en-US" sz="2400" dirty="0"/>
            </a:p>
          </p:txBody>
        </p:sp>
        <p:sp>
          <p:nvSpPr>
            <p:cNvPr id="454" name="Graphic 8">
              <a:extLst>
                <a:ext uri="{FF2B5EF4-FFF2-40B4-BE49-F238E27FC236}">
                  <a16:creationId xmlns:a16="http://schemas.microsoft.com/office/drawing/2014/main" id="{169A6E4F-3E08-44B9-98FB-A75A5B8AE2B0}"/>
                </a:ext>
              </a:extLst>
            </p:cNvPr>
            <p:cNvSpPr/>
            <p:nvPr/>
          </p:nvSpPr>
          <p:spPr>
            <a:xfrm flipV="1">
              <a:off x="3161078" y="3080792"/>
              <a:ext cx="30058" cy="53347"/>
            </a:xfrm>
            <a:custGeom>
              <a:avLst/>
              <a:gdLst>
                <a:gd name="connsiteX0" fmla="*/ 3291 w 30058"/>
                <a:gd name="connsiteY0" fmla="*/ 50997 h 53347"/>
                <a:gd name="connsiteX1" fmla="*/ 26174 w 30058"/>
                <a:gd name="connsiteY1" fmla="*/ 13985 h 53347"/>
                <a:gd name="connsiteX2" fmla="*/ 10459 w 30058"/>
                <a:gd name="connsiteY2" fmla="*/ -2350 h 53347"/>
                <a:gd name="connsiteX3" fmla="*/ -3877 w 30058"/>
                <a:gd name="connsiteY3" fmla="*/ 22049 h 53347"/>
                <a:gd name="connsiteX4" fmla="*/ 3291 w 30058"/>
                <a:gd name="connsiteY4" fmla="*/ 50997 h 53347"/>
                <a:gd name="connsiteX5" fmla="*/ 3291 w 30058"/>
                <a:gd name="connsiteY5" fmla="*/ 50997 h 5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58" h="53347">
                  <a:moveTo>
                    <a:pt x="3291" y="50997"/>
                  </a:moveTo>
                  <a:cubicBezTo>
                    <a:pt x="10666" y="38522"/>
                    <a:pt x="18454" y="26322"/>
                    <a:pt x="26174" y="13985"/>
                  </a:cubicBezTo>
                  <a:cubicBezTo>
                    <a:pt x="26518" y="5921"/>
                    <a:pt x="15146" y="3026"/>
                    <a:pt x="10459" y="-2350"/>
                  </a:cubicBezTo>
                  <a:cubicBezTo>
                    <a:pt x="7151" y="6679"/>
                    <a:pt x="4187" y="16190"/>
                    <a:pt x="-3877" y="22049"/>
                  </a:cubicBezTo>
                  <a:cubicBezTo>
                    <a:pt x="10873" y="27080"/>
                    <a:pt x="6806" y="39487"/>
                    <a:pt x="3291" y="50997"/>
                  </a:cubicBezTo>
                  <a:lnTo>
                    <a:pt x="3291" y="50997"/>
                  </a:lnTo>
                </a:path>
              </a:pathLst>
            </a:custGeom>
            <a:grpFill/>
            <a:ln w="689" cap="flat">
              <a:noFill/>
              <a:prstDash val="solid"/>
              <a:miter/>
            </a:ln>
          </p:spPr>
          <p:txBody>
            <a:bodyPr rtlCol="0" anchor="ctr"/>
            <a:lstStyle/>
            <a:p>
              <a:endParaRPr lang="en-US" sz="2400" dirty="0"/>
            </a:p>
          </p:txBody>
        </p:sp>
        <p:sp>
          <p:nvSpPr>
            <p:cNvPr id="455" name="Graphic 8">
              <a:extLst>
                <a:ext uri="{FF2B5EF4-FFF2-40B4-BE49-F238E27FC236}">
                  <a16:creationId xmlns:a16="http://schemas.microsoft.com/office/drawing/2014/main" id="{D6BDF0D3-E80E-4E13-B093-11D8A161FFAD}"/>
                </a:ext>
              </a:extLst>
            </p:cNvPr>
            <p:cNvSpPr/>
            <p:nvPr/>
          </p:nvSpPr>
          <p:spPr>
            <a:xfrm flipV="1">
              <a:off x="638988" y="3123043"/>
              <a:ext cx="1952703" cy="210306"/>
            </a:xfrm>
            <a:custGeom>
              <a:avLst/>
              <a:gdLst>
                <a:gd name="connsiteX0" fmla="*/ -1915 w 1952703"/>
                <a:gd name="connsiteY0" fmla="*/ 485 h 210306"/>
                <a:gd name="connsiteX1" fmla="*/ -1915 w 1952703"/>
                <a:gd name="connsiteY1" fmla="*/ 485 h 210306"/>
                <a:gd name="connsiteX2" fmla="*/ 1940312 w 1952703"/>
                <a:gd name="connsiteY2" fmla="*/ 208154 h 210306"/>
                <a:gd name="connsiteX3" fmla="*/ 1950789 w 1952703"/>
                <a:gd name="connsiteY3" fmla="*/ 202572 h 210306"/>
                <a:gd name="connsiteX4" fmla="*/ 1940312 w 1952703"/>
                <a:gd name="connsiteY4" fmla="*/ 208154 h 210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2703" h="210306">
                  <a:moveTo>
                    <a:pt x="-1915" y="485"/>
                  </a:moveTo>
                  <a:cubicBezTo>
                    <a:pt x="2084" y="-3031"/>
                    <a:pt x="2084" y="-3031"/>
                    <a:pt x="-1915" y="485"/>
                  </a:cubicBezTo>
                  <a:close/>
                  <a:moveTo>
                    <a:pt x="1940312" y="208154"/>
                  </a:moveTo>
                  <a:cubicBezTo>
                    <a:pt x="1942932" y="206776"/>
                    <a:pt x="1948170" y="203950"/>
                    <a:pt x="1950789" y="202572"/>
                  </a:cubicBezTo>
                  <a:cubicBezTo>
                    <a:pt x="1941208" y="195403"/>
                    <a:pt x="1937762" y="197264"/>
                    <a:pt x="1940312" y="208154"/>
                  </a:cubicBezTo>
                </a:path>
              </a:pathLst>
            </a:custGeom>
            <a:grpFill/>
            <a:ln w="689" cap="flat">
              <a:noFill/>
              <a:prstDash val="solid"/>
              <a:miter/>
            </a:ln>
          </p:spPr>
          <p:txBody>
            <a:bodyPr rtlCol="0" anchor="ctr"/>
            <a:lstStyle/>
            <a:p>
              <a:endParaRPr lang="en-US" sz="2400" dirty="0"/>
            </a:p>
          </p:txBody>
        </p:sp>
        <p:sp>
          <p:nvSpPr>
            <p:cNvPr id="456" name="Graphic 8">
              <a:extLst>
                <a:ext uri="{FF2B5EF4-FFF2-40B4-BE49-F238E27FC236}">
                  <a16:creationId xmlns:a16="http://schemas.microsoft.com/office/drawing/2014/main" id="{48A84830-B1AC-427D-A4AF-A25F1A7422D5}"/>
                </a:ext>
              </a:extLst>
            </p:cNvPr>
            <p:cNvSpPr/>
            <p:nvPr/>
          </p:nvSpPr>
          <p:spPr>
            <a:xfrm flipV="1">
              <a:off x="2282780" y="3132036"/>
              <a:ext cx="11217" cy="23063"/>
            </a:xfrm>
            <a:custGeom>
              <a:avLst/>
              <a:gdLst>
                <a:gd name="connsiteX0" fmla="*/ 1021 w 11217"/>
                <a:gd name="connsiteY0" fmla="*/ 20737 h 23063"/>
                <a:gd name="connsiteX1" fmla="*/ 953 w 11217"/>
                <a:gd name="connsiteY1" fmla="*/ -2284 h 23063"/>
                <a:gd name="connsiteX2" fmla="*/ 1021 w 11217"/>
                <a:gd name="connsiteY2" fmla="*/ 20737 h 23063"/>
                <a:gd name="connsiteX3" fmla="*/ 1021 w 11217"/>
                <a:gd name="connsiteY3" fmla="*/ 20737 h 23063"/>
              </a:gdLst>
              <a:ahLst/>
              <a:cxnLst>
                <a:cxn ang="0">
                  <a:pos x="connsiteX0" y="connsiteY0"/>
                </a:cxn>
                <a:cxn ang="0">
                  <a:pos x="connsiteX1" y="connsiteY1"/>
                </a:cxn>
                <a:cxn ang="0">
                  <a:pos x="connsiteX2" y="connsiteY2"/>
                </a:cxn>
                <a:cxn ang="0">
                  <a:pos x="connsiteX3" y="connsiteY3"/>
                </a:cxn>
              </a:cxnLst>
              <a:rect l="l" t="t" r="r" b="b"/>
              <a:pathLst>
                <a:path w="11217" h="23063">
                  <a:moveTo>
                    <a:pt x="1021" y="20737"/>
                  </a:moveTo>
                  <a:cubicBezTo>
                    <a:pt x="10878" y="21840"/>
                    <a:pt x="11015" y="-2766"/>
                    <a:pt x="953" y="-2284"/>
                  </a:cubicBezTo>
                  <a:cubicBezTo>
                    <a:pt x="-4010" y="5367"/>
                    <a:pt x="-4010" y="13017"/>
                    <a:pt x="1021" y="20737"/>
                  </a:cubicBezTo>
                  <a:lnTo>
                    <a:pt x="1021" y="20737"/>
                  </a:lnTo>
                </a:path>
              </a:pathLst>
            </a:custGeom>
            <a:grpFill/>
            <a:ln w="689" cap="flat">
              <a:noFill/>
              <a:prstDash val="solid"/>
              <a:miter/>
            </a:ln>
          </p:spPr>
          <p:txBody>
            <a:bodyPr rtlCol="0" anchor="ctr"/>
            <a:lstStyle/>
            <a:p>
              <a:endParaRPr lang="en-US" sz="2400" dirty="0"/>
            </a:p>
          </p:txBody>
        </p:sp>
        <p:sp>
          <p:nvSpPr>
            <p:cNvPr id="457" name="Graphic 8">
              <a:extLst>
                <a:ext uri="{FF2B5EF4-FFF2-40B4-BE49-F238E27FC236}">
                  <a16:creationId xmlns:a16="http://schemas.microsoft.com/office/drawing/2014/main" id="{934EBE3A-70F7-4EE4-A5E8-77F87C819087}"/>
                </a:ext>
              </a:extLst>
            </p:cNvPr>
            <p:cNvSpPr/>
            <p:nvPr/>
          </p:nvSpPr>
          <p:spPr>
            <a:xfrm flipV="1">
              <a:off x="8499974" y="3137586"/>
              <a:ext cx="11540" cy="15852"/>
            </a:xfrm>
            <a:custGeom>
              <a:avLst/>
              <a:gdLst>
                <a:gd name="connsiteX0" fmla="*/ -7058 w 11540"/>
                <a:gd name="connsiteY0" fmla="*/ 13565 h 15852"/>
                <a:gd name="connsiteX1" fmla="*/ -2509 w 11540"/>
                <a:gd name="connsiteY1" fmla="*/ -2288 h 15852"/>
                <a:gd name="connsiteX2" fmla="*/ -7058 w 11540"/>
                <a:gd name="connsiteY2" fmla="*/ 13565 h 15852"/>
                <a:gd name="connsiteX3" fmla="*/ -7058 w 11540"/>
                <a:gd name="connsiteY3" fmla="*/ 13565 h 15852"/>
              </a:gdLst>
              <a:ahLst/>
              <a:cxnLst>
                <a:cxn ang="0">
                  <a:pos x="connsiteX0" y="connsiteY0"/>
                </a:cxn>
                <a:cxn ang="0">
                  <a:pos x="connsiteX1" y="connsiteY1"/>
                </a:cxn>
                <a:cxn ang="0">
                  <a:pos x="connsiteX2" y="connsiteY2"/>
                </a:cxn>
                <a:cxn ang="0">
                  <a:pos x="connsiteX3" y="connsiteY3"/>
                </a:cxn>
              </a:cxnLst>
              <a:rect l="l" t="t" r="r" b="b"/>
              <a:pathLst>
                <a:path w="11540" h="15852">
                  <a:moveTo>
                    <a:pt x="-7058" y="13565"/>
                  </a:moveTo>
                  <a:cubicBezTo>
                    <a:pt x="1764" y="11704"/>
                    <a:pt x="3350" y="6397"/>
                    <a:pt x="-2509" y="-2288"/>
                  </a:cubicBezTo>
                  <a:cubicBezTo>
                    <a:pt x="-11401" y="-289"/>
                    <a:pt x="-12986" y="5018"/>
                    <a:pt x="-7058" y="13565"/>
                  </a:cubicBezTo>
                  <a:lnTo>
                    <a:pt x="-7058" y="13565"/>
                  </a:lnTo>
                </a:path>
              </a:pathLst>
            </a:custGeom>
            <a:grpFill/>
            <a:ln w="689" cap="flat">
              <a:noFill/>
              <a:prstDash val="solid"/>
              <a:miter/>
            </a:ln>
          </p:spPr>
          <p:txBody>
            <a:bodyPr rtlCol="0" anchor="ctr"/>
            <a:lstStyle/>
            <a:p>
              <a:endParaRPr lang="en-US" sz="2400" dirty="0"/>
            </a:p>
          </p:txBody>
        </p:sp>
        <p:sp>
          <p:nvSpPr>
            <p:cNvPr id="458" name="Graphic 8">
              <a:extLst>
                <a:ext uri="{FF2B5EF4-FFF2-40B4-BE49-F238E27FC236}">
                  <a16:creationId xmlns:a16="http://schemas.microsoft.com/office/drawing/2014/main" id="{2163A8A6-0B83-48F8-8025-C86CFECF4A73}"/>
                </a:ext>
              </a:extLst>
            </p:cNvPr>
            <p:cNvSpPr/>
            <p:nvPr/>
          </p:nvSpPr>
          <p:spPr>
            <a:xfrm flipV="1">
              <a:off x="8247577" y="3141515"/>
              <a:ext cx="67339" cy="52520"/>
            </a:xfrm>
            <a:custGeom>
              <a:avLst/>
              <a:gdLst>
                <a:gd name="connsiteX0" fmla="*/ 14103 w 67339"/>
                <a:gd name="connsiteY0" fmla="*/ 22355 h 52520"/>
                <a:gd name="connsiteX1" fmla="*/ 27061 w 67339"/>
                <a:gd name="connsiteY1" fmla="*/ 9466 h 52520"/>
                <a:gd name="connsiteX2" fmla="*/ 14103 w 67339"/>
                <a:gd name="connsiteY2" fmla="*/ 22355 h 52520"/>
                <a:gd name="connsiteX3" fmla="*/ 15344 w 67339"/>
                <a:gd name="connsiteY3" fmla="*/ 47788 h 52520"/>
                <a:gd name="connsiteX4" fmla="*/ 54010 w 67339"/>
                <a:gd name="connsiteY4" fmla="*/ 50269 h 52520"/>
                <a:gd name="connsiteX5" fmla="*/ 57043 w 67339"/>
                <a:gd name="connsiteY5" fmla="*/ 1057 h 52520"/>
                <a:gd name="connsiteX6" fmla="*/ 49323 w 67339"/>
                <a:gd name="connsiteY6" fmla="*/ 713 h 52520"/>
                <a:gd name="connsiteX7" fmla="*/ 45464 w 67339"/>
                <a:gd name="connsiteY7" fmla="*/ 18633 h 52520"/>
                <a:gd name="connsiteX8" fmla="*/ 870 w 67339"/>
                <a:gd name="connsiteY8" fmla="*/ -2251 h 52520"/>
                <a:gd name="connsiteX9" fmla="*/ -6367 w 67339"/>
                <a:gd name="connsiteY9" fmla="*/ 13326 h 52520"/>
                <a:gd name="connsiteX10" fmla="*/ -10296 w 67339"/>
                <a:gd name="connsiteY10" fmla="*/ 45789 h 52520"/>
                <a:gd name="connsiteX11" fmla="*/ 15964 w 67339"/>
                <a:gd name="connsiteY11" fmla="*/ 28282 h 52520"/>
                <a:gd name="connsiteX12" fmla="*/ 15344 w 67339"/>
                <a:gd name="connsiteY12" fmla="*/ 47788 h 52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339" h="52520">
                  <a:moveTo>
                    <a:pt x="14103" y="22355"/>
                  </a:moveTo>
                  <a:cubicBezTo>
                    <a:pt x="-4369" y="15187"/>
                    <a:pt x="17687" y="-3630"/>
                    <a:pt x="27061" y="9466"/>
                  </a:cubicBezTo>
                  <a:cubicBezTo>
                    <a:pt x="34229" y="19460"/>
                    <a:pt x="24373" y="31729"/>
                    <a:pt x="14103" y="22355"/>
                  </a:cubicBezTo>
                  <a:close/>
                  <a:moveTo>
                    <a:pt x="15344" y="47788"/>
                  </a:moveTo>
                  <a:cubicBezTo>
                    <a:pt x="28164" y="48271"/>
                    <a:pt x="40984" y="49304"/>
                    <a:pt x="54010" y="50269"/>
                  </a:cubicBezTo>
                  <a:cubicBezTo>
                    <a:pt x="54906" y="33865"/>
                    <a:pt x="56216" y="17530"/>
                    <a:pt x="57043" y="1057"/>
                  </a:cubicBezTo>
                  <a:lnTo>
                    <a:pt x="49323" y="713"/>
                  </a:lnTo>
                  <a:cubicBezTo>
                    <a:pt x="48358" y="5193"/>
                    <a:pt x="46429" y="14153"/>
                    <a:pt x="45464" y="18633"/>
                  </a:cubicBezTo>
                  <a:cubicBezTo>
                    <a:pt x="41810" y="-3147"/>
                    <a:pt x="17067" y="919"/>
                    <a:pt x="870" y="-2251"/>
                  </a:cubicBezTo>
                  <a:cubicBezTo>
                    <a:pt x="-923" y="1678"/>
                    <a:pt x="-4506" y="9466"/>
                    <a:pt x="-6367" y="13326"/>
                  </a:cubicBezTo>
                  <a:cubicBezTo>
                    <a:pt x="-7333" y="24216"/>
                    <a:pt x="-8711" y="35037"/>
                    <a:pt x="-10296" y="45789"/>
                  </a:cubicBezTo>
                  <a:cubicBezTo>
                    <a:pt x="3420" y="52544"/>
                    <a:pt x="9003" y="36209"/>
                    <a:pt x="15964" y="28282"/>
                  </a:cubicBezTo>
                  <a:cubicBezTo>
                    <a:pt x="15826" y="33176"/>
                    <a:pt x="15482" y="42894"/>
                    <a:pt x="15344" y="47788"/>
                  </a:cubicBezTo>
                </a:path>
              </a:pathLst>
            </a:custGeom>
            <a:grpFill/>
            <a:ln w="689" cap="flat">
              <a:noFill/>
              <a:prstDash val="solid"/>
              <a:miter/>
            </a:ln>
          </p:spPr>
          <p:txBody>
            <a:bodyPr rtlCol="0" anchor="ctr"/>
            <a:lstStyle/>
            <a:p>
              <a:endParaRPr lang="en-US" sz="2400" dirty="0"/>
            </a:p>
          </p:txBody>
        </p:sp>
        <p:sp>
          <p:nvSpPr>
            <p:cNvPr id="459" name="Graphic 8">
              <a:extLst>
                <a:ext uri="{FF2B5EF4-FFF2-40B4-BE49-F238E27FC236}">
                  <a16:creationId xmlns:a16="http://schemas.microsoft.com/office/drawing/2014/main" id="{E77D48E7-9A96-4D65-972D-54C1C7CFA359}"/>
                </a:ext>
              </a:extLst>
            </p:cNvPr>
            <p:cNvSpPr/>
            <p:nvPr/>
          </p:nvSpPr>
          <p:spPr>
            <a:xfrm flipV="1">
              <a:off x="8100891" y="3163778"/>
              <a:ext cx="14691" cy="32256"/>
            </a:xfrm>
            <a:custGeom>
              <a:avLst/>
              <a:gdLst>
                <a:gd name="connsiteX0" fmla="*/ -6825 w 14691"/>
                <a:gd name="connsiteY0" fmla="*/ -2231 h 32256"/>
                <a:gd name="connsiteX1" fmla="*/ -898 w 14691"/>
                <a:gd name="connsiteY1" fmla="*/ 30026 h 32256"/>
                <a:gd name="connsiteX2" fmla="*/ -6825 w 14691"/>
                <a:gd name="connsiteY2" fmla="*/ -2231 h 32256"/>
                <a:gd name="connsiteX3" fmla="*/ -6825 w 14691"/>
                <a:gd name="connsiteY3" fmla="*/ -2231 h 32256"/>
              </a:gdLst>
              <a:ahLst/>
              <a:cxnLst>
                <a:cxn ang="0">
                  <a:pos x="connsiteX0" y="connsiteY0"/>
                </a:cxn>
                <a:cxn ang="0">
                  <a:pos x="connsiteX1" y="connsiteY1"/>
                </a:cxn>
                <a:cxn ang="0">
                  <a:pos x="connsiteX2" y="connsiteY2"/>
                </a:cxn>
                <a:cxn ang="0">
                  <a:pos x="connsiteX3" y="connsiteY3"/>
                </a:cxn>
              </a:cxnLst>
              <a:rect l="l" t="t" r="r" b="b"/>
              <a:pathLst>
                <a:path w="14691" h="32256">
                  <a:moveTo>
                    <a:pt x="-6825" y="-2231"/>
                  </a:moveTo>
                  <a:cubicBezTo>
                    <a:pt x="-12064" y="7211"/>
                    <a:pt x="-11581" y="24580"/>
                    <a:pt x="-898" y="30026"/>
                  </a:cubicBezTo>
                  <a:cubicBezTo>
                    <a:pt x="9579" y="24512"/>
                    <a:pt x="3720" y="43"/>
                    <a:pt x="-6825" y="-2231"/>
                  </a:cubicBezTo>
                  <a:lnTo>
                    <a:pt x="-6825" y="-2231"/>
                  </a:lnTo>
                </a:path>
              </a:pathLst>
            </a:custGeom>
            <a:grpFill/>
            <a:ln w="689" cap="flat">
              <a:noFill/>
              <a:prstDash val="solid"/>
              <a:miter/>
            </a:ln>
          </p:spPr>
          <p:txBody>
            <a:bodyPr rtlCol="0" anchor="ctr"/>
            <a:lstStyle/>
            <a:p>
              <a:endParaRPr lang="en-US" sz="2400" dirty="0"/>
            </a:p>
          </p:txBody>
        </p:sp>
        <p:sp>
          <p:nvSpPr>
            <p:cNvPr id="460" name="Graphic 8">
              <a:extLst>
                <a:ext uri="{FF2B5EF4-FFF2-40B4-BE49-F238E27FC236}">
                  <a16:creationId xmlns:a16="http://schemas.microsoft.com/office/drawing/2014/main" id="{00DA6377-50E6-422E-A516-4FEE28D3A071}"/>
                </a:ext>
              </a:extLst>
            </p:cNvPr>
            <p:cNvSpPr/>
            <p:nvPr/>
          </p:nvSpPr>
          <p:spPr>
            <a:xfrm flipV="1">
              <a:off x="8376101" y="3164743"/>
              <a:ext cx="10405" cy="9448"/>
            </a:xfrm>
            <a:custGeom>
              <a:avLst/>
              <a:gdLst>
                <a:gd name="connsiteX0" fmla="*/ -8127 w 10405"/>
                <a:gd name="connsiteY0" fmla="*/ 7200 h 9448"/>
                <a:gd name="connsiteX1" fmla="*/ -8127 w 10405"/>
                <a:gd name="connsiteY1" fmla="*/ 7200 h 9448"/>
                <a:gd name="connsiteX2" fmla="*/ -8127 w 10405"/>
                <a:gd name="connsiteY2" fmla="*/ 7200 h 9448"/>
              </a:gdLst>
              <a:ahLst/>
              <a:cxnLst>
                <a:cxn ang="0">
                  <a:pos x="connsiteX0" y="connsiteY0"/>
                </a:cxn>
                <a:cxn ang="0">
                  <a:pos x="connsiteX1" y="connsiteY1"/>
                </a:cxn>
                <a:cxn ang="0">
                  <a:pos x="connsiteX2" y="connsiteY2"/>
                </a:cxn>
              </a:cxnLst>
              <a:rect l="l" t="t" r="r" b="b"/>
              <a:pathLst>
                <a:path w="10405" h="9448">
                  <a:moveTo>
                    <a:pt x="-8127" y="7200"/>
                  </a:moveTo>
                  <a:cubicBezTo>
                    <a:pt x="14756" y="5408"/>
                    <a:pt x="-19223" y="-13133"/>
                    <a:pt x="-8127" y="7200"/>
                  </a:cubicBezTo>
                  <a:lnTo>
                    <a:pt x="-8127" y="7200"/>
                  </a:lnTo>
                </a:path>
              </a:pathLst>
            </a:custGeom>
            <a:grpFill/>
            <a:ln w="689" cap="flat">
              <a:noFill/>
              <a:prstDash val="solid"/>
              <a:miter/>
            </a:ln>
          </p:spPr>
          <p:txBody>
            <a:bodyPr rtlCol="0" anchor="ctr"/>
            <a:lstStyle/>
            <a:p>
              <a:endParaRPr lang="en-US" sz="2400" dirty="0"/>
            </a:p>
          </p:txBody>
        </p:sp>
        <p:sp>
          <p:nvSpPr>
            <p:cNvPr id="461" name="Graphic 8">
              <a:extLst>
                <a:ext uri="{FF2B5EF4-FFF2-40B4-BE49-F238E27FC236}">
                  <a16:creationId xmlns:a16="http://schemas.microsoft.com/office/drawing/2014/main" id="{C5F291C0-D11A-4F68-8B19-C3DF3E99AB68}"/>
                </a:ext>
              </a:extLst>
            </p:cNvPr>
            <p:cNvSpPr/>
            <p:nvPr/>
          </p:nvSpPr>
          <p:spPr>
            <a:xfrm flipV="1">
              <a:off x="8145224" y="3172324"/>
              <a:ext cx="2533" cy="2791"/>
            </a:xfrm>
            <a:custGeom>
              <a:avLst/>
              <a:gdLst>
                <a:gd name="connsiteX0" fmla="*/ -10127 w 2533"/>
                <a:gd name="connsiteY0" fmla="*/ 550 h 2791"/>
                <a:gd name="connsiteX1" fmla="*/ -10127 w 2533"/>
                <a:gd name="connsiteY1" fmla="*/ 550 h 2791"/>
                <a:gd name="connsiteX2" fmla="*/ -10127 w 2533"/>
                <a:gd name="connsiteY2" fmla="*/ 550 h 2791"/>
              </a:gdLst>
              <a:ahLst/>
              <a:cxnLst>
                <a:cxn ang="0">
                  <a:pos x="connsiteX0" y="connsiteY0"/>
                </a:cxn>
                <a:cxn ang="0">
                  <a:pos x="connsiteX1" y="connsiteY1"/>
                </a:cxn>
                <a:cxn ang="0">
                  <a:pos x="connsiteX2" y="connsiteY2"/>
                </a:cxn>
              </a:cxnLst>
              <a:rect l="l" t="t" r="r" b="b"/>
              <a:pathLst>
                <a:path w="2533" h="2791">
                  <a:moveTo>
                    <a:pt x="-10127" y="550"/>
                  </a:moveTo>
                  <a:cubicBezTo>
                    <a:pt x="-6749" y="-3172"/>
                    <a:pt x="-6749" y="-3172"/>
                    <a:pt x="-10127" y="550"/>
                  </a:cubicBezTo>
                  <a:lnTo>
                    <a:pt x="-10127" y="550"/>
                  </a:lnTo>
                </a:path>
              </a:pathLst>
            </a:custGeom>
            <a:grpFill/>
            <a:ln w="689" cap="flat">
              <a:noFill/>
              <a:prstDash val="solid"/>
              <a:miter/>
            </a:ln>
          </p:spPr>
          <p:txBody>
            <a:bodyPr rtlCol="0" anchor="ctr"/>
            <a:lstStyle/>
            <a:p>
              <a:endParaRPr lang="en-US" sz="2400" dirty="0"/>
            </a:p>
          </p:txBody>
        </p:sp>
        <p:sp>
          <p:nvSpPr>
            <p:cNvPr id="462" name="Graphic 8">
              <a:extLst>
                <a:ext uri="{FF2B5EF4-FFF2-40B4-BE49-F238E27FC236}">
                  <a16:creationId xmlns:a16="http://schemas.microsoft.com/office/drawing/2014/main" id="{8EEC8191-11EF-460D-903F-B8DE5D70DE1E}"/>
                </a:ext>
              </a:extLst>
            </p:cNvPr>
            <p:cNvSpPr/>
            <p:nvPr/>
          </p:nvSpPr>
          <p:spPr>
            <a:xfrm flipV="1">
              <a:off x="7703900" y="3192657"/>
              <a:ext cx="2894" cy="2791"/>
            </a:xfrm>
            <a:custGeom>
              <a:avLst/>
              <a:gdLst>
                <a:gd name="connsiteX0" fmla="*/ -9572 w 2894"/>
                <a:gd name="connsiteY0" fmla="*/ 583 h 2791"/>
                <a:gd name="connsiteX1" fmla="*/ -9572 w 2894"/>
                <a:gd name="connsiteY1" fmla="*/ 583 h 2791"/>
                <a:gd name="connsiteX2" fmla="*/ -9572 w 2894"/>
                <a:gd name="connsiteY2" fmla="*/ 583 h 2791"/>
              </a:gdLst>
              <a:ahLst/>
              <a:cxnLst>
                <a:cxn ang="0">
                  <a:pos x="connsiteX0" y="connsiteY0"/>
                </a:cxn>
                <a:cxn ang="0">
                  <a:pos x="connsiteX1" y="connsiteY1"/>
                </a:cxn>
                <a:cxn ang="0">
                  <a:pos x="connsiteX2" y="connsiteY2"/>
                </a:cxn>
              </a:cxnLst>
              <a:rect l="l" t="t" r="r" b="b"/>
              <a:pathLst>
                <a:path w="2894" h="2791">
                  <a:moveTo>
                    <a:pt x="-9572" y="583"/>
                  </a:moveTo>
                  <a:cubicBezTo>
                    <a:pt x="-5713" y="-3138"/>
                    <a:pt x="-5713" y="-3138"/>
                    <a:pt x="-9572" y="583"/>
                  </a:cubicBezTo>
                  <a:lnTo>
                    <a:pt x="-9572" y="583"/>
                  </a:lnTo>
                </a:path>
              </a:pathLst>
            </a:custGeom>
            <a:grpFill/>
            <a:ln w="689" cap="flat">
              <a:noFill/>
              <a:prstDash val="solid"/>
              <a:miter/>
            </a:ln>
          </p:spPr>
          <p:txBody>
            <a:bodyPr rtlCol="0" anchor="ctr"/>
            <a:lstStyle/>
            <a:p>
              <a:endParaRPr lang="en-US" sz="2400" dirty="0"/>
            </a:p>
          </p:txBody>
        </p:sp>
        <p:sp>
          <p:nvSpPr>
            <p:cNvPr id="463" name="Graphic 8">
              <a:extLst>
                <a:ext uri="{FF2B5EF4-FFF2-40B4-BE49-F238E27FC236}">
                  <a16:creationId xmlns:a16="http://schemas.microsoft.com/office/drawing/2014/main" id="{43B508EF-91BE-4866-BA9F-F1DDBE1E2E9B}"/>
                </a:ext>
              </a:extLst>
            </p:cNvPr>
            <p:cNvSpPr/>
            <p:nvPr/>
          </p:nvSpPr>
          <p:spPr>
            <a:xfrm flipV="1">
              <a:off x="7631148" y="3191345"/>
              <a:ext cx="181750" cy="134450"/>
            </a:xfrm>
            <a:custGeom>
              <a:avLst/>
              <a:gdLst>
                <a:gd name="connsiteX0" fmla="*/ -6938 w 181750"/>
                <a:gd name="connsiteY0" fmla="*/ 7386 h 134450"/>
                <a:gd name="connsiteX1" fmla="*/ -6938 w 181750"/>
                <a:gd name="connsiteY1" fmla="*/ 7386 h 134450"/>
                <a:gd name="connsiteX2" fmla="*/ 159033 w 181750"/>
                <a:gd name="connsiteY2" fmla="*/ 130072 h 134450"/>
                <a:gd name="connsiteX3" fmla="*/ 168131 w 181750"/>
                <a:gd name="connsiteY3" fmla="*/ 115460 h 134450"/>
                <a:gd name="connsiteX4" fmla="*/ 159033 w 181750"/>
                <a:gd name="connsiteY4" fmla="*/ 130072 h 1344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750" h="134450">
                  <a:moveTo>
                    <a:pt x="-6938" y="7386"/>
                  </a:moveTo>
                  <a:cubicBezTo>
                    <a:pt x="15601" y="4422"/>
                    <a:pt x="-19068" y="-12395"/>
                    <a:pt x="-6938" y="7386"/>
                  </a:cubicBezTo>
                  <a:close/>
                  <a:moveTo>
                    <a:pt x="159033" y="130072"/>
                  </a:moveTo>
                  <a:cubicBezTo>
                    <a:pt x="168544" y="138481"/>
                    <a:pt x="177642" y="121319"/>
                    <a:pt x="168131" y="115460"/>
                  </a:cubicBezTo>
                  <a:cubicBezTo>
                    <a:pt x="158481" y="107120"/>
                    <a:pt x="149521" y="124282"/>
                    <a:pt x="159033" y="130072"/>
                  </a:cubicBezTo>
                </a:path>
              </a:pathLst>
            </a:custGeom>
            <a:grpFill/>
            <a:ln w="689" cap="flat">
              <a:noFill/>
              <a:prstDash val="solid"/>
              <a:miter/>
            </a:ln>
          </p:spPr>
          <p:txBody>
            <a:bodyPr rtlCol="0" anchor="ctr"/>
            <a:lstStyle/>
            <a:p>
              <a:endParaRPr lang="en-US" sz="2400" dirty="0"/>
            </a:p>
          </p:txBody>
        </p:sp>
        <p:sp>
          <p:nvSpPr>
            <p:cNvPr id="464" name="Graphic 8">
              <a:extLst>
                <a:ext uri="{FF2B5EF4-FFF2-40B4-BE49-F238E27FC236}">
                  <a16:creationId xmlns:a16="http://schemas.microsoft.com/office/drawing/2014/main" id="{0FA77195-FAFB-4FB1-81D6-72269CBFEB37}"/>
                </a:ext>
              </a:extLst>
            </p:cNvPr>
            <p:cNvSpPr/>
            <p:nvPr/>
          </p:nvSpPr>
          <p:spPr>
            <a:xfrm flipV="1">
              <a:off x="8827991" y="3213748"/>
              <a:ext cx="2429" cy="2946"/>
            </a:xfrm>
            <a:custGeom>
              <a:avLst/>
              <a:gdLst>
                <a:gd name="connsiteX0" fmla="*/ -10985 w 2429"/>
                <a:gd name="connsiteY0" fmla="*/ 773 h 2946"/>
                <a:gd name="connsiteX1" fmla="*/ -10985 w 2429"/>
                <a:gd name="connsiteY1" fmla="*/ 773 h 2946"/>
                <a:gd name="connsiteX2" fmla="*/ -10985 w 2429"/>
                <a:gd name="connsiteY2" fmla="*/ 773 h 2946"/>
              </a:gdLst>
              <a:ahLst/>
              <a:cxnLst>
                <a:cxn ang="0">
                  <a:pos x="connsiteX0" y="connsiteY0"/>
                </a:cxn>
                <a:cxn ang="0">
                  <a:pos x="connsiteX1" y="connsiteY1"/>
                </a:cxn>
                <a:cxn ang="0">
                  <a:pos x="connsiteX2" y="connsiteY2"/>
                </a:cxn>
              </a:cxnLst>
              <a:rect l="l" t="t" r="r" b="b"/>
              <a:pathLst>
                <a:path w="2429" h="2946">
                  <a:moveTo>
                    <a:pt x="-10985" y="773"/>
                  </a:moveTo>
                  <a:cubicBezTo>
                    <a:pt x="-7746" y="-3155"/>
                    <a:pt x="-7746" y="-3155"/>
                    <a:pt x="-10985" y="773"/>
                  </a:cubicBezTo>
                  <a:lnTo>
                    <a:pt x="-10985" y="773"/>
                  </a:lnTo>
                </a:path>
              </a:pathLst>
            </a:custGeom>
            <a:grpFill/>
            <a:ln w="689" cap="flat">
              <a:noFill/>
              <a:prstDash val="solid"/>
              <a:miter/>
            </a:ln>
          </p:spPr>
          <p:txBody>
            <a:bodyPr rtlCol="0" anchor="ctr"/>
            <a:lstStyle/>
            <a:p>
              <a:endParaRPr lang="en-US" sz="2400" dirty="0"/>
            </a:p>
          </p:txBody>
        </p:sp>
        <p:sp>
          <p:nvSpPr>
            <p:cNvPr id="465" name="Graphic 8">
              <a:extLst>
                <a:ext uri="{FF2B5EF4-FFF2-40B4-BE49-F238E27FC236}">
                  <a16:creationId xmlns:a16="http://schemas.microsoft.com/office/drawing/2014/main" id="{09A36860-D6C5-4B76-B1C3-F200DB65B8F4}"/>
                </a:ext>
              </a:extLst>
            </p:cNvPr>
            <p:cNvSpPr/>
            <p:nvPr/>
          </p:nvSpPr>
          <p:spPr>
            <a:xfrm flipV="1">
              <a:off x="1207973" y="3220020"/>
              <a:ext cx="10350" cy="9486"/>
            </a:xfrm>
            <a:custGeom>
              <a:avLst/>
              <a:gdLst>
                <a:gd name="connsiteX0" fmla="*/ 992 w 10350"/>
                <a:gd name="connsiteY0" fmla="*/ 7329 h 9486"/>
                <a:gd name="connsiteX1" fmla="*/ 992 w 10350"/>
                <a:gd name="connsiteY1" fmla="*/ 7329 h 9486"/>
                <a:gd name="connsiteX2" fmla="*/ 992 w 10350"/>
                <a:gd name="connsiteY2" fmla="*/ 7329 h 9486"/>
              </a:gdLst>
              <a:ahLst/>
              <a:cxnLst>
                <a:cxn ang="0">
                  <a:pos x="connsiteX0" y="connsiteY0"/>
                </a:cxn>
                <a:cxn ang="0">
                  <a:pos x="connsiteX1" y="connsiteY1"/>
                </a:cxn>
                <a:cxn ang="0">
                  <a:pos x="connsiteX2" y="connsiteY2"/>
                </a:cxn>
              </a:cxnLst>
              <a:rect l="l" t="t" r="r" b="b"/>
              <a:pathLst>
                <a:path w="10350" h="9486">
                  <a:moveTo>
                    <a:pt x="992" y="7329"/>
                  </a:moveTo>
                  <a:cubicBezTo>
                    <a:pt x="23599" y="5123"/>
                    <a:pt x="-10381" y="-12866"/>
                    <a:pt x="992" y="7329"/>
                  </a:cubicBezTo>
                  <a:lnTo>
                    <a:pt x="992" y="7329"/>
                  </a:lnTo>
                </a:path>
              </a:pathLst>
            </a:custGeom>
            <a:grpFill/>
            <a:ln w="689" cap="flat">
              <a:noFill/>
              <a:prstDash val="solid"/>
              <a:miter/>
            </a:ln>
          </p:spPr>
          <p:txBody>
            <a:bodyPr rtlCol="0" anchor="ctr"/>
            <a:lstStyle/>
            <a:p>
              <a:endParaRPr lang="en-US" sz="2400" dirty="0"/>
            </a:p>
          </p:txBody>
        </p:sp>
        <p:sp>
          <p:nvSpPr>
            <p:cNvPr id="466" name="Graphic 8">
              <a:extLst>
                <a:ext uri="{FF2B5EF4-FFF2-40B4-BE49-F238E27FC236}">
                  <a16:creationId xmlns:a16="http://schemas.microsoft.com/office/drawing/2014/main" id="{0FD7FDAD-323F-43B2-8F85-A43E44249E08}"/>
                </a:ext>
              </a:extLst>
            </p:cNvPr>
            <p:cNvSpPr/>
            <p:nvPr/>
          </p:nvSpPr>
          <p:spPr>
            <a:xfrm flipV="1">
              <a:off x="6934654" y="3239543"/>
              <a:ext cx="14727" cy="19971"/>
            </a:xfrm>
            <a:custGeom>
              <a:avLst/>
              <a:gdLst>
                <a:gd name="connsiteX0" fmla="*/ -5395 w 14727"/>
                <a:gd name="connsiteY0" fmla="*/ -2117 h 19971"/>
                <a:gd name="connsiteX1" fmla="*/ 6115 w 14727"/>
                <a:gd name="connsiteY1" fmla="*/ 10152 h 19971"/>
                <a:gd name="connsiteX2" fmla="*/ -5395 w 14727"/>
                <a:gd name="connsiteY2" fmla="*/ -2117 h 19971"/>
                <a:gd name="connsiteX3" fmla="*/ -5395 w 14727"/>
                <a:gd name="connsiteY3" fmla="*/ -2117 h 19971"/>
              </a:gdLst>
              <a:ahLst/>
              <a:cxnLst>
                <a:cxn ang="0">
                  <a:pos x="connsiteX0" y="connsiteY0"/>
                </a:cxn>
                <a:cxn ang="0">
                  <a:pos x="connsiteX1" y="connsiteY1"/>
                </a:cxn>
                <a:cxn ang="0">
                  <a:pos x="connsiteX2" y="connsiteY2"/>
                </a:cxn>
                <a:cxn ang="0">
                  <a:pos x="connsiteX3" y="connsiteY3"/>
                </a:cxn>
              </a:cxnLst>
              <a:rect l="l" t="t" r="r" b="b"/>
              <a:pathLst>
                <a:path w="14727" h="19971">
                  <a:moveTo>
                    <a:pt x="-5395" y="-2117"/>
                  </a:moveTo>
                  <a:cubicBezTo>
                    <a:pt x="-15734" y="7739"/>
                    <a:pt x="1773" y="29382"/>
                    <a:pt x="6115" y="10152"/>
                  </a:cubicBezTo>
                  <a:cubicBezTo>
                    <a:pt x="3703" y="4638"/>
                    <a:pt x="-156" y="571"/>
                    <a:pt x="-5395" y="-2117"/>
                  </a:cubicBezTo>
                  <a:lnTo>
                    <a:pt x="-5395" y="-2117"/>
                  </a:lnTo>
                </a:path>
              </a:pathLst>
            </a:custGeom>
            <a:grpFill/>
            <a:ln w="689" cap="flat">
              <a:noFill/>
              <a:prstDash val="solid"/>
              <a:miter/>
            </a:ln>
          </p:spPr>
          <p:txBody>
            <a:bodyPr rtlCol="0" anchor="ctr"/>
            <a:lstStyle/>
            <a:p>
              <a:endParaRPr lang="en-US" sz="2400" dirty="0"/>
            </a:p>
          </p:txBody>
        </p:sp>
        <p:sp>
          <p:nvSpPr>
            <p:cNvPr id="467" name="Graphic 8">
              <a:extLst>
                <a:ext uri="{FF2B5EF4-FFF2-40B4-BE49-F238E27FC236}">
                  <a16:creationId xmlns:a16="http://schemas.microsoft.com/office/drawing/2014/main" id="{B9B3C1FA-AE82-4B9B-A553-E48379EF6BB0}"/>
                </a:ext>
              </a:extLst>
            </p:cNvPr>
            <p:cNvSpPr/>
            <p:nvPr/>
          </p:nvSpPr>
          <p:spPr>
            <a:xfrm flipV="1">
              <a:off x="1231188" y="3247176"/>
              <a:ext cx="1512809" cy="392215"/>
            </a:xfrm>
            <a:custGeom>
              <a:avLst/>
              <a:gdLst>
                <a:gd name="connsiteX0" fmla="*/ 1507480 w 1512809"/>
                <a:gd name="connsiteY0" fmla="*/ 993 h 392215"/>
                <a:gd name="connsiteX1" fmla="*/ 1507480 w 1512809"/>
                <a:gd name="connsiteY1" fmla="*/ 993 h 392215"/>
                <a:gd name="connsiteX2" fmla="*/ -2383 w 1512809"/>
                <a:gd name="connsiteY2" fmla="*/ 390417 h 392215"/>
                <a:gd name="connsiteX3" fmla="*/ -2383 w 1512809"/>
                <a:gd name="connsiteY3" fmla="*/ 390417 h 392215"/>
              </a:gdLst>
              <a:ahLst/>
              <a:cxnLst>
                <a:cxn ang="0">
                  <a:pos x="connsiteX0" y="connsiteY0"/>
                </a:cxn>
                <a:cxn ang="0">
                  <a:pos x="connsiteX1" y="connsiteY1"/>
                </a:cxn>
                <a:cxn ang="0">
                  <a:pos x="connsiteX2" y="connsiteY2"/>
                </a:cxn>
                <a:cxn ang="0">
                  <a:pos x="connsiteX3" y="connsiteY3"/>
                </a:cxn>
              </a:cxnLst>
              <a:rect l="l" t="t" r="r" b="b"/>
              <a:pathLst>
                <a:path w="1512809" h="392215">
                  <a:moveTo>
                    <a:pt x="1507480" y="993"/>
                  </a:moveTo>
                  <a:cubicBezTo>
                    <a:pt x="1511409" y="-2729"/>
                    <a:pt x="1511409" y="-2729"/>
                    <a:pt x="1507480" y="993"/>
                  </a:cubicBezTo>
                  <a:close/>
                  <a:moveTo>
                    <a:pt x="-2383" y="390417"/>
                  </a:moveTo>
                  <a:cubicBezTo>
                    <a:pt x="1339" y="386489"/>
                    <a:pt x="1339" y="386489"/>
                    <a:pt x="-2383" y="390417"/>
                  </a:cubicBezTo>
                </a:path>
              </a:pathLst>
            </a:custGeom>
            <a:grpFill/>
            <a:ln w="689" cap="flat">
              <a:noFill/>
              <a:prstDash val="solid"/>
              <a:miter/>
            </a:ln>
          </p:spPr>
          <p:txBody>
            <a:bodyPr rtlCol="0" anchor="ctr"/>
            <a:lstStyle/>
            <a:p>
              <a:endParaRPr lang="en-US" sz="2400" dirty="0"/>
            </a:p>
          </p:txBody>
        </p:sp>
        <p:sp>
          <p:nvSpPr>
            <p:cNvPr id="468" name="Graphic 8">
              <a:extLst>
                <a:ext uri="{FF2B5EF4-FFF2-40B4-BE49-F238E27FC236}">
                  <a16:creationId xmlns:a16="http://schemas.microsoft.com/office/drawing/2014/main" id="{51126DCB-F584-4B69-8CCF-156B169DC867}"/>
                </a:ext>
              </a:extLst>
            </p:cNvPr>
            <p:cNvSpPr/>
            <p:nvPr/>
          </p:nvSpPr>
          <p:spPr>
            <a:xfrm flipV="1">
              <a:off x="6937871" y="3247245"/>
              <a:ext cx="23916" cy="26811"/>
            </a:xfrm>
            <a:custGeom>
              <a:avLst/>
              <a:gdLst>
                <a:gd name="connsiteX0" fmla="*/ -8622 w 23916"/>
                <a:gd name="connsiteY0" fmla="*/ 12445 h 26811"/>
                <a:gd name="connsiteX1" fmla="*/ 2888 w 23916"/>
                <a:gd name="connsiteY1" fmla="*/ 24713 h 26811"/>
                <a:gd name="connsiteX2" fmla="*/ 15295 w 23916"/>
                <a:gd name="connsiteY2" fmla="*/ -2098 h 26811"/>
                <a:gd name="connsiteX3" fmla="*/ -627 w 23916"/>
                <a:gd name="connsiteY3" fmla="*/ -2030 h 26811"/>
                <a:gd name="connsiteX4" fmla="*/ -8622 w 23916"/>
                <a:gd name="connsiteY4" fmla="*/ 12445 h 26811"/>
                <a:gd name="connsiteX5" fmla="*/ -8622 w 23916"/>
                <a:gd name="connsiteY5" fmla="*/ 12445 h 26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916" h="26811">
                  <a:moveTo>
                    <a:pt x="-8622" y="12445"/>
                  </a:moveTo>
                  <a:cubicBezTo>
                    <a:pt x="-3383" y="15133"/>
                    <a:pt x="476" y="19199"/>
                    <a:pt x="2888" y="24713"/>
                  </a:cubicBezTo>
                  <a:cubicBezTo>
                    <a:pt x="5990" y="15408"/>
                    <a:pt x="9574" y="6103"/>
                    <a:pt x="15295" y="-2098"/>
                  </a:cubicBezTo>
                  <a:cubicBezTo>
                    <a:pt x="11366" y="-2098"/>
                    <a:pt x="3371" y="-2030"/>
                    <a:pt x="-627" y="-2030"/>
                  </a:cubicBezTo>
                  <a:cubicBezTo>
                    <a:pt x="-2626" y="1623"/>
                    <a:pt x="-6623" y="8792"/>
                    <a:pt x="-8622" y="12445"/>
                  </a:cubicBezTo>
                  <a:lnTo>
                    <a:pt x="-8622" y="12445"/>
                  </a:lnTo>
                </a:path>
              </a:pathLst>
            </a:custGeom>
            <a:grpFill/>
            <a:ln w="689" cap="flat">
              <a:noFill/>
              <a:prstDash val="solid"/>
              <a:miter/>
            </a:ln>
          </p:spPr>
          <p:txBody>
            <a:bodyPr rtlCol="0" anchor="ctr"/>
            <a:lstStyle/>
            <a:p>
              <a:endParaRPr lang="en-US" sz="2400" dirty="0"/>
            </a:p>
          </p:txBody>
        </p:sp>
        <p:sp>
          <p:nvSpPr>
            <p:cNvPr id="469" name="Graphic 8">
              <a:extLst>
                <a:ext uri="{FF2B5EF4-FFF2-40B4-BE49-F238E27FC236}">
                  <a16:creationId xmlns:a16="http://schemas.microsoft.com/office/drawing/2014/main" id="{23D0D3A5-CC4A-42E1-A566-96B7ABF67917}"/>
                </a:ext>
              </a:extLst>
            </p:cNvPr>
            <p:cNvSpPr/>
            <p:nvPr/>
          </p:nvSpPr>
          <p:spPr>
            <a:xfrm flipV="1">
              <a:off x="6971714" y="3247108"/>
              <a:ext cx="2791" cy="2791"/>
            </a:xfrm>
            <a:custGeom>
              <a:avLst/>
              <a:gdLst>
                <a:gd name="connsiteX0" fmla="*/ -8651 w 2791"/>
                <a:gd name="connsiteY0" fmla="*/ 673 h 2791"/>
                <a:gd name="connsiteX1" fmla="*/ -8651 w 2791"/>
                <a:gd name="connsiteY1" fmla="*/ 673 h 2791"/>
                <a:gd name="connsiteX2" fmla="*/ -8651 w 2791"/>
                <a:gd name="connsiteY2" fmla="*/ 673 h 2791"/>
              </a:gdLst>
              <a:ahLst/>
              <a:cxnLst>
                <a:cxn ang="0">
                  <a:pos x="connsiteX0" y="connsiteY0"/>
                </a:cxn>
                <a:cxn ang="0">
                  <a:pos x="connsiteX1" y="connsiteY1"/>
                </a:cxn>
                <a:cxn ang="0">
                  <a:pos x="connsiteX2" y="connsiteY2"/>
                </a:cxn>
              </a:cxnLst>
              <a:rect l="l" t="t" r="r" b="b"/>
              <a:pathLst>
                <a:path w="2791" h="2791">
                  <a:moveTo>
                    <a:pt x="-8651" y="673"/>
                  </a:moveTo>
                  <a:cubicBezTo>
                    <a:pt x="-4930" y="-3049"/>
                    <a:pt x="-4930" y="-3049"/>
                    <a:pt x="-8651" y="673"/>
                  </a:cubicBezTo>
                  <a:lnTo>
                    <a:pt x="-8651" y="673"/>
                  </a:lnTo>
                </a:path>
              </a:pathLst>
            </a:custGeom>
            <a:grpFill/>
            <a:ln w="689" cap="flat">
              <a:noFill/>
              <a:prstDash val="solid"/>
              <a:miter/>
            </a:ln>
          </p:spPr>
          <p:txBody>
            <a:bodyPr rtlCol="0" anchor="ctr"/>
            <a:lstStyle/>
            <a:p>
              <a:endParaRPr lang="en-US" sz="2400" dirty="0"/>
            </a:p>
          </p:txBody>
        </p:sp>
        <p:sp>
          <p:nvSpPr>
            <p:cNvPr id="470" name="Graphic 8">
              <a:extLst>
                <a:ext uri="{FF2B5EF4-FFF2-40B4-BE49-F238E27FC236}">
                  <a16:creationId xmlns:a16="http://schemas.microsoft.com/office/drawing/2014/main" id="{B44BD718-4615-4521-BBA0-1616CC93E11E}"/>
                </a:ext>
              </a:extLst>
            </p:cNvPr>
            <p:cNvSpPr/>
            <p:nvPr/>
          </p:nvSpPr>
          <p:spPr>
            <a:xfrm flipV="1">
              <a:off x="6365301" y="3267548"/>
              <a:ext cx="14615" cy="25807"/>
            </a:xfrm>
            <a:custGeom>
              <a:avLst/>
              <a:gdLst>
                <a:gd name="connsiteX0" fmla="*/ -4919 w 14615"/>
                <a:gd name="connsiteY0" fmla="*/ 22678 h 25807"/>
                <a:gd name="connsiteX1" fmla="*/ -1266 w 14615"/>
                <a:gd name="connsiteY1" fmla="*/ -2066 h 25807"/>
                <a:gd name="connsiteX2" fmla="*/ -4919 w 14615"/>
                <a:gd name="connsiteY2" fmla="*/ 22678 h 25807"/>
                <a:gd name="connsiteX3" fmla="*/ -4919 w 14615"/>
                <a:gd name="connsiteY3" fmla="*/ 22678 h 25807"/>
              </a:gdLst>
              <a:ahLst/>
              <a:cxnLst>
                <a:cxn ang="0">
                  <a:pos x="connsiteX0" y="connsiteY0"/>
                </a:cxn>
                <a:cxn ang="0">
                  <a:pos x="connsiteX1" y="connsiteY1"/>
                </a:cxn>
                <a:cxn ang="0">
                  <a:pos x="connsiteX2" y="connsiteY2"/>
                </a:cxn>
                <a:cxn ang="0">
                  <a:pos x="connsiteX3" y="connsiteY3"/>
                </a:cxn>
              </a:cxnLst>
              <a:rect l="l" t="t" r="r" b="b"/>
              <a:pathLst>
                <a:path w="14615" h="25807">
                  <a:moveTo>
                    <a:pt x="-4919" y="22678"/>
                  </a:moveTo>
                  <a:cubicBezTo>
                    <a:pt x="8452" y="29708"/>
                    <a:pt x="11140" y="-343"/>
                    <a:pt x="-1266" y="-2066"/>
                  </a:cubicBezTo>
                  <a:cubicBezTo>
                    <a:pt x="-9124" y="2759"/>
                    <a:pt x="-9537" y="15510"/>
                    <a:pt x="-4919" y="22678"/>
                  </a:cubicBezTo>
                  <a:lnTo>
                    <a:pt x="-4919" y="22678"/>
                  </a:lnTo>
                </a:path>
              </a:pathLst>
            </a:custGeom>
            <a:grpFill/>
            <a:ln w="689" cap="flat">
              <a:noFill/>
              <a:prstDash val="solid"/>
              <a:miter/>
            </a:ln>
          </p:spPr>
          <p:txBody>
            <a:bodyPr rtlCol="0" anchor="ctr"/>
            <a:lstStyle/>
            <a:p>
              <a:endParaRPr lang="en-US" sz="2400" dirty="0"/>
            </a:p>
          </p:txBody>
        </p:sp>
        <p:sp>
          <p:nvSpPr>
            <p:cNvPr id="471" name="Graphic 8">
              <a:extLst>
                <a:ext uri="{FF2B5EF4-FFF2-40B4-BE49-F238E27FC236}">
                  <a16:creationId xmlns:a16="http://schemas.microsoft.com/office/drawing/2014/main" id="{FACF5F82-0A37-431C-866D-4E4AFBAC709E}"/>
                </a:ext>
              </a:extLst>
            </p:cNvPr>
            <p:cNvSpPr/>
            <p:nvPr/>
          </p:nvSpPr>
          <p:spPr>
            <a:xfrm flipV="1">
              <a:off x="6389073" y="3263787"/>
              <a:ext cx="13408" cy="23572"/>
            </a:xfrm>
            <a:custGeom>
              <a:avLst/>
              <a:gdLst>
                <a:gd name="connsiteX0" fmla="*/ 2434 w 13408"/>
                <a:gd name="connsiteY0" fmla="*/ -2074 h 23572"/>
                <a:gd name="connsiteX1" fmla="*/ -3907 w 13408"/>
                <a:gd name="connsiteY1" fmla="*/ 21498 h 23572"/>
                <a:gd name="connsiteX2" fmla="*/ 2434 w 13408"/>
                <a:gd name="connsiteY2" fmla="*/ -2074 h 23572"/>
                <a:gd name="connsiteX3" fmla="*/ 2434 w 13408"/>
                <a:gd name="connsiteY3" fmla="*/ -2074 h 23572"/>
              </a:gdLst>
              <a:ahLst/>
              <a:cxnLst>
                <a:cxn ang="0">
                  <a:pos x="connsiteX0" y="connsiteY0"/>
                </a:cxn>
                <a:cxn ang="0">
                  <a:pos x="connsiteX1" y="connsiteY1"/>
                </a:cxn>
                <a:cxn ang="0">
                  <a:pos x="connsiteX2" y="connsiteY2"/>
                </a:cxn>
                <a:cxn ang="0">
                  <a:pos x="connsiteX3" y="connsiteY3"/>
                </a:cxn>
              </a:cxnLst>
              <a:rect l="l" t="t" r="r" b="b"/>
              <a:pathLst>
                <a:path w="13408" h="23572">
                  <a:moveTo>
                    <a:pt x="2434" y="-2074"/>
                  </a:moveTo>
                  <a:cubicBezTo>
                    <a:pt x="-2736" y="4060"/>
                    <a:pt x="-13901" y="14399"/>
                    <a:pt x="-3907" y="21498"/>
                  </a:cubicBezTo>
                  <a:cubicBezTo>
                    <a:pt x="5949" y="15571"/>
                    <a:pt x="8017" y="7713"/>
                    <a:pt x="2434" y="-2074"/>
                  </a:cubicBezTo>
                  <a:lnTo>
                    <a:pt x="2434" y="-2074"/>
                  </a:lnTo>
                </a:path>
              </a:pathLst>
            </a:custGeom>
            <a:grpFill/>
            <a:ln w="689" cap="flat">
              <a:noFill/>
              <a:prstDash val="solid"/>
              <a:miter/>
            </a:ln>
          </p:spPr>
          <p:txBody>
            <a:bodyPr rtlCol="0" anchor="ctr"/>
            <a:lstStyle/>
            <a:p>
              <a:endParaRPr lang="en-US" sz="2400" dirty="0"/>
            </a:p>
          </p:txBody>
        </p:sp>
        <p:sp>
          <p:nvSpPr>
            <p:cNvPr id="472" name="Graphic 8">
              <a:extLst>
                <a:ext uri="{FF2B5EF4-FFF2-40B4-BE49-F238E27FC236}">
                  <a16:creationId xmlns:a16="http://schemas.microsoft.com/office/drawing/2014/main" id="{394A4DF8-4DA8-4A8F-969C-6C7E5BB4C3A4}"/>
                </a:ext>
              </a:extLst>
            </p:cNvPr>
            <p:cNvSpPr/>
            <p:nvPr/>
          </p:nvSpPr>
          <p:spPr>
            <a:xfrm flipV="1">
              <a:off x="8445822" y="3277056"/>
              <a:ext cx="18937" cy="17744"/>
            </a:xfrm>
            <a:custGeom>
              <a:avLst/>
              <a:gdLst>
                <a:gd name="connsiteX0" fmla="*/ -8879 w 18937"/>
                <a:gd name="connsiteY0" fmla="*/ 15034 h 17744"/>
                <a:gd name="connsiteX1" fmla="*/ 7595 w 18937"/>
                <a:gd name="connsiteY1" fmla="*/ -199 h 17744"/>
                <a:gd name="connsiteX2" fmla="*/ -8879 w 18937"/>
                <a:gd name="connsiteY2" fmla="*/ 15034 h 17744"/>
                <a:gd name="connsiteX3" fmla="*/ -8879 w 18937"/>
                <a:gd name="connsiteY3" fmla="*/ 15034 h 17744"/>
              </a:gdLst>
              <a:ahLst/>
              <a:cxnLst>
                <a:cxn ang="0">
                  <a:pos x="connsiteX0" y="connsiteY0"/>
                </a:cxn>
                <a:cxn ang="0">
                  <a:pos x="connsiteX1" y="connsiteY1"/>
                </a:cxn>
                <a:cxn ang="0">
                  <a:pos x="connsiteX2" y="connsiteY2"/>
                </a:cxn>
                <a:cxn ang="0">
                  <a:pos x="connsiteX3" y="connsiteY3"/>
                </a:cxn>
              </a:cxnLst>
              <a:rect l="l" t="t" r="r" b="b"/>
              <a:pathLst>
                <a:path w="18937" h="17744">
                  <a:moveTo>
                    <a:pt x="-8879" y="15034"/>
                  </a:moveTo>
                  <a:cubicBezTo>
                    <a:pt x="-1435" y="18411"/>
                    <a:pt x="11867" y="8004"/>
                    <a:pt x="7595" y="-199"/>
                  </a:cubicBezTo>
                  <a:cubicBezTo>
                    <a:pt x="-1090" y="-6884"/>
                    <a:pt x="-15358" y="5936"/>
                    <a:pt x="-8879" y="15034"/>
                  </a:cubicBezTo>
                  <a:lnTo>
                    <a:pt x="-8879" y="15034"/>
                  </a:lnTo>
                </a:path>
              </a:pathLst>
            </a:custGeom>
            <a:grpFill/>
            <a:ln w="689" cap="flat">
              <a:noFill/>
              <a:prstDash val="solid"/>
              <a:miter/>
            </a:ln>
          </p:spPr>
          <p:txBody>
            <a:bodyPr rtlCol="0" anchor="ctr"/>
            <a:lstStyle/>
            <a:p>
              <a:endParaRPr lang="en-US" sz="2400" dirty="0"/>
            </a:p>
          </p:txBody>
        </p:sp>
        <p:sp>
          <p:nvSpPr>
            <p:cNvPr id="473" name="Graphic 8">
              <a:extLst>
                <a:ext uri="{FF2B5EF4-FFF2-40B4-BE49-F238E27FC236}">
                  <a16:creationId xmlns:a16="http://schemas.microsoft.com/office/drawing/2014/main" id="{136EBC9C-88E1-4533-9A60-D4D2F2519DE3}"/>
                </a:ext>
              </a:extLst>
            </p:cNvPr>
            <p:cNvSpPr/>
            <p:nvPr/>
          </p:nvSpPr>
          <p:spPr>
            <a:xfrm flipV="1">
              <a:off x="6089245" y="3282748"/>
              <a:ext cx="18176" cy="14726"/>
            </a:xfrm>
            <a:custGeom>
              <a:avLst/>
              <a:gdLst>
                <a:gd name="connsiteX0" fmla="*/ -6905 w 18176"/>
                <a:gd name="connsiteY0" fmla="*/ 11098 h 14726"/>
                <a:gd name="connsiteX1" fmla="*/ 10258 w 18176"/>
                <a:gd name="connsiteY1" fmla="*/ 70 h 14726"/>
                <a:gd name="connsiteX2" fmla="*/ -6905 w 18176"/>
                <a:gd name="connsiteY2" fmla="*/ 11098 h 14726"/>
                <a:gd name="connsiteX3" fmla="*/ -6905 w 18176"/>
                <a:gd name="connsiteY3" fmla="*/ 11098 h 14726"/>
              </a:gdLst>
              <a:ahLst/>
              <a:cxnLst>
                <a:cxn ang="0">
                  <a:pos x="connsiteX0" y="connsiteY0"/>
                </a:cxn>
                <a:cxn ang="0">
                  <a:pos x="connsiteX1" y="connsiteY1"/>
                </a:cxn>
                <a:cxn ang="0">
                  <a:pos x="connsiteX2" y="connsiteY2"/>
                </a:cxn>
                <a:cxn ang="0">
                  <a:pos x="connsiteX3" y="connsiteY3"/>
                </a:cxn>
              </a:cxnLst>
              <a:rect l="l" t="t" r="r" b="b"/>
              <a:pathLst>
                <a:path w="18176" h="14726">
                  <a:moveTo>
                    <a:pt x="-6905" y="11098"/>
                  </a:moveTo>
                  <a:cubicBezTo>
                    <a:pt x="-426" y="16060"/>
                    <a:pt x="13015" y="8479"/>
                    <a:pt x="10258" y="70"/>
                  </a:cubicBezTo>
                  <a:cubicBezTo>
                    <a:pt x="3640" y="-6134"/>
                    <a:pt x="-10764" y="2413"/>
                    <a:pt x="-6905" y="11098"/>
                  </a:cubicBezTo>
                  <a:lnTo>
                    <a:pt x="-6905" y="11098"/>
                  </a:lnTo>
                </a:path>
              </a:pathLst>
            </a:custGeom>
            <a:grpFill/>
            <a:ln w="689" cap="flat">
              <a:noFill/>
              <a:prstDash val="solid"/>
              <a:miter/>
            </a:ln>
          </p:spPr>
          <p:txBody>
            <a:bodyPr rtlCol="0" anchor="ctr"/>
            <a:lstStyle/>
            <a:p>
              <a:endParaRPr lang="en-US" sz="2400" dirty="0"/>
            </a:p>
          </p:txBody>
        </p:sp>
        <p:sp>
          <p:nvSpPr>
            <p:cNvPr id="474" name="Graphic 8">
              <a:extLst>
                <a:ext uri="{FF2B5EF4-FFF2-40B4-BE49-F238E27FC236}">
                  <a16:creationId xmlns:a16="http://schemas.microsoft.com/office/drawing/2014/main" id="{51C25BD9-45FA-4996-BDC8-D8A7D3D330C4}"/>
                </a:ext>
              </a:extLst>
            </p:cNvPr>
            <p:cNvSpPr/>
            <p:nvPr/>
          </p:nvSpPr>
          <p:spPr>
            <a:xfrm flipV="1">
              <a:off x="8078946" y="3282052"/>
              <a:ext cx="10233" cy="9554"/>
            </a:xfrm>
            <a:custGeom>
              <a:avLst/>
              <a:gdLst>
                <a:gd name="connsiteX0" fmla="*/ -7870 w 10233"/>
                <a:gd name="connsiteY0" fmla="*/ 7499 h 9554"/>
                <a:gd name="connsiteX1" fmla="*/ -7870 w 10233"/>
                <a:gd name="connsiteY1" fmla="*/ 7499 h 9554"/>
                <a:gd name="connsiteX2" fmla="*/ -7870 w 10233"/>
                <a:gd name="connsiteY2" fmla="*/ 7499 h 9554"/>
              </a:gdLst>
              <a:ahLst/>
              <a:cxnLst>
                <a:cxn ang="0">
                  <a:pos x="connsiteX0" y="connsiteY0"/>
                </a:cxn>
                <a:cxn ang="0">
                  <a:pos x="connsiteX1" y="connsiteY1"/>
                </a:cxn>
                <a:cxn ang="0">
                  <a:pos x="connsiteX2" y="connsiteY2"/>
                </a:cxn>
              </a:cxnLst>
              <a:rect l="l" t="t" r="r" b="b"/>
              <a:pathLst>
                <a:path w="10233" h="9554">
                  <a:moveTo>
                    <a:pt x="-7870" y="7499"/>
                  </a:moveTo>
                  <a:cubicBezTo>
                    <a:pt x="14737" y="5776"/>
                    <a:pt x="-18554" y="-13109"/>
                    <a:pt x="-7870" y="7499"/>
                  </a:cubicBezTo>
                  <a:lnTo>
                    <a:pt x="-7870" y="7499"/>
                  </a:lnTo>
                </a:path>
              </a:pathLst>
            </a:custGeom>
            <a:grpFill/>
            <a:ln w="689" cap="flat">
              <a:noFill/>
              <a:prstDash val="solid"/>
              <a:miter/>
            </a:ln>
          </p:spPr>
          <p:txBody>
            <a:bodyPr rtlCol="0" anchor="ctr"/>
            <a:lstStyle/>
            <a:p>
              <a:endParaRPr lang="en-US" sz="2400" dirty="0"/>
            </a:p>
          </p:txBody>
        </p:sp>
        <p:sp>
          <p:nvSpPr>
            <p:cNvPr id="475" name="Graphic 8">
              <a:extLst>
                <a:ext uri="{FF2B5EF4-FFF2-40B4-BE49-F238E27FC236}">
                  <a16:creationId xmlns:a16="http://schemas.microsoft.com/office/drawing/2014/main" id="{C27AA657-24A6-40C0-876F-B5EF99F60B89}"/>
                </a:ext>
              </a:extLst>
            </p:cNvPr>
            <p:cNvSpPr/>
            <p:nvPr/>
          </p:nvSpPr>
          <p:spPr>
            <a:xfrm flipV="1">
              <a:off x="6387713" y="3294037"/>
              <a:ext cx="15234" cy="12896"/>
            </a:xfrm>
            <a:custGeom>
              <a:avLst/>
              <a:gdLst>
                <a:gd name="connsiteX0" fmla="*/ -1788 w 15234"/>
                <a:gd name="connsiteY0" fmla="*/ -2033 h 12896"/>
                <a:gd name="connsiteX1" fmla="*/ 5862 w 15234"/>
                <a:gd name="connsiteY1" fmla="*/ 9271 h 12896"/>
                <a:gd name="connsiteX2" fmla="*/ 7310 w 15234"/>
                <a:gd name="connsiteY2" fmla="*/ 4239 h 12896"/>
                <a:gd name="connsiteX3" fmla="*/ -1788 w 15234"/>
                <a:gd name="connsiteY3" fmla="*/ -2033 h 12896"/>
                <a:gd name="connsiteX4" fmla="*/ -1788 w 15234"/>
                <a:gd name="connsiteY4" fmla="*/ -2033 h 12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34" h="12896">
                  <a:moveTo>
                    <a:pt x="-1788" y="-2033"/>
                  </a:moveTo>
                  <a:cubicBezTo>
                    <a:pt x="-15297" y="2447"/>
                    <a:pt x="-3649" y="15336"/>
                    <a:pt x="5862" y="9271"/>
                  </a:cubicBezTo>
                  <a:lnTo>
                    <a:pt x="7310" y="4239"/>
                  </a:lnTo>
                  <a:cubicBezTo>
                    <a:pt x="5036" y="2654"/>
                    <a:pt x="486" y="-448"/>
                    <a:pt x="-1788" y="-2033"/>
                  </a:cubicBezTo>
                  <a:lnTo>
                    <a:pt x="-1788" y="-2033"/>
                  </a:lnTo>
                </a:path>
              </a:pathLst>
            </a:custGeom>
            <a:grpFill/>
            <a:ln w="689" cap="flat">
              <a:noFill/>
              <a:prstDash val="solid"/>
              <a:miter/>
            </a:ln>
          </p:spPr>
          <p:txBody>
            <a:bodyPr rtlCol="0" anchor="ctr"/>
            <a:lstStyle/>
            <a:p>
              <a:endParaRPr lang="en-US" sz="2400" dirty="0"/>
            </a:p>
          </p:txBody>
        </p:sp>
        <p:sp>
          <p:nvSpPr>
            <p:cNvPr id="476" name="Graphic 8">
              <a:extLst>
                <a:ext uri="{FF2B5EF4-FFF2-40B4-BE49-F238E27FC236}">
                  <a16:creationId xmlns:a16="http://schemas.microsoft.com/office/drawing/2014/main" id="{7AA64796-E8DD-4BAE-B1C7-5D7FDEBE4269}"/>
                </a:ext>
              </a:extLst>
            </p:cNvPr>
            <p:cNvSpPr/>
            <p:nvPr/>
          </p:nvSpPr>
          <p:spPr>
            <a:xfrm flipV="1">
              <a:off x="1782179" y="3302936"/>
              <a:ext cx="6045503" cy="390182"/>
            </a:xfrm>
            <a:custGeom>
              <a:avLst/>
              <a:gdLst>
                <a:gd name="connsiteX0" fmla="*/ 1167 w 6045503"/>
                <a:gd name="connsiteY0" fmla="*/ 16557 h 390182"/>
                <a:gd name="connsiteX1" fmla="*/ 1098 w 6045503"/>
                <a:gd name="connsiteY1" fmla="*/ -1708 h 390182"/>
                <a:gd name="connsiteX2" fmla="*/ 1167 w 6045503"/>
                <a:gd name="connsiteY2" fmla="*/ 16557 h 390182"/>
                <a:gd name="connsiteX3" fmla="*/ 3179626 w 6045503"/>
                <a:gd name="connsiteY3" fmla="*/ 181080 h 390182"/>
                <a:gd name="connsiteX4" fmla="*/ 3176042 w 6045503"/>
                <a:gd name="connsiteY4" fmla="*/ 162953 h 390182"/>
                <a:gd name="connsiteX5" fmla="*/ 3179626 w 6045503"/>
                <a:gd name="connsiteY5" fmla="*/ 181080 h 390182"/>
                <a:gd name="connsiteX6" fmla="*/ 1386345 w 6045503"/>
                <a:gd name="connsiteY6" fmla="*/ 208167 h 390182"/>
                <a:gd name="connsiteX7" fmla="*/ 1386345 w 6045503"/>
                <a:gd name="connsiteY7" fmla="*/ 208167 h 390182"/>
                <a:gd name="connsiteX8" fmla="*/ 6031589 w 6045503"/>
                <a:gd name="connsiteY8" fmla="*/ 388474 h 390182"/>
                <a:gd name="connsiteX9" fmla="*/ 6031589 w 6045503"/>
                <a:gd name="connsiteY9" fmla="*/ 388474 h 390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45503" h="390182">
                  <a:moveTo>
                    <a:pt x="1167" y="16557"/>
                  </a:moveTo>
                  <a:cubicBezTo>
                    <a:pt x="10678" y="16005"/>
                    <a:pt x="10265" y="-812"/>
                    <a:pt x="1098" y="-1708"/>
                  </a:cubicBezTo>
                  <a:cubicBezTo>
                    <a:pt x="-8483" y="-743"/>
                    <a:pt x="-8069" y="15454"/>
                    <a:pt x="1167" y="16557"/>
                  </a:cubicBezTo>
                  <a:close/>
                  <a:moveTo>
                    <a:pt x="3179626" y="181080"/>
                  </a:moveTo>
                  <a:cubicBezTo>
                    <a:pt x="3189964" y="179908"/>
                    <a:pt x="3183899" y="163711"/>
                    <a:pt x="3176042" y="162953"/>
                  </a:cubicBezTo>
                  <a:cubicBezTo>
                    <a:pt x="3165152" y="163987"/>
                    <a:pt x="3171355" y="180597"/>
                    <a:pt x="3179626" y="181080"/>
                  </a:cubicBezTo>
                  <a:moveTo>
                    <a:pt x="1386345" y="208167"/>
                  </a:moveTo>
                  <a:cubicBezTo>
                    <a:pt x="1409021" y="206306"/>
                    <a:pt x="1375041" y="187835"/>
                    <a:pt x="1386345" y="208167"/>
                  </a:cubicBezTo>
                  <a:moveTo>
                    <a:pt x="6031589" y="388474"/>
                  </a:moveTo>
                  <a:cubicBezTo>
                    <a:pt x="6054265" y="386751"/>
                    <a:pt x="6020285" y="368141"/>
                    <a:pt x="6031589" y="388474"/>
                  </a:cubicBezTo>
                </a:path>
              </a:pathLst>
            </a:custGeom>
            <a:grpFill/>
            <a:ln w="689" cap="flat">
              <a:noFill/>
              <a:prstDash val="solid"/>
              <a:miter/>
            </a:ln>
          </p:spPr>
          <p:txBody>
            <a:bodyPr rtlCol="0" anchor="ctr"/>
            <a:lstStyle/>
            <a:p>
              <a:endParaRPr lang="en-US" sz="2400" dirty="0"/>
            </a:p>
          </p:txBody>
        </p:sp>
        <p:sp>
          <p:nvSpPr>
            <p:cNvPr id="477" name="Graphic 8">
              <a:extLst>
                <a:ext uri="{FF2B5EF4-FFF2-40B4-BE49-F238E27FC236}">
                  <a16:creationId xmlns:a16="http://schemas.microsoft.com/office/drawing/2014/main" id="{07BB9CFD-E240-4C8E-8489-A912E8096DF7}"/>
                </a:ext>
              </a:extLst>
            </p:cNvPr>
            <p:cNvSpPr/>
            <p:nvPr/>
          </p:nvSpPr>
          <p:spPr>
            <a:xfrm flipV="1">
              <a:off x="652773" y="3306658"/>
              <a:ext cx="16612" cy="18754"/>
            </a:xfrm>
            <a:custGeom>
              <a:avLst/>
              <a:gdLst>
                <a:gd name="connsiteX0" fmla="*/ 5626 w 16612"/>
                <a:gd name="connsiteY0" fmla="*/ 16747 h 18754"/>
                <a:gd name="connsiteX1" fmla="*/ 15898 w 16612"/>
                <a:gd name="connsiteY1" fmla="*/ 1032 h 18754"/>
                <a:gd name="connsiteX2" fmla="*/ -715 w 16612"/>
                <a:gd name="connsiteY2" fmla="*/ 2411 h 18754"/>
                <a:gd name="connsiteX3" fmla="*/ 5626 w 16612"/>
                <a:gd name="connsiteY3" fmla="*/ 16747 h 18754"/>
                <a:gd name="connsiteX4" fmla="*/ 5626 w 16612"/>
                <a:gd name="connsiteY4" fmla="*/ 16747 h 18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12" h="18754">
                  <a:moveTo>
                    <a:pt x="5626" y="16747"/>
                  </a:moveTo>
                  <a:cubicBezTo>
                    <a:pt x="8175" y="12819"/>
                    <a:pt x="13345" y="4961"/>
                    <a:pt x="15898" y="1032"/>
                  </a:cubicBezTo>
                  <a:cubicBezTo>
                    <a:pt x="10313" y="-3448"/>
                    <a:pt x="4797" y="-2965"/>
                    <a:pt x="-715" y="2411"/>
                  </a:cubicBezTo>
                  <a:cubicBezTo>
                    <a:pt x="871" y="5995"/>
                    <a:pt x="4040" y="13163"/>
                    <a:pt x="5626" y="16747"/>
                  </a:cubicBezTo>
                  <a:lnTo>
                    <a:pt x="5626" y="16747"/>
                  </a:lnTo>
                </a:path>
              </a:pathLst>
            </a:custGeom>
            <a:grpFill/>
            <a:ln w="689" cap="flat">
              <a:noFill/>
              <a:prstDash val="solid"/>
              <a:miter/>
            </a:ln>
          </p:spPr>
          <p:txBody>
            <a:bodyPr rtlCol="0" anchor="ctr"/>
            <a:lstStyle/>
            <a:p>
              <a:endParaRPr lang="en-US" sz="2400" dirty="0"/>
            </a:p>
          </p:txBody>
        </p:sp>
        <p:sp>
          <p:nvSpPr>
            <p:cNvPr id="478" name="Graphic 8">
              <a:extLst>
                <a:ext uri="{FF2B5EF4-FFF2-40B4-BE49-F238E27FC236}">
                  <a16:creationId xmlns:a16="http://schemas.microsoft.com/office/drawing/2014/main" id="{5FE5D6BD-7611-49A3-9EBB-C93E891184FA}"/>
                </a:ext>
              </a:extLst>
            </p:cNvPr>
            <p:cNvSpPr/>
            <p:nvPr/>
          </p:nvSpPr>
          <p:spPr>
            <a:xfrm flipV="1">
              <a:off x="1508164" y="3314585"/>
              <a:ext cx="4634679" cy="406379"/>
            </a:xfrm>
            <a:custGeom>
              <a:avLst/>
              <a:gdLst>
                <a:gd name="connsiteX0" fmla="*/ 3059 w 4634679"/>
                <a:gd name="connsiteY0" fmla="*/ 37198 h 406379"/>
                <a:gd name="connsiteX1" fmla="*/ 19118 w 4634679"/>
                <a:gd name="connsiteY1" fmla="*/ 38921 h 406379"/>
                <a:gd name="connsiteX2" fmla="*/ 15948 w 4634679"/>
                <a:gd name="connsiteY2" fmla="*/ 29892 h 406379"/>
                <a:gd name="connsiteX3" fmla="*/ 24908 w 4634679"/>
                <a:gd name="connsiteY3" fmla="*/ 3218 h 406379"/>
                <a:gd name="connsiteX4" fmla="*/ 233 w 4634679"/>
                <a:gd name="connsiteY4" fmla="*/ -1676 h 406379"/>
                <a:gd name="connsiteX5" fmla="*/ 6643 w 4634679"/>
                <a:gd name="connsiteY5" fmla="*/ 21759 h 406379"/>
                <a:gd name="connsiteX6" fmla="*/ 3059 w 4634679"/>
                <a:gd name="connsiteY6" fmla="*/ 37198 h 406379"/>
                <a:gd name="connsiteX7" fmla="*/ 4626937 w 4634679"/>
                <a:gd name="connsiteY7" fmla="*/ 404704 h 406379"/>
                <a:gd name="connsiteX8" fmla="*/ 4626937 w 4634679"/>
                <a:gd name="connsiteY8" fmla="*/ 404704 h 406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34679" h="406379">
                  <a:moveTo>
                    <a:pt x="3059" y="37198"/>
                  </a:moveTo>
                  <a:cubicBezTo>
                    <a:pt x="7056" y="37611"/>
                    <a:pt x="15121" y="38507"/>
                    <a:pt x="19118" y="38921"/>
                  </a:cubicBezTo>
                  <a:lnTo>
                    <a:pt x="15948" y="29892"/>
                  </a:lnTo>
                  <a:cubicBezTo>
                    <a:pt x="27803" y="25136"/>
                    <a:pt x="25459" y="13488"/>
                    <a:pt x="24908" y="3218"/>
                  </a:cubicBezTo>
                  <a:cubicBezTo>
                    <a:pt x="16637" y="1702"/>
                    <a:pt x="8366" y="116"/>
                    <a:pt x="233" y="-1676"/>
                  </a:cubicBezTo>
                  <a:cubicBezTo>
                    <a:pt x="577" y="7078"/>
                    <a:pt x="-14586" y="27066"/>
                    <a:pt x="6643" y="21759"/>
                  </a:cubicBezTo>
                  <a:cubicBezTo>
                    <a:pt x="5747" y="25619"/>
                    <a:pt x="3955" y="33338"/>
                    <a:pt x="3059" y="37198"/>
                  </a:cubicBezTo>
                  <a:close/>
                  <a:moveTo>
                    <a:pt x="4626937" y="404704"/>
                  </a:moveTo>
                  <a:cubicBezTo>
                    <a:pt x="4631003" y="400913"/>
                    <a:pt x="4631003" y="400913"/>
                    <a:pt x="4626937" y="404704"/>
                  </a:cubicBezTo>
                </a:path>
              </a:pathLst>
            </a:custGeom>
            <a:grpFill/>
            <a:ln w="689" cap="flat">
              <a:noFill/>
              <a:prstDash val="solid"/>
              <a:miter/>
            </a:ln>
          </p:spPr>
          <p:txBody>
            <a:bodyPr rtlCol="0" anchor="ctr"/>
            <a:lstStyle/>
            <a:p>
              <a:endParaRPr lang="en-US" sz="2400" dirty="0"/>
            </a:p>
          </p:txBody>
        </p:sp>
        <p:sp>
          <p:nvSpPr>
            <p:cNvPr id="479" name="Graphic 8">
              <a:extLst>
                <a:ext uri="{FF2B5EF4-FFF2-40B4-BE49-F238E27FC236}">
                  <a16:creationId xmlns:a16="http://schemas.microsoft.com/office/drawing/2014/main" id="{6FBE5C8C-BFD7-48FD-8846-BB15DB7A76E3}"/>
                </a:ext>
              </a:extLst>
            </p:cNvPr>
            <p:cNvSpPr/>
            <p:nvPr/>
          </p:nvSpPr>
          <p:spPr>
            <a:xfrm flipV="1">
              <a:off x="6010008" y="3323890"/>
              <a:ext cx="1240" cy="1447"/>
            </a:xfrm>
            <a:custGeom>
              <a:avLst/>
              <a:gdLst>
                <a:gd name="connsiteX0" fmla="*/ -7441 w 1240"/>
                <a:gd name="connsiteY0" fmla="*/ -546 h 1447"/>
                <a:gd name="connsiteX1" fmla="*/ -7441 w 1240"/>
                <a:gd name="connsiteY1" fmla="*/ -546 h 1447"/>
                <a:gd name="connsiteX2" fmla="*/ -7441 w 1240"/>
                <a:gd name="connsiteY2" fmla="*/ -546 h 1447"/>
              </a:gdLst>
              <a:ahLst/>
              <a:cxnLst>
                <a:cxn ang="0">
                  <a:pos x="connsiteX0" y="connsiteY0"/>
                </a:cxn>
                <a:cxn ang="0">
                  <a:pos x="connsiteX1" y="connsiteY1"/>
                </a:cxn>
                <a:cxn ang="0">
                  <a:pos x="connsiteX2" y="connsiteY2"/>
                </a:cxn>
              </a:cxnLst>
              <a:rect l="l" t="t" r="r" b="b"/>
              <a:pathLst>
                <a:path w="1240" h="1447">
                  <a:moveTo>
                    <a:pt x="-7441" y="-546"/>
                  </a:moveTo>
                  <a:cubicBezTo>
                    <a:pt x="-5787" y="-2476"/>
                    <a:pt x="-5787" y="-2476"/>
                    <a:pt x="-7441" y="-546"/>
                  </a:cubicBezTo>
                  <a:lnTo>
                    <a:pt x="-7441" y="-546"/>
                  </a:lnTo>
                </a:path>
              </a:pathLst>
            </a:custGeom>
            <a:grpFill/>
            <a:ln w="689" cap="flat">
              <a:noFill/>
              <a:prstDash val="solid"/>
              <a:miter/>
            </a:ln>
          </p:spPr>
          <p:txBody>
            <a:bodyPr rtlCol="0" anchor="ctr"/>
            <a:lstStyle/>
            <a:p>
              <a:endParaRPr lang="en-US" sz="2400" dirty="0"/>
            </a:p>
          </p:txBody>
        </p:sp>
        <p:sp>
          <p:nvSpPr>
            <p:cNvPr id="480" name="Graphic 8">
              <a:extLst>
                <a:ext uri="{FF2B5EF4-FFF2-40B4-BE49-F238E27FC236}">
                  <a16:creationId xmlns:a16="http://schemas.microsoft.com/office/drawing/2014/main" id="{6AB331DB-1667-44C3-8BCA-803F8EC3902E}"/>
                </a:ext>
              </a:extLst>
            </p:cNvPr>
            <p:cNvSpPr/>
            <p:nvPr/>
          </p:nvSpPr>
          <p:spPr>
            <a:xfrm flipV="1">
              <a:off x="5373282" y="3330713"/>
              <a:ext cx="67201" cy="40200"/>
            </a:xfrm>
            <a:custGeom>
              <a:avLst/>
              <a:gdLst>
                <a:gd name="connsiteX0" fmla="*/ 7654 w 67201"/>
                <a:gd name="connsiteY0" fmla="*/ 24259 h 40200"/>
                <a:gd name="connsiteX1" fmla="*/ 7654 w 67201"/>
                <a:gd name="connsiteY1" fmla="*/ 24259 h 40200"/>
                <a:gd name="connsiteX2" fmla="*/ -6682 w 67201"/>
                <a:gd name="connsiteY2" fmla="*/ 34735 h 40200"/>
                <a:gd name="connsiteX3" fmla="*/ 16063 w 67201"/>
                <a:gd name="connsiteY3" fmla="*/ 38250 h 40200"/>
                <a:gd name="connsiteX4" fmla="*/ 33777 w 67201"/>
                <a:gd name="connsiteY4" fmla="*/ 35700 h 40200"/>
                <a:gd name="connsiteX5" fmla="*/ 53214 w 67201"/>
                <a:gd name="connsiteY5" fmla="*/ 18331 h 40200"/>
                <a:gd name="connsiteX6" fmla="*/ 60519 w 67201"/>
                <a:gd name="connsiteY6" fmla="*/ 19779 h 40200"/>
                <a:gd name="connsiteX7" fmla="*/ 57418 w 67201"/>
                <a:gd name="connsiteY7" fmla="*/ 1514 h 40200"/>
                <a:gd name="connsiteX8" fmla="*/ 14271 w 67201"/>
                <a:gd name="connsiteY8" fmla="*/ -1243 h 40200"/>
                <a:gd name="connsiteX9" fmla="*/ -6682 w 67201"/>
                <a:gd name="connsiteY9" fmla="*/ 34735 h 4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201" h="40200">
                  <a:moveTo>
                    <a:pt x="7654" y="24259"/>
                  </a:moveTo>
                  <a:cubicBezTo>
                    <a:pt x="11307" y="20675"/>
                    <a:pt x="11307" y="20675"/>
                    <a:pt x="7654" y="24259"/>
                  </a:cubicBezTo>
                  <a:close/>
                  <a:moveTo>
                    <a:pt x="-6682" y="34735"/>
                  </a:moveTo>
                  <a:cubicBezTo>
                    <a:pt x="831" y="35907"/>
                    <a:pt x="8413" y="37148"/>
                    <a:pt x="16063" y="38250"/>
                  </a:cubicBezTo>
                  <a:cubicBezTo>
                    <a:pt x="20543" y="37630"/>
                    <a:pt x="29366" y="36320"/>
                    <a:pt x="33777" y="35700"/>
                  </a:cubicBezTo>
                  <a:cubicBezTo>
                    <a:pt x="40256" y="29979"/>
                    <a:pt x="46735" y="24259"/>
                    <a:pt x="53214" y="18331"/>
                  </a:cubicBezTo>
                  <a:lnTo>
                    <a:pt x="60519" y="19779"/>
                  </a:lnTo>
                  <a:cubicBezTo>
                    <a:pt x="59762" y="15229"/>
                    <a:pt x="58176" y="6062"/>
                    <a:pt x="57418" y="1514"/>
                  </a:cubicBezTo>
                  <a:cubicBezTo>
                    <a:pt x="42944" y="1651"/>
                    <a:pt x="28470" y="-3863"/>
                    <a:pt x="14271" y="-1243"/>
                  </a:cubicBezTo>
                  <a:cubicBezTo>
                    <a:pt x="3588" y="8268"/>
                    <a:pt x="-1788" y="21777"/>
                    <a:pt x="-6682" y="34735"/>
                  </a:cubicBezTo>
                </a:path>
              </a:pathLst>
            </a:custGeom>
            <a:grpFill/>
            <a:ln w="689" cap="flat">
              <a:noFill/>
              <a:prstDash val="solid"/>
              <a:miter/>
            </a:ln>
          </p:spPr>
          <p:txBody>
            <a:bodyPr rtlCol="0" anchor="ctr"/>
            <a:lstStyle/>
            <a:p>
              <a:endParaRPr lang="en-US" sz="2400" dirty="0"/>
            </a:p>
          </p:txBody>
        </p:sp>
        <p:sp>
          <p:nvSpPr>
            <p:cNvPr id="481" name="Graphic 8">
              <a:extLst>
                <a:ext uri="{FF2B5EF4-FFF2-40B4-BE49-F238E27FC236}">
                  <a16:creationId xmlns:a16="http://schemas.microsoft.com/office/drawing/2014/main" id="{6C89C57A-A374-4F31-891F-F822A948F7AB}"/>
                </a:ext>
              </a:extLst>
            </p:cNvPr>
            <p:cNvSpPr/>
            <p:nvPr/>
          </p:nvSpPr>
          <p:spPr>
            <a:xfrm flipV="1">
              <a:off x="7545925" y="3327493"/>
              <a:ext cx="9403" cy="10401"/>
            </a:xfrm>
            <a:custGeom>
              <a:avLst/>
              <a:gdLst>
                <a:gd name="connsiteX0" fmla="*/ -9378 w 9403"/>
                <a:gd name="connsiteY0" fmla="*/ 6029 h 10401"/>
                <a:gd name="connsiteX1" fmla="*/ -9378 w 9403"/>
                <a:gd name="connsiteY1" fmla="*/ 6029 h 10401"/>
                <a:gd name="connsiteX2" fmla="*/ -9378 w 9403"/>
                <a:gd name="connsiteY2" fmla="*/ 6029 h 10401"/>
              </a:gdLst>
              <a:ahLst/>
              <a:cxnLst>
                <a:cxn ang="0">
                  <a:pos x="connsiteX0" y="connsiteY0"/>
                </a:cxn>
                <a:cxn ang="0">
                  <a:pos x="connsiteX1" y="connsiteY1"/>
                </a:cxn>
                <a:cxn ang="0">
                  <a:pos x="connsiteX2" y="connsiteY2"/>
                </a:cxn>
              </a:cxnLst>
              <a:rect l="l" t="t" r="r" b="b"/>
              <a:pathLst>
                <a:path w="9403" h="10401">
                  <a:moveTo>
                    <a:pt x="-9378" y="6029"/>
                  </a:moveTo>
                  <a:cubicBezTo>
                    <a:pt x="10817" y="17401"/>
                    <a:pt x="-7517" y="-16717"/>
                    <a:pt x="-9378" y="6029"/>
                  </a:cubicBezTo>
                  <a:lnTo>
                    <a:pt x="-9378" y="6029"/>
                  </a:lnTo>
                </a:path>
              </a:pathLst>
            </a:custGeom>
            <a:grpFill/>
            <a:ln w="689" cap="flat">
              <a:noFill/>
              <a:prstDash val="solid"/>
              <a:miter/>
            </a:ln>
          </p:spPr>
          <p:txBody>
            <a:bodyPr rtlCol="0" anchor="ctr"/>
            <a:lstStyle/>
            <a:p>
              <a:endParaRPr lang="en-US" sz="2400" dirty="0"/>
            </a:p>
          </p:txBody>
        </p:sp>
        <p:sp>
          <p:nvSpPr>
            <p:cNvPr id="482" name="Graphic 8">
              <a:extLst>
                <a:ext uri="{FF2B5EF4-FFF2-40B4-BE49-F238E27FC236}">
                  <a16:creationId xmlns:a16="http://schemas.microsoft.com/office/drawing/2014/main" id="{17DFD5DB-2B0F-436F-BFE1-823EAF7C2396}"/>
                </a:ext>
              </a:extLst>
            </p:cNvPr>
            <p:cNvSpPr/>
            <p:nvPr/>
          </p:nvSpPr>
          <p:spPr>
            <a:xfrm flipV="1">
              <a:off x="5633008" y="3335917"/>
              <a:ext cx="12498" cy="12114"/>
            </a:xfrm>
            <a:custGeom>
              <a:avLst/>
              <a:gdLst>
                <a:gd name="connsiteX0" fmla="*/ -6302 w 12498"/>
                <a:gd name="connsiteY0" fmla="*/ -1464 h 12114"/>
                <a:gd name="connsiteX1" fmla="*/ 5001 w 12498"/>
                <a:gd name="connsiteY1" fmla="*/ 9495 h 12114"/>
                <a:gd name="connsiteX2" fmla="*/ -6302 w 12498"/>
                <a:gd name="connsiteY2" fmla="*/ -1464 h 12114"/>
                <a:gd name="connsiteX3" fmla="*/ -6302 w 12498"/>
                <a:gd name="connsiteY3" fmla="*/ -1464 h 12114"/>
              </a:gdLst>
              <a:ahLst/>
              <a:cxnLst>
                <a:cxn ang="0">
                  <a:pos x="connsiteX0" y="connsiteY0"/>
                </a:cxn>
                <a:cxn ang="0">
                  <a:pos x="connsiteX1" y="connsiteY1"/>
                </a:cxn>
                <a:cxn ang="0">
                  <a:pos x="connsiteX2" y="connsiteY2"/>
                </a:cxn>
                <a:cxn ang="0">
                  <a:pos x="connsiteX3" y="connsiteY3"/>
                </a:cxn>
              </a:cxnLst>
              <a:rect l="l" t="t" r="r" b="b"/>
              <a:pathLst>
                <a:path w="12498" h="12114">
                  <a:moveTo>
                    <a:pt x="-6302" y="-1464"/>
                  </a:moveTo>
                  <a:cubicBezTo>
                    <a:pt x="-8646" y="8116"/>
                    <a:pt x="-4855" y="11769"/>
                    <a:pt x="5001" y="9495"/>
                  </a:cubicBezTo>
                  <a:cubicBezTo>
                    <a:pt x="7000" y="259"/>
                    <a:pt x="3278" y="-3394"/>
                    <a:pt x="-6302" y="-1464"/>
                  </a:cubicBezTo>
                  <a:lnTo>
                    <a:pt x="-6302" y="-1464"/>
                  </a:lnTo>
                </a:path>
              </a:pathLst>
            </a:custGeom>
            <a:grpFill/>
            <a:ln w="689" cap="flat">
              <a:noFill/>
              <a:prstDash val="solid"/>
              <a:miter/>
            </a:ln>
          </p:spPr>
          <p:txBody>
            <a:bodyPr rtlCol="0" anchor="ctr"/>
            <a:lstStyle/>
            <a:p>
              <a:endParaRPr lang="en-US" sz="2400" dirty="0"/>
            </a:p>
          </p:txBody>
        </p:sp>
        <p:sp>
          <p:nvSpPr>
            <p:cNvPr id="483" name="Graphic 8">
              <a:extLst>
                <a:ext uri="{FF2B5EF4-FFF2-40B4-BE49-F238E27FC236}">
                  <a16:creationId xmlns:a16="http://schemas.microsoft.com/office/drawing/2014/main" id="{63E4B7CD-94F0-400D-9303-C0313896B39F}"/>
                </a:ext>
              </a:extLst>
            </p:cNvPr>
            <p:cNvSpPr/>
            <p:nvPr/>
          </p:nvSpPr>
          <p:spPr>
            <a:xfrm flipV="1">
              <a:off x="6719242" y="3343528"/>
              <a:ext cx="74852" cy="91260"/>
            </a:xfrm>
            <a:custGeom>
              <a:avLst/>
              <a:gdLst>
                <a:gd name="connsiteX0" fmla="*/ -8379 w 74852"/>
                <a:gd name="connsiteY0" fmla="*/ 87094 h 91260"/>
                <a:gd name="connsiteX1" fmla="*/ 66473 w 74852"/>
                <a:gd name="connsiteY1" fmla="*/ 87094 h 91260"/>
                <a:gd name="connsiteX2" fmla="*/ 40902 w 74852"/>
                <a:gd name="connsiteY2" fmla="*/ 78203 h 91260"/>
                <a:gd name="connsiteX3" fmla="*/ 14504 w 74852"/>
                <a:gd name="connsiteY3" fmla="*/ 82339 h 91260"/>
                <a:gd name="connsiteX4" fmla="*/ 9886 w 74852"/>
                <a:gd name="connsiteY4" fmla="*/ 63591 h 91260"/>
                <a:gd name="connsiteX5" fmla="*/ 36422 w 74852"/>
                <a:gd name="connsiteY5" fmla="*/ 50289 h 91260"/>
                <a:gd name="connsiteX6" fmla="*/ 29874 w 74852"/>
                <a:gd name="connsiteY6" fmla="*/ 27406 h 91260"/>
                <a:gd name="connsiteX7" fmla="*/ 38903 w 74852"/>
                <a:gd name="connsiteY7" fmla="*/ 26372 h 91260"/>
                <a:gd name="connsiteX8" fmla="*/ 33941 w 74852"/>
                <a:gd name="connsiteY8" fmla="*/ 24511 h 91260"/>
                <a:gd name="connsiteX9" fmla="*/ 19673 w 74852"/>
                <a:gd name="connsiteY9" fmla="*/ 18790 h 91260"/>
                <a:gd name="connsiteX10" fmla="*/ 6447 w 74852"/>
                <a:gd name="connsiteY10" fmla="*/ -1887 h 91260"/>
                <a:gd name="connsiteX11" fmla="*/ 2442 w 74852"/>
                <a:gd name="connsiteY11" fmla="*/ 4247 h 91260"/>
                <a:gd name="connsiteX12" fmla="*/ 7611 w 74852"/>
                <a:gd name="connsiteY12" fmla="*/ 28922 h 91260"/>
                <a:gd name="connsiteX13" fmla="*/ -2521 w 74852"/>
                <a:gd name="connsiteY13" fmla="*/ 79651 h 91260"/>
                <a:gd name="connsiteX14" fmla="*/ -7759 w 74852"/>
                <a:gd name="connsiteY14" fmla="*/ 86336 h 91260"/>
                <a:gd name="connsiteX15" fmla="*/ -8379 w 74852"/>
                <a:gd name="connsiteY15" fmla="*/ 87094 h 91260"/>
                <a:gd name="connsiteX16" fmla="*/ -8379 w 74852"/>
                <a:gd name="connsiteY16" fmla="*/ 87094 h 91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852" h="91260">
                  <a:moveTo>
                    <a:pt x="-8379" y="87094"/>
                  </a:moveTo>
                  <a:cubicBezTo>
                    <a:pt x="16641" y="84958"/>
                    <a:pt x="41591" y="93160"/>
                    <a:pt x="66473" y="87094"/>
                  </a:cubicBezTo>
                  <a:cubicBezTo>
                    <a:pt x="57788" y="84269"/>
                    <a:pt x="49380" y="81098"/>
                    <a:pt x="40902" y="78203"/>
                  </a:cubicBezTo>
                  <a:cubicBezTo>
                    <a:pt x="32011" y="79513"/>
                    <a:pt x="23189" y="80960"/>
                    <a:pt x="14504" y="82339"/>
                  </a:cubicBezTo>
                  <a:cubicBezTo>
                    <a:pt x="12850" y="76135"/>
                    <a:pt x="11334" y="69932"/>
                    <a:pt x="9886" y="63591"/>
                  </a:cubicBezTo>
                  <a:cubicBezTo>
                    <a:pt x="18639" y="59249"/>
                    <a:pt x="27531" y="54769"/>
                    <a:pt x="36422" y="50289"/>
                  </a:cubicBezTo>
                  <a:cubicBezTo>
                    <a:pt x="34147" y="42707"/>
                    <a:pt x="31942" y="35125"/>
                    <a:pt x="29874" y="27406"/>
                  </a:cubicBezTo>
                  <a:lnTo>
                    <a:pt x="38903" y="26372"/>
                  </a:lnTo>
                  <a:cubicBezTo>
                    <a:pt x="37663" y="25889"/>
                    <a:pt x="35181" y="24993"/>
                    <a:pt x="33941" y="24511"/>
                  </a:cubicBezTo>
                  <a:cubicBezTo>
                    <a:pt x="30356" y="23064"/>
                    <a:pt x="23189" y="20238"/>
                    <a:pt x="19673" y="18790"/>
                  </a:cubicBezTo>
                  <a:cubicBezTo>
                    <a:pt x="14986" y="12036"/>
                    <a:pt x="10575" y="5143"/>
                    <a:pt x="6447" y="-1887"/>
                  </a:cubicBezTo>
                  <a:lnTo>
                    <a:pt x="2442" y="4247"/>
                  </a:lnTo>
                  <a:cubicBezTo>
                    <a:pt x="-39" y="12380"/>
                    <a:pt x="6715" y="20789"/>
                    <a:pt x="7611" y="28922"/>
                  </a:cubicBezTo>
                  <a:cubicBezTo>
                    <a:pt x="4716" y="45946"/>
                    <a:pt x="1408" y="62902"/>
                    <a:pt x="-2521" y="79651"/>
                  </a:cubicBezTo>
                  <a:cubicBezTo>
                    <a:pt x="-3830" y="81305"/>
                    <a:pt x="-6449" y="84682"/>
                    <a:pt x="-7759" y="86336"/>
                  </a:cubicBezTo>
                  <a:lnTo>
                    <a:pt x="-8379" y="87094"/>
                  </a:lnTo>
                  <a:lnTo>
                    <a:pt x="-8379" y="87094"/>
                  </a:lnTo>
                </a:path>
              </a:pathLst>
            </a:custGeom>
            <a:grpFill/>
            <a:ln w="689" cap="flat">
              <a:noFill/>
              <a:prstDash val="solid"/>
              <a:miter/>
            </a:ln>
          </p:spPr>
          <p:txBody>
            <a:bodyPr rtlCol="0" anchor="ctr"/>
            <a:lstStyle/>
            <a:p>
              <a:endParaRPr lang="en-US" sz="2400" dirty="0"/>
            </a:p>
          </p:txBody>
        </p:sp>
        <p:sp>
          <p:nvSpPr>
            <p:cNvPr id="484" name="Graphic 8">
              <a:extLst>
                <a:ext uri="{FF2B5EF4-FFF2-40B4-BE49-F238E27FC236}">
                  <a16:creationId xmlns:a16="http://schemas.microsoft.com/office/drawing/2014/main" id="{533B5758-8AFD-4719-957A-62DBC7A1813E}"/>
                </a:ext>
              </a:extLst>
            </p:cNvPr>
            <p:cNvSpPr/>
            <p:nvPr/>
          </p:nvSpPr>
          <p:spPr>
            <a:xfrm flipV="1">
              <a:off x="6663207" y="3361040"/>
              <a:ext cx="2895" cy="2688"/>
            </a:xfrm>
            <a:custGeom>
              <a:avLst/>
              <a:gdLst>
                <a:gd name="connsiteX0" fmla="*/ -8264 w 2895"/>
                <a:gd name="connsiteY0" fmla="*/ 757 h 2688"/>
                <a:gd name="connsiteX1" fmla="*/ -8264 w 2895"/>
                <a:gd name="connsiteY1" fmla="*/ 757 h 2688"/>
                <a:gd name="connsiteX2" fmla="*/ -8264 w 2895"/>
                <a:gd name="connsiteY2" fmla="*/ 757 h 2688"/>
              </a:gdLst>
              <a:ahLst/>
              <a:cxnLst>
                <a:cxn ang="0">
                  <a:pos x="connsiteX0" y="connsiteY0"/>
                </a:cxn>
                <a:cxn ang="0">
                  <a:pos x="connsiteX1" y="connsiteY1"/>
                </a:cxn>
                <a:cxn ang="0">
                  <a:pos x="connsiteX2" y="connsiteY2"/>
                </a:cxn>
              </a:cxnLst>
              <a:rect l="l" t="t" r="r" b="b"/>
              <a:pathLst>
                <a:path w="2895" h="2688">
                  <a:moveTo>
                    <a:pt x="-8264" y="757"/>
                  </a:moveTo>
                  <a:cubicBezTo>
                    <a:pt x="-4403" y="-2827"/>
                    <a:pt x="-4403" y="-2827"/>
                    <a:pt x="-8264" y="757"/>
                  </a:cubicBezTo>
                  <a:lnTo>
                    <a:pt x="-8264" y="757"/>
                  </a:lnTo>
                </a:path>
              </a:pathLst>
            </a:custGeom>
            <a:grpFill/>
            <a:ln w="689" cap="flat">
              <a:noFill/>
              <a:prstDash val="solid"/>
              <a:miter/>
            </a:ln>
          </p:spPr>
          <p:txBody>
            <a:bodyPr rtlCol="0" anchor="ctr"/>
            <a:lstStyle/>
            <a:p>
              <a:endParaRPr lang="en-US" sz="2400" dirty="0"/>
            </a:p>
          </p:txBody>
        </p:sp>
        <p:sp>
          <p:nvSpPr>
            <p:cNvPr id="485" name="Graphic 8">
              <a:extLst>
                <a:ext uri="{FF2B5EF4-FFF2-40B4-BE49-F238E27FC236}">
                  <a16:creationId xmlns:a16="http://schemas.microsoft.com/office/drawing/2014/main" id="{01CCF9A5-0CA9-48B8-A7CC-9A27920A5348}"/>
                </a:ext>
              </a:extLst>
            </p:cNvPr>
            <p:cNvSpPr/>
            <p:nvPr/>
          </p:nvSpPr>
          <p:spPr>
            <a:xfrm flipV="1">
              <a:off x="7372924" y="3354316"/>
              <a:ext cx="9488" cy="10312"/>
            </a:xfrm>
            <a:custGeom>
              <a:avLst/>
              <a:gdLst>
                <a:gd name="connsiteX0" fmla="*/ -9160 w 9488"/>
                <a:gd name="connsiteY0" fmla="*/ 5995 h 10312"/>
                <a:gd name="connsiteX1" fmla="*/ -9160 w 9488"/>
                <a:gd name="connsiteY1" fmla="*/ 5995 h 10312"/>
                <a:gd name="connsiteX2" fmla="*/ -9160 w 9488"/>
                <a:gd name="connsiteY2" fmla="*/ 5995 h 10312"/>
              </a:gdLst>
              <a:ahLst/>
              <a:cxnLst>
                <a:cxn ang="0">
                  <a:pos x="connsiteX0" y="connsiteY0"/>
                </a:cxn>
                <a:cxn ang="0">
                  <a:pos x="connsiteX1" y="connsiteY1"/>
                </a:cxn>
                <a:cxn ang="0">
                  <a:pos x="connsiteX2" y="connsiteY2"/>
                </a:cxn>
              </a:cxnLst>
              <a:rect l="l" t="t" r="r" b="b"/>
              <a:pathLst>
                <a:path w="9488" h="10312">
                  <a:moveTo>
                    <a:pt x="-9160" y="5995"/>
                  </a:moveTo>
                  <a:cubicBezTo>
                    <a:pt x="11517" y="17298"/>
                    <a:pt x="-7850" y="-16544"/>
                    <a:pt x="-9160" y="5995"/>
                  </a:cubicBezTo>
                  <a:lnTo>
                    <a:pt x="-9160" y="5995"/>
                  </a:lnTo>
                </a:path>
              </a:pathLst>
            </a:custGeom>
            <a:grpFill/>
            <a:ln w="689" cap="flat">
              <a:noFill/>
              <a:prstDash val="solid"/>
              <a:miter/>
            </a:ln>
          </p:spPr>
          <p:txBody>
            <a:bodyPr rtlCol="0" anchor="ctr"/>
            <a:lstStyle/>
            <a:p>
              <a:endParaRPr lang="en-US" sz="2400" dirty="0"/>
            </a:p>
          </p:txBody>
        </p:sp>
        <p:sp>
          <p:nvSpPr>
            <p:cNvPr id="486" name="Graphic 8">
              <a:extLst>
                <a:ext uri="{FF2B5EF4-FFF2-40B4-BE49-F238E27FC236}">
                  <a16:creationId xmlns:a16="http://schemas.microsoft.com/office/drawing/2014/main" id="{D8DC01D3-4056-44F5-89E0-2EFE09C879F9}"/>
                </a:ext>
              </a:extLst>
            </p:cNvPr>
            <p:cNvSpPr/>
            <p:nvPr/>
          </p:nvSpPr>
          <p:spPr>
            <a:xfrm flipV="1">
              <a:off x="5151972" y="3366485"/>
              <a:ext cx="3251" cy="3049"/>
            </a:xfrm>
            <a:custGeom>
              <a:avLst/>
              <a:gdLst>
                <a:gd name="connsiteX0" fmla="*/ -6364 w 3251"/>
                <a:gd name="connsiteY0" fmla="*/ 1128 h 3049"/>
                <a:gd name="connsiteX1" fmla="*/ -6364 w 3251"/>
                <a:gd name="connsiteY1" fmla="*/ 1128 h 3049"/>
                <a:gd name="connsiteX2" fmla="*/ -6364 w 3251"/>
                <a:gd name="connsiteY2" fmla="*/ 1128 h 3049"/>
              </a:gdLst>
              <a:ahLst/>
              <a:cxnLst>
                <a:cxn ang="0">
                  <a:pos x="connsiteX0" y="connsiteY0"/>
                </a:cxn>
                <a:cxn ang="0">
                  <a:pos x="connsiteX1" y="connsiteY1"/>
                </a:cxn>
                <a:cxn ang="0">
                  <a:pos x="connsiteX2" y="connsiteY2"/>
                </a:cxn>
              </a:cxnLst>
              <a:rect l="l" t="t" r="r" b="b"/>
              <a:pathLst>
                <a:path w="3251" h="3049">
                  <a:moveTo>
                    <a:pt x="-6364" y="1128"/>
                  </a:moveTo>
                  <a:cubicBezTo>
                    <a:pt x="-2028" y="-2939"/>
                    <a:pt x="-2028" y="-2939"/>
                    <a:pt x="-6364" y="1128"/>
                  </a:cubicBezTo>
                  <a:lnTo>
                    <a:pt x="-6364" y="1128"/>
                  </a:lnTo>
                </a:path>
              </a:pathLst>
            </a:custGeom>
            <a:grpFill/>
            <a:ln w="689" cap="flat">
              <a:noFill/>
              <a:prstDash val="solid"/>
              <a:miter/>
            </a:ln>
          </p:spPr>
          <p:txBody>
            <a:bodyPr rtlCol="0" anchor="ctr"/>
            <a:lstStyle/>
            <a:p>
              <a:endParaRPr lang="en-US" sz="2400" dirty="0"/>
            </a:p>
          </p:txBody>
        </p:sp>
        <p:sp>
          <p:nvSpPr>
            <p:cNvPr id="487" name="Graphic 8">
              <a:extLst>
                <a:ext uri="{FF2B5EF4-FFF2-40B4-BE49-F238E27FC236}">
                  <a16:creationId xmlns:a16="http://schemas.microsoft.com/office/drawing/2014/main" id="{0D30B770-7541-4F9E-AA03-975CCD72121A}"/>
                </a:ext>
              </a:extLst>
            </p:cNvPr>
            <p:cNvSpPr/>
            <p:nvPr/>
          </p:nvSpPr>
          <p:spPr>
            <a:xfrm flipV="1">
              <a:off x="1817186" y="3362882"/>
              <a:ext cx="3359593" cy="223266"/>
            </a:xfrm>
            <a:custGeom>
              <a:avLst/>
              <a:gdLst>
                <a:gd name="connsiteX0" fmla="*/ -4281 w 3359593"/>
                <a:gd name="connsiteY0" fmla="*/ 1562 h 223266"/>
                <a:gd name="connsiteX1" fmla="*/ -1317 w 3359593"/>
                <a:gd name="connsiteY1" fmla="*/ 2389 h 223266"/>
                <a:gd name="connsiteX2" fmla="*/ 131 w 3359593"/>
                <a:gd name="connsiteY2" fmla="*/ -644 h 223266"/>
                <a:gd name="connsiteX3" fmla="*/ -3660 w 3359593"/>
                <a:gd name="connsiteY3" fmla="*/ -1747 h 223266"/>
                <a:gd name="connsiteX4" fmla="*/ -4281 w 3359593"/>
                <a:gd name="connsiteY4" fmla="*/ 1562 h 223266"/>
                <a:gd name="connsiteX5" fmla="*/ 3345939 w 3359593"/>
                <a:gd name="connsiteY5" fmla="*/ 219432 h 223266"/>
                <a:gd name="connsiteX6" fmla="*/ 3345939 w 3359593"/>
                <a:gd name="connsiteY6" fmla="*/ 219432 h 22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9593" h="223266">
                  <a:moveTo>
                    <a:pt x="-4281" y="1562"/>
                  </a:moveTo>
                  <a:lnTo>
                    <a:pt x="-1317" y="2389"/>
                  </a:lnTo>
                  <a:lnTo>
                    <a:pt x="131" y="-644"/>
                  </a:lnTo>
                  <a:lnTo>
                    <a:pt x="-3660" y="-1747"/>
                  </a:lnTo>
                  <a:lnTo>
                    <a:pt x="-4281" y="1562"/>
                  </a:lnTo>
                  <a:close/>
                  <a:moveTo>
                    <a:pt x="3345939" y="219432"/>
                  </a:moveTo>
                  <a:cubicBezTo>
                    <a:pt x="3366961" y="229909"/>
                    <a:pt x="3346077" y="196342"/>
                    <a:pt x="3345939" y="219432"/>
                  </a:cubicBezTo>
                </a:path>
              </a:pathLst>
            </a:custGeom>
            <a:grpFill/>
            <a:ln w="689" cap="flat">
              <a:noFill/>
              <a:prstDash val="solid"/>
              <a:miter/>
            </a:ln>
          </p:spPr>
          <p:txBody>
            <a:bodyPr rtlCol="0" anchor="ctr"/>
            <a:lstStyle/>
            <a:p>
              <a:endParaRPr lang="en-US" sz="2400" dirty="0"/>
            </a:p>
          </p:txBody>
        </p:sp>
        <p:sp>
          <p:nvSpPr>
            <p:cNvPr id="488" name="Graphic 8">
              <a:extLst>
                <a:ext uri="{FF2B5EF4-FFF2-40B4-BE49-F238E27FC236}">
                  <a16:creationId xmlns:a16="http://schemas.microsoft.com/office/drawing/2014/main" id="{5D900D06-037C-4CFD-B87D-3D7FBE05374C}"/>
                </a:ext>
              </a:extLst>
            </p:cNvPr>
            <p:cNvSpPr/>
            <p:nvPr/>
          </p:nvSpPr>
          <p:spPr>
            <a:xfrm flipV="1">
              <a:off x="4574101" y="3372826"/>
              <a:ext cx="32532" cy="51762"/>
            </a:xfrm>
            <a:custGeom>
              <a:avLst/>
              <a:gdLst>
                <a:gd name="connsiteX0" fmla="*/ -5655 w 32532"/>
                <a:gd name="connsiteY0" fmla="*/ 46858 h 51762"/>
                <a:gd name="connsiteX1" fmla="*/ 26877 w 32532"/>
                <a:gd name="connsiteY1" fmla="*/ 49891 h 51762"/>
                <a:gd name="connsiteX2" fmla="*/ 18193 w 32532"/>
                <a:gd name="connsiteY2" fmla="*/ 28318 h 51762"/>
                <a:gd name="connsiteX3" fmla="*/ 19709 w 32532"/>
                <a:gd name="connsiteY3" fmla="*/ 19426 h 51762"/>
                <a:gd name="connsiteX4" fmla="*/ 7509 w 32532"/>
                <a:gd name="connsiteY4" fmla="*/ -355 h 51762"/>
                <a:gd name="connsiteX5" fmla="*/ -4752 w 32532"/>
                <a:gd name="connsiteY5" fmla="*/ -1871 h 51762"/>
                <a:gd name="connsiteX6" fmla="*/ -5655 w 32532"/>
                <a:gd name="connsiteY6" fmla="*/ 46858 h 51762"/>
                <a:gd name="connsiteX7" fmla="*/ -5655 w 32532"/>
                <a:gd name="connsiteY7" fmla="*/ 46858 h 51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32" h="51762">
                  <a:moveTo>
                    <a:pt x="-5655" y="46858"/>
                  </a:moveTo>
                  <a:cubicBezTo>
                    <a:pt x="5166" y="47892"/>
                    <a:pt x="15987" y="48926"/>
                    <a:pt x="26877" y="49891"/>
                  </a:cubicBezTo>
                  <a:cubicBezTo>
                    <a:pt x="24740" y="44446"/>
                    <a:pt x="20329" y="33694"/>
                    <a:pt x="18193" y="28318"/>
                  </a:cubicBezTo>
                  <a:cubicBezTo>
                    <a:pt x="18537" y="26043"/>
                    <a:pt x="19296" y="21632"/>
                    <a:pt x="19709" y="19426"/>
                  </a:cubicBezTo>
                  <a:cubicBezTo>
                    <a:pt x="14471" y="13499"/>
                    <a:pt x="10404" y="6951"/>
                    <a:pt x="7509" y="-355"/>
                  </a:cubicBezTo>
                  <a:lnTo>
                    <a:pt x="-4752" y="-1871"/>
                  </a:lnTo>
                  <a:cubicBezTo>
                    <a:pt x="-3105" y="14395"/>
                    <a:pt x="-693" y="31006"/>
                    <a:pt x="-5655" y="46858"/>
                  </a:cubicBezTo>
                  <a:lnTo>
                    <a:pt x="-5655" y="46858"/>
                  </a:lnTo>
                </a:path>
              </a:pathLst>
            </a:custGeom>
            <a:grpFill/>
            <a:ln w="689" cap="flat">
              <a:noFill/>
              <a:prstDash val="solid"/>
              <a:miter/>
            </a:ln>
          </p:spPr>
          <p:txBody>
            <a:bodyPr rtlCol="0" anchor="ctr"/>
            <a:lstStyle/>
            <a:p>
              <a:endParaRPr lang="en-US" sz="2400" dirty="0"/>
            </a:p>
          </p:txBody>
        </p:sp>
        <p:sp>
          <p:nvSpPr>
            <p:cNvPr id="489" name="Graphic 8">
              <a:extLst>
                <a:ext uri="{FF2B5EF4-FFF2-40B4-BE49-F238E27FC236}">
                  <a16:creationId xmlns:a16="http://schemas.microsoft.com/office/drawing/2014/main" id="{C1890070-95A1-4ED5-B727-6FB8235EA32F}"/>
                </a:ext>
              </a:extLst>
            </p:cNvPr>
            <p:cNvSpPr/>
            <p:nvPr/>
          </p:nvSpPr>
          <p:spPr>
            <a:xfrm flipV="1">
              <a:off x="4705679" y="3402960"/>
              <a:ext cx="9338" cy="10629"/>
            </a:xfrm>
            <a:custGeom>
              <a:avLst/>
              <a:gdLst>
                <a:gd name="connsiteX0" fmla="*/ -5806 w 9338"/>
                <a:gd name="connsiteY0" fmla="*/ 6582 h 10629"/>
                <a:gd name="connsiteX1" fmla="*/ -5806 w 9338"/>
                <a:gd name="connsiteY1" fmla="*/ 6582 h 10629"/>
                <a:gd name="connsiteX2" fmla="*/ -5806 w 9338"/>
                <a:gd name="connsiteY2" fmla="*/ 6582 h 10629"/>
              </a:gdLst>
              <a:ahLst/>
              <a:cxnLst>
                <a:cxn ang="0">
                  <a:pos x="connsiteX0" y="connsiteY0"/>
                </a:cxn>
                <a:cxn ang="0">
                  <a:pos x="connsiteX1" y="connsiteY1"/>
                </a:cxn>
                <a:cxn ang="0">
                  <a:pos x="connsiteX2" y="connsiteY2"/>
                </a:cxn>
              </a:cxnLst>
              <a:rect l="l" t="t" r="r" b="b"/>
              <a:pathLst>
                <a:path w="9338" h="10629">
                  <a:moveTo>
                    <a:pt x="-5806" y="6582"/>
                  </a:moveTo>
                  <a:cubicBezTo>
                    <a:pt x="14389" y="17472"/>
                    <a:pt x="-4221" y="-16990"/>
                    <a:pt x="-5806" y="6582"/>
                  </a:cubicBezTo>
                  <a:lnTo>
                    <a:pt x="-5806" y="6582"/>
                  </a:lnTo>
                </a:path>
              </a:pathLst>
            </a:custGeom>
            <a:grpFill/>
            <a:ln w="689" cap="flat">
              <a:noFill/>
              <a:prstDash val="solid"/>
              <a:miter/>
            </a:ln>
          </p:spPr>
          <p:txBody>
            <a:bodyPr rtlCol="0" anchor="ctr"/>
            <a:lstStyle/>
            <a:p>
              <a:endParaRPr lang="en-US" sz="2400" dirty="0"/>
            </a:p>
          </p:txBody>
        </p:sp>
        <p:sp>
          <p:nvSpPr>
            <p:cNvPr id="490" name="Graphic 8">
              <a:extLst>
                <a:ext uri="{FF2B5EF4-FFF2-40B4-BE49-F238E27FC236}">
                  <a16:creationId xmlns:a16="http://schemas.microsoft.com/office/drawing/2014/main" id="{AB51AC6E-1E0F-46D4-BBC0-CE9E1663E2E3}"/>
                </a:ext>
              </a:extLst>
            </p:cNvPr>
            <p:cNvSpPr/>
            <p:nvPr/>
          </p:nvSpPr>
          <p:spPr>
            <a:xfrm flipV="1">
              <a:off x="3836470" y="3418454"/>
              <a:ext cx="72370" cy="46521"/>
            </a:xfrm>
            <a:custGeom>
              <a:avLst/>
              <a:gdLst>
                <a:gd name="connsiteX0" fmla="*/ -4753 w 72370"/>
                <a:gd name="connsiteY0" fmla="*/ 42102 h 46521"/>
                <a:gd name="connsiteX1" fmla="*/ 11858 w 72370"/>
                <a:gd name="connsiteY1" fmla="*/ 40241 h 46521"/>
                <a:gd name="connsiteX2" fmla="*/ 63069 w 72370"/>
                <a:gd name="connsiteY2" fmla="*/ 44721 h 46521"/>
                <a:gd name="connsiteX3" fmla="*/ 62655 w 72370"/>
                <a:gd name="connsiteY3" fmla="*/ 18254 h 46521"/>
                <a:gd name="connsiteX4" fmla="*/ 65757 w 72370"/>
                <a:gd name="connsiteY4" fmla="*/ 13360 h 46521"/>
                <a:gd name="connsiteX5" fmla="*/ 67618 w 72370"/>
                <a:gd name="connsiteY5" fmla="*/ -563 h 46521"/>
                <a:gd name="connsiteX6" fmla="*/ 7998 w 72370"/>
                <a:gd name="connsiteY6" fmla="*/ -1734 h 46521"/>
                <a:gd name="connsiteX7" fmla="*/ 13994 w 72370"/>
                <a:gd name="connsiteY7" fmla="*/ 20597 h 46521"/>
                <a:gd name="connsiteX8" fmla="*/ -4753 w 72370"/>
                <a:gd name="connsiteY8" fmla="*/ 42102 h 46521"/>
                <a:gd name="connsiteX9" fmla="*/ -4753 w 72370"/>
                <a:gd name="connsiteY9" fmla="*/ 42102 h 46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370" h="46521">
                  <a:moveTo>
                    <a:pt x="-4753" y="42102"/>
                  </a:moveTo>
                  <a:cubicBezTo>
                    <a:pt x="761" y="41481"/>
                    <a:pt x="6206" y="40930"/>
                    <a:pt x="11858" y="40241"/>
                  </a:cubicBezTo>
                  <a:cubicBezTo>
                    <a:pt x="28607" y="44238"/>
                    <a:pt x="45838" y="44376"/>
                    <a:pt x="63069" y="44721"/>
                  </a:cubicBezTo>
                  <a:cubicBezTo>
                    <a:pt x="54591" y="35967"/>
                    <a:pt x="51421" y="26869"/>
                    <a:pt x="62655" y="18254"/>
                  </a:cubicBezTo>
                  <a:cubicBezTo>
                    <a:pt x="63413" y="17082"/>
                    <a:pt x="64999" y="14601"/>
                    <a:pt x="65757" y="13360"/>
                  </a:cubicBezTo>
                  <a:cubicBezTo>
                    <a:pt x="66239" y="9914"/>
                    <a:pt x="67135" y="2884"/>
                    <a:pt x="67618" y="-563"/>
                  </a:cubicBezTo>
                  <a:cubicBezTo>
                    <a:pt x="47767" y="-3458"/>
                    <a:pt x="27848" y="-149"/>
                    <a:pt x="7998" y="-1734"/>
                  </a:cubicBezTo>
                  <a:cubicBezTo>
                    <a:pt x="9997" y="5709"/>
                    <a:pt x="12065" y="13153"/>
                    <a:pt x="13994" y="20597"/>
                  </a:cubicBezTo>
                  <a:cubicBezTo>
                    <a:pt x="7723" y="27765"/>
                    <a:pt x="1450" y="34934"/>
                    <a:pt x="-4753" y="42102"/>
                  </a:cubicBezTo>
                  <a:lnTo>
                    <a:pt x="-4753" y="42102"/>
                  </a:lnTo>
                </a:path>
              </a:pathLst>
            </a:custGeom>
            <a:grpFill/>
            <a:ln w="689" cap="flat">
              <a:noFill/>
              <a:prstDash val="solid"/>
              <a:miter/>
            </a:ln>
          </p:spPr>
          <p:txBody>
            <a:bodyPr rtlCol="0" anchor="ctr"/>
            <a:lstStyle/>
            <a:p>
              <a:endParaRPr lang="en-US" sz="2400" dirty="0"/>
            </a:p>
          </p:txBody>
        </p:sp>
        <p:sp>
          <p:nvSpPr>
            <p:cNvPr id="491" name="Graphic 8">
              <a:extLst>
                <a:ext uri="{FF2B5EF4-FFF2-40B4-BE49-F238E27FC236}">
                  <a16:creationId xmlns:a16="http://schemas.microsoft.com/office/drawing/2014/main" id="{5E932C6B-BCEF-4EE5-B785-B450325A4CF4}"/>
                </a:ext>
              </a:extLst>
            </p:cNvPr>
            <p:cNvSpPr/>
            <p:nvPr/>
          </p:nvSpPr>
          <p:spPr>
            <a:xfrm flipV="1">
              <a:off x="6442097" y="3418523"/>
              <a:ext cx="61342" cy="48867"/>
            </a:xfrm>
            <a:custGeom>
              <a:avLst/>
              <a:gdLst>
                <a:gd name="connsiteX0" fmla="*/ -8022 w 61342"/>
                <a:gd name="connsiteY0" fmla="*/ 19361 h 48867"/>
                <a:gd name="connsiteX1" fmla="*/ -509 w 61342"/>
                <a:gd name="connsiteY1" fmla="*/ 47069 h 48867"/>
                <a:gd name="connsiteX2" fmla="*/ -96 w 61342"/>
                <a:gd name="connsiteY2" fmla="*/ 30320 h 48867"/>
                <a:gd name="connsiteX3" fmla="*/ 53321 w 61342"/>
                <a:gd name="connsiteY3" fmla="*/ 32250 h 48867"/>
                <a:gd name="connsiteX4" fmla="*/ 40294 w 61342"/>
                <a:gd name="connsiteY4" fmla="*/ 32732 h 48867"/>
                <a:gd name="connsiteX5" fmla="*/ 28370 w 61342"/>
                <a:gd name="connsiteY5" fmla="*/ -1799 h 48867"/>
                <a:gd name="connsiteX6" fmla="*/ 19961 w 61342"/>
                <a:gd name="connsiteY6" fmla="*/ 14261 h 48867"/>
                <a:gd name="connsiteX7" fmla="*/ -8022 w 61342"/>
                <a:gd name="connsiteY7" fmla="*/ 19361 h 48867"/>
                <a:gd name="connsiteX8" fmla="*/ -8022 w 61342"/>
                <a:gd name="connsiteY8" fmla="*/ 19361 h 4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342" h="48867">
                  <a:moveTo>
                    <a:pt x="-8022" y="19361"/>
                  </a:moveTo>
                  <a:cubicBezTo>
                    <a:pt x="-5748" y="28666"/>
                    <a:pt x="-3198" y="37902"/>
                    <a:pt x="-509" y="47069"/>
                  </a:cubicBezTo>
                  <a:cubicBezTo>
                    <a:pt x="-365" y="42864"/>
                    <a:pt x="-165" y="34525"/>
                    <a:pt x="-96" y="30320"/>
                  </a:cubicBezTo>
                  <a:cubicBezTo>
                    <a:pt x="17273" y="35076"/>
                    <a:pt x="35951" y="39556"/>
                    <a:pt x="53321" y="32250"/>
                  </a:cubicBezTo>
                  <a:lnTo>
                    <a:pt x="40294" y="32732"/>
                  </a:lnTo>
                  <a:cubicBezTo>
                    <a:pt x="38226" y="20671"/>
                    <a:pt x="33057" y="9436"/>
                    <a:pt x="28370" y="-1799"/>
                  </a:cubicBezTo>
                  <a:cubicBezTo>
                    <a:pt x="26233" y="2199"/>
                    <a:pt x="22029" y="10263"/>
                    <a:pt x="19961" y="14261"/>
                  </a:cubicBezTo>
                  <a:cubicBezTo>
                    <a:pt x="10449" y="15915"/>
                    <a:pt x="1214" y="17500"/>
                    <a:pt x="-8022" y="19361"/>
                  </a:cubicBezTo>
                  <a:lnTo>
                    <a:pt x="-8022" y="19361"/>
                  </a:lnTo>
                </a:path>
              </a:pathLst>
            </a:custGeom>
            <a:grpFill/>
            <a:ln w="689" cap="flat">
              <a:noFill/>
              <a:prstDash val="solid"/>
              <a:miter/>
            </a:ln>
          </p:spPr>
          <p:txBody>
            <a:bodyPr rtlCol="0" anchor="ctr"/>
            <a:lstStyle/>
            <a:p>
              <a:endParaRPr lang="en-US" sz="2400" dirty="0"/>
            </a:p>
          </p:txBody>
        </p:sp>
        <p:sp>
          <p:nvSpPr>
            <p:cNvPr id="492" name="Graphic 8">
              <a:extLst>
                <a:ext uri="{FF2B5EF4-FFF2-40B4-BE49-F238E27FC236}">
                  <a16:creationId xmlns:a16="http://schemas.microsoft.com/office/drawing/2014/main" id="{64E7DBB9-8299-4673-9962-A913DEFB9916}"/>
                </a:ext>
              </a:extLst>
            </p:cNvPr>
            <p:cNvSpPr/>
            <p:nvPr/>
          </p:nvSpPr>
          <p:spPr>
            <a:xfrm flipV="1">
              <a:off x="5869746" y="3427139"/>
              <a:ext cx="2791" cy="2739"/>
            </a:xfrm>
            <a:custGeom>
              <a:avLst/>
              <a:gdLst>
                <a:gd name="connsiteX0" fmla="*/ -7266 w 2791"/>
                <a:gd name="connsiteY0" fmla="*/ 917 h 2739"/>
                <a:gd name="connsiteX1" fmla="*/ -7266 w 2791"/>
                <a:gd name="connsiteY1" fmla="*/ 917 h 2739"/>
                <a:gd name="connsiteX2" fmla="*/ -7266 w 2791"/>
                <a:gd name="connsiteY2" fmla="*/ 917 h 2739"/>
              </a:gdLst>
              <a:ahLst/>
              <a:cxnLst>
                <a:cxn ang="0">
                  <a:pos x="connsiteX0" y="connsiteY0"/>
                </a:cxn>
                <a:cxn ang="0">
                  <a:pos x="connsiteX1" y="connsiteY1"/>
                </a:cxn>
                <a:cxn ang="0">
                  <a:pos x="connsiteX2" y="connsiteY2"/>
                </a:cxn>
              </a:cxnLst>
              <a:rect l="l" t="t" r="r" b="b"/>
              <a:pathLst>
                <a:path w="2791" h="2739">
                  <a:moveTo>
                    <a:pt x="-7266" y="917"/>
                  </a:moveTo>
                  <a:cubicBezTo>
                    <a:pt x="-3544" y="-2736"/>
                    <a:pt x="-3544" y="-2736"/>
                    <a:pt x="-7266" y="917"/>
                  </a:cubicBezTo>
                  <a:lnTo>
                    <a:pt x="-7266" y="917"/>
                  </a:lnTo>
                </a:path>
              </a:pathLst>
            </a:custGeom>
            <a:grpFill/>
            <a:ln w="689" cap="flat">
              <a:noFill/>
              <a:prstDash val="solid"/>
              <a:miter/>
            </a:ln>
          </p:spPr>
          <p:txBody>
            <a:bodyPr rtlCol="0" anchor="ctr"/>
            <a:lstStyle/>
            <a:p>
              <a:endParaRPr lang="en-US" sz="2400" dirty="0"/>
            </a:p>
          </p:txBody>
        </p:sp>
        <p:sp>
          <p:nvSpPr>
            <p:cNvPr id="493" name="Graphic 8">
              <a:extLst>
                <a:ext uri="{FF2B5EF4-FFF2-40B4-BE49-F238E27FC236}">
                  <a16:creationId xmlns:a16="http://schemas.microsoft.com/office/drawing/2014/main" id="{E297607E-CF8F-45BD-B948-41E66D5C04A6}"/>
                </a:ext>
              </a:extLst>
            </p:cNvPr>
            <p:cNvSpPr/>
            <p:nvPr/>
          </p:nvSpPr>
          <p:spPr>
            <a:xfrm flipV="1">
              <a:off x="3757748" y="3435074"/>
              <a:ext cx="16259" cy="27285"/>
            </a:xfrm>
            <a:custGeom>
              <a:avLst/>
              <a:gdLst>
                <a:gd name="connsiteX0" fmla="*/ -542 w 16259"/>
                <a:gd name="connsiteY0" fmla="*/ 25160 h 27285"/>
                <a:gd name="connsiteX1" fmla="*/ 2835 w 16259"/>
                <a:gd name="connsiteY1" fmla="*/ -1789 h 27285"/>
                <a:gd name="connsiteX2" fmla="*/ -542 w 16259"/>
                <a:gd name="connsiteY2" fmla="*/ 25160 h 27285"/>
                <a:gd name="connsiteX3" fmla="*/ -542 w 16259"/>
                <a:gd name="connsiteY3" fmla="*/ 25160 h 27285"/>
              </a:gdLst>
              <a:ahLst/>
              <a:cxnLst>
                <a:cxn ang="0">
                  <a:pos x="connsiteX0" y="connsiteY0"/>
                </a:cxn>
                <a:cxn ang="0">
                  <a:pos x="connsiteX1" y="connsiteY1"/>
                </a:cxn>
                <a:cxn ang="0">
                  <a:pos x="connsiteX2" y="connsiteY2"/>
                </a:cxn>
                <a:cxn ang="0">
                  <a:pos x="connsiteX3" y="connsiteY3"/>
                </a:cxn>
              </a:cxnLst>
              <a:rect l="l" t="t" r="r" b="b"/>
              <a:pathLst>
                <a:path w="16259" h="27285">
                  <a:moveTo>
                    <a:pt x="-542" y="25160"/>
                  </a:moveTo>
                  <a:cubicBezTo>
                    <a:pt x="12623" y="28882"/>
                    <a:pt x="17103" y="485"/>
                    <a:pt x="2835" y="-1789"/>
                  </a:cubicBezTo>
                  <a:cubicBezTo>
                    <a:pt x="-8468" y="1312"/>
                    <a:pt x="-4609" y="17647"/>
                    <a:pt x="-542" y="25160"/>
                  </a:cubicBezTo>
                  <a:lnTo>
                    <a:pt x="-542" y="25160"/>
                  </a:lnTo>
                </a:path>
              </a:pathLst>
            </a:custGeom>
            <a:grpFill/>
            <a:ln w="689" cap="flat">
              <a:noFill/>
              <a:prstDash val="solid"/>
              <a:miter/>
            </a:ln>
          </p:spPr>
          <p:txBody>
            <a:bodyPr rtlCol="0" anchor="ctr"/>
            <a:lstStyle/>
            <a:p>
              <a:endParaRPr lang="en-US" sz="2400" dirty="0"/>
            </a:p>
          </p:txBody>
        </p:sp>
        <p:sp>
          <p:nvSpPr>
            <p:cNvPr id="494" name="Graphic 8">
              <a:extLst>
                <a:ext uri="{FF2B5EF4-FFF2-40B4-BE49-F238E27FC236}">
                  <a16:creationId xmlns:a16="http://schemas.microsoft.com/office/drawing/2014/main" id="{7E279E52-4558-4501-BFBE-FF20E3254C96}"/>
                </a:ext>
              </a:extLst>
            </p:cNvPr>
            <p:cNvSpPr/>
            <p:nvPr/>
          </p:nvSpPr>
          <p:spPr>
            <a:xfrm flipV="1">
              <a:off x="3920007" y="3433893"/>
              <a:ext cx="2946" cy="2998"/>
            </a:xfrm>
            <a:custGeom>
              <a:avLst/>
              <a:gdLst>
                <a:gd name="connsiteX0" fmla="*/ -4814 w 2946"/>
                <a:gd name="connsiteY0" fmla="*/ 1187 h 2998"/>
                <a:gd name="connsiteX1" fmla="*/ -4814 w 2946"/>
                <a:gd name="connsiteY1" fmla="*/ 1187 h 2998"/>
                <a:gd name="connsiteX2" fmla="*/ -4814 w 2946"/>
                <a:gd name="connsiteY2" fmla="*/ 1187 h 2998"/>
              </a:gdLst>
              <a:ahLst/>
              <a:cxnLst>
                <a:cxn ang="0">
                  <a:pos x="connsiteX0" y="connsiteY0"/>
                </a:cxn>
                <a:cxn ang="0">
                  <a:pos x="connsiteX1" y="connsiteY1"/>
                </a:cxn>
                <a:cxn ang="0">
                  <a:pos x="connsiteX2" y="connsiteY2"/>
                </a:cxn>
              </a:cxnLst>
              <a:rect l="l" t="t" r="r" b="b"/>
              <a:pathLst>
                <a:path w="2946" h="2998">
                  <a:moveTo>
                    <a:pt x="-4814" y="1187"/>
                  </a:moveTo>
                  <a:cubicBezTo>
                    <a:pt x="-885" y="-2811"/>
                    <a:pt x="-885" y="-2811"/>
                    <a:pt x="-4814" y="1187"/>
                  </a:cubicBezTo>
                  <a:lnTo>
                    <a:pt x="-4814" y="1187"/>
                  </a:lnTo>
                </a:path>
              </a:pathLst>
            </a:custGeom>
            <a:grpFill/>
            <a:ln w="689" cap="flat">
              <a:noFill/>
              <a:prstDash val="solid"/>
              <a:miter/>
            </a:ln>
          </p:spPr>
          <p:txBody>
            <a:bodyPr rtlCol="0" anchor="ctr"/>
            <a:lstStyle/>
            <a:p>
              <a:endParaRPr lang="en-US" sz="2400" dirty="0"/>
            </a:p>
          </p:txBody>
        </p:sp>
        <p:sp>
          <p:nvSpPr>
            <p:cNvPr id="495" name="Graphic 8">
              <a:extLst>
                <a:ext uri="{FF2B5EF4-FFF2-40B4-BE49-F238E27FC236}">
                  <a16:creationId xmlns:a16="http://schemas.microsoft.com/office/drawing/2014/main" id="{23CBB5C1-74A6-46AE-BEB3-3756FD01E7AE}"/>
                </a:ext>
              </a:extLst>
            </p:cNvPr>
            <p:cNvSpPr/>
            <p:nvPr/>
          </p:nvSpPr>
          <p:spPr>
            <a:xfrm flipV="1">
              <a:off x="4131605" y="3436788"/>
              <a:ext cx="18954" cy="10720"/>
            </a:xfrm>
            <a:custGeom>
              <a:avLst/>
              <a:gdLst>
                <a:gd name="connsiteX0" fmla="*/ -5090 w 18954"/>
                <a:gd name="connsiteY0" fmla="*/ 443 h 10720"/>
                <a:gd name="connsiteX1" fmla="*/ 2836 w 18954"/>
                <a:gd name="connsiteY1" fmla="*/ 8920 h 10720"/>
                <a:gd name="connsiteX2" fmla="*/ 13864 w 18954"/>
                <a:gd name="connsiteY2" fmla="*/ 5474 h 10720"/>
                <a:gd name="connsiteX3" fmla="*/ -5090 w 18954"/>
                <a:gd name="connsiteY3" fmla="*/ 443 h 10720"/>
                <a:gd name="connsiteX4" fmla="*/ -5090 w 18954"/>
                <a:gd name="connsiteY4" fmla="*/ 443 h 10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54" h="10720">
                  <a:moveTo>
                    <a:pt x="-5090" y="443"/>
                  </a:moveTo>
                  <a:cubicBezTo>
                    <a:pt x="-3091" y="2579"/>
                    <a:pt x="837" y="6784"/>
                    <a:pt x="2836" y="8920"/>
                  </a:cubicBezTo>
                  <a:cubicBezTo>
                    <a:pt x="5593" y="8024"/>
                    <a:pt x="11107" y="6370"/>
                    <a:pt x="13864" y="5474"/>
                  </a:cubicBezTo>
                  <a:cubicBezTo>
                    <a:pt x="10900" y="-2038"/>
                    <a:pt x="4559" y="-3762"/>
                    <a:pt x="-5090" y="443"/>
                  </a:cubicBezTo>
                  <a:lnTo>
                    <a:pt x="-5090" y="443"/>
                  </a:lnTo>
                </a:path>
              </a:pathLst>
            </a:custGeom>
            <a:grpFill/>
            <a:ln w="689" cap="flat">
              <a:noFill/>
              <a:prstDash val="solid"/>
              <a:miter/>
            </a:ln>
          </p:spPr>
          <p:txBody>
            <a:bodyPr rtlCol="0" anchor="ctr"/>
            <a:lstStyle/>
            <a:p>
              <a:endParaRPr lang="en-US" sz="2400" dirty="0"/>
            </a:p>
          </p:txBody>
        </p:sp>
        <p:sp>
          <p:nvSpPr>
            <p:cNvPr id="496" name="Graphic 8">
              <a:extLst>
                <a:ext uri="{FF2B5EF4-FFF2-40B4-BE49-F238E27FC236}">
                  <a16:creationId xmlns:a16="http://schemas.microsoft.com/office/drawing/2014/main" id="{36572662-CE0F-489D-B9FA-0035A9961764}"/>
                </a:ext>
              </a:extLst>
            </p:cNvPr>
            <p:cNvSpPr/>
            <p:nvPr/>
          </p:nvSpPr>
          <p:spPr>
            <a:xfrm flipV="1">
              <a:off x="5809134" y="3438856"/>
              <a:ext cx="41038" cy="67821"/>
            </a:xfrm>
            <a:custGeom>
              <a:avLst/>
              <a:gdLst>
                <a:gd name="connsiteX0" fmla="*/ 5979 w 41038"/>
                <a:gd name="connsiteY0" fmla="*/ 18997 h 67821"/>
                <a:gd name="connsiteX1" fmla="*/ 1844 w 41038"/>
                <a:gd name="connsiteY1" fmla="*/ 66072 h 67821"/>
                <a:gd name="connsiteX2" fmla="*/ 8598 w 41038"/>
                <a:gd name="connsiteY2" fmla="*/ 56354 h 67821"/>
                <a:gd name="connsiteX3" fmla="*/ -2016 w 41038"/>
                <a:gd name="connsiteY3" fmla="*/ 51322 h 67821"/>
                <a:gd name="connsiteX4" fmla="*/ -4773 w 41038"/>
                <a:gd name="connsiteY4" fmla="*/ 41052 h 67821"/>
                <a:gd name="connsiteX5" fmla="*/ 33825 w 41038"/>
                <a:gd name="connsiteY5" fmla="*/ 24993 h 67821"/>
                <a:gd name="connsiteX6" fmla="*/ 33066 w 41038"/>
                <a:gd name="connsiteY6" fmla="*/ -1750 h 67821"/>
                <a:gd name="connsiteX7" fmla="*/ 11424 w 41038"/>
                <a:gd name="connsiteY7" fmla="*/ 387 h 67821"/>
                <a:gd name="connsiteX8" fmla="*/ 5979 w 41038"/>
                <a:gd name="connsiteY8" fmla="*/ 18997 h 67821"/>
                <a:gd name="connsiteX9" fmla="*/ 5979 w 41038"/>
                <a:gd name="connsiteY9" fmla="*/ 18997 h 67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38" h="67821">
                  <a:moveTo>
                    <a:pt x="5979" y="18997"/>
                  </a:moveTo>
                  <a:cubicBezTo>
                    <a:pt x="-8289" y="29404"/>
                    <a:pt x="-12906" y="54079"/>
                    <a:pt x="1844" y="66072"/>
                  </a:cubicBezTo>
                  <a:cubicBezTo>
                    <a:pt x="3498" y="63660"/>
                    <a:pt x="6875" y="58766"/>
                    <a:pt x="8598" y="56354"/>
                  </a:cubicBezTo>
                  <a:cubicBezTo>
                    <a:pt x="5910" y="55113"/>
                    <a:pt x="603" y="52632"/>
                    <a:pt x="-2016" y="51322"/>
                  </a:cubicBezTo>
                  <a:cubicBezTo>
                    <a:pt x="-2705" y="48772"/>
                    <a:pt x="-4084" y="43672"/>
                    <a:pt x="-4773" y="41052"/>
                  </a:cubicBezTo>
                  <a:cubicBezTo>
                    <a:pt x="7840" y="35263"/>
                    <a:pt x="20867" y="30162"/>
                    <a:pt x="33825" y="24993"/>
                  </a:cubicBezTo>
                  <a:cubicBezTo>
                    <a:pt x="33549" y="16102"/>
                    <a:pt x="33274" y="7211"/>
                    <a:pt x="33066" y="-1750"/>
                  </a:cubicBezTo>
                  <a:cubicBezTo>
                    <a:pt x="27622" y="-1198"/>
                    <a:pt x="16800" y="-164"/>
                    <a:pt x="11424" y="387"/>
                  </a:cubicBezTo>
                  <a:cubicBezTo>
                    <a:pt x="9495" y="6659"/>
                    <a:pt x="7702" y="12862"/>
                    <a:pt x="5979" y="18997"/>
                  </a:cubicBezTo>
                  <a:lnTo>
                    <a:pt x="5979" y="18997"/>
                  </a:lnTo>
                </a:path>
              </a:pathLst>
            </a:custGeom>
            <a:grpFill/>
            <a:ln w="689" cap="flat">
              <a:noFill/>
              <a:prstDash val="solid"/>
              <a:miter/>
            </a:ln>
          </p:spPr>
          <p:txBody>
            <a:bodyPr rtlCol="0" anchor="ctr"/>
            <a:lstStyle/>
            <a:p>
              <a:endParaRPr lang="en-US" sz="2400" dirty="0"/>
            </a:p>
          </p:txBody>
        </p:sp>
        <p:sp>
          <p:nvSpPr>
            <p:cNvPr id="497" name="Graphic 8">
              <a:extLst>
                <a:ext uri="{FF2B5EF4-FFF2-40B4-BE49-F238E27FC236}">
                  <a16:creationId xmlns:a16="http://schemas.microsoft.com/office/drawing/2014/main" id="{A6C8FBB2-DAD4-42FE-A065-AE365C7CB177}"/>
                </a:ext>
              </a:extLst>
            </p:cNvPr>
            <p:cNvSpPr/>
            <p:nvPr/>
          </p:nvSpPr>
          <p:spPr>
            <a:xfrm flipV="1">
              <a:off x="6550860" y="3454639"/>
              <a:ext cx="2895" cy="2843"/>
            </a:xfrm>
            <a:custGeom>
              <a:avLst/>
              <a:gdLst>
                <a:gd name="connsiteX0" fmla="*/ -8122 w 2895"/>
                <a:gd name="connsiteY0" fmla="*/ 1066 h 2843"/>
                <a:gd name="connsiteX1" fmla="*/ -8122 w 2895"/>
                <a:gd name="connsiteY1" fmla="*/ 1066 h 2843"/>
                <a:gd name="connsiteX2" fmla="*/ -8122 w 2895"/>
                <a:gd name="connsiteY2" fmla="*/ 1066 h 2843"/>
              </a:gdLst>
              <a:ahLst/>
              <a:cxnLst>
                <a:cxn ang="0">
                  <a:pos x="connsiteX0" y="connsiteY0"/>
                </a:cxn>
                <a:cxn ang="0">
                  <a:pos x="connsiteX1" y="connsiteY1"/>
                </a:cxn>
                <a:cxn ang="0">
                  <a:pos x="connsiteX2" y="connsiteY2"/>
                </a:cxn>
              </a:cxnLst>
              <a:rect l="l" t="t" r="r" b="b"/>
              <a:pathLst>
                <a:path w="2895" h="2843">
                  <a:moveTo>
                    <a:pt x="-8122" y="1066"/>
                  </a:moveTo>
                  <a:cubicBezTo>
                    <a:pt x="-4262" y="-2725"/>
                    <a:pt x="-4262" y="-2725"/>
                    <a:pt x="-8122" y="1066"/>
                  </a:cubicBezTo>
                  <a:lnTo>
                    <a:pt x="-8122" y="1066"/>
                  </a:lnTo>
                </a:path>
              </a:pathLst>
            </a:custGeom>
            <a:grpFill/>
            <a:ln w="689" cap="flat">
              <a:noFill/>
              <a:prstDash val="solid"/>
              <a:miter/>
            </a:ln>
          </p:spPr>
          <p:txBody>
            <a:bodyPr rtlCol="0" anchor="ctr"/>
            <a:lstStyle/>
            <a:p>
              <a:endParaRPr lang="en-US" sz="2400" dirty="0"/>
            </a:p>
          </p:txBody>
        </p:sp>
        <p:sp>
          <p:nvSpPr>
            <p:cNvPr id="498" name="Graphic 8">
              <a:extLst>
                <a:ext uri="{FF2B5EF4-FFF2-40B4-BE49-F238E27FC236}">
                  <a16:creationId xmlns:a16="http://schemas.microsoft.com/office/drawing/2014/main" id="{3BF1546B-345F-4DAF-AEC6-EDC3282FDEF4}"/>
                </a:ext>
              </a:extLst>
            </p:cNvPr>
            <p:cNvSpPr/>
            <p:nvPr/>
          </p:nvSpPr>
          <p:spPr>
            <a:xfrm flipV="1">
              <a:off x="506880" y="3460843"/>
              <a:ext cx="16099" cy="20125"/>
            </a:xfrm>
            <a:custGeom>
              <a:avLst/>
              <a:gdLst>
                <a:gd name="connsiteX0" fmla="*/ 7994 w 16099"/>
                <a:gd name="connsiteY0" fmla="*/ 18373 h 20125"/>
                <a:gd name="connsiteX1" fmla="*/ 6616 w 16099"/>
                <a:gd name="connsiteY1" fmla="*/ -1753 h 20125"/>
                <a:gd name="connsiteX2" fmla="*/ 7994 w 16099"/>
                <a:gd name="connsiteY2" fmla="*/ 18373 h 20125"/>
                <a:gd name="connsiteX3" fmla="*/ 7994 w 16099"/>
                <a:gd name="connsiteY3" fmla="*/ 18373 h 20125"/>
              </a:gdLst>
              <a:ahLst/>
              <a:cxnLst>
                <a:cxn ang="0">
                  <a:pos x="connsiteX0" y="connsiteY0"/>
                </a:cxn>
                <a:cxn ang="0">
                  <a:pos x="connsiteX1" y="connsiteY1"/>
                </a:cxn>
                <a:cxn ang="0">
                  <a:pos x="connsiteX2" y="connsiteY2"/>
                </a:cxn>
                <a:cxn ang="0">
                  <a:pos x="connsiteX3" y="connsiteY3"/>
                </a:cxn>
              </a:cxnLst>
              <a:rect l="l" t="t" r="r" b="b"/>
              <a:pathLst>
                <a:path w="16099" h="20125">
                  <a:moveTo>
                    <a:pt x="7994" y="18373"/>
                  </a:moveTo>
                  <a:cubicBezTo>
                    <a:pt x="19574" y="18304"/>
                    <a:pt x="16885" y="-1201"/>
                    <a:pt x="6616" y="-1753"/>
                  </a:cubicBezTo>
                  <a:cubicBezTo>
                    <a:pt x="-5031" y="-1339"/>
                    <a:pt x="-893" y="16650"/>
                    <a:pt x="7994" y="18373"/>
                  </a:cubicBezTo>
                  <a:lnTo>
                    <a:pt x="7994" y="18373"/>
                  </a:lnTo>
                </a:path>
              </a:pathLst>
            </a:custGeom>
            <a:grpFill/>
            <a:ln w="689" cap="flat">
              <a:noFill/>
              <a:prstDash val="solid"/>
              <a:miter/>
            </a:ln>
          </p:spPr>
          <p:txBody>
            <a:bodyPr rtlCol="0" anchor="ctr"/>
            <a:lstStyle/>
            <a:p>
              <a:endParaRPr lang="en-US" sz="2400" dirty="0"/>
            </a:p>
          </p:txBody>
        </p:sp>
        <p:sp>
          <p:nvSpPr>
            <p:cNvPr id="499" name="Graphic 8">
              <a:extLst>
                <a:ext uri="{FF2B5EF4-FFF2-40B4-BE49-F238E27FC236}">
                  <a16:creationId xmlns:a16="http://schemas.microsoft.com/office/drawing/2014/main" id="{FD3807A7-4194-424B-9BE6-E91B65B7C789}"/>
                </a:ext>
              </a:extLst>
            </p:cNvPr>
            <p:cNvSpPr/>
            <p:nvPr/>
          </p:nvSpPr>
          <p:spPr>
            <a:xfrm flipV="1">
              <a:off x="5773528" y="3475455"/>
              <a:ext cx="3050" cy="2688"/>
            </a:xfrm>
            <a:custGeom>
              <a:avLst/>
              <a:gdLst>
                <a:gd name="connsiteX0" fmla="*/ -7145 w 3050"/>
                <a:gd name="connsiteY0" fmla="*/ 945 h 2688"/>
                <a:gd name="connsiteX1" fmla="*/ -7145 w 3050"/>
                <a:gd name="connsiteY1" fmla="*/ 945 h 2688"/>
                <a:gd name="connsiteX2" fmla="*/ -7145 w 3050"/>
                <a:gd name="connsiteY2" fmla="*/ 945 h 2688"/>
              </a:gdLst>
              <a:ahLst/>
              <a:cxnLst>
                <a:cxn ang="0">
                  <a:pos x="connsiteX0" y="connsiteY0"/>
                </a:cxn>
                <a:cxn ang="0">
                  <a:pos x="connsiteX1" y="connsiteY1"/>
                </a:cxn>
                <a:cxn ang="0">
                  <a:pos x="connsiteX2" y="connsiteY2"/>
                </a:cxn>
              </a:cxnLst>
              <a:rect l="l" t="t" r="r" b="b"/>
              <a:pathLst>
                <a:path w="3050" h="2688">
                  <a:moveTo>
                    <a:pt x="-7145" y="945"/>
                  </a:moveTo>
                  <a:cubicBezTo>
                    <a:pt x="-3078" y="-2639"/>
                    <a:pt x="-3078" y="-2639"/>
                    <a:pt x="-7145" y="945"/>
                  </a:cubicBezTo>
                  <a:lnTo>
                    <a:pt x="-7145" y="945"/>
                  </a:lnTo>
                </a:path>
              </a:pathLst>
            </a:custGeom>
            <a:grpFill/>
            <a:ln w="689" cap="flat">
              <a:noFill/>
              <a:prstDash val="solid"/>
              <a:miter/>
            </a:ln>
          </p:spPr>
          <p:txBody>
            <a:bodyPr rtlCol="0" anchor="ctr"/>
            <a:lstStyle/>
            <a:p>
              <a:endParaRPr lang="en-US" sz="2400" dirty="0"/>
            </a:p>
          </p:txBody>
        </p:sp>
        <p:sp>
          <p:nvSpPr>
            <p:cNvPr id="500" name="Graphic 8">
              <a:extLst>
                <a:ext uri="{FF2B5EF4-FFF2-40B4-BE49-F238E27FC236}">
                  <a16:creationId xmlns:a16="http://schemas.microsoft.com/office/drawing/2014/main" id="{0091E7FD-1274-43EE-A906-B2B5EC6690EF}"/>
                </a:ext>
              </a:extLst>
            </p:cNvPr>
            <p:cNvSpPr/>
            <p:nvPr/>
          </p:nvSpPr>
          <p:spPr>
            <a:xfrm flipV="1">
              <a:off x="5064156" y="3496684"/>
              <a:ext cx="2894" cy="2998"/>
            </a:xfrm>
            <a:custGeom>
              <a:avLst/>
              <a:gdLst>
                <a:gd name="connsiteX0" fmla="*/ -6253 w 2894"/>
                <a:gd name="connsiteY0" fmla="*/ 1290 h 2998"/>
                <a:gd name="connsiteX1" fmla="*/ -6253 w 2894"/>
                <a:gd name="connsiteY1" fmla="*/ 1290 h 2998"/>
                <a:gd name="connsiteX2" fmla="*/ -6253 w 2894"/>
                <a:gd name="connsiteY2" fmla="*/ 1290 h 2998"/>
              </a:gdLst>
              <a:ahLst/>
              <a:cxnLst>
                <a:cxn ang="0">
                  <a:pos x="connsiteX0" y="connsiteY0"/>
                </a:cxn>
                <a:cxn ang="0">
                  <a:pos x="connsiteX1" y="connsiteY1"/>
                </a:cxn>
                <a:cxn ang="0">
                  <a:pos x="connsiteX2" y="connsiteY2"/>
                </a:cxn>
              </a:cxnLst>
              <a:rect l="l" t="t" r="r" b="b"/>
              <a:pathLst>
                <a:path w="2894" h="2998">
                  <a:moveTo>
                    <a:pt x="-6253" y="1290"/>
                  </a:moveTo>
                  <a:cubicBezTo>
                    <a:pt x="-2393" y="-2707"/>
                    <a:pt x="-2393" y="-2707"/>
                    <a:pt x="-6253" y="1290"/>
                  </a:cubicBezTo>
                  <a:lnTo>
                    <a:pt x="-6253" y="1290"/>
                  </a:lnTo>
                </a:path>
              </a:pathLst>
            </a:custGeom>
            <a:grpFill/>
            <a:ln w="689" cap="flat">
              <a:noFill/>
              <a:prstDash val="solid"/>
              <a:miter/>
            </a:ln>
          </p:spPr>
          <p:txBody>
            <a:bodyPr rtlCol="0" anchor="ctr"/>
            <a:lstStyle/>
            <a:p>
              <a:endParaRPr lang="en-US" sz="2400" dirty="0"/>
            </a:p>
          </p:txBody>
        </p:sp>
        <p:sp>
          <p:nvSpPr>
            <p:cNvPr id="501" name="Graphic 8">
              <a:extLst>
                <a:ext uri="{FF2B5EF4-FFF2-40B4-BE49-F238E27FC236}">
                  <a16:creationId xmlns:a16="http://schemas.microsoft.com/office/drawing/2014/main" id="{B4E2FB70-AC07-4947-B107-F7FD27AB029D}"/>
                </a:ext>
              </a:extLst>
            </p:cNvPr>
            <p:cNvSpPr/>
            <p:nvPr/>
          </p:nvSpPr>
          <p:spPr>
            <a:xfrm flipV="1">
              <a:off x="5882545" y="3494325"/>
              <a:ext cx="12282" cy="12063"/>
            </a:xfrm>
            <a:custGeom>
              <a:avLst/>
              <a:gdLst>
                <a:gd name="connsiteX0" fmla="*/ -5819 w 12282"/>
                <a:gd name="connsiteY0" fmla="*/ 9103 h 12063"/>
                <a:gd name="connsiteX1" fmla="*/ 3556 w 12282"/>
                <a:gd name="connsiteY1" fmla="*/ -478 h 12063"/>
                <a:gd name="connsiteX2" fmla="*/ -5819 w 12282"/>
                <a:gd name="connsiteY2" fmla="*/ 9103 h 12063"/>
                <a:gd name="connsiteX3" fmla="*/ -5819 w 12282"/>
                <a:gd name="connsiteY3" fmla="*/ 9103 h 12063"/>
              </a:gdLst>
              <a:ahLst/>
              <a:cxnLst>
                <a:cxn ang="0">
                  <a:pos x="connsiteX0" y="connsiteY0"/>
                </a:cxn>
                <a:cxn ang="0">
                  <a:pos x="connsiteX1" y="connsiteY1"/>
                </a:cxn>
                <a:cxn ang="0">
                  <a:pos x="connsiteX2" y="connsiteY2"/>
                </a:cxn>
                <a:cxn ang="0">
                  <a:pos x="connsiteX3" y="connsiteY3"/>
                </a:cxn>
              </a:cxnLst>
              <a:rect l="l" t="t" r="r" b="b"/>
              <a:pathLst>
                <a:path w="12282" h="12063">
                  <a:moveTo>
                    <a:pt x="-5819" y="9103"/>
                  </a:moveTo>
                  <a:cubicBezTo>
                    <a:pt x="4038" y="12411"/>
                    <a:pt x="7139" y="9172"/>
                    <a:pt x="3556" y="-478"/>
                  </a:cubicBezTo>
                  <a:cubicBezTo>
                    <a:pt x="-6301" y="-3717"/>
                    <a:pt x="-9471" y="-547"/>
                    <a:pt x="-5819" y="9103"/>
                  </a:cubicBezTo>
                  <a:lnTo>
                    <a:pt x="-5819" y="9103"/>
                  </a:lnTo>
                </a:path>
              </a:pathLst>
            </a:custGeom>
            <a:grpFill/>
            <a:ln w="689" cap="flat">
              <a:noFill/>
              <a:prstDash val="solid"/>
              <a:miter/>
            </a:ln>
          </p:spPr>
          <p:txBody>
            <a:bodyPr rtlCol="0" anchor="ctr"/>
            <a:lstStyle/>
            <a:p>
              <a:endParaRPr lang="en-US" sz="2400" dirty="0"/>
            </a:p>
          </p:txBody>
        </p:sp>
        <p:sp>
          <p:nvSpPr>
            <p:cNvPr id="502" name="Graphic 8">
              <a:extLst>
                <a:ext uri="{FF2B5EF4-FFF2-40B4-BE49-F238E27FC236}">
                  <a16:creationId xmlns:a16="http://schemas.microsoft.com/office/drawing/2014/main" id="{4CFA299F-E65C-40C5-BB0C-D68B354E6978}"/>
                </a:ext>
              </a:extLst>
            </p:cNvPr>
            <p:cNvSpPr/>
            <p:nvPr/>
          </p:nvSpPr>
          <p:spPr>
            <a:xfrm flipV="1">
              <a:off x="5730521" y="3509064"/>
              <a:ext cx="15592" cy="13811"/>
            </a:xfrm>
            <a:custGeom>
              <a:avLst/>
              <a:gdLst>
                <a:gd name="connsiteX0" fmla="*/ -5377 w 15592"/>
                <a:gd name="connsiteY0" fmla="*/ -1679 h 13811"/>
                <a:gd name="connsiteX1" fmla="*/ 6960 w 15592"/>
                <a:gd name="connsiteY1" fmla="*/ -1610 h 13811"/>
                <a:gd name="connsiteX2" fmla="*/ -5377 w 15592"/>
                <a:gd name="connsiteY2" fmla="*/ -1679 h 13811"/>
                <a:gd name="connsiteX3" fmla="*/ -5377 w 15592"/>
                <a:gd name="connsiteY3" fmla="*/ -1679 h 13811"/>
              </a:gdLst>
              <a:ahLst/>
              <a:cxnLst>
                <a:cxn ang="0">
                  <a:pos x="connsiteX0" y="connsiteY0"/>
                </a:cxn>
                <a:cxn ang="0">
                  <a:pos x="connsiteX1" y="connsiteY1"/>
                </a:cxn>
                <a:cxn ang="0">
                  <a:pos x="connsiteX2" y="connsiteY2"/>
                </a:cxn>
                <a:cxn ang="0">
                  <a:pos x="connsiteX3" y="connsiteY3"/>
                </a:cxn>
              </a:cxnLst>
              <a:rect l="l" t="t" r="r" b="b"/>
              <a:pathLst>
                <a:path w="15592" h="13811">
                  <a:moveTo>
                    <a:pt x="-5377" y="-1679"/>
                  </a:moveTo>
                  <a:cubicBezTo>
                    <a:pt x="-14407" y="16586"/>
                    <a:pt x="15438" y="16862"/>
                    <a:pt x="6960" y="-1610"/>
                  </a:cubicBezTo>
                  <a:cubicBezTo>
                    <a:pt x="3858" y="-1610"/>
                    <a:pt x="-2345" y="-1679"/>
                    <a:pt x="-5377" y="-1679"/>
                  </a:cubicBezTo>
                  <a:lnTo>
                    <a:pt x="-5377" y="-1679"/>
                  </a:lnTo>
                </a:path>
              </a:pathLst>
            </a:custGeom>
            <a:grpFill/>
            <a:ln w="689" cap="flat">
              <a:noFill/>
              <a:prstDash val="solid"/>
              <a:miter/>
            </a:ln>
          </p:spPr>
          <p:txBody>
            <a:bodyPr rtlCol="0" anchor="ctr"/>
            <a:lstStyle/>
            <a:p>
              <a:endParaRPr lang="en-US" sz="2400" dirty="0"/>
            </a:p>
          </p:txBody>
        </p:sp>
        <p:sp>
          <p:nvSpPr>
            <p:cNvPr id="503" name="Graphic 8">
              <a:extLst>
                <a:ext uri="{FF2B5EF4-FFF2-40B4-BE49-F238E27FC236}">
                  <a16:creationId xmlns:a16="http://schemas.microsoft.com/office/drawing/2014/main" id="{898814E1-4797-4927-B4CD-4C42D08612BA}"/>
                </a:ext>
              </a:extLst>
            </p:cNvPr>
            <p:cNvSpPr/>
            <p:nvPr/>
          </p:nvSpPr>
          <p:spPr>
            <a:xfrm flipV="1">
              <a:off x="5360738" y="3517085"/>
              <a:ext cx="2532" cy="2791"/>
            </a:xfrm>
            <a:custGeom>
              <a:avLst/>
              <a:gdLst>
                <a:gd name="connsiteX0" fmla="*/ -6626 w 2532"/>
                <a:gd name="connsiteY0" fmla="*/ 1117 h 2791"/>
                <a:gd name="connsiteX1" fmla="*/ -6626 w 2532"/>
                <a:gd name="connsiteY1" fmla="*/ 1117 h 2791"/>
                <a:gd name="connsiteX2" fmla="*/ -6626 w 2532"/>
                <a:gd name="connsiteY2" fmla="*/ 1117 h 2791"/>
              </a:gdLst>
              <a:ahLst/>
              <a:cxnLst>
                <a:cxn ang="0">
                  <a:pos x="connsiteX0" y="connsiteY0"/>
                </a:cxn>
                <a:cxn ang="0">
                  <a:pos x="connsiteX1" y="connsiteY1"/>
                </a:cxn>
                <a:cxn ang="0">
                  <a:pos x="connsiteX2" y="connsiteY2"/>
                </a:cxn>
              </a:cxnLst>
              <a:rect l="l" t="t" r="r" b="b"/>
              <a:pathLst>
                <a:path w="2532" h="2791">
                  <a:moveTo>
                    <a:pt x="-6626" y="1117"/>
                  </a:moveTo>
                  <a:cubicBezTo>
                    <a:pt x="-3248" y="-2605"/>
                    <a:pt x="-3248" y="-2605"/>
                    <a:pt x="-6626" y="1117"/>
                  </a:cubicBezTo>
                  <a:lnTo>
                    <a:pt x="-6626" y="1117"/>
                  </a:lnTo>
                </a:path>
              </a:pathLst>
            </a:custGeom>
            <a:grpFill/>
            <a:ln w="689" cap="flat">
              <a:noFill/>
              <a:prstDash val="solid"/>
              <a:miter/>
            </a:ln>
          </p:spPr>
          <p:txBody>
            <a:bodyPr rtlCol="0" anchor="ctr"/>
            <a:lstStyle/>
            <a:p>
              <a:endParaRPr lang="en-US" sz="2400" dirty="0"/>
            </a:p>
          </p:txBody>
        </p:sp>
        <p:sp>
          <p:nvSpPr>
            <p:cNvPr id="504" name="Graphic 8">
              <a:extLst>
                <a:ext uri="{FF2B5EF4-FFF2-40B4-BE49-F238E27FC236}">
                  <a16:creationId xmlns:a16="http://schemas.microsoft.com/office/drawing/2014/main" id="{81C0C2AA-7374-42D5-84DA-6B97F59E325F}"/>
                </a:ext>
              </a:extLst>
            </p:cNvPr>
            <p:cNvSpPr/>
            <p:nvPr/>
          </p:nvSpPr>
          <p:spPr>
            <a:xfrm flipV="1">
              <a:off x="2458874" y="3524047"/>
              <a:ext cx="2636" cy="2946"/>
            </a:xfrm>
            <a:custGeom>
              <a:avLst/>
              <a:gdLst>
                <a:gd name="connsiteX0" fmla="*/ -2977 w 2636"/>
                <a:gd name="connsiteY0" fmla="*/ 1284 h 2946"/>
                <a:gd name="connsiteX1" fmla="*/ -2977 w 2636"/>
                <a:gd name="connsiteY1" fmla="*/ 1284 h 2946"/>
                <a:gd name="connsiteX2" fmla="*/ -2977 w 2636"/>
                <a:gd name="connsiteY2" fmla="*/ 1284 h 2946"/>
              </a:gdLst>
              <a:ahLst/>
              <a:cxnLst>
                <a:cxn ang="0">
                  <a:pos x="connsiteX0" y="connsiteY0"/>
                </a:cxn>
                <a:cxn ang="0">
                  <a:pos x="connsiteX1" y="connsiteY1"/>
                </a:cxn>
                <a:cxn ang="0">
                  <a:pos x="connsiteX2" y="connsiteY2"/>
                </a:cxn>
              </a:cxnLst>
              <a:rect l="l" t="t" r="r" b="b"/>
              <a:pathLst>
                <a:path w="2636" h="2946">
                  <a:moveTo>
                    <a:pt x="-2977" y="1284"/>
                  </a:moveTo>
                  <a:cubicBezTo>
                    <a:pt x="538" y="-2645"/>
                    <a:pt x="538" y="-2645"/>
                    <a:pt x="-2977" y="1284"/>
                  </a:cubicBezTo>
                  <a:lnTo>
                    <a:pt x="-2977" y="1284"/>
                  </a:lnTo>
                </a:path>
              </a:pathLst>
            </a:custGeom>
            <a:grpFill/>
            <a:ln w="689" cap="flat">
              <a:noFill/>
              <a:prstDash val="solid"/>
              <a:miter/>
            </a:ln>
          </p:spPr>
          <p:txBody>
            <a:bodyPr rtlCol="0" anchor="ctr"/>
            <a:lstStyle/>
            <a:p>
              <a:endParaRPr lang="en-US" sz="2400" dirty="0"/>
            </a:p>
          </p:txBody>
        </p:sp>
        <p:sp>
          <p:nvSpPr>
            <p:cNvPr id="505" name="Graphic 8">
              <a:extLst>
                <a:ext uri="{FF2B5EF4-FFF2-40B4-BE49-F238E27FC236}">
                  <a16:creationId xmlns:a16="http://schemas.microsoft.com/office/drawing/2014/main" id="{2EF9072D-B7C3-47DB-944F-2C020E028BBD}"/>
                </a:ext>
              </a:extLst>
            </p:cNvPr>
            <p:cNvSpPr/>
            <p:nvPr/>
          </p:nvSpPr>
          <p:spPr>
            <a:xfrm flipV="1">
              <a:off x="3767959" y="3544379"/>
              <a:ext cx="3049" cy="2533"/>
            </a:xfrm>
            <a:custGeom>
              <a:avLst/>
              <a:gdLst>
                <a:gd name="connsiteX0" fmla="*/ -4623 w 3049"/>
                <a:gd name="connsiteY0" fmla="*/ 903 h 2533"/>
                <a:gd name="connsiteX1" fmla="*/ -4623 w 3049"/>
                <a:gd name="connsiteY1" fmla="*/ 903 h 2533"/>
                <a:gd name="connsiteX2" fmla="*/ -4623 w 3049"/>
                <a:gd name="connsiteY2" fmla="*/ 903 h 2533"/>
              </a:gdLst>
              <a:ahLst/>
              <a:cxnLst>
                <a:cxn ang="0">
                  <a:pos x="connsiteX0" y="connsiteY0"/>
                </a:cxn>
                <a:cxn ang="0">
                  <a:pos x="connsiteX1" y="connsiteY1"/>
                </a:cxn>
                <a:cxn ang="0">
                  <a:pos x="connsiteX2" y="connsiteY2"/>
                </a:cxn>
              </a:cxnLst>
              <a:rect l="l" t="t" r="r" b="b"/>
              <a:pathLst>
                <a:path w="3049" h="2533">
                  <a:moveTo>
                    <a:pt x="-4623" y="903"/>
                  </a:moveTo>
                  <a:cubicBezTo>
                    <a:pt x="-557" y="-2474"/>
                    <a:pt x="-557" y="-2474"/>
                    <a:pt x="-4623" y="903"/>
                  </a:cubicBezTo>
                  <a:lnTo>
                    <a:pt x="-4623" y="903"/>
                  </a:lnTo>
                </a:path>
              </a:pathLst>
            </a:custGeom>
            <a:grpFill/>
            <a:ln w="689" cap="flat">
              <a:noFill/>
              <a:prstDash val="solid"/>
              <a:miter/>
            </a:ln>
          </p:spPr>
          <p:txBody>
            <a:bodyPr rtlCol="0" anchor="ctr"/>
            <a:lstStyle/>
            <a:p>
              <a:endParaRPr lang="en-US" sz="2400" dirty="0"/>
            </a:p>
          </p:txBody>
        </p:sp>
        <p:sp>
          <p:nvSpPr>
            <p:cNvPr id="506" name="Graphic 8">
              <a:extLst>
                <a:ext uri="{FF2B5EF4-FFF2-40B4-BE49-F238E27FC236}">
                  <a16:creationId xmlns:a16="http://schemas.microsoft.com/office/drawing/2014/main" id="{08B4814D-C67A-4188-BB74-1320B3DE73E6}"/>
                </a:ext>
              </a:extLst>
            </p:cNvPr>
            <p:cNvSpPr/>
            <p:nvPr/>
          </p:nvSpPr>
          <p:spPr>
            <a:xfrm flipV="1">
              <a:off x="508168" y="3551479"/>
              <a:ext cx="2998" cy="2739"/>
            </a:xfrm>
            <a:custGeom>
              <a:avLst/>
              <a:gdLst>
                <a:gd name="connsiteX0" fmla="*/ -524 w 2998"/>
                <a:gd name="connsiteY0" fmla="*/ 1122 h 2739"/>
                <a:gd name="connsiteX1" fmla="*/ -524 w 2998"/>
                <a:gd name="connsiteY1" fmla="*/ 1122 h 2739"/>
                <a:gd name="connsiteX2" fmla="*/ -524 w 2998"/>
                <a:gd name="connsiteY2" fmla="*/ 1122 h 2739"/>
              </a:gdLst>
              <a:ahLst/>
              <a:cxnLst>
                <a:cxn ang="0">
                  <a:pos x="connsiteX0" y="connsiteY0"/>
                </a:cxn>
                <a:cxn ang="0">
                  <a:pos x="connsiteX1" y="connsiteY1"/>
                </a:cxn>
                <a:cxn ang="0">
                  <a:pos x="connsiteX2" y="connsiteY2"/>
                </a:cxn>
              </a:cxnLst>
              <a:rect l="l" t="t" r="r" b="b"/>
              <a:pathLst>
                <a:path w="2998" h="2739">
                  <a:moveTo>
                    <a:pt x="-524" y="1122"/>
                  </a:moveTo>
                  <a:cubicBezTo>
                    <a:pt x="3474" y="-2531"/>
                    <a:pt x="3474" y="-2531"/>
                    <a:pt x="-524" y="1122"/>
                  </a:cubicBezTo>
                  <a:lnTo>
                    <a:pt x="-524" y="1122"/>
                  </a:lnTo>
                </a:path>
              </a:pathLst>
            </a:custGeom>
            <a:grpFill/>
            <a:ln w="689" cap="flat">
              <a:noFill/>
              <a:prstDash val="solid"/>
              <a:miter/>
            </a:ln>
          </p:spPr>
          <p:txBody>
            <a:bodyPr rtlCol="0" anchor="ctr"/>
            <a:lstStyle/>
            <a:p>
              <a:endParaRPr lang="en-US" sz="2400" dirty="0"/>
            </a:p>
          </p:txBody>
        </p:sp>
        <p:sp>
          <p:nvSpPr>
            <p:cNvPr id="507" name="Graphic 8">
              <a:extLst>
                <a:ext uri="{FF2B5EF4-FFF2-40B4-BE49-F238E27FC236}">
                  <a16:creationId xmlns:a16="http://schemas.microsoft.com/office/drawing/2014/main" id="{3B79ED67-6409-4F6E-9CF5-57D7F76CD3B6}"/>
                </a:ext>
              </a:extLst>
            </p:cNvPr>
            <p:cNvSpPr/>
            <p:nvPr/>
          </p:nvSpPr>
          <p:spPr>
            <a:xfrm flipV="1">
              <a:off x="1483315" y="3564230"/>
              <a:ext cx="91187" cy="52397"/>
            </a:xfrm>
            <a:custGeom>
              <a:avLst/>
              <a:gdLst>
                <a:gd name="connsiteX0" fmla="*/ 52507 w 91187"/>
                <a:gd name="connsiteY0" fmla="*/ 50841 h 52397"/>
                <a:gd name="connsiteX1" fmla="*/ 76010 w 91187"/>
                <a:gd name="connsiteY1" fmla="*/ 50496 h 52397"/>
                <a:gd name="connsiteX2" fmla="*/ 89381 w 91187"/>
                <a:gd name="connsiteY2" fmla="*/ 3007 h 52397"/>
                <a:gd name="connsiteX3" fmla="*/ -1806 w 91187"/>
                <a:gd name="connsiteY3" fmla="*/ -1404 h 52397"/>
                <a:gd name="connsiteX4" fmla="*/ -1392 w 91187"/>
                <a:gd name="connsiteY4" fmla="*/ 802 h 52397"/>
                <a:gd name="connsiteX5" fmla="*/ 1709 w 91187"/>
                <a:gd name="connsiteY5" fmla="*/ 19204 h 52397"/>
                <a:gd name="connsiteX6" fmla="*/ 24386 w 91187"/>
                <a:gd name="connsiteY6" fmla="*/ 22651 h 52397"/>
                <a:gd name="connsiteX7" fmla="*/ 70220 w 91187"/>
                <a:gd name="connsiteY7" fmla="*/ 13759 h 52397"/>
                <a:gd name="connsiteX8" fmla="*/ 54506 w 91187"/>
                <a:gd name="connsiteY8" fmla="*/ 31887 h 52397"/>
                <a:gd name="connsiteX9" fmla="*/ 52507 w 91187"/>
                <a:gd name="connsiteY9" fmla="*/ 50841 h 52397"/>
                <a:gd name="connsiteX10" fmla="*/ 52507 w 91187"/>
                <a:gd name="connsiteY10" fmla="*/ 50841 h 52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187" h="52397">
                  <a:moveTo>
                    <a:pt x="52507" y="50841"/>
                  </a:moveTo>
                  <a:cubicBezTo>
                    <a:pt x="58434" y="50772"/>
                    <a:pt x="70151" y="50565"/>
                    <a:pt x="76010" y="50496"/>
                  </a:cubicBezTo>
                  <a:cubicBezTo>
                    <a:pt x="80559" y="34781"/>
                    <a:pt x="82144" y="18102"/>
                    <a:pt x="89381" y="3007"/>
                  </a:cubicBezTo>
                  <a:cubicBezTo>
                    <a:pt x="58779" y="8452"/>
                    <a:pt x="28935" y="-2989"/>
                    <a:pt x="-1806" y="-1404"/>
                  </a:cubicBezTo>
                  <a:lnTo>
                    <a:pt x="-1392" y="802"/>
                  </a:lnTo>
                  <a:cubicBezTo>
                    <a:pt x="-634" y="5419"/>
                    <a:pt x="951" y="14655"/>
                    <a:pt x="1709" y="19204"/>
                  </a:cubicBezTo>
                  <a:cubicBezTo>
                    <a:pt x="9222" y="20445"/>
                    <a:pt x="16804" y="21548"/>
                    <a:pt x="24386" y="22651"/>
                  </a:cubicBezTo>
                  <a:cubicBezTo>
                    <a:pt x="36723" y="10451"/>
                    <a:pt x="54850" y="15552"/>
                    <a:pt x="70220" y="13759"/>
                  </a:cubicBezTo>
                  <a:cubicBezTo>
                    <a:pt x="66292" y="18309"/>
                    <a:pt x="58434" y="27338"/>
                    <a:pt x="54506" y="31887"/>
                  </a:cubicBezTo>
                  <a:cubicBezTo>
                    <a:pt x="54023" y="36642"/>
                    <a:pt x="53058" y="46154"/>
                    <a:pt x="52507" y="50841"/>
                  </a:cubicBezTo>
                  <a:lnTo>
                    <a:pt x="52507" y="50841"/>
                  </a:lnTo>
                </a:path>
              </a:pathLst>
            </a:custGeom>
            <a:grpFill/>
            <a:ln w="689" cap="flat">
              <a:noFill/>
              <a:prstDash val="solid"/>
              <a:miter/>
            </a:ln>
          </p:spPr>
          <p:txBody>
            <a:bodyPr rtlCol="0" anchor="ctr"/>
            <a:lstStyle/>
            <a:p>
              <a:endParaRPr lang="en-US" sz="2400" dirty="0"/>
            </a:p>
          </p:txBody>
        </p:sp>
        <p:sp>
          <p:nvSpPr>
            <p:cNvPr id="508" name="Graphic 8">
              <a:extLst>
                <a:ext uri="{FF2B5EF4-FFF2-40B4-BE49-F238E27FC236}">
                  <a16:creationId xmlns:a16="http://schemas.microsoft.com/office/drawing/2014/main" id="{190142ED-A54A-48F4-A320-AE90005A647F}"/>
                </a:ext>
              </a:extLst>
            </p:cNvPr>
            <p:cNvSpPr/>
            <p:nvPr/>
          </p:nvSpPr>
          <p:spPr>
            <a:xfrm flipV="1">
              <a:off x="1419077" y="3564812"/>
              <a:ext cx="116620" cy="54764"/>
            </a:xfrm>
            <a:custGeom>
              <a:avLst/>
              <a:gdLst>
                <a:gd name="connsiteX0" fmla="*/ 18661 w 116620"/>
                <a:gd name="connsiteY0" fmla="*/ 37320 h 54764"/>
                <a:gd name="connsiteX1" fmla="*/ 17627 w 116620"/>
                <a:gd name="connsiteY1" fmla="*/ 15747 h 54764"/>
                <a:gd name="connsiteX2" fmla="*/ 18661 w 116620"/>
                <a:gd name="connsiteY2" fmla="*/ 37320 h 54764"/>
                <a:gd name="connsiteX3" fmla="*/ -1741 w 116620"/>
                <a:gd name="connsiteY3" fmla="*/ 46970 h 54764"/>
                <a:gd name="connsiteX4" fmla="*/ 39407 w 116620"/>
                <a:gd name="connsiteY4" fmla="*/ 42834 h 54764"/>
                <a:gd name="connsiteX5" fmla="*/ 114879 w 116620"/>
                <a:gd name="connsiteY5" fmla="*/ 41938 h 54764"/>
                <a:gd name="connsiteX6" fmla="*/ 114190 w 116620"/>
                <a:gd name="connsiteY6" fmla="*/ 38492 h 54764"/>
                <a:gd name="connsiteX7" fmla="*/ 76764 w 116620"/>
                <a:gd name="connsiteY7" fmla="*/ 27671 h 54764"/>
                <a:gd name="connsiteX8" fmla="*/ 78143 w 116620"/>
                <a:gd name="connsiteY8" fmla="*/ 39939 h 54764"/>
                <a:gd name="connsiteX9" fmla="*/ 71526 w 116620"/>
                <a:gd name="connsiteY9" fmla="*/ 41249 h 54764"/>
                <a:gd name="connsiteX10" fmla="*/ 75386 w 116620"/>
                <a:gd name="connsiteY10" fmla="*/ 25052 h 54764"/>
                <a:gd name="connsiteX11" fmla="*/ 58223 w 116620"/>
                <a:gd name="connsiteY11" fmla="*/ 25810 h 54764"/>
                <a:gd name="connsiteX12" fmla="*/ 62910 w 116620"/>
                <a:gd name="connsiteY12" fmla="*/ 3754 h 54764"/>
                <a:gd name="connsiteX13" fmla="*/ 62497 w 116620"/>
                <a:gd name="connsiteY13" fmla="*/ 1548 h 54764"/>
                <a:gd name="connsiteX14" fmla="*/ 39752 w 116620"/>
                <a:gd name="connsiteY14" fmla="*/ 13541 h 54764"/>
                <a:gd name="connsiteX15" fmla="*/ 35271 w 116620"/>
                <a:gd name="connsiteY15" fmla="*/ -1071 h 54764"/>
                <a:gd name="connsiteX16" fmla="*/ 11630 w 116620"/>
                <a:gd name="connsiteY16" fmla="*/ -1553 h 54764"/>
                <a:gd name="connsiteX17" fmla="*/ 1567 w 116620"/>
                <a:gd name="connsiteY17" fmla="*/ 34632 h 54764"/>
                <a:gd name="connsiteX18" fmla="*/ -1741 w 116620"/>
                <a:gd name="connsiteY18" fmla="*/ 46970 h 54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620" h="54764">
                  <a:moveTo>
                    <a:pt x="18661" y="37320"/>
                  </a:moveTo>
                  <a:cubicBezTo>
                    <a:pt x="15076" y="30290"/>
                    <a:pt x="14732" y="23122"/>
                    <a:pt x="17627" y="15747"/>
                  </a:cubicBezTo>
                  <a:cubicBezTo>
                    <a:pt x="33479" y="16091"/>
                    <a:pt x="39889" y="44695"/>
                    <a:pt x="18661" y="37320"/>
                  </a:cubicBezTo>
                  <a:close/>
                  <a:moveTo>
                    <a:pt x="-1741" y="46970"/>
                  </a:moveTo>
                  <a:cubicBezTo>
                    <a:pt x="12044" y="46418"/>
                    <a:pt x="25691" y="44557"/>
                    <a:pt x="39407" y="42834"/>
                  </a:cubicBezTo>
                  <a:cubicBezTo>
                    <a:pt x="62290" y="50554"/>
                    <a:pt x="96063" y="62133"/>
                    <a:pt x="114879" y="41938"/>
                  </a:cubicBezTo>
                  <a:lnTo>
                    <a:pt x="114190" y="38492"/>
                  </a:lnTo>
                  <a:cubicBezTo>
                    <a:pt x="101715" y="34701"/>
                    <a:pt x="89515" y="30290"/>
                    <a:pt x="76764" y="27671"/>
                  </a:cubicBezTo>
                  <a:lnTo>
                    <a:pt x="78143" y="39939"/>
                  </a:lnTo>
                  <a:lnTo>
                    <a:pt x="71526" y="41249"/>
                  </a:lnTo>
                  <a:cubicBezTo>
                    <a:pt x="72491" y="37251"/>
                    <a:pt x="74421" y="29118"/>
                    <a:pt x="75386" y="25052"/>
                  </a:cubicBezTo>
                  <a:cubicBezTo>
                    <a:pt x="71043" y="25258"/>
                    <a:pt x="62497" y="25603"/>
                    <a:pt x="58223" y="25810"/>
                  </a:cubicBezTo>
                  <a:cubicBezTo>
                    <a:pt x="59946" y="18504"/>
                    <a:pt x="61532" y="11198"/>
                    <a:pt x="62910" y="3754"/>
                  </a:cubicBezTo>
                  <a:lnTo>
                    <a:pt x="62497" y="1548"/>
                  </a:lnTo>
                  <a:cubicBezTo>
                    <a:pt x="50986" y="-5689"/>
                    <a:pt x="45403" y="5339"/>
                    <a:pt x="39752" y="13541"/>
                  </a:cubicBezTo>
                  <a:cubicBezTo>
                    <a:pt x="38649" y="9888"/>
                    <a:pt x="36374" y="2582"/>
                    <a:pt x="35271" y="-1071"/>
                  </a:cubicBezTo>
                  <a:cubicBezTo>
                    <a:pt x="27345" y="-1209"/>
                    <a:pt x="19488" y="-1347"/>
                    <a:pt x="11630" y="-1553"/>
                  </a:cubicBezTo>
                  <a:cubicBezTo>
                    <a:pt x="8253" y="10508"/>
                    <a:pt x="4876" y="22570"/>
                    <a:pt x="1567" y="34632"/>
                  </a:cubicBezTo>
                  <a:lnTo>
                    <a:pt x="-1741" y="46970"/>
                  </a:lnTo>
                </a:path>
              </a:pathLst>
            </a:custGeom>
            <a:grpFill/>
            <a:ln w="689" cap="flat">
              <a:noFill/>
              <a:prstDash val="solid"/>
              <a:miter/>
            </a:ln>
          </p:spPr>
          <p:txBody>
            <a:bodyPr rtlCol="0" anchor="ctr"/>
            <a:lstStyle/>
            <a:p>
              <a:endParaRPr lang="en-US" sz="2400" dirty="0"/>
            </a:p>
          </p:txBody>
        </p:sp>
        <p:sp>
          <p:nvSpPr>
            <p:cNvPr id="509" name="Graphic 8">
              <a:extLst>
                <a:ext uri="{FF2B5EF4-FFF2-40B4-BE49-F238E27FC236}">
                  <a16:creationId xmlns:a16="http://schemas.microsoft.com/office/drawing/2014/main" id="{E4472131-2B14-4C45-8DBA-CDA80EADBD6E}"/>
                </a:ext>
              </a:extLst>
            </p:cNvPr>
            <p:cNvSpPr/>
            <p:nvPr/>
          </p:nvSpPr>
          <p:spPr>
            <a:xfrm flipV="1">
              <a:off x="1932014" y="3573466"/>
              <a:ext cx="3360" cy="2894"/>
            </a:xfrm>
            <a:custGeom>
              <a:avLst/>
              <a:gdLst>
                <a:gd name="connsiteX0" fmla="*/ -2315 w 3360"/>
                <a:gd name="connsiteY0" fmla="*/ 1313 h 2894"/>
                <a:gd name="connsiteX1" fmla="*/ -2315 w 3360"/>
                <a:gd name="connsiteY1" fmla="*/ 1313 h 2894"/>
                <a:gd name="connsiteX2" fmla="*/ -2315 w 3360"/>
                <a:gd name="connsiteY2" fmla="*/ 1313 h 2894"/>
              </a:gdLst>
              <a:ahLst/>
              <a:cxnLst>
                <a:cxn ang="0">
                  <a:pos x="connsiteX0" y="connsiteY0"/>
                </a:cxn>
                <a:cxn ang="0">
                  <a:pos x="connsiteX1" y="connsiteY1"/>
                </a:cxn>
                <a:cxn ang="0">
                  <a:pos x="connsiteX2" y="connsiteY2"/>
                </a:cxn>
              </a:cxnLst>
              <a:rect l="l" t="t" r="r" b="b"/>
              <a:pathLst>
                <a:path w="3360" h="2894">
                  <a:moveTo>
                    <a:pt x="-2315" y="1313"/>
                  </a:moveTo>
                  <a:cubicBezTo>
                    <a:pt x="2165" y="-2547"/>
                    <a:pt x="2165" y="-2547"/>
                    <a:pt x="-2315" y="1313"/>
                  </a:cubicBezTo>
                  <a:lnTo>
                    <a:pt x="-2315" y="1313"/>
                  </a:lnTo>
                </a:path>
              </a:pathLst>
            </a:custGeom>
            <a:grpFill/>
            <a:ln w="689" cap="flat">
              <a:noFill/>
              <a:prstDash val="solid"/>
              <a:miter/>
            </a:ln>
          </p:spPr>
          <p:txBody>
            <a:bodyPr rtlCol="0" anchor="ctr"/>
            <a:lstStyle/>
            <a:p>
              <a:endParaRPr lang="en-US" sz="2400" dirty="0"/>
            </a:p>
          </p:txBody>
        </p:sp>
        <p:sp>
          <p:nvSpPr>
            <p:cNvPr id="510" name="Graphic 8">
              <a:extLst>
                <a:ext uri="{FF2B5EF4-FFF2-40B4-BE49-F238E27FC236}">
                  <a16:creationId xmlns:a16="http://schemas.microsoft.com/office/drawing/2014/main" id="{04B227E3-7FCF-4CB9-A6B8-084513CD1298}"/>
                </a:ext>
              </a:extLst>
            </p:cNvPr>
            <p:cNvSpPr/>
            <p:nvPr/>
          </p:nvSpPr>
          <p:spPr>
            <a:xfrm flipV="1">
              <a:off x="1125323" y="3592075"/>
              <a:ext cx="2487935" cy="32071"/>
            </a:xfrm>
            <a:custGeom>
              <a:avLst/>
              <a:gdLst>
                <a:gd name="connsiteX0" fmla="*/ -728 w 2487935"/>
                <a:gd name="connsiteY0" fmla="*/ 8006 h 32071"/>
                <a:gd name="connsiteX1" fmla="*/ -728 w 2487935"/>
                <a:gd name="connsiteY1" fmla="*/ 8006 h 32071"/>
                <a:gd name="connsiteX2" fmla="*/ 2482488 w 2487935"/>
                <a:gd name="connsiteY2" fmla="*/ 30544 h 32071"/>
                <a:gd name="connsiteX3" fmla="*/ 2482488 w 2487935"/>
                <a:gd name="connsiteY3" fmla="*/ 30544 h 32071"/>
              </a:gdLst>
              <a:ahLst/>
              <a:cxnLst>
                <a:cxn ang="0">
                  <a:pos x="connsiteX0" y="connsiteY0"/>
                </a:cxn>
                <a:cxn ang="0">
                  <a:pos x="connsiteX1" y="connsiteY1"/>
                </a:cxn>
                <a:cxn ang="0">
                  <a:pos x="connsiteX2" y="connsiteY2"/>
                </a:cxn>
                <a:cxn ang="0">
                  <a:pos x="connsiteX3" y="connsiteY3"/>
                </a:cxn>
              </a:cxnLst>
              <a:rect l="l" t="t" r="r" b="b"/>
              <a:pathLst>
                <a:path w="2487935" h="32071">
                  <a:moveTo>
                    <a:pt x="-728" y="8006"/>
                  </a:moveTo>
                  <a:cubicBezTo>
                    <a:pt x="21879" y="6765"/>
                    <a:pt x="-11274" y="-12809"/>
                    <a:pt x="-728" y="8006"/>
                  </a:cubicBezTo>
                  <a:close/>
                  <a:moveTo>
                    <a:pt x="2482488" y="30544"/>
                  </a:moveTo>
                  <a:cubicBezTo>
                    <a:pt x="2485934" y="26616"/>
                    <a:pt x="2485934" y="26616"/>
                    <a:pt x="2482488" y="30544"/>
                  </a:cubicBezTo>
                </a:path>
              </a:pathLst>
            </a:custGeom>
            <a:grpFill/>
            <a:ln w="689" cap="flat">
              <a:noFill/>
              <a:prstDash val="solid"/>
              <a:miter/>
            </a:ln>
          </p:spPr>
          <p:txBody>
            <a:bodyPr rtlCol="0" anchor="ctr"/>
            <a:lstStyle/>
            <a:p>
              <a:endParaRPr lang="en-US" sz="2400" dirty="0"/>
            </a:p>
          </p:txBody>
        </p:sp>
        <p:sp>
          <p:nvSpPr>
            <p:cNvPr id="511" name="Graphic 8">
              <a:extLst>
                <a:ext uri="{FF2B5EF4-FFF2-40B4-BE49-F238E27FC236}">
                  <a16:creationId xmlns:a16="http://schemas.microsoft.com/office/drawing/2014/main" id="{0E908187-0F5F-4217-B4C6-9B9A60AD56BF}"/>
                </a:ext>
              </a:extLst>
            </p:cNvPr>
            <p:cNvSpPr/>
            <p:nvPr/>
          </p:nvSpPr>
          <p:spPr>
            <a:xfrm flipV="1">
              <a:off x="484703" y="3614751"/>
              <a:ext cx="10141" cy="9435"/>
            </a:xfrm>
            <a:custGeom>
              <a:avLst/>
              <a:gdLst>
                <a:gd name="connsiteX0" fmla="*/ 1325 w 10141"/>
                <a:gd name="connsiteY0" fmla="*/ 7927 h 9435"/>
                <a:gd name="connsiteX1" fmla="*/ 1325 w 10141"/>
                <a:gd name="connsiteY1" fmla="*/ 7927 h 9435"/>
                <a:gd name="connsiteX2" fmla="*/ 1325 w 10141"/>
                <a:gd name="connsiteY2" fmla="*/ 7927 h 9435"/>
              </a:gdLst>
              <a:ahLst/>
              <a:cxnLst>
                <a:cxn ang="0">
                  <a:pos x="connsiteX0" y="connsiteY0"/>
                </a:cxn>
                <a:cxn ang="0">
                  <a:pos x="connsiteX1" y="connsiteY1"/>
                </a:cxn>
                <a:cxn ang="0">
                  <a:pos x="connsiteX2" y="connsiteY2"/>
                </a:cxn>
              </a:cxnLst>
              <a:rect l="l" t="t" r="r" b="b"/>
              <a:pathLst>
                <a:path w="10141" h="9435">
                  <a:moveTo>
                    <a:pt x="1325" y="7927"/>
                  </a:moveTo>
                  <a:cubicBezTo>
                    <a:pt x="24137" y="7789"/>
                    <a:pt x="-8255" y="-13233"/>
                    <a:pt x="1325" y="7927"/>
                  </a:cubicBezTo>
                  <a:lnTo>
                    <a:pt x="1325" y="7927"/>
                  </a:lnTo>
                </a:path>
              </a:pathLst>
            </a:custGeom>
            <a:grpFill/>
            <a:ln w="689" cap="flat">
              <a:noFill/>
              <a:prstDash val="solid"/>
              <a:miter/>
            </a:ln>
          </p:spPr>
          <p:txBody>
            <a:bodyPr rtlCol="0" anchor="ctr"/>
            <a:lstStyle/>
            <a:p>
              <a:endParaRPr lang="en-US" sz="2400" dirty="0"/>
            </a:p>
          </p:txBody>
        </p:sp>
        <p:sp>
          <p:nvSpPr>
            <p:cNvPr id="512" name="Graphic 8">
              <a:extLst>
                <a:ext uri="{FF2B5EF4-FFF2-40B4-BE49-F238E27FC236}">
                  <a16:creationId xmlns:a16="http://schemas.microsoft.com/office/drawing/2014/main" id="{15A099B8-E093-4DC5-919C-50BC3AFDAD7D}"/>
                </a:ext>
              </a:extLst>
            </p:cNvPr>
            <p:cNvSpPr/>
            <p:nvPr/>
          </p:nvSpPr>
          <p:spPr>
            <a:xfrm flipV="1">
              <a:off x="982562" y="3608973"/>
              <a:ext cx="14798" cy="25226"/>
            </a:xfrm>
            <a:custGeom>
              <a:avLst/>
              <a:gdLst>
                <a:gd name="connsiteX0" fmla="*/ 1093 w 14798"/>
                <a:gd name="connsiteY0" fmla="*/ 22078 h 25226"/>
                <a:gd name="connsiteX1" fmla="*/ 10467 w 14798"/>
                <a:gd name="connsiteY1" fmla="*/ 160 h 25226"/>
                <a:gd name="connsiteX2" fmla="*/ 1093 w 14798"/>
                <a:gd name="connsiteY2" fmla="*/ 22078 h 25226"/>
                <a:gd name="connsiteX3" fmla="*/ 1093 w 14798"/>
                <a:gd name="connsiteY3" fmla="*/ 22078 h 25226"/>
              </a:gdLst>
              <a:ahLst/>
              <a:cxnLst>
                <a:cxn ang="0">
                  <a:pos x="connsiteX0" y="connsiteY0"/>
                </a:cxn>
                <a:cxn ang="0">
                  <a:pos x="connsiteX1" y="connsiteY1"/>
                </a:cxn>
                <a:cxn ang="0">
                  <a:pos x="connsiteX2" y="connsiteY2"/>
                </a:cxn>
                <a:cxn ang="0">
                  <a:pos x="connsiteX3" y="connsiteY3"/>
                </a:cxn>
              </a:cxnLst>
              <a:rect l="l" t="t" r="r" b="b"/>
              <a:pathLst>
                <a:path w="14798" h="25226">
                  <a:moveTo>
                    <a:pt x="1093" y="22078"/>
                  </a:moveTo>
                  <a:cubicBezTo>
                    <a:pt x="12328" y="30073"/>
                    <a:pt x="17497" y="6639"/>
                    <a:pt x="10467" y="160"/>
                  </a:cubicBezTo>
                  <a:cubicBezTo>
                    <a:pt x="-1044" y="-7904"/>
                    <a:pt x="-3594" y="15599"/>
                    <a:pt x="1093" y="22078"/>
                  </a:cubicBezTo>
                  <a:lnTo>
                    <a:pt x="1093" y="22078"/>
                  </a:lnTo>
                </a:path>
              </a:pathLst>
            </a:custGeom>
            <a:grpFill/>
            <a:ln w="689" cap="flat">
              <a:noFill/>
              <a:prstDash val="solid"/>
              <a:miter/>
            </a:ln>
          </p:spPr>
          <p:txBody>
            <a:bodyPr rtlCol="0" anchor="ctr"/>
            <a:lstStyle/>
            <a:p>
              <a:endParaRPr lang="en-US" sz="2400" dirty="0"/>
            </a:p>
          </p:txBody>
        </p:sp>
        <p:sp>
          <p:nvSpPr>
            <p:cNvPr id="513" name="Graphic 8">
              <a:extLst>
                <a:ext uri="{FF2B5EF4-FFF2-40B4-BE49-F238E27FC236}">
                  <a16:creationId xmlns:a16="http://schemas.microsoft.com/office/drawing/2014/main" id="{A9556AD7-7E5B-4751-8C74-D5BDC3FF5038}"/>
                </a:ext>
              </a:extLst>
            </p:cNvPr>
            <p:cNvSpPr/>
            <p:nvPr/>
          </p:nvSpPr>
          <p:spPr>
            <a:xfrm flipV="1">
              <a:off x="2669357" y="3613580"/>
              <a:ext cx="10281" cy="9759"/>
            </a:xfrm>
            <a:custGeom>
              <a:avLst/>
              <a:gdLst>
                <a:gd name="connsiteX0" fmla="*/ -1028 w 10281"/>
                <a:gd name="connsiteY0" fmla="*/ 8249 h 9759"/>
                <a:gd name="connsiteX1" fmla="*/ -1028 w 10281"/>
                <a:gd name="connsiteY1" fmla="*/ 8249 h 9759"/>
                <a:gd name="connsiteX2" fmla="*/ -1028 w 10281"/>
                <a:gd name="connsiteY2" fmla="*/ 8249 h 9759"/>
              </a:gdLst>
              <a:ahLst/>
              <a:cxnLst>
                <a:cxn ang="0">
                  <a:pos x="connsiteX0" y="connsiteY0"/>
                </a:cxn>
                <a:cxn ang="0">
                  <a:pos x="connsiteX1" y="connsiteY1"/>
                </a:cxn>
                <a:cxn ang="0">
                  <a:pos x="connsiteX2" y="connsiteY2"/>
                </a:cxn>
              </a:cxnLst>
              <a:rect l="l" t="t" r="r" b="b"/>
              <a:pathLst>
                <a:path w="10281" h="9759">
                  <a:moveTo>
                    <a:pt x="-1028" y="8249"/>
                  </a:moveTo>
                  <a:cubicBezTo>
                    <a:pt x="21648" y="5423"/>
                    <a:pt x="-11849" y="-12222"/>
                    <a:pt x="-1028" y="8249"/>
                  </a:cubicBezTo>
                  <a:lnTo>
                    <a:pt x="-1028" y="8249"/>
                  </a:lnTo>
                </a:path>
              </a:pathLst>
            </a:custGeom>
            <a:grpFill/>
            <a:ln w="689" cap="flat">
              <a:noFill/>
              <a:prstDash val="solid"/>
              <a:miter/>
            </a:ln>
          </p:spPr>
          <p:txBody>
            <a:bodyPr rtlCol="0" anchor="ctr"/>
            <a:lstStyle/>
            <a:p>
              <a:endParaRPr lang="en-US" sz="2400" dirty="0"/>
            </a:p>
          </p:txBody>
        </p:sp>
        <p:sp>
          <p:nvSpPr>
            <p:cNvPr id="514" name="Graphic 8">
              <a:extLst>
                <a:ext uri="{FF2B5EF4-FFF2-40B4-BE49-F238E27FC236}">
                  <a16:creationId xmlns:a16="http://schemas.microsoft.com/office/drawing/2014/main" id="{EC49B3A9-43A1-431C-9B09-572074C70B8D}"/>
                </a:ext>
              </a:extLst>
            </p:cNvPr>
            <p:cNvSpPr/>
            <p:nvPr/>
          </p:nvSpPr>
          <p:spPr>
            <a:xfrm flipV="1">
              <a:off x="2952018" y="3619783"/>
              <a:ext cx="10109" cy="9450"/>
            </a:xfrm>
            <a:custGeom>
              <a:avLst/>
              <a:gdLst>
                <a:gd name="connsiteX0" fmla="*/ -1729 w 10109"/>
                <a:gd name="connsiteY0" fmla="*/ 7950 h 9450"/>
                <a:gd name="connsiteX1" fmla="*/ -1729 w 10109"/>
                <a:gd name="connsiteY1" fmla="*/ 7950 h 9450"/>
                <a:gd name="connsiteX2" fmla="*/ -1729 w 10109"/>
                <a:gd name="connsiteY2" fmla="*/ 7950 h 9450"/>
              </a:gdLst>
              <a:ahLst/>
              <a:cxnLst>
                <a:cxn ang="0">
                  <a:pos x="connsiteX0" y="connsiteY0"/>
                </a:cxn>
                <a:cxn ang="0">
                  <a:pos x="connsiteX1" y="connsiteY1"/>
                </a:cxn>
                <a:cxn ang="0">
                  <a:pos x="connsiteX2" y="connsiteY2"/>
                </a:cxn>
              </a:cxnLst>
              <a:rect l="l" t="t" r="r" b="b"/>
              <a:pathLst>
                <a:path w="10109" h="9450">
                  <a:moveTo>
                    <a:pt x="-1729" y="7950"/>
                  </a:moveTo>
                  <a:cubicBezTo>
                    <a:pt x="20947" y="8019"/>
                    <a:pt x="-11447" y="-13348"/>
                    <a:pt x="-1729" y="7950"/>
                  </a:cubicBezTo>
                  <a:lnTo>
                    <a:pt x="-1729" y="7950"/>
                  </a:lnTo>
                </a:path>
              </a:pathLst>
            </a:custGeom>
            <a:grpFill/>
            <a:ln w="689" cap="flat">
              <a:noFill/>
              <a:prstDash val="solid"/>
              <a:miter/>
            </a:ln>
          </p:spPr>
          <p:txBody>
            <a:bodyPr rtlCol="0" anchor="ctr"/>
            <a:lstStyle/>
            <a:p>
              <a:endParaRPr lang="en-US" sz="2400" dirty="0"/>
            </a:p>
          </p:txBody>
        </p:sp>
        <p:sp>
          <p:nvSpPr>
            <p:cNvPr id="515" name="Graphic 8">
              <a:extLst>
                <a:ext uri="{FF2B5EF4-FFF2-40B4-BE49-F238E27FC236}">
                  <a16:creationId xmlns:a16="http://schemas.microsoft.com/office/drawing/2014/main" id="{27ED112E-0A6E-4DC0-960F-90856EA57BE9}"/>
                </a:ext>
              </a:extLst>
            </p:cNvPr>
            <p:cNvSpPr/>
            <p:nvPr/>
          </p:nvSpPr>
          <p:spPr>
            <a:xfrm flipV="1">
              <a:off x="2976015" y="3627365"/>
              <a:ext cx="2739" cy="2739"/>
            </a:xfrm>
            <a:custGeom>
              <a:avLst/>
              <a:gdLst>
                <a:gd name="connsiteX0" fmla="*/ -3627 w 2739"/>
                <a:gd name="connsiteY0" fmla="*/ 1247 h 2739"/>
                <a:gd name="connsiteX1" fmla="*/ -3627 w 2739"/>
                <a:gd name="connsiteY1" fmla="*/ 1247 h 2739"/>
                <a:gd name="connsiteX2" fmla="*/ -3627 w 2739"/>
                <a:gd name="connsiteY2" fmla="*/ 1247 h 2739"/>
              </a:gdLst>
              <a:ahLst/>
              <a:cxnLst>
                <a:cxn ang="0">
                  <a:pos x="connsiteX0" y="connsiteY0"/>
                </a:cxn>
                <a:cxn ang="0">
                  <a:pos x="connsiteX1" y="connsiteY1"/>
                </a:cxn>
                <a:cxn ang="0">
                  <a:pos x="connsiteX2" y="connsiteY2"/>
                </a:cxn>
              </a:cxnLst>
              <a:rect l="l" t="t" r="r" b="b"/>
              <a:pathLst>
                <a:path w="2739" h="2739">
                  <a:moveTo>
                    <a:pt x="-3627" y="1247"/>
                  </a:moveTo>
                  <a:cubicBezTo>
                    <a:pt x="26" y="-2407"/>
                    <a:pt x="26" y="-2407"/>
                    <a:pt x="-3627" y="1247"/>
                  </a:cubicBezTo>
                  <a:lnTo>
                    <a:pt x="-3627" y="1247"/>
                  </a:lnTo>
                </a:path>
              </a:pathLst>
            </a:custGeom>
            <a:grpFill/>
            <a:ln w="689" cap="flat">
              <a:noFill/>
              <a:prstDash val="solid"/>
              <a:miter/>
            </a:ln>
          </p:spPr>
          <p:txBody>
            <a:bodyPr rtlCol="0" anchor="ctr"/>
            <a:lstStyle/>
            <a:p>
              <a:endParaRPr lang="en-US" sz="2400" dirty="0"/>
            </a:p>
          </p:txBody>
        </p:sp>
        <p:sp>
          <p:nvSpPr>
            <p:cNvPr id="516" name="Graphic 8">
              <a:extLst>
                <a:ext uri="{FF2B5EF4-FFF2-40B4-BE49-F238E27FC236}">
                  <a16:creationId xmlns:a16="http://schemas.microsoft.com/office/drawing/2014/main" id="{ADA8BB74-6369-4B01-873F-CE2BEADF1365}"/>
                </a:ext>
              </a:extLst>
            </p:cNvPr>
            <p:cNvSpPr/>
            <p:nvPr/>
          </p:nvSpPr>
          <p:spPr>
            <a:xfrm flipV="1">
              <a:off x="3258124" y="3647973"/>
              <a:ext cx="2584" cy="2688"/>
            </a:xfrm>
            <a:custGeom>
              <a:avLst/>
              <a:gdLst>
                <a:gd name="connsiteX0" fmla="*/ -3982 w 2584"/>
                <a:gd name="connsiteY0" fmla="*/ 1229 h 2688"/>
                <a:gd name="connsiteX1" fmla="*/ -3982 w 2584"/>
                <a:gd name="connsiteY1" fmla="*/ 1229 h 2688"/>
                <a:gd name="connsiteX2" fmla="*/ -3982 w 2584"/>
                <a:gd name="connsiteY2" fmla="*/ 1229 h 2688"/>
              </a:gdLst>
              <a:ahLst/>
              <a:cxnLst>
                <a:cxn ang="0">
                  <a:pos x="connsiteX0" y="connsiteY0"/>
                </a:cxn>
                <a:cxn ang="0">
                  <a:pos x="connsiteX1" y="connsiteY1"/>
                </a:cxn>
                <a:cxn ang="0">
                  <a:pos x="connsiteX2" y="connsiteY2"/>
                </a:cxn>
              </a:cxnLst>
              <a:rect l="l" t="t" r="r" b="b"/>
              <a:pathLst>
                <a:path w="2584" h="2688">
                  <a:moveTo>
                    <a:pt x="-3982" y="1229"/>
                  </a:moveTo>
                  <a:cubicBezTo>
                    <a:pt x="-536" y="-2355"/>
                    <a:pt x="-536" y="-2355"/>
                    <a:pt x="-3982" y="1229"/>
                  </a:cubicBezTo>
                  <a:lnTo>
                    <a:pt x="-3982" y="1229"/>
                  </a:lnTo>
                </a:path>
              </a:pathLst>
            </a:custGeom>
            <a:grpFill/>
            <a:ln w="689" cap="flat">
              <a:noFill/>
              <a:prstDash val="solid"/>
              <a:miter/>
            </a:ln>
          </p:spPr>
          <p:txBody>
            <a:bodyPr rtlCol="0" anchor="ctr"/>
            <a:lstStyle/>
            <a:p>
              <a:endParaRPr lang="en-US" sz="2400" dirty="0"/>
            </a:p>
          </p:txBody>
        </p:sp>
        <p:sp>
          <p:nvSpPr>
            <p:cNvPr id="517" name="Graphic 8">
              <a:extLst>
                <a:ext uri="{FF2B5EF4-FFF2-40B4-BE49-F238E27FC236}">
                  <a16:creationId xmlns:a16="http://schemas.microsoft.com/office/drawing/2014/main" id="{4036D915-FC0E-4392-86F0-B3D16C4D6382}"/>
                </a:ext>
              </a:extLst>
            </p:cNvPr>
            <p:cNvSpPr/>
            <p:nvPr/>
          </p:nvSpPr>
          <p:spPr>
            <a:xfrm flipV="1">
              <a:off x="3180879" y="3652928"/>
              <a:ext cx="12052" cy="12243"/>
            </a:xfrm>
            <a:custGeom>
              <a:avLst/>
              <a:gdLst>
                <a:gd name="connsiteX0" fmla="*/ -2532 w 12052"/>
                <a:gd name="connsiteY0" fmla="*/ 9414 h 12243"/>
                <a:gd name="connsiteX1" fmla="*/ 6842 w 12052"/>
                <a:gd name="connsiteY1" fmla="*/ -97 h 12243"/>
                <a:gd name="connsiteX2" fmla="*/ -2532 w 12052"/>
                <a:gd name="connsiteY2" fmla="*/ 9414 h 12243"/>
                <a:gd name="connsiteX3" fmla="*/ -2532 w 12052"/>
                <a:gd name="connsiteY3" fmla="*/ 9414 h 12243"/>
              </a:gdLst>
              <a:ahLst/>
              <a:cxnLst>
                <a:cxn ang="0">
                  <a:pos x="connsiteX0" y="connsiteY0"/>
                </a:cxn>
                <a:cxn ang="0">
                  <a:pos x="connsiteX1" y="connsiteY1"/>
                </a:cxn>
                <a:cxn ang="0">
                  <a:pos x="connsiteX2" y="connsiteY2"/>
                </a:cxn>
                <a:cxn ang="0">
                  <a:pos x="connsiteX3" y="connsiteY3"/>
                </a:cxn>
              </a:cxnLst>
              <a:rect l="l" t="t" r="r" b="b"/>
              <a:pathLst>
                <a:path w="12052" h="12243">
                  <a:moveTo>
                    <a:pt x="-2532" y="9414"/>
                  </a:moveTo>
                  <a:cubicBezTo>
                    <a:pt x="7118" y="12929"/>
                    <a:pt x="10220" y="9759"/>
                    <a:pt x="6842" y="-97"/>
                  </a:cubicBezTo>
                  <a:cubicBezTo>
                    <a:pt x="-2876" y="-3543"/>
                    <a:pt x="-5978" y="-373"/>
                    <a:pt x="-2532" y="9414"/>
                  </a:cubicBezTo>
                  <a:lnTo>
                    <a:pt x="-2532" y="9414"/>
                  </a:lnTo>
                </a:path>
              </a:pathLst>
            </a:custGeom>
            <a:grpFill/>
            <a:ln w="689" cap="flat">
              <a:noFill/>
              <a:prstDash val="solid"/>
              <a:miter/>
            </a:ln>
          </p:spPr>
          <p:txBody>
            <a:bodyPr rtlCol="0" anchor="ctr"/>
            <a:lstStyle/>
            <a:p>
              <a:endParaRPr lang="en-US" sz="2400" dirty="0"/>
            </a:p>
          </p:txBody>
        </p:sp>
        <p:sp>
          <p:nvSpPr>
            <p:cNvPr id="518" name="Graphic 8">
              <a:extLst>
                <a:ext uri="{FF2B5EF4-FFF2-40B4-BE49-F238E27FC236}">
                  <a16:creationId xmlns:a16="http://schemas.microsoft.com/office/drawing/2014/main" id="{EB158FB7-C4B6-4518-B97A-0560F710C62C}"/>
                </a:ext>
              </a:extLst>
            </p:cNvPr>
            <p:cNvSpPr/>
            <p:nvPr/>
          </p:nvSpPr>
          <p:spPr>
            <a:xfrm flipV="1">
              <a:off x="2716591" y="3661896"/>
              <a:ext cx="10418" cy="9328"/>
            </a:xfrm>
            <a:custGeom>
              <a:avLst/>
              <a:gdLst>
                <a:gd name="connsiteX0" fmla="*/ -1315 w 10418"/>
                <a:gd name="connsiteY0" fmla="*/ 7897 h 9328"/>
                <a:gd name="connsiteX1" fmla="*/ -1315 w 10418"/>
                <a:gd name="connsiteY1" fmla="*/ 7897 h 9328"/>
                <a:gd name="connsiteX2" fmla="*/ -1315 w 10418"/>
                <a:gd name="connsiteY2" fmla="*/ 7897 h 9328"/>
              </a:gdLst>
              <a:ahLst/>
              <a:cxnLst>
                <a:cxn ang="0">
                  <a:pos x="connsiteX0" y="connsiteY0"/>
                </a:cxn>
                <a:cxn ang="0">
                  <a:pos x="connsiteX1" y="connsiteY1"/>
                </a:cxn>
                <a:cxn ang="0">
                  <a:pos x="connsiteX2" y="connsiteY2"/>
                </a:cxn>
              </a:cxnLst>
              <a:rect l="l" t="t" r="r" b="b"/>
              <a:pathLst>
                <a:path w="10418" h="9328">
                  <a:moveTo>
                    <a:pt x="-1315" y="7897"/>
                  </a:moveTo>
                  <a:cubicBezTo>
                    <a:pt x="21982" y="7966"/>
                    <a:pt x="-11516" y="-13125"/>
                    <a:pt x="-1315" y="7897"/>
                  </a:cubicBezTo>
                  <a:lnTo>
                    <a:pt x="-1315" y="7897"/>
                  </a:lnTo>
                </a:path>
              </a:pathLst>
            </a:custGeom>
            <a:grpFill/>
            <a:ln w="689" cap="flat">
              <a:noFill/>
              <a:prstDash val="solid"/>
              <a:miter/>
            </a:ln>
          </p:spPr>
          <p:txBody>
            <a:bodyPr rtlCol="0" anchor="ctr"/>
            <a:lstStyle/>
            <a:p>
              <a:endParaRPr lang="en-US" sz="2400" dirty="0"/>
            </a:p>
          </p:txBody>
        </p:sp>
        <p:sp>
          <p:nvSpPr>
            <p:cNvPr id="519" name="Graphic 8">
              <a:extLst>
                <a:ext uri="{FF2B5EF4-FFF2-40B4-BE49-F238E27FC236}">
                  <a16:creationId xmlns:a16="http://schemas.microsoft.com/office/drawing/2014/main" id="{FFA06BDA-8138-43C8-A082-E8EAD2B39950}"/>
                </a:ext>
              </a:extLst>
            </p:cNvPr>
            <p:cNvSpPr/>
            <p:nvPr/>
          </p:nvSpPr>
          <p:spPr>
            <a:xfrm flipV="1">
              <a:off x="2113217" y="3683676"/>
              <a:ext cx="2843" cy="2688"/>
            </a:xfrm>
            <a:custGeom>
              <a:avLst/>
              <a:gdLst>
                <a:gd name="connsiteX0" fmla="*/ -2542 w 2843"/>
                <a:gd name="connsiteY0" fmla="*/ 1287 h 2688"/>
                <a:gd name="connsiteX1" fmla="*/ -2542 w 2843"/>
                <a:gd name="connsiteY1" fmla="*/ 1287 h 2688"/>
                <a:gd name="connsiteX2" fmla="*/ -2542 w 2843"/>
                <a:gd name="connsiteY2" fmla="*/ 1287 h 2688"/>
              </a:gdLst>
              <a:ahLst/>
              <a:cxnLst>
                <a:cxn ang="0">
                  <a:pos x="connsiteX0" y="connsiteY0"/>
                </a:cxn>
                <a:cxn ang="0">
                  <a:pos x="connsiteX1" y="connsiteY1"/>
                </a:cxn>
                <a:cxn ang="0">
                  <a:pos x="connsiteX2" y="connsiteY2"/>
                </a:cxn>
              </a:cxnLst>
              <a:rect l="l" t="t" r="r" b="b"/>
              <a:pathLst>
                <a:path w="2843" h="2688">
                  <a:moveTo>
                    <a:pt x="-2542" y="1287"/>
                  </a:moveTo>
                  <a:cubicBezTo>
                    <a:pt x="1249" y="-2297"/>
                    <a:pt x="1249" y="-2297"/>
                    <a:pt x="-2542" y="1287"/>
                  </a:cubicBezTo>
                  <a:lnTo>
                    <a:pt x="-2542" y="1287"/>
                  </a:lnTo>
                </a:path>
              </a:pathLst>
            </a:custGeom>
            <a:grpFill/>
            <a:ln w="689" cap="flat">
              <a:noFill/>
              <a:prstDash val="solid"/>
              <a:miter/>
            </a:ln>
          </p:spPr>
          <p:txBody>
            <a:bodyPr rtlCol="0" anchor="ctr"/>
            <a:lstStyle/>
            <a:p>
              <a:endParaRPr lang="en-US" sz="2400" dirty="0"/>
            </a:p>
          </p:txBody>
        </p:sp>
        <p:sp>
          <p:nvSpPr>
            <p:cNvPr id="520" name="Graphic 8">
              <a:extLst>
                <a:ext uri="{FF2B5EF4-FFF2-40B4-BE49-F238E27FC236}">
                  <a16:creationId xmlns:a16="http://schemas.microsoft.com/office/drawing/2014/main" id="{E1638797-34BF-46F3-B934-A34DB73A22D4}"/>
                </a:ext>
              </a:extLst>
            </p:cNvPr>
            <p:cNvSpPr/>
            <p:nvPr/>
          </p:nvSpPr>
          <p:spPr>
            <a:xfrm flipV="1">
              <a:off x="2693838" y="3692802"/>
              <a:ext cx="9621" cy="10225"/>
            </a:xfrm>
            <a:custGeom>
              <a:avLst/>
              <a:gdLst>
                <a:gd name="connsiteX0" fmla="*/ -3277 w 9621"/>
                <a:gd name="connsiteY0" fmla="*/ 6737 h 10225"/>
                <a:gd name="connsiteX1" fmla="*/ -3277 w 9621"/>
                <a:gd name="connsiteY1" fmla="*/ 6737 h 10225"/>
                <a:gd name="connsiteX2" fmla="*/ -3277 w 9621"/>
                <a:gd name="connsiteY2" fmla="*/ 6737 h 10225"/>
              </a:gdLst>
              <a:ahLst/>
              <a:cxnLst>
                <a:cxn ang="0">
                  <a:pos x="connsiteX0" y="connsiteY0"/>
                </a:cxn>
                <a:cxn ang="0">
                  <a:pos x="connsiteX1" y="connsiteY1"/>
                </a:cxn>
                <a:cxn ang="0">
                  <a:pos x="connsiteX2" y="connsiteY2"/>
                </a:cxn>
              </a:cxnLst>
              <a:rect l="l" t="t" r="r" b="b"/>
              <a:pathLst>
                <a:path w="9621" h="10225">
                  <a:moveTo>
                    <a:pt x="-3277" y="6737"/>
                  </a:moveTo>
                  <a:cubicBezTo>
                    <a:pt x="17952" y="17214"/>
                    <a:pt x="-2450" y="-15939"/>
                    <a:pt x="-3277" y="6737"/>
                  </a:cubicBezTo>
                  <a:lnTo>
                    <a:pt x="-3277" y="6737"/>
                  </a:lnTo>
                </a:path>
              </a:pathLst>
            </a:custGeom>
            <a:grpFill/>
            <a:ln w="689" cap="flat">
              <a:noFill/>
              <a:prstDash val="solid"/>
              <a:miter/>
            </a:ln>
          </p:spPr>
          <p:txBody>
            <a:bodyPr rtlCol="0" anchor="ctr"/>
            <a:lstStyle/>
            <a:p>
              <a:endParaRPr lang="en-US" sz="2400" dirty="0"/>
            </a:p>
          </p:txBody>
        </p:sp>
        <p:sp>
          <p:nvSpPr>
            <p:cNvPr id="521" name="Graphic 8">
              <a:extLst>
                <a:ext uri="{FF2B5EF4-FFF2-40B4-BE49-F238E27FC236}">
                  <a16:creationId xmlns:a16="http://schemas.microsoft.com/office/drawing/2014/main" id="{F4EE5051-1AB5-473B-8E84-22B17BE55BD5}"/>
                </a:ext>
              </a:extLst>
            </p:cNvPr>
            <p:cNvSpPr/>
            <p:nvPr/>
          </p:nvSpPr>
          <p:spPr>
            <a:xfrm flipV="1">
              <a:off x="1302594" y="3701183"/>
              <a:ext cx="132335" cy="93495"/>
            </a:xfrm>
            <a:custGeom>
              <a:avLst/>
              <a:gdLst>
                <a:gd name="connsiteX0" fmla="*/ 108468 w 132335"/>
                <a:gd name="connsiteY0" fmla="*/ 92198 h 93495"/>
                <a:gd name="connsiteX1" fmla="*/ 115085 w 132335"/>
                <a:gd name="connsiteY1" fmla="*/ 90337 h 93495"/>
                <a:gd name="connsiteX2" fmla="*/ 114120 w 132335"/>
                <a:gd name="connsiteY2" fmla="*/ 57116 h 93495"/>
                <a:gd name="connsiteX3" fmla="*/ 115292 w 132335"/>
                <a:gd name="connsiteY3" fmla="*/ 44434 h 93495"/>
                <a:gd name="connsiteX4" fmla="*/ 92478 w 132335"/>
                <a:gd name="connsiteY4" fmla="*/ 48983 h 93495"/>
                <a:gd name="connsiteX5" fmla="*/ 94132 w 132335"/>
                <a:gd name="connsiteY5" fmla="*/ 35473 h 93495"/>
                <a:gd name="connsiteX6" fmla="*/ 113982 w 132335"/>
                <a:gd name="connsiteY6" fmla="*/ 25686 h 93495"/>
                <a:gd name="connsiteX7" fmla="*/ 92478 w 132335"/>
                <a:gd name="connsiteY7" fmla="*/ 19345 h 93495"/>
                <a:gd name="connsiteX8" fmla="*/ 113844 w 132335"/>
                <a:gd name="connsiteY8" fmla="*/ 7973 h 93495"/>
                <a:gd name="connsiteX9" fmla="*/ 121426 w 132335"/>
                <a:gd name="connsiteY9" fmla="*/ 30993 h 93495"/>
                <a:gd name="connsiteX10" fmla="*/ 127353 w 132335"/>
                <a:gd name="connsiteY10" fmla="*/ 19000 h 93495"/>
                <a:gd name="connsiteX11" fmla="*/ 130731 w 132335"/>
                <a:gd name="connsiteY11" fmla="*/ 460 h 93495"/>
                <a:gd name="connsiteX12" fmla="*/ 85585 w 132335"/>
                <a:gd name="connsiteY12" fmla="*/ 6801 h 93495"/>
                <a:gd name="connsiteX13" fmla="*/ 68423 w 132335"/>
                <a:gd name="connsiteY13" fmla="*/ 42021 h 93495"/>
                <a:gd name="connsiteX14" fmla="*/ 28378 w 132335"/>
                <a:gd name="connsiteY14" fmla="*/ 38230 h 93495"/>
                <a:gd name="connsiteX15" fmla="*/ 10457 w 132335"/>
                <a:gd name="connsiteY15" fmla="*/ 11419 h 93495"/>
                <a:gd name="connsiteX16" fmla="*/ -1604 w 132335"/>
                <a:gd name="connsiteY16" fmla="*/ 38575 h 93495"/>
                <a:gd name="connsiteX17" fmla="*/ 19418 w 132335"/>
                <a:gd name="connsiteY17" fmla="*/ 47466 h 93495"/>
                <a:gd name="connsiteX18" fmla="*/ 16523 w 132335"/>
                <a:gd name="connsiteY18" fmla="*/ 73313 h 93495"/>
                <a:gd name="connsiteX19" fmla="*/ 29343 w 132335"/>
                <a:gd name="connsiteY19" fmla="*/ 49741 h 93495"/>
                <a:gd name="connsiteX20" fmla="*/ 56017 w 132335"/>
                <a:gd name="connsiteY20" fmla="*/ 64973 h 93495"/>
                <a:gd name="connsiteX21" fmla="*/ 52088 w 132335"/>
                <a:gd name="connsiteY21" fmla="*/ 75174 h 93495"/>
                <a:gd name="connsiteX22" fmla="*/ 68078 w 132335"/>
                <a:gd name="connsiteY22" fmla="*/ 56978 h 93495"/>
                <a:gd name="connsiteX23" fmla="*/ 84620 w 132335"/>
                <a:gd name="connsiteY23" fmla="*/ 68971 h 93495"/>
                <a:gd name="connsiteX24" fmla="*/ 89031 w 132335"/>
                <a:gd name="connsiteY24" fmla="*/ 72072 h 93495"/>
                <a:gd name="connsiteX25" fmla="*/ 105435 w 132335"/>
                <a:gd name="connsiteY25" fmla="*/ 63043 h 93495"/>
                <a:gd name="connsiteX26" fmla="*/ 108468 w 132335"/>
                <a:gd name="connsiteY26" fmla="*/ 92198 h 93495"/>
                <a:gd name="connsiteX27" fmla="*/ 108468 w 132335"/>
                <a:gd name="connsiteY27" fmla="*/ 92198 h 9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2335" h="93495">
                  <a:moveTo>
                    <a:pt x="108468" y="92198"/>
                  </a:moveTo>
                  <a:cubicBezTo>
                    <a:pt x="110122" y="91716"/>
                    <a:pt x="113431" y="90820"/>
                    <a:pt x="115085" y="90337"/>
                  </a:cubicBezTo>
                  <a:cubicBezTo>
                    <a:pt x="113431" y="79378"/>
                    <a:pt x="113086" y="68282"/>
                    <a:pt x="114120" y="57116"/>
                  </a:cubicBezTo>
                  <a:lnTo>
                    <a:pt x="115292" y="44434"/>
                  </a:lnTo>
                  <a:cubicBezTo>
                    <a:pt x="109571" y="45536"/>
                    <a:pt x="98198" y="47811"/>
                    <a:pt x="92478" y="48983"/>
                  </a:cubicBezTo>
                  <a:cubicBezTo>
                    <a:pt x="92891" y="45605"/>
                    <a:pt x="93718" y="38851"/>
                    <a:pt x="94132" y="35473"/>
                  </a:cubicBezTo>
                  <a:cubicBezTo>
                    <a:pt x="100749" y="32303"/>
                    <a:pt x="107365" y="29063"/>
                    <a:pt x="113982" y="25686"/>
                  </a:cubicBezTo>
                  <a:cubicBezTo>
                    <a:pt x="108606" y="24101"/>
                    <a:pt x="97854" y="20930"/>
                    <a:pt x="92478" y="19345"/>
                  </a:cubicBezTo>
                  <a:cubicBezTo>
                    <a:pt x="99577" y="15554"/>
                    <a:pt x="106676" y="11763"/>
                    <a:pt x="113844" y="7973"/>
                  </a:cubicBezTo>
                  <a:cubicBezTo>
                    <a:pt x="115705" y="13693"/>
                    <a:pt x="119496" y="25273"/>
                    <a:pt x="121426" y="30993"/>
                  </a:cubicBezTo>
                  <a:lnTo>
                    <a:pt x="127353" y="19000"/>
                  </a:lnTo>
                  <a:cubicBezTo>
                    <a:pt x="128181" y="14382"/>
                    <a:pt x="129835" y="5078"/>
                    <a:pt x="130731" y="460"/>
                  </a:cubicBezTo>
                  <a:cubicBezTo>
                    <a:pt x="115016" y="-3469"/>
                    <a:pt x="99715" y="-574"/>
                    <a:pt x="85585" y="6801"/>
                  </a:cubicBezTo>
                  <a:cubicBezTo>
                    <a:pt x="89514" y="22309"/>
                    <a:pt x="78141" y="32303"/>
                    <a:pt x="68423" y="42021"/>
                  </a:cubicBezTo>
                  <a:cubicBezTo>
                    <a:pt x="55052" y="40505"/>
                    <a:pt x="41749" y="39264"/>
                    <a:pt x="28378" y="38230"/>
                  </a:cubicBezTo>
                  <a:cubicBezTo>
                    <a:pt x="22037" y="29615"/>
                    <a:pt x="16040" y="20655"/>
                    <a:pt x="10457" y="11419"/>
                  </a:cubicBezTo>
                  <a:cubicBezTo>
                    <a:pt x="6529" y="20586"/>
                    <a:pt x="2462" y="29615"/>
                    <a:pt x="-1604" y="38575"/>
                  </a:cubicBezTo>
                  <a:cubicBezTo>
                    <a:pt x="5426" y="41539"/>
                    <a:pt x="12387" y="44640"/>
                    <a:pt x="19418" y="47466"/>
                  </a:cubicBezTo>
                  <a:cubicBezTo>
                    <a:pt x="18659" y="53945"/>
                    <a:pt x="17281" y="66903"/>
                    <a:pt x="16523" y="73313"/>
                  </a:cubicBezTo>
                  <a:cubicBezTo>
                    <a:pt x="20865" y="65525"/>
                    <a:pt x="25069" y="57667"/>
                    <a:pt x="29343" y="49741"/>
                  </a:cubicBezTo>
                  <a:cubicBezTo>
                    <a:pt x="38234" y="54841"/>
                    <a:pt x="47125" y="59942"/>
                    <a:pt x="56017" y="64973"/>
                  </a:cubicBezTo>
                  <a:cubicBezTo>
                    <a:pt x="55052" y="67523"/>
                    <a:pt x="53053" y="72624"/>
                    <a:pt x="52088" y="75174"/>
                  </a:cubicBezTo>
                  <a:cubicBezTo>
                    <a:pt x="57395" y="69109"/>
                    <a:pt x="62702" y="63043"/>
                    <a:pt x="68078" y="56978"/>
                  </a:cubicBezTo>
                  <a:cubicBezTo>
                    <a:pt x="72214" y="60011"/>
                    <a:pt x="80485" y="66007"/>
                    <a:pt x="84620" y="68971"/>
                  </a:cubicBezTo>
                  <a:lnTo>
                    <a:pt x="89031" y="72072"/>
                  </a:lnTo>
                  <a:cubicBezTo>
                    <a:pt x="93098" y="69867"/>
                    <a:pt x="101369" y="65318"/>
                    <a:pt x="105435" y="63043"/>
                  </a:cubicBezTo>
                  <a:cubicBezTo>
                    <a:pt x="106538" y="72762"/>
                    <a:pt x="107503" y="82480"/>
                    <a:pt x="108468" y="92198"/>
                  </a:cubicBezTo>
                  <a:lnTo>
                    <a:pt x="108468" y="92198"/>
                  </a:lnTo>
                </a:path>
              </a:pathLst>
            </a:custGeom>
            <a:grpFill/>
            <a:ln w="689" cap="flat">
              <a:noFill/>
              <a:prstDash val="solid"/>
              <a:miter/>
            </a:ln>
          </p:spPr>
          <p:txBody>
            <a:bodyPr rtlCol="0" anchor="ctr"/>
            <a:lstStyle/>
            <a:p>
              <a:endParaRPr lang="en-US" sz="2400" dirty="0"/>
            </a:p>
          </p:txBody>
        </p:sp>
        <p:sp>
          <p:nvSpPr>
            <p:cNvPr id="522" name="Graphic 8">
              <a:extLst>
                <a:ext uri="{FF2B5EF4-FFF2-40B4-BE49-F238E27FC236}">
                  <a16:creationId xmlns:a16="http://schemas.microsoft.com/office/drawing/2014/main" id="{53B666B1-B918-4032-A542-6328BE53B430}"/>
                </a:ext>
              </a:extLst>
            </p:cNvPr>
            <p:cNvSpPr/>
            <p:nvPr/>
          </p:nvSpPr>
          <p:spPr>
            <a:xfrm flipV="1">
              <a:off x="1117142" y="3708903"/>
              <a:ext cx="10207" cy="9628"/>
            </a:xfrm>
            <a:custGeom>
              <a:avLst/>
              <a:gdLst>
                <a:gd name="connsiteX0" fmla="*/ 887 w 10207"/>
                <a:gd name="connsiteY0" fmla="*/ 8275 h 9628"/>
                <a:gd name="connsiteX1" fmla="*/ 887 w 10207"/>
                <a:gd name="connsiteY1" fmla="*/ 8275 h 9628"/>
                <a:gd name="connsiteX2" fmla="*/ 887 w 10207"/>
                <a:gd name="connsiteY2" fmla="*/ 8275 h 9628"/>
              </a:gdLst>
              <a:ahLst/>
              <a:cxnLst>
                <a:cxn ang="0">
                  <a:pos x="connsiteX0" y="connsiteY0"/>
                </a:cxn>
                <a:cxn ang="0">
                  <a:pos x="connsiteX1" y="connsiteY1"/>
                </a:cxn>
                <a:cxn ang="0">
                  <a:pos x="connsiteX2" y="connsiteY2"/>
                </a:cxn>
              </a:cxnLst>
              <a:rect l="l" t="t" r="r" b="b"/>
              <a:pathLst>
                <a:path w="10207" h="9628">
                  <a:moveTo>
                    <a:pt x="887" y="8275"/>
                  </a:moveTo>
                  <a:cubicBezTo>
                    <a:pt x="23426" y="6758"/>
                    <a:pt x="-9796" y="-12610"/>
                    <a:pt x="887" y="8275"/>
                  </a:cubicBezTo>
                  <a:lnTo>
                    <a:pt x="887" y="8275"/>
                  </a:lnTo>
                </a:path>
              </a:pathLst>
            </a:custGeom>
            <a:grpFill/>
            <a:ln w="689" cap="flat">
              <a:noFill/>
              <a:prstDash val="solid"/>
              <a:miter/>
            </a:ln>
          </p:spPr>
          <p:txBody>
            <a:bodyPr rtlCol="0" anchor="ctr"/>
            <a:lstStyle/>
            <a:p>
              <a:endParaRPr lang="en-US" sz="2400" dirty="0"/>
            </a:p>
          </p:txBody>
        </p:sp>
        <p:sp>
          <p:nvSpPr>
            <p:cNvPr id="523" name="Graphic 8">
              <a:extLst>
                <a:ext uri="{FF2B5EF4-FFF2-40B4-BE49-F238E27FC236}">
                  <a16:creationId xmlns:a16="http://schemas.microsoft.com/office/drawing/2014/main" id="{7284C7F8-BAD6-434F-82BA-A00E1F9C6F7E}"/>
                </a:ext>
              </a:extLst>
            </p:cNvPr>
            <p:cNvSpPr/>
            <p:nvPr/>
          </p:nvSpPr>
          <p:spPr>
            <a:xfrm flipV="1">
              <a:off x="2284417" y="3714945"/>
              <a:ext cx="11969" cy="12343"/>
            </a:xfrm>
            <a:custGeom>
              <a:avLst/>
              <a:gdLst>
                <a:gd name="connsiteX0" fmla="*/ -1307 w 11969"/>
                <a:gd name="connsiteY0" fmla="*/ 9670 h 12343"/>
                <a:gd name="connsiteX1" fmla="*/ 7791 w 11969"/>
                <a:gd name="connsiteY1" fmla="*/ -48 h 12343"/>
                <a:gd name="connsiteX2" fmla="*/ -1307 w 11969"/>
                <a:gd name="connsiteY2" fmla="*/ 9670 h 12343"/>
                <a:gd name="connsiteX3" fmla="*/ -1307 w 11969"/>
                <a:gd name="connsiteY3" fmla="*/ 9670 h 12343"/>
              </a:gdLst>
              <a:ahLst/>
              <a:cxnLst>
                <a:cxn ang="0">
                  <a:pos x="connsiteX0" y="connsiteY0"/>
                </a:cxn>
                <a:cxn ang="0">
                  <a:pos x="connsiteX1" y="connsiteY1"/>
                </a:cxn>
                <a:cxn ang="0">
                  <a:pos x="connsiteX2" y="connsiteY2"/>
                </a:cxn>
                <a:cxn ang="0">
                  <a:pos x="connsiteX3" y="connsiteY3"/>
                </a:cxn>
              </a:cxnLst>
              <a:rect l="l" t="t" r="r" b="b"/>
              <a:pathLst>
                <a:path w="11969" h="12343">
                  <a:moveTo>
                    <a:pt x="-1307" y="9670"/>
                  </a:moveTo>
                  <a:cubicBezTo>
                    <a:pt x="8273" y="13116"/>
                    <a:pt x="11306" y="9877"/>
                    <a:pt x="7791" y="-48"/>
                  </a:cubicBezTo>
                  <a:cubicBezTo>
                    <a:pt x="-1859" y="-3426"/>
                    <a:pt x="-4891" y="-186"/>
                    <a:pt x="-1307" y="9670"/>
                  </a:cubicBezTo>
                  <a:lnTo>
                    <a:pt x="-1307" y="9670"/>
                  </a:lnTo>
                </a:path>
              </a:pathLst>
            </a:custGeom>
            <a:grpFill/>
            <a:ln w="689" cap="flat">
              <a:noFill/>
              <a:prstDash val="solid"/>
              <a:miter/>
            </a:ln>
          </p:spPr>
          <p:txBody>
            <a:bodyPr rtlCol="0" anchor="ctr"/>
            <a:lstStyle/>
            <a:p>
              <a:endParaRPr lang="en-US" sz="2400" dirty="0"/>
            </a:p>
          </p:txBody>
        </p:sp>
        <p:sp>
          <p:nvSpPr>
            <p:cNvPr id="524" name="Graphic 8">
              <a:extLst>
                <a:ext uri="{FF2B5EF4-FFF2-40B4-BE49-F238E27FC236}">
                  <a16:creationId xmlns:a16="http://schemas.microsoft.com/office/drawing/2014/main" id="{01309C62-94AB-4AA4-870C-37D5699AA371}"/>
                </a:ext>
              </a:extLst>
            </p:cNvPr>
            <p:cNvSpPr/>
            <p:nvPr/>
          </p:nvSpPr>
          <p:spPr>
            <a:xfrm flipV="1">
              <a:off x="601836" y="3726409"/>
              <a:ext cx="80214" cy="84030"/>
            </a:xfrm>
            <a:custGeom>
              <a:avLst/>
              <a:gdLst>
                <a:gd name="connsiteX0" fmla="*/ -691 w 80214"/>
                <a:gd name="connsiteY0" fmla="*/ 71119 h 84030"/>
                <a:gd name="connsiteX1" fmla="*/ 17092 w 80214"/>
                <a:gd name="connsiteY1" fmla="*/ 82767 h 84030"/>
                <a:gd name="connsiteX2" fmla="*/ 49212 w 80214"/>
                <a:gd name="connsiteY2" fmla="*/ 64916 h 84030"/>
                <a:gd name="connsiteX3" fmla="*/ 45077 w 80214"/>
                <a:gd name="connsiteY3" fmla="*/ 48994 h 84030"/>
                <a:gd name="connsiteX4" fmla="*/ 69682 w 80214"/>
                <a:gd name="connsiteY4" fmla="*/ 33486 h 84030"/>
                <a:gd name="connsiteX5" fmla="*/ 73336 w 80214"/>
                <a:gd name="connsiteY5" fmla="*/ 10603 h 84030"/>
                <a:gd name="connsiteX6" fmla="*/ 55278 w 80214"/>
                <a:gd name="connsiteY6" fmla="*/ -1114 h 84030"/>
                <a:gd name="connsiteX7" fmla="*/ 55141 w 80214"/>
                <a:gd name="connsiteY7" fmla="*/ 16186 h 84030"/>
                <a:gd name="connsiteX8" fmla="*/ 40874 w 80214"/>
                <a:gd name="connsiteY8" fmla="*/ 26801 h 84030"/>
                <a:gd name="connsiteX9" fmla="*/ 36046 w 80214"/>
                <a:gd name="connsiteY9" fmla="*/ 30522 h 84030"/>
                <a:gd name="connsiteX10" fmla="*/ 33225 w 80214"/>
                <a:gd name="connsiteY10" fmla="*/ 18667 h 84030"/>
                <a:gd name="connsiteX11" fmla="*/ -691 w 80214"/>
                <a:gd name="connsiteY11" fmla="*/ 71119 h 84030"/>
                <a:gd name="connsiteX12" fmla="*/ -691 w 80214"/>
                <a:gd name="connsiteY12" fmla="*/ 71119 h 8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214" h="84030">
                  <a:moveTo>
                    <a:pt x="-691" y="71119"/>
                  </a:moveTo>
                  <a:cubicBezTo>
                    <a:pt x="5235" y="75048"/>
                    <a:pt x="11167" y="78908"/>
                    <a:pt x="17092" y="82767"/>
                  </a:cubicBezTo>
                  <a:cubicBezTo>
                    <a:pt x="25912" y="73807"/>
                    <a:pt x="37632" y="69051"/>
                    <a:pt x="49212" y="64916"/>
                  </a:cubicBezTo>
                  <a:cubicBezTo>
                    <a:pt x="47834" y="59678"/>
                    <a:pt x="46458" y="54370"/>
                    <a:pt x="45077" y="48994"/>
                  </a:cubicBezTo>
                  <a:cubicBezTo>
                    <a:pt x="53625" y="44445"/>
                    <a:pt x="61893" y="39414"/>
                    <a:pt x="69682" y="33486"/>
                  </a:cubicBezTo>
                  <a:cubicBezTo>
                    <a:pt x="59277" y="27421"/>
                    <a:pt x="60795" y="12326"/>
                    <a:pt x="73336" y="10603"/>
                  </a:cubicBezTo>
                  <a:cubicBezTo>
                    <a:pt x="91601" y="-3044"/>
                    <a:pt x="64513" y="-1252"/>
                    <a:pt x="55278" y="-1114"/>
                  </a:cubicBezTo>
                  <a:cubicBezTo>
                    <a:pt x="55211" y="3228"/>
                    <a:pt x="55141" y="11844"/>
                    <a:pt x="55141" y="16186"/>
                  </a:cubicBezTo>
                  <a:cubicBezTo>
                    <a:pt x="51554" y="18805"/>
                    <a:pt x="44458" y="24113"/>
                    <a:pt x="40874" y="26801"/>
                  </a:cubicBezTo>
                  <a:cubicBezTo>
                    <a:pt x="39633" y="27697"/>
                    <a:pt x="37218" y="29558"/>
                    <a:pt x="36046" y="30522"/>
                  </a:cubicBezTo>
                  <a:cubicBezTo>
                    <a:pt x="35357" y="27559"/>
                    <a:pt x="33912" y="21631"/>
                    <a:pt x="33225" y="18667"/>
                  </a:cubicBezTo>
                  <a:cubicBezTo>
                    <a:pt x="16610" y="33348"/>
                    <a:pt x="21572" y="63813"/>
                    <a:pt x="-691" y="71119"/>
                  </a:cubicBezTo>
                  <a:lnTo>
                    <a:pt x="-691" y="71119"/>
                  </a:lnTo>
                </a:path>
              </a:pathLst>
            </a:custGeom>
            <a:grpFill/>
            <a:ln w="689" cap="flat">
              <a:noFill/>
              <a:prstDash val="solid"/>
              <a:miter/>
            </a:ln>
          </p:spPr>
          <p:txBody>
            <a:bodyPr rtlCol="0" anchor="ctr"/>
            <a:lstStyle/>
            <a:p>
              <a:endParaRPr lang="en-US" sz="2400" dirty="0"/>
            </a:p>
          </p:txBody>
        </p:sp>
        <p:sp>
          <p:nvSpPr>
            <p:cNvPr id="525" name="Graphic 8">
              <a:extLst>
                <a:ext uri="{FF2B5EF4-FFF2-40B4-BE49-F238E27FC236}">
                  <a16:creationId xmlns:a16="http://schemas.microsoft.com/office/drawing/2014/main" id="{9803112A-8AF5-4F68-A5F4-AF536A6F4648}"/>
                </a:ext>
              </a:extLst>
            </p:cNvPr>
            <p:cNvSpPr/>
            <p:nvPr/>
          </p:nvSpPr>
          <p:spPr>
            <a:xfrm flipV="1">
              <a:off x="1000993" y="3736472"/>
              <a:ext cx="10129" cy="9707"/>
            </a:xfrm>
            <a:custGeom>
              <a:avLst/>
              <a:gdLst>
                <a:gd name="connsiteX0" fmla="*/ 1045 w 10129"/>
                <a:gd name="connsiteY0" fmla="*/ 8399 h 9707"/>
                <a:gd name="connsiteX1" fmla="*/ 1045 w 10129"/>
                <a:gd name="connsiteY1" fmla="*/ 8399 h 9707"/>
                <a:gd name="connsiteX2" fmla="*/ 1045 w 10129"/>
                <a:gd name="connsiteY2" fmla="*/ 8399 h 9707"/>
              </a:gdLst>
              <a:ahLst/>
              <a:cxnLst>
                <a:cxn ang="0">
                  <a:pos x="connsiteX0" y="connsiteY0"/>
                </a:cxn>
                <a:cxn ang="0">
                  <a:pos x="connsiteX1" y="connsiteY1"/>
                </a:cxn>
                <a:cxn ang="0">
                  <a:pos x="connsiteX2" y="connsiteY2"/>
                </a:cxn>
              </a:cxnLst>
              <a:rect l="l" t="t" r="r" b="b"/>
              <a:pathLst>
                <a:path w="10129" h="9707">
                  <a:moveTo>
                    <a:pt x="1045" y="8399"/>
                  </a:moveTo>
                  <a:cubicBezTo>
                    <a:pt x="23376" y="6676"/>
                    <a:pt x="-9639" y="-12554"/>
                    <a:pt x="1045" y="8399"/>
                  </a:cubicBezTo>
                  <a:lnTo>
                    <a:pt x="1045" y="8399"/>
                  </a:lnTo>
                </a:path>
              </a:pathLst>
            </a:custGeom>
            <a:grpFill/>
            <a:ln w="689" cap="flat">
              <a:noFill/>
              <a:prstDash val="solid"/>
              <a:miter/>
            </a:ln>
          </p:spPr>
          <p:txBody>
            <a:bodyPr rtlCol="0" anchor="ctr"/>
            <a:lstStyle/>
            <a:p>
              <a:endParaRPr lang="en-US" sz="2400" dirty="0"/>
            </a:p>
          </p:txBody>
        </p:sp>
        <p:sp>
          <p:nvSpPr>
            <p:cNvPr id="526" name="Graphic 8">
              <a:extLst>
                <a:ext uri="{FF2B5EF4-FFF2-40B4-BE49-F238E27FC236}">
                  <a16:creationId xmlns:a16="http://schemas.microsoft.com/office/drawing/2014/main" id="{C4C4C26D-8E85-40C7-AC75-99EC58AA5021}"/>
                </a:ext>
              </a:extLst>
            </p:cNvPr>
            <p:cNvSpPr/>
            <p:nvPr/>
          </p:nvSpPr>
          <p:spPr>
            <a:xfrm flipV="1">
              <a:off x="949287" y="3744468"/>
              <a:ext cx="2739" cy="2739"/>
            </a:xfrm>
            <a:custGeom>
              <a:avLst/>
              <a:gdLst>
                <a:gd name="connsiteX0" fmla="*/ -1079 w 2739"/>
                <a:gd name="connsiteY0" fmla="*/ 1439 h 2739"/>
                <a:gd name="connsiteX1" fmla="*/ -1079 w 2739"/>
                <a:gd name="connsiteY1" fmla="*/ 1439 h 2739"/>
                <a:gd name="connsiteX2" fmla="*/ -1079 w 2739"/>
                <a:gd name="connsiteY2" fmla="*/ 1439 h 2739"/>
              </a:gdLst>
              <a:ahLst/>
              <a:cxnLst>
                <a:cxn ang="0">
                  <a:pos x="connsiteX0" y="connsiteY0"/>
                </a:cxn>
                <a:cxn ang="0">
                  <a:pos x="connsiteX1" y="connsiteY1"/>
                </a:cxn>
                <a:cxn ang="0">
                  <a:pos x="connsiteX2" y="connsiteY2"/>
                </a:cxn>
              </a:cxnLst>
              <a:rect l="l" t="t" r="r" b="b"/>
              <a:pathLst>
                <a:path w="2739" h="2739">
                  <a:moveTo>
                    <a:pt x="-1079" y="1439"/>
                  </a:moveTo>
                  <a:cubicBezTo>
                    <a:pt x="2574" y="-2214"/>
                    <a:pt x="2574" y="-2214"/>
                    <a:pt x="-1079" y="1439"/>
                  </a:cubicBezTo>
                  <a:lnTo>
                    <a:pt x="-1079" y="1439"/>
                  </a:lnTo>
                </a:path>
              </a:pathLst>
            </a:custGeom>
            <a:grpFill/>
            <a:ln w="689" cap="flat">
              <a:noFill/>
              <a:prstDash val="solid"/>
              <a:miter/>
            </a:ln>
          </p:spPr>
          <p:txBody>
            <a:bodyPr rtlCol="0" anchor="ctr"/>
            <a:lstStyle/>
            <a:p>
              <a:endParaRPr lang="en-US" sz="2400" dirty="0"/>
            </a:p>
          </p:txBody>
        </p:sp>
        <p:sp>
          <p:nvSpPr>
            <p:cNvPr id="527" name="Graphic 8">
              <a:extLst>
                <a:ext uri="{FF2B5EF4-FFF2-40B4-BE49-F238E27FC236}">
                  <a16:creationId xmlns:a16="http://schemas.microsoft.com/office/drawing/2014/main" id="{ECBC1CFE-1263-43FE-82BD-CF2DEF74A2A9}"/>
                </a:ext>
              </a:extLst>
            </p:cNvPr>
            <p:cNvSpPr/>
            <p:nvPr/>
          </p:nvSpPr>
          <p:spPr>
            <a:xfrm flipV="1">
              <a:off x="1450024" y="3742262"/>
              <a:ext cx="55828" cy="59465"/>
            </a:xfrm>
            <a:custGeom>
              <a:avLst/>
              <a:gdLst>
                <a:gd name="connsiteX0" fmla="*/ 27138 w 55828"/>
                <a:gd name="connsiteY0" fmla="*/ 20988 h 59465"/>
                <a:gd name="connsiteX1" fmla="*/ 27138 w 55828"/>
                <a:gd name="connsiteY1" fmla="*/ 20988 h 59465"/>
                <a:gd name="connsiteX2" fmla="*/ -1259 w 55828"/>
                <a:gd name="connsiteY2" fmla="*/ 37875 h 59465"/>
                <a:gd name="connsiteX3" fmla="*/ 28378 w 55828"/>
                <a:gd name="connsiteY3" fmla="*/ 58208 h 59465"/>
                <a:gd name="connsiteX4" fmla="*/ 19418 w 55828"/>
                <a:gd name="connsiteY4" fmla="*/ 33946 h 59465"/>
                <a:gd name="connsiteX5" fmla="*/ 54087 w 55828"/>
                <a:gd name="connsiteY5" fmla="*/ 10856 h 59465"/>
                <a:gd name="connsiteX6" fmla="*/ 14525 w 55828"/>
                <a:gd name="connsiteY6" fmla="*/ 4309 h 59465"/>
                <a:gd name="connsiteX7" fmla="*/ -1742 w 55828"/>
                <a:gd name="connsiteY7" fmla="*/ 10718 h 59465"/>
                <a:gd name="connsiteX8" fmla="*/ 1084 w 55828"/>
                <a:gd name="connsiteY8" fmla="*/ 18300 h 59465"/>
                <a:gd name="connsiteX9" fmla="*/ 11147 w 55828"/>
                <a:gd name="connsiteY9" fmla="*/ 25331 h 59465"/>
                <a:gd name="connsiteX10" fmla="*/ -1259 w 55828"/>
                <a:gd name="connsiteY10" fmla="*/ 37875 h 5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828" h="59465">
                  <a:moveTo>
                    <a:pt x="27138" y="20988"/>
                  </a:moveTo>
                  <a:cubicBezTo>
                    <a:pt x="16661" y="-34"/>
                    <a:pt x="49745" y="20437"/>
                    <a:pt x="27138" y="20988"/>
                  </a:cubicBezTo>
                  <a:close/>
                  <a:moveTo>
                    <a:pt x="-1259" y="37875"/>
                  </a:moveTo>
                  <a:cubicBezTo>
                    <a:pt x="8321" y="45112"/>
                    <a:pt x="18177" y="51935"/>
                    <a:pt x="28378" y="58208"/>
                  </a:cubicBezTo>
                  <a:cubicBezTo>
                    <a:pt x="25415" y="50143"/>
                    <a:pt x="22451" y="42079"/>
                    <a:pt x="19418" y="33946"/>
                  </a:cubicBezTo>
                  <a:cubicBezTo>
                    <a:pt x="35891" y="34980"/>
                    <a:pt x="45678" y="23125"/>
                    <a:pt x="54087" y="10856"/>
                  </a:cubicBezTo>
                  <a:cubicBezTo>
                    <a:pt x="46643" y="-172"/>
                    <a:pt x="24519" y="-6444"/>
                    <a:pt x="14525" y="4309"/>
                  </a:cubicBezTo>
                  <a:cubicBezTo>
                    <a:pt x="10458" y="5894"/>
                    <a:pt x="2325" y="9133"/>
                    <a:pt x="-1742" y="10718"/>
                  </a:cubicBezTo>
                  <a:lnTo>
                    <a:pt x="1084" y="18300"/>
                  </a:lnTo>
                  <a:cubicBezTo>
                    <a:pt x="3566" y="20092"/>
                    <a:pt x="8597" y="23538"/>
                    <a:pt x="11147" y="25331"/>
                  </a:cubicBezTo>
                  <a:cubicBezTo>
                    <a:pt x="8046" y="28501"/>
                    <a:pt x="1842" y="34773"/>
                    <a:pt x="-1259" y="37875"/>
                  </a:cubicBezTo>
                </a:path>
              </a:pathLst>
            </a:custGeom>
            <a:grpFill/>
            <a:ln w="689" cap="flat">
              <a:noFill/>
              <a:prstDash val="solid"/>
              <a:miter/>
            </a:ln>
          </p:spPr>
          <p:txBody>
            <a:bodyPr rtlCol="0" anchor="ctr"/>
            <a:lstStyle/>
            <a:p>
              <a:endParaRPr lang="en-US" sz="2400" dirty="0"/>
            </a:p>
          </p:txBody>
        </p:sp>
        <p:sp>
          <p:nvSpPr>
            <p:cNvPr id="528" name="Graphic 8">
              <a:extLst>
                <a:ext uri="{FF2B5EF4-FFF2-40B4-BE49-F238E27FC236}">
                  <a16:creationId xmlns:a16="http://schemas.microsoft.com/office/drawing/2014/main" id="{6BDD4411-1038-44ED-BFC5-1E074145D586}"/>
                </a:ext>
              </a:extLst>
            </p:cNvPr>
            <p:cNvSpPr/>
            <p:nvPr/>
          </p:nvSpPr>
          <p:spPr>
            <a:xfrm flipV="1">
              <a:off x="901898" y="3754824"/>
              <a:ext cx="18547" cy="13781"/>
            </a:xfrm>
            <a:custGeom>
              <a:avLst/>
              <a:gdLst>
                <a:gd name="connsiteX0" fmla="*/ -302 w 18547"/>
                <a:gd name="connsiteY0" fmla="*/ 9905 h 13781"/>
                <a:gd name="connsiteX1" fmla="*/ 16377 w 18547"/>
                <a:gd name="connsiteY1" fmla="*/ 738 h 13781"/>
                <a:gd name="connsiteX2" fmla="*/ -302 w 18547"/>
                <a:gd name="connsiteY2" fmla="*/ 9905 h 13781"/>
                <a:gd name="connsiteX3" fmla="*/ -302 w 18547"/>
                <a:gd name="connsiteY3" fmla="*/ 9905 h 13781"/>
              </a:gdLst>
              <a:ahLst/>
              <a:cxnLst>
                <a:cxn ang="0">
                  <a:pos x="connsiteX0" y="connsiteY0"/>
                </a:cxn>
                <a:cxn ang="0">
                  <a:pos x="connsiteX1" y="connsiteY1"/>
                </a:cxn>
                <a:cxn ang="0">
                  <a:pos x="connsiteX2" y="connsiteY2"/>
                </a:cxn>
                <a:cxn ang="0">
                  <a:pos x="connsiteX3" y="connsiteY3"/>
                </a:cxn>
              </a:cxnLst>
              <a:rect l="l" t="t" r="r" b="b"/>
              <a:pathLst>
                <a:path w="18547" h="13781">
                  <a:moveTo>
                    <a:pt x="-302" y="9905"/>
                  </a:moveTo>
                  <a:cubicBezTo>
                    <a:pt x="5556" y="16315"/>
                    <a:pt x="21960" y="9974"/>
                    <a:pt x="16377" y="738"/>
                  </a:cubicBezTo>
                  <a:cubicBezTo>
                    <a:pt x="10657" y="-4569"/>
                    <a:pt x="-4507" y="1359"/>
                    <a:pt x="-302" y="9905"/>
                  </a:cubicBezTo>
                  <a:lnTo>
                    <a:pt x="-302" y="9905"/>
                  </a:lnTo>
                </a:path>
              </a:pathLst>
            </a:custGeom>
            <a:grpFill/>
            <a:ln w="689" cap="flat">
              <a:noFill/>
              <a:prstDash val="solid"/>
              <a:miter/>
            </a:ln>
          </p:spPr>
          <p:txBody>
            <a:bodyPr rtlCol="0" anchor="ctr"/>
            <a:lstStyle/>
            <a:p>
              <a:endParaRPr lang="en-US" sz="2400" dirty="0"/>
            </a:p>
          </p:txBody>
        </p:sp>
        <p:sp>
          <p:nvSpPr>
            <p:cNvPr id="529" name="Graphic 8">
              <a:extLst>
                <a:ext uri="{FF2B5EF4-FFF2-40B4-BE49-F238E27FC236}">
                  <a16:creationId xmlns:a16="http://schemas.microsoft.com/office/drawing/2014/main" id="{C049328F-7CB5-4C07-9310-8963220969FF}"/>
                </a:ext>
              </a:extLst>
            </p:cNvPr>
            <p:cNvSpPr/>
            <p:nvPr/>
          </p:nvSpPr>
          <p:spPr>
            <a:xfrm flipV="1">
              <a:off x="1852682" y="3765145"/>
              <a:ext cx="2688" cy="2998"/>
            </a:xfrm>
            <a:custGeom>
              <a:avLst/>
              <a:gdLst>
                <a:gd name="connsiteX0" fmla="*/ -2215 w 2688"/>
                <a:gd name="connsiteY0" fmla="*/ 1732 h 2998"/>
                <a:gd name="connsiteX1" fmla="*/ -2215 w 2688"/>
                <a:gd name="connsiteY1" fmla="*/ 1732 h 2998"/>
                <a:gd name="connsiteX2" fmla="*/ -2215 w 2688"/>
                <a:gd name="connsiteY2" fmla="*/ 1732 h 2998"/>
              </a:gdLst>
              <a:ahLst/>
              <a:cxnLst>
                <a:cxn ang="0">
                  <a:pos x="connsiteX0" y="connsiteY0"/>
                </a:cxn>
                <a:cxn ang="0">
                  <a:pos x="connsiteX1" y="connsiteY1"/>
                </a:cxn>
                <a:cxn ang="0">
                  <a:pos x="connsiteX2" y="connsiteY2"/>
                </a:cxn>
              </a:cxnLst>
              <a:rect l="l" t="t" r="r" b="b"/>
              <a:pathLst>
                <a:path w="2688" h="2998">
                  <a:moveTo>
                    <a:pt x="-2215" y="1732"/>
                  </a:moveTo>
                  <a:cubicBezTo>
                    <a:pt x="1370" y="-2266"/>
                    <a:pt x="1370" y="-2266"/>
                    <a:pt x="-2215" y="1732"/>
                  </a:cubicBezTo>
                  <a:lnTo>
                    <a:pt x="-2215" y="1732"/>
                  </a:lnTo>
                </a:path>
              </a:pathLst>
            </a:custGeom>
            <a:grpFill/>
            <a:ln w="689" cap="flat">
              <a:noFill/>
              <a:prstDash val="solid"/>
              <a:miter/>
            </a:ln>
          </p:spPr>
          <p:txBody>
            <a:bodyPr rtlCol="0" anchor="ctr"/>
            <a:lstStyle/>
            <a:p>
              <a:endParaRPr lang="en-US" sz="2400" dirty="0"/>
            </a:p>
          </p:txBody>
        </p:sp>
        <p:sp>
          <p:nvSpPr>
            <p:cNvPr id="530" name="Graphic 8">
              <a:extLst>
                <a:ext uri="{FF2B5EF4-FFF2-40B4-BE49-F238E27FC236}">
                  <a16:creationId xmlns:a16="http://schemas.microsoft.com/office/drawing/2014/main" id="{3EE7CC4E-9362-42AB-A52E-164430DCEBA2}"/>
                </a:ext>
              </a:extLst>
            </p:cNvPr>
            <p:cNvSpPr/>
            <p:nvPr/>
          </p:nvSpPr>
          <p:spPr>
            <a:xfrm flipV="1">
              <a:off x="665322" y="3775690"/>
              <a:ext cx="11437" cy="22882"/>
            </a:xfrm>
            <a:custGeom>
              <a:avLst/>
              <a:gdLst>
                <a:gd name="connsiteX0" fmla="*/ 6160 w 11437"/>
                <a:gd name="connsiteY0" fmla="*/ 21650 h 22882"/>
                <a:gd name="connsiteX1" fmla="*/ 10710 w 11437"/>
                <a:gd name="connsiteY1" fmla="*/ 19651 h 22882"/>
                <a:gd name="connsiteX2" fmla="*/ 9814 w 11437"/>
                <a:gd name="connsiteY2" fmla="*/ -1233 h 22882"/>
                <a:gd name="connsiteX3" fmla="*/ 6160 w 11437"/>
                <a:gd name="connsiteY3" fmla="*/ 21650 h 22882"/>
                <a:gd name="connsiteX4" fmla="*/ 6160 w 11437"/>
                <a:gd name="connsiteY4" fmla="*/ 21650 h 22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7" h="22882">
                  <a:moveTo>
                    <a:pt x="6160" y="21650"/>
                  </a:moveTo>
                  <a:lnTo>
                    <a:pt x="10710" y="19651"/>
                  </a:lnTo>
                  <a:cubicBezTo>
                    <a:pt x="10506" y="14413"/>
                    <a:pt x="10021" y="3937"/>
                    <a:pt x="9814" y="-1233"/>
                  </a:cubicBezTo>
                  <a:cubicBezTo>
                    <a:pt x="-2727" y="490"/>
                    <a:pt x="-4246" y="15585"/>
                    <a:pt x="6160" y="21650"/>
                  </a:cubicBezTo>
                  <a:lnTo>
                    <a:pt x="6160" y="21650"/>
                  </a:lnTo>
                </a:path>
              </a:pathLst>
            </a:custGeom>
            <a:grpFill/>
            <a:ln w="689" cap="flat">
              <a:noFill/>
              <a:prstDash val="solid"/>
              <a:miter/>
            </a:ln>
          </p:spPr>
          <p:txBody>
            <a:bodyPr rtlCol="0" anchor="ctr"/>
            <a:lstStyle/>
            <a:p>
              <a:endParaRPr lang="en-US" sz="2400" dirty="0"/>
            </a:p>
          </p:txBody>
        </p:sp>
        <p:sp>
          <p:nvSpPr>
            <p:cNvPr id="531" name="Graphic 8">
              <a:extLst>
                <a:ext uri="{FF2B5EF4-FFF2-40B4-BE49-F238E27FC236}">
                  <a16:creationId xmlns:a16="http://schemas.microsoft.com/office/drawing/2014/main" id="{59354239-823F-490B-BDCF-481F91A902D8}"/>
                </a:ext>
              </a:extLst>
            </p:cNvPr>
            <p:cNvSpPr/>
            <p:nvPr/>
          </p:nvSpPr>
          <p:spPr>
            <a:xfrm flipV="1">
              <a:off x="1476791" y="3779481"/>
              <a:ext cx="10199" cy="9466"/>
            </a:xfrm>
            <a:custGeom>
              <a:avLst/>
              <a:gdLst>
                <a:gd name="connsiteX0" fmla="*/ 366 w 10199"/>
                <a:gd name="connsiteY0" fmla="*/ 8229 h 9466"/>
                <a:gd name="connsiteX1" fmla="*/ 366 w 10199"/>
                <a:gd name="connsiteY1" fmla="*/ 8229 h 9466"/>
                <a:gd name="connsiteX2" fmla="*/ 366 w 10199"/>
                <a:gd name="connsiteY2" fmla="*/ 8229 h 9466"/>
              </a:gdLst>
              <a:ahLst/>
              <a:cxnLst>
                <a:cxn ang="0">
                  <a:pos x="connsiteX0" y="connsiteY0"/>
                </a:cxn>
                <a:cxn ang="0">
                  <a:pos x="connsiteX1" y="connsiteY1"/>
                </a:cxn>
                <a:cxn ang="0">
                  <a:pos x="connsiteX2" y="connsiteY2"/>
                </a:cxn>
              </a:cxnLst>
              <a:rect l="l" t="t" r="r" b="b"/>
              <a:pathLst>
                <a:path w="10199" h="9466">
                  <a:moveTo>
                    <a:pt x="366" y="8229"/>
                  </a:moveTo>
                  <a:cubicBezTo>
                    <a:pt x="22973" y="7678"/>
                    <a:pt x="-10111" y="-12793"/>
                    <a:pt x="366" y="8229"/>
                  </a:cubicBezTo>
                  <a:lnTo>
                    <a:pt x="366" y="8229"/>
                  </a:lnTo>
                </a:path>
              </a:pathLst>
            </a:custGeom>
            <a:grpFill/>
            <a:ln w="689" cap="flat">
              <a:noFill/>
              <a:prstDash val="solid"/>
              <a:miter/>
            </a:ln>
          </p:spPr>
          <p:txBody>
            <a:bodyPr rtlCol="0" anchor="ctr"/>
            <a:lstStyle/>
            <a:p>
              <a:endParaRPr lang="en-US" sz="2400" dirty="0"/>
            </a:p>
          </p:txBody>
        </p:sp>
      </p:grpSp>
      <p:sp>
        <p:nvSpPr>
          <p:cNvPr id="532" name="TextBox 531">
            <a:extLst>
              <a:ext uri="{FF2B5EF4-FFF2-40B4-BE49-F238E27FC236}">
                <a16:creationId xmlns:a16="http://schemas.microsoft.com/office/drawing/2014/main" id="{61AC966C-A40F-45A7-9932-D03F1800975F}"/>
              </a:ext>
            </a:extLst>
          </p:cNvPr>
          <p:cNvSpPr txBox="1"/>
          <p:nvPr/>
        </p:nvSpPr>
        <p:spPr bwMode="white">
          <a:xfrm>
            <a:off x="6144744" y="1523136"/>
            <a:ext cx="5916628" cy="523220"/>
          </a:xfrm>
          <a:prstGeom prst="rect">
            <a:avLst/>
          </a:prstGeom>
          <a:noFill/>
        </p:spPr>
        <p:txBody>
          <a:bodyPr wrap="square" rtlCol="0">
            <a:spAutoFit/>
          </a:bodyPr>
          <a:lstStyle/>
          <a:p>
            <a:pPr algn="l">
              <a:buClr>
                <a:srgbClr val="F28713"/>
              </a:buClr>
              <a:buSzPct val="150000"/>
            </a:pPr>
            <a:r>
              <a:rPr lang="en-GB" sz="1400" b="1" kern="0" noProof="1">
                <a:solidFill>
                  <a:srgbClr val="1B2A4D"/>
                </a:solidFill>
                <a:ea typeface="Microsoft Himalaya" panose="01010100010101010101" pitchFamily="2" charset="0"/>
                <a:cs typeface="Segoe UI" panose="020B0502040204020203" pitchFamily="34" charset="0"/>
              </a:rPr>
              <a:t>Completely trust the mail I receive</a:t>
            </a:r>
          </a:p>
          <a:p>
            <a:pPr>
              <a:buClr>
                <a:srgbClr val="F28713"/>
              </a:buClr>
              <a:buSzPct val="150000"/>
            </a:pPr>
            <a:r>
              <a:rPr lang="en-GB" sz="1400" kern="0" noProof="1">
                <a:solidFill>
                  <a:schemeClr val="accent1"/>
                </a:solidFill>
                <a:ea typeface="Microsoft Himalaya" panose="01010100010101010101" pitchFamily="2" charset="0"/>
                <a:cs typeface="Segoe UI" panose="020B0502040204020203" pitchFamily="34" charset="0"/>
              </a:rPr>
              <a:t>Agree or agree strongly (%)</a:t>
            </a:r>
          </a:p>
        </p:txBody>
      </p:sp>
      <p:sp>
        <p:nvSpPr>
          <p:cNvPr id="536" name="TextBox 535">
            <a:extLst>
              <a:ext uri="{FF2B5EF4-FFF2-40B4-BE49-F238E27FC236}">
                <a16:creationId xmlns:a16="http://schemas.microsoft.com/office/drawing/2014/main" id="{3D5CA92A-836A-44C4-A2AD-F99C9289294A}"/>
              </a:ext>
            </a:extLst>
          </p:cNvPr>
          <p:cNvSpPr txBox="1"/>
          <p:nvPr/>
        </p:nvSpPr>
        <p:spPr bwMode="white">
          <a:xfrm>
            <a:off x="5737574" y="6193893"/>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a:t>
            </a:r>
          </a:p>
        </p:txBody>
      </p:sp>
    </p:spTree>
    <p:extLst>
      <p:ext uri="{BB962C8B-B14F-4D97-AF65-F5344CB8AC3E}">
        <p14:creationId xmlns:p14="http://schemas.microsoft.com/office/powerpoint/2010/main" val="32465921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A26593D-372D-4878-A363-8C0F7443D9E4}"/>
              </a:ext>
            </a:extLst>
          </p:cNvPr>
          <p:cNvSpPr>
            <a:spLocks noGrp="1"/>
          </p:cNvSpPr>
          <p:nvPr>
            <p:ph sz="quarter" idx="16"/>
          </p:nvPr>
        </p:nvSpPr>
        <p:spPr>
          <a:xfrm>
            <a:off x="424141" y="1779739"/>
            <a:ext cx="5062259" cy="4428787"/>
          </a:xfrm>
        </p:spPr>
        <p:txBody>
          <a:bodyPr/>
          <a:lstStyle/>
          <a:p>
            <a:r>
              <a:rPr lang="en-GB" dirty="0"/>
              <a:t>Because Customer Mail is looked at frequently and shared often, 1 million items posted results in 5.4 million opportunities to get the message seen</a:t>
            </a:r>
          </a:p>
          <a:p>
            <a:endParaRPr lang="en-GB" dirty="0"/>
          </a:p>
          <a:p>
            <a:r>
              <a:rPr lang="en-GB" dirty="0"/>
              <a:t>And JICMAIL research shows that mail leads to a wide range of concrete commercial actions 43% of the time.</a:t>
            </a:r>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t>14</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2400" dirty="0"/>
              <a:t>Mail has commercial impact</a:t>
            </a:r>
          </a:p>
        </p:txBody>
      </p:sp>
      <p:sp>
        <p:nvSpPr>
          <p:cNvPr id="6" name="Text Placeholder 5">
            <a:extLst>
              <a:ext uri="{FF2B5EF4-FFF2-40B4-BE49-F238E27FC236}">
                <a16:creationId xmlns:a16="http://schemas.microsoft.com/office/drawing/2014/main" id="{784C8611-1FF7-4F85-A17E-26D2093EB3E0}"/>
              </a:ext>
            </a:extLst>
          </p:cNvPr>
          <p:cNvSpPr>
            <a:spLocks noGrp="1"/>
          </p:cNvSpPr>
          <p:nvPr>
            <p:ph type="body" sz="quarter" idx="11"/>
          </p:nvPr>
        </p:nvSpPr>
        <p:spPr/>
        <p:txBody>
          <a:bodyPr/>
          <a:lstStyle/>
          <a:p>
            <a:endParaRPr lang="en-GB"/>
          </a:p>
        </p:txBody>
      </p:sp>
      <p:sp>
        <p:nvSpPr>
          <p:cNvPr id="12" name="TextBox 11">
            <a:extLst>
              <a:ext uri="{FF2B5EF4-FFF2-40B4-BE49-F238E27FC236}">
                <a16:creationId xmlns:a16="http://schemas.microsoft.com/office/drawing/2014/main" id="{3C6798BC-F006-4010-A67D-178BD6828B86}"/>
              </a:ext>
            </a:extLst>
          </p:cNvPr>
          <p:cNvSpPr txBox="1"/>
          <p:nvPr/>
        </p:nvSpPr>
        <p:spPr bwMode="white">
          <a:xfrm>
            <a:off x="5720804" y="6388074"/>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JICMAIL</a:t>
            </a:r>
          </a:p>
        </p:txBody>
      </p:sp>
      <p:sp>
        <p:nvSpPr>
          <p:cNvPr id="13" name="Oval 12">
            <a:extLst>
              <a:ext uri="{FF2B5EF4-FFF2-40B4-BE49-F238E27FC236}">
                <a16:creationId xmlns:a16="http://schemas.microsoft.com/office/drawing/2014/main" id="{EA894B3D-7787-4243-8229-B068FA9A7FFA}"/>
              </a:ext>
            </a:extLst>
          </p:cNvPr>
          <p:cNvSpPr/>
          <p:nvPr/>
        </p:nvSpPr>
        <p:spPr>
          <a:xfrm>
            <a:off x="6018260" y="3085213"/>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Order a catalogue</a:t>
            </a:r>
          </a:p>
        </p:txBody>
      </p:sp>
      <p:sp>
        <p:nvSpPr>
          <p:cNvPr id="15" name="Oval 14">
            <a:extLst>
              <a:ext uri="{FF2B5EF4-FFF2-40B4-BE49-F238E27FC236}">
                <a16:creationId xmlns:a16="http://schemas.microsoft.com/office/drawing/2014/main" id="{378D9EA1-2F3C-48FA-AC22-119E2B871A64}"/>
              </a:ext>
            </a:extLst>
          </p:cNvPr>
          <p:cNvSpPr/>
          <p:nvPr/>
        </p:nvSpPr>
        <p:spPr>
          <a:xfrm>
            <a:off x="9647836" y="3085213"/>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Make a donation</a:t>
            </a:r>
          </a:p>
        </p:txBody>
      </p:sp>
      <p:sp>
        <p:nvSpPr>
          <p:cNvPr id="18" name="Oval 17">
            <a:extLst>
              <a:ext uri="{FF2B5EF4-FFF2-40B4-BE49-F238E27FC236}">
                <a16:creationId xmlns:a16="http://schemas.microsoft.com/office/drawing/2014/main" id="{6D6BC28D-1220-42B4-A3AC-934EE7A79497}"/>
              </a:ext>
            </a:extLst>
          </p:cNvPr>
          <p:cNvSpPr/>
          <p:nvPr/>
        </p:nvSpPr>
        <p:spPr>
          <a:xfrm>
            <a:off x="7671663" y="2896920"/>
            <a:ext cx="1727888" cy="172788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b="1" dirty="0"/>
              <a:t>43% commercial actions</a:t>
            </a:r>
          </a:p>
        </p:txBody>
      </p:sp>
      <p:sp>
        <p:nvSpPr>
          <p:cNvPr id="5" name="Oval 4">
            <a:extLst>
              <a:ext uri="{FF2B5EF4-FFF2-40B4-BE49-F238E27FC236}">
                <a16:creationId xmlns:a16="http://schemas.microsoft.com/office/drawing/2014/main" id="{2688A577-CF3F-4CB5-B318-F10390F19E37}"/>
              </a:ext>
            </a:extLst>
          </p:cNvPr>
          <p:cNvSpPr/>
          <p:nvPr/>
        </p:nvSpPr>
        <p:spPr>
          <a:xfrm>
            <a:off x="7850506" y="1257425"/>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Visit the company’s website</a:t>
            </a:r>
          </a:p>
        </p:txBody>
      </p:sp>
      <p:sp>
        <p:nvSpPr>
          <p:cNvPr id="19" name="Oval 18">
            <a:extLst>
              <a:ext uri="{FF2B5EF4-FFF2-40B4-BE49-F238E27FC236}">
                <a16:creationId xmlns:a16="http://schemas.microsoft.com/office/drawing/2014/main" id="{E843C5CB-AE59-4188-BDFE-7365691FB0EB}"/>
              </a:ext>
            </a:extLst>
          </p:cNvPr>
          <p:cNvSpPr/>
          <p:nvPr/>
        </p:nvSpPr>
        <p:spPr>
          <a:xfrm>
            <a:off x="7837152" y="4902515"/>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Use a voucher / code</a:t>
            </a:r>
          </a:p>
        </p:txBody>
      </p:sp>
      <p:sp>
        <p:nvSpPr>
          <p:cNvPr id="17" name="Oval 16">
            <a:extLst>
              <a:ext uri="{FF2B5EF4-FFF2-40B4-BE49-F238E27FC236}">
                <a16:creationId xmlns:a16="http://schemas.microsoft.com/office/drawing/2014/main" id="{B645FCFA-B260-42E9-9FC1-6B924298780B}"/>
              </a:ext>
            </a:extLst>
          </p:cNvPr>
          <p:cNvSpPr/>
          <p:nvPr/>
        </p:nvSpPr>
        <p:spPr>
          <a:xfrm>
            <a:off x="9127576" y="4388414"/>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Plan a large purchase</a:t>
            </a:r>
          </a:p>
        </p:txBody>
      </p:sp>
      <p:sp>
        <p:nvSpPr>
          <p:cNvPr id="16" name="Oval 15">
            <a:extLst>
              <a:ext uri="{FF2B5EF4-FFF2-40B4-BE49-F238E27FC236}">
                <a16:creationId xmlns:a16="http://schemas.microsoft.com/office/drawing/2014/main" id="{A4F6D396-D7B4-43BD-9BA2-05294504CF7C}"/>
              </a:ext>
            </a:extLst>
          </p:cNvPr>
          <p:cNvSpPr/>
          <p:nvPr/>
        </p:nvSpPr>
        <p:spPr>
          <a:xfrm>
            <a:off x="6528348" y="4371312"/>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Visit the company’s shop</a:t>
            </a:r>
          </a:p>
        </p:txBody>
      </p:sp>
      <p:sp>
        <p:nvSpPr>
          <p:cNvPr id="14" name="Oval 13">
            <a:extLst>
              <a:ext uri="{FF2B5EF4-FFF2-40B4-BE49-F238E27FC236}">
                <a16:creationId xmlns:a16="http://schemas.microsoft.com/office/drawing/2014/main" id="{CF251FCE-3C5C-4B46-B413-F8B16302D917}"/>
              </a:ext>
            </a:extLst>
          </p:cNvPr>
          <p:cNvSpPr/>
          <p:nvPr/>
        </p:nvSpPr>
        <p:spPr>
          <a:xfrm>
            <a:off x="9149568" y="1771526"/>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Buy something</a:t>
            </a:r>
          </a:p>
        </p:txBody>
      </p:sp>
      <p:sp>
        <p:nvSpPr>
          <p:cNvPr id="20" name="Oval 19">
            <a:extLst>
              <a:ext uri="{FF2B5EF4-FFF2-40B4-BE49-F238E27FC236}">
                <a16:creationId xmlns:a16="http://schemas.microsoft.com/office/drawing/2014/main" id="{8C75CB7F-1A33-4FA7-8696-F038D49F4AE4}"/>
              </a:ext>
            </a:extLst>
          </p:cNvPr>
          <p:cNvSpPr/>
          <p:nvPr/>
        </p:nvSpPr>
        <p:spPr>
          <a:xfrm>
            <a:off x="6552770" y="1801074"/>
            <a:ext cx="1370202" cy="1370202"/>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srgbClr val="FF0000"/>
                </a:solidFill>
              </a:rPr>
              <a:t>Tell others about it</a:t>
            </a:r>
          </a:p>
        </p:txBody>
      </p:sp>
    </p:spTree>
    <p:extLst>
      <p:ext uri="{BB962C8B-B14F-4D97-AF65-F5344CB8AC3E}">
        <p14:creationId xmlns:p14="http://schemas.microsoft.com/office/powerpoint/2010/main" val="625672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9D06994-4AAB-42C1-BEF0-9CA6D778D96D}"/>
              </a:ext>
            </a:extLst>
          </p:cNvPr>
          <p:cNvSpPr>
            <a:spLocks noGrp="1"/>
          </p:cNvSpPr>
          <p:nvPr>
            <p:ph sz="quarter" idx="16"/>
          </p:nvPr>
        </p:nvSpPr>
        <p:spPr/>
        <p:txBody>
          <a:bodyPr lIns="91440" tIns="45720" rIns="91440" bIns="45720" anchor="t"/>
          <a:lstStyle/>
          <a:p>
            <a:r>
              <a:rPr lang="en-GB" sz="1800" dirty="0">
                <a:effectLst/>
                <a:latin typeface="Calibri" panose="020F0502020204030204" pitchFamily="34" charset="0"/>
                <a:ea typeface="Times New Roman" panose="02020603050405020304" pitchFamily="18" charset="0"/>
              </a:rPr>
              <a:t>Mail and digital communications serve different purposes – but are highly effective working together</a:t>
            </a:r>
          </a:p>
          <a:p>
            <a:endParaRPr lang="en-GB" dirty="0"/>
          </a:p>
          <a:p>
            <a:r>
              <a:rPr lang="en-GB" dirty="0"/>
              <a:t>Each situation needs to be considered on its own merit – Physical can reinforce digital and vice versa</a:t>
            </a:r>
          </a:p>
          <a:p>
            <a:endParaRPr lang="en-GB" dirty="0"/>
          </a:p>
          <a:p>
            <a:r>
              <a:rPr lang="en-GB" dirty="0"/>
              <a:t>Working together, they can make messages stronger and more likely to be remembered</a:t>
            </a:r>
          </a:p>
          <a:p>
            <a:endParaRPr lang="en-GB" dirty="0"/>
          </a:p>
          <a:p>
            <a:r>
              <a:rPr lang="en-GB" dirty="0"/>
              <a:t>Multi-channel experiences are more effective.</a:t>
            </a:r>
            <a:endParaRPr lang="en-GB" dirty="0">
              <a:cs typeface="Calibri"/>
            </a:endParaRPr>
          </a:p>
        </p:txBody>
      </p:sp>
      <p:sp>
        <p:nvSpPr>
          <p:cNvPr id="4" name="Slide Number Placeholder 3">
            <a:extLst>
              <a:ext uri="{FF2B5EF4-FFF2-40B4-BE49-F238E27FC236}">
                <a16:creationId xmlns:a16="http://schemas.microsoft.com/office/drawing/2014/main" id="{60B3FF51-B981-469C-97E4-EC8B2F8B30E9}"/>
              </a:ext>
            </a:extLst>
          </p:cNvPr>
          <p:cNvSpPr>
            <a:spLocks noGrp="1"/>
          </p:cNvSpPr>
          <p:nvPr>
            <p:ph type="sldNum" sz="quarter" idx="19"/>
          </p:nvPr>
        </p:nvSpPr>
        <p:spPr/>
        <p:txBody>
          <a:bodyPr/>
          <a:lstStyle/>
          <a:p>
            <a:fld id="{3787542D-5C6B-4EB3-96EB-9B37C3D5D2F8}" type="slidenum">
              <a:rPr lang="en-GB" smtClean="0"/>
              <a:t>15</a:t>
            </a:fld>
            <a:endParaRPr lang="en-GB" dirty="0"/>
          </a:p>
        </p:txBody>
      </p:sp>
      <p:sp>
        <p:nvSpPr>
          <p:cNvPr id="2" name="Title 1">
            <a:extLst>
              <a:ext uri="{FF2B5EF4-FFF2-40B4-BE49-F238E27FC236}">
                <a16:creationId xmlns:a16="http://schemas.microsoft.com/office/drawing/2014/main" id="{84FEAD19-F391-4A7C-B97D-AEBCF5A401A1}"/>
              </a:ext>
            </a:extLst>
          </p:cNvPr>
          <p:cNvSpPr>
            <a:spLocks noGrp="1"/>
          </p:cNvSpPr>
          <p:nvPr>
            <p:ph type="title"/>
          </p:nvPr>
        </p:nvSpPr>
        <p:spPr/>
        <p:txBody>
          <a:bodyPr/>
          <a:lstStyle/>
          <a:p>
            <a:r>
              <a:rPr lang="en-GB" sz="2400" dirty="0"/>
              <a:t>Mail works well with digital</a:t>
            </a:r>
          </a:p>
        </p:txBody>
      </p:sp>
      <p:sp>
        <p:nvSpPr>
          <p:cNvPr id="6" name="Text Placeholder 5">
            <a:extLst>
              <a:ext uri="{FF2B5EF4-FFF2-40B4-BE49-F238E27FC236}">
                <a16:creationId xmlns:a16="http://schemas.microsoft.com/office/drawing/2014/main" id="{8EA4327F-DE69-4668-B4B9-75A6838A0856}"/>
              </a:ext>
            </a:extLst>
          </p:cNvPr>
          <p:cNvSpPr>
            <a:spLocks noGrp="1"/>
          </p:cNvSpPr>
          <p:nvPr>
            <p:ph type="body" sz="quarter" idx="11"/>
          </p:nvPr>
        </p:nvSpPr>
        <p:spPr/>
        <p:txBody>
          <a:bodyPr/>
          <a:lstStyle/>
          <a:p>
            <a:endParaRPr lang="en-GB"/>
          </a:p>
        </p:txBody>
      </p:sp>
      <p:sp>
        <p:nvSpPr>
          <p:cNvPr id="10" name="TextBox 9">
            <a:extLst>
              <a:ext uri="{FF2B5EF4-FFF2-40B4-BE49-F238E27FC236}">
                <a16:creationId xmlns:a16="http://schemas.microsoft.com/office/drawing/2014/main" id="{70DA3B34-8CE2-4B49-88BC-758532E95BAE}"/>
              </a:ext>
            </a:extLst>
          </p:cNvPr>
          <p:cNvSpPr txBox="1"/>
          <p:nvPr/>
        </p:nvSpPr>
        <p:spPr>
          <a:xfrm>
            <a:off x="8629650" y="6316704"/>
            <a:ext cx="2837636" cy="253916"/>
          </a:xfrm>
          <a:prstGeom prst="rect">
            <a:avLst/>
          </a:prstGeom>
          <a:noFill/>
        </p:spPr>
        <p:txBody>
          <a:bodyPr wrap="none" rtlCol="0">
            <a:spAutoFit/>
          </a:bodyPr>
          <a:lstStyle/>
          <a:p>
            <a:r>
              <a:rPr lang="en-US" sz="1050" dirty="0">
                <a:effectLst/>
                <a:latin typeface="Calibri" panose="020F0502020204030204" pitchFamily="34" charset="0"/>
                <a:ea typeface="MS Mincho" panose="02020609040205080304" pitchFamily="49" charset="-128"/>
                <a:cs typeface="Arial" panose="020B0604020202020204" pitchFamily="34" charset="0"/>
              </a:rPr>
              <a:t>* Source: Marketreach “Why Mail Cuts Through”</a:t>
            </a:r>
            <a:endParaRPr lang="en-GB" sz="1050" dirty="0"/>
          </a:p>
        </p:txBody>
      </p:sp>
      <p:graphicFrame>
        <p:nvGraphicFramePr>
          <p:cNvPr id="9" name="Content Placeholder 8">
            <a:extLst>
              <a:ext uri="{FF2B5EF4-FFF2-40B4-BE49-F238E27FC236}">
                <a16:creationId xmlns:a16="http://schemas.microsoft.com/office/drawing/2014/main" id="{72322339-A4C6-4206-A4A0-9BBDD46BBAEF}"/>
              </a:ext>
            </a:extLst>
          </p:cNvPr>
          <p:cNvGraphicFramePr>
            <a:graphicFrameLocks noGrp="1"/>
          </p:cNvGraphicFramePr>
          <p:nvPr>
            <p:ph sz="quarter" idx="20"/>
            <p:extLst>
              <p:ext uri="{D42A27DB-BD31-4B8C-83A1-F6EECF244321}">
                <p14:modId xmlns:p14="http://schemas.microsoft.com/office/powerpoint/2010/main" val="4098275672"/>
              </p:ext>
            </p:extLst>
          </p:nvPr>
        </p:nvGraphicFramePr>
        <p:xfrm>
          <a:off x="6096000" y="2065738"/>
          <a:ext cx="4395468" cy="339001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FF77BD13-60CE-47E4-82A9-07590C7611A7}"/>
              </a:ext>
            </a:extLst>
          </p:cNvPr>
          <p:cNvSpPr txBox="1"/>
          <p:nvPr/>
        </p:nvSpPr>
        <p:spPr>
          <a:xfrm>
            <a:off x="10478815" y="2683015"/>
            <a:ext cx="1713185" cy="1277273"/>
          </a:xfrm>
          <a:prstGeom prst="rect">
            <a:avLst/>
          </a:prstGeom>
          <a:noFill/>
        </p:spPr>
        <p:txBody>
          <a:bodyPr wrap="square" rtlCol="0">
            <a:spAutoFit/>
          </a:bodyPr>
          <a:lstStyle/>
          <a:p>
            <a:r>
              <a:rPr lang="en-GB" sz="1100" dirty="0"/>
              <a:t>Mail has a powerful impact on long-term memory encoding for social media advertising</a:t>
            </a:r>
          </a:p>
          <a:p>
            <a:endParaRPr lang="en-GB" sz="1100" dirty="0"/>
          </a:p>
          <a:p>
            <a:r>
              <a:rPr lang="en-GB" sz="1100" dirty="0"/>
              <a:t>+44% stronger when people had seen mail first</a:t>
            </a:r>
          </a:p>
        </p:txBody>
      </p:sp>
      <p:sp>
        <p:nvSpPr>
          <p:cNvPr id="12" name="TextBox 11">
            <a:extLst>
              <a:ext uri="{FF2B5EF4-FFF2-40B4-BE49-F238E27FC236}">
                <a16:creationId xmlns:a16="http://schemas.microsoft.com/office/drawing/2014/main" id="{4DC23540-6BA8-40E7-B75D-9EB741F459C6}"/>
              </a:ext>
            </a:extLst>
          </p:cNvPr>
          <p:cNvSpPr txBox="1"/>
          <p:nvPr/>
        </p:nvSpPr>
        <p:spPr>
          <a:xfrm>
            <a:off x="6946899" y="5470820"/>
            <a:ext cx="3531915" cy="646331"/>
          </a:xfrm>
          <a:prstGeom prst="rect">
            <a:avLst/>
          </a:prstGeom>
          <a:noFill/>
        </p:spPr>
        <p:txBody>
          <a:bodyPr wrap="square" rtlCol="0">
            <a:spAutoFit/>
          </a:bodyPr>
          <a:lstStyle/>
          <a:p>
            <a:r>
              <a:rPr lang="en-GB" sz="1200" dirty="0"/>
              <a:t>A reading of 0.70 and above indicates a response that is  likely to be powerful enough to impact future behaviour. </a:t>
            </a:r>
          </a:p>
        </p:txBody>
      </p:sp>
    </p:spTree>
    <p:extLst>
      <p:ext uri="{BB962C8B-B14F-4D97-AF65-F5344CB8AC3E}">
        <p14:creationId xmlns:p14="http://schemas.microsoft.com/office/powerpoint/2010/main" val="26708536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FEF7CBF-5EC0-4FB1-9A55-F07A2BA9581F}"/>
              </a:ext>
            </a:extLst>
          </p:cNvPr>
          <p:cNvSpPr>
            <a:spLocks noGrp="1"/>
          </p:cNvSpPr>
          <p:nvPr>
            <p:ph type="body" sz="quarter" idx="10"/>
          </p:nvPr>
        </p:nvSpPr>
        <p:spPr/>
        <p:txBody>
          <a:bodyPr/>
          <a:lstStyle/>
          <a:p>
            <a:r>
              <a:rPr lang="en-GB" dirty="0"/>
              <a:t>Matching the message to the medium</a:t>
            </a:r>
          </a:p>
          <a:p>
            <a:endParaRPr lang="en-GB" dirty="0"/>
          </a:p>
          <a:p>
            <a:r>
              <a:rPr lang="en-GB" dirty="0"/>
              <a:t>6 occasions When to use customer mail</a:t>
            </a:r>
          </a:p>
          <a:p>
            <a:r>
              <a:rPr lang="en-GB" dirty="0"/>
              <a:t>To deliver a powerful </a:t>
            </a:r>
            <a:r>
              <a:rPr lang="en-GB" dirty="0" err="1"/>
              <a:t>Cx</a:t>
            </a:r>
            <a:endParaRPr lang="en-GB" dirty="0"/>
          </a:p>
        </p:txBody>
      </p:sp>
      <p:sp>
        <p:nvSpPr>
          <p:cNvPr id="2" name="Slide Number Placeholder 1">
            <a:extLst>
              <a:ext uri="{FF2B5EF4-FFF2-40B4-BE49-F238E27FC236}">
                <a16:creationId xmlns:a16="http://schemas.microsoft.com/office/drawing/2014/main" id="{05F6FBC0-A887-4257-8568-887103B27245}"/>
              </a:ext>
            </a:extLst>
          </p:cNvPr>
          <p:cNvSpPr>
            <a:spLocks noGrp="1"/>
          </p:cNvSpPr>
          <p:nvPr>
            <p:ph type="sldNum" sz="quarter" idx="4294967295"/>
          </p:nvPr>
        </p:nvSpPr>
        <p:spPr>
          <a:xfrm>
            <a:off x="11766550" y="6178550"/>
            <a:ext cx="425450" cy="179388"/>
          </a:xfrm>
        </p:spPr>
        <p:txBody>
          <a:bodyPr/>
          <a:lstStyle/>
          <a:p>
            <a:fld id="{887360FE-02F5-4392-9C12-7D03F05745BB}" type="slidenum">
              <a:rPr lang="en-GB" smtClean="0"/>
              <a:pPr/>
              <a:t>16</a:t>
            </a:fld>
            <a:endParaRPr lang="en-GB" dirty="0"/>
          </a:p>
        </p:txBody>
      </p:sp>
    </p:spTree>
    <p:extLst>
      <p:ext uri="{BB962C8B-B14F-4D97-AF65-F5344CB8AC3E}">
        <p14:creationId xmlns:p14="http://schemas.microsoft.com/office/powerpoint/2010/main" val="3195943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12A5521-617C-4816-937A-95D2112FFCC9}"/>
              </a:ext>
            </a:extLst>
          </p:cNvPr>
          <p:cNvSpPr>
            <a:spLocks noGrp="1"/>
          </p:cNvSpPr>
          <p:nvPr>
            <p:ph sz="quarter" idx="16"/>
          </p:nvPr>
        </p:nvSpPr>
        <p:spPr>
          <a:xfrm>
            <a:off x="459299" y="1471690"/>
            <a:ext cx="4425833" cy="744683"/>
          </a:xfrm>
        </p:spPr>
        <p:txBody>
          <a:bodyPr lIns="91440" tIns="45720" rIns="91440" bIns="45720" anchor="t"/>
          <a:lstStyle/>
          <a:p>
            <a:pPr marL="0" indent="0">
              <a:buNone/>
            </a:pPr>
            <a:r>
              <a:rPr lang="en-GB" dirty="0"/>
              <a:t>Across all sectors, people are more likely to read mail than digital communications.</a:t>
            </a:r>
            <a:endParaRPr lang="en-GB" dirty="0">
              <a:cs typeface="Calibri"/>
            </a:endParaRPr>
          </a:p>
          <a:p>
            <a:endParaRPr lang="en-GB" dirty="0">
              <a:cs typeface="Calibri"/>
            </a:endParaRPr>
          </a:p>
          <a:p>
            <a:endParaRPr lang="en-GB" dirty="0">
              <a:cs typeface="Calibri"/>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1. when the communication needs to be read thoroughly</a:t>
            </a:r>
          </a:p>
        </p:txBody>
      </p:sp>
      <p:sp>
        <p:nvSpPr>
          <p:cNvPr id="2" name="Text Placeholder 1">
            <a:extLst>
              <a:ext uri="{FF2B5EF4-FFF2-40B4-BE49-F238E27FC236}">
                <a16:creationId xmlns:a16="http://schemas.microsoft.com/office/drawing/2014/main" id="{9FBC2E68-E1AD-43A4-A450-CED8428F874D}"/>
              </a:ext>
            </a:extLst>
          </p:cNvPr>
          <p:cNvSpPr>
            <a:spLocks noGrp="1"/>
          </p:cNvSpPr>
          <p:nvPr>
            <p:ph type="body" sz="quarter" idx="11"/>
          </p:nvPr>
        </p:nvSpPr>
        <p:spPr/>
        <p:txBody>
          <a:bodyPr/>
          <a:lstStyle/>
          <a:p>
            <a:endParaRPr lang="en-GB"/>
          </a:p>
        </p:txBody>
      </p:sp>
      <p:sp>
        <p:nvSpPr>
          <p:cNvPr id="7" name="TextBox 6">
            <a:extLst>
              <a:ext uri="{FF2B5EF4-FFF2-40B4-BE49-F238E27FC236}">
                <a16:creationId xmlns:a16="http://schemas.microsoft.com/office/drawing/2014/main" id="{EDEF87D0-2AB4-4C59-AEBA-32B99049CA45}"/>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sp>
        <p:nvSpPr>
          <p:cNvPr id="11" name="Content Placeholder 3">
            <a:extLst>
              <a:ext uri="{FF2B5EF4-FFF2-40B4-BE49-F238E27FC236}">
                <a16:creationId xmlns:a16="http://schemas.microsoft.com/office/drawing/2014/main" id="{990EA7B0-6A12-4E34-A897-3485B35D3089}"/>
              </a:ext>
            </a:extLst>
          </p:cNvPr>
          <p:cNvSpPr txBox="1">
            <a:spLocks/>
          </p:cNvSpPr>
          <p:nvPr/>
        </p:nvSpPr>
        <p:spPr>
          <a:xfrm>
            <a:off x="522393" y="2351217"/>
            <a:ext cx="6531039" cy="671537"/>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b="1" dirty="0">
                <a:ea typeface="MS Mincho"/>
                <a:cs typeface="Arial"/>
              </a:rPr>
              <a:t>Read all or some of it in detail -  About a recent </a:t>
            </a:r>
            <a:r>
              <a:rPr lang="en-US" sz="1400" b="1" dirty="0">
                <a:solidFill>
                  <a:srgbClr val="FF0000"/>
                </a:solidFill>
                <a:ea typeface="MS Mincho"/>
                <a:cs typeface="Arial"/>
              </a:rPr>
              <a:t>mail</a:t>
            </a:r>
            <a:r>
              <a:rPr lang="en-US" sz="1400" b="1" dirty="0">
                <a:ea typeface="MS Mincho"/>
                <a:cs typeface="Arial"/>
              </a:rPr>
              <a:t> or email communication </a:t>
            </a:r>
            <a:br>
              <a:rPr lang="en-US" sz="1400" b="1" dirty="0">
                <a:ea typeface="MS Mincho"/>
                <a:cs typeface="Arial"/>
              </a:rPr>
            </a:br>
            <a:r>
              <a:rPr lang="en-US" sz="1400" b="1" dirty="0">
                <a:ea typeface="MS Mincho"/>
                <a:cs typeface="Arial"/>
              </a:rPr>
              <a:t>from category (%)</a:t>
            </a:r>
            <a:endParaRPr lang="en-US" sz="1400" b="1" dirty="0"/>
          </a:p>
        </p:txBody>
      </p:sp>
      <p:pic>
        <p:nvPicPr>
          <p:cNvPr id="8" name="Picture 7" descr="Chart&#10;&#10;Description automatically generated with medium confidence">
            <a:extLst>
              <a:ext uri="{FF2B5EF4-FFF2-40B4-BE49-F238E27FC236}">
                <a16:creationId xmlns:a16="http://schemas.microsoft.com/office/drawing/2014/main" id="{7832636A-54D8-40D4-A638-519E7C901B3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3122893"/>
            <a:ext cx="12192000" cy="3834384"/>
          </a:xfrm>
          <a:prstGeom prst="rect">
            <a:avLst/>
          </a:prstGeom>
        </p:spPr>
      </p:pic>
    </p:spTree>
    <p:extLst>
      <p:ext uri="{BB962C8B-B14F-4D97-AF65-F5344CB8AC3E}">
        <p14:creationId xmlns:p14="http://schemas.microsoft.com/office/powerpoint/2010/main" val="10108039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8DB9DF4-5793-4B13-8785-40D8FF39C4BA}"/>
              </a:ext>
            </a:extLst>
          </p:cNvPr>
          <p:cNvSpPr>
            <a:spLocks noGrp="1"/>
          </p:cNvSpPr>
          <p:nvPr>
            <p:ph sz="quarter" idx="16"/>
          </p:nvPr>
        </p:nvSpPr>
        <p:spPr>
          <a:xfrm>
            <a:off x="424141" y="1779739"/>
            <a:ext cx="5452876" cy="1439857"/>
          </a:xfrm>
        </p:spPr>
        <p:txBody>
          <a:bodyPr lIns="91440" tIns="45720" rIns="91440" bIns="45720" anchor="t"/>
          <a:lstStyle/>
          <a:p>
            <a:pPr marL="0" indent="0">
              <a:buNone/>
            </a:pPr>
            <a:r>
              <a:rPr lang="en-GB" dirty="0"/>
              <a:t>Mail is more likely to result in an action than digital communications.</a:t>
            </a:r>
          </a:p>
          <a:p>
            <a:pPr marL="0" indent="0">
              <a:buNone/>
            </a:pPr>
            <a:r>
              <a:rPr lang="en-GB" dirty="0"/>
              <a:t>…particularly when there are multiple steps, a range of options, or for infrequent actions.</a:t>
            </a:r>
            <a:endParaRPr lang="en-GB" dirty="0">
              <a:cs typeface="Calibri"/>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2. when the recipient needs to take action</a:t>
            </a:r>
          </a:p>
        </p:txBody>
      </p:sp>
      <p:sp>
        <p:nvSpPr>
          <p:cNvPr id="2" name="Text Placeholder 1">
            <a:extLst>
              <a:ext uri="{FF2B5EF4-FFF2-40B4-BE49-F238E27FC236}">
                <a16:creationId xmlns:a16="http://schemas.microsoft.com/office/drawing/2014/main" id="{83530F36-7F58-4F0A-A178-C576A06BD622}"/>
              </a:ext>
            </a:extLst>
          </p:cNvPr>
          <p:cNvSpPr>
            <a:spLocks noGrp="1"/>
          </p:cNvSpPr>
          <p:nvPr>
            <p:ph type="body" sz="quarter" idx="11"/>
          </p:nvPr>
        </p:nvSpPr>
        <p:spPr>
          <a:xfrm>
            <a:off x="486001" y="994705"/>
            <a:ext cx="8861199" cy="282937"/>
          </a:xfrm>
        </p:spPr>
        <p:txBody>
          <a:bodyPr/>
          <a:lstStyle/>
          <a:p>
            <a:endParaRPr lang="en-GB"/>
          </a:p>
        </p:txBody>
      </p:sp>
      <p:sp>
        <p:nvSpPr>
          <p:cNvPr id="10" name="TextBox 9">
            <a:extLst>
              <a:ext uri="{FF2B5EF4-FFF2-40B4-BE49-F238E27FC236}">
                <a16:creationId xmlns:a16="http://schemas.microsoft.com/office/drawing/2014/main" id="{D9534D62-BC33-4C4F-A32C-5C38AE03264A}"/>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mp; JICMAIL </a:t>
            </a:r>
          </a:p>
        </p:txBody>
      </p:sp>
      <p:sp>
        <p:nvSpPr>
          <p:cNvPr id="12" name="TextBox 11">
            <a:extLst>
              <a:ext uri="{FF2B5EF4-FFF2-40B4-BE49-F238E27FC236}">
                <a16:creationId xmlns:a16="http://schemas.microsoft.com/office/drawing/2014/main" id="{D2FACA6A-8A09-4120-B5F4-3CD3DBC16B23}"/>
              </a:ext>
            </a:extLst>
          </p:cNvPr>
          <p:cNvSpPr txBox="1"/>
          <p:nvPr/>
        </p:nvSpPr>
        <p:spPr>
          <a:xfrm>
            <a:off x="461642" y="4772950"/>
            <a:ext cx="2005063" cy="461665"/>
          </a:xfrm>
          <a:prstGeom prst="rect">
            <a:avLst/>
          </a:prstGeom>
          <a:noFill/>
        </p:spPr>
        <p:txBody>
          <a:bodyPr wrap="square" lIns="91440" tIns="45720" rIns="91440" bIns="45720" rtlCol="0" anchor="t">
            <a:spAutoFit/>
          </a:bodyPr>
          <a:lstStyle/>
          <a:p>
            <a:r>
              <a:rPr lang="en-GB" sz="1200" b="0" i="0" u="none" strike="noStrike" baseline="0" dirty="0">
                <a:solidFill>
                  <a:srgbClr val="000000"/>
                </a:solidFill>
                <a:latin typeface="Calibri" panose="020F0502020204030204" pitchFamily="34" charset="0"/>
              </a:rPr>
              <a:t>It’s likely to be something</a:t>
            </a:r>
          </a:p>
          <a:p>
            <a:r>
              <a:rPr lang="en-GB" sz="1200" dirty="0">
                <a:solidFill>
                  <a:srgbClr val="000000"/>
                </a:solidFill>
                <a:latin typeface="Calibri" panose="020F0502020204030204" pitchFamily="34" charset="0"/>
              </a:rPr>
              <a:t>I need to take action on</a:t>
            </a:r>
            <a:endParaRPr lang="en-GB" sz="1200" dirty="0"/>
          </a:p>
        </p:txBody>
      </p:sp>
      <p:pic>
        <p:nvPicPr>
          <p:cNvPr id="9" name="Picture 15">
            <a:extLst>
              <a:ext uri="{FF2B5EF4-FFF2-40B4-BE49-F238E27FC236}">
                <a16:creationId xmlns:a16="http://schemas.microsoft.com/office/drawing/2014/main" id="{22894778-3188-7E96-D96C-2766ECDAB6B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9530" y="3817287"/>
            <a:ext cx="4751572" cy="832141"/>
          </a:xfrm>
          <a:prstGeom prst="rect">
            <a:avLst/>
          </a:prstGeom>
        </p:spPr>
      </p:pic>
      <p:sp>
        <p:nvSpPr>
          <p:cNvPr id="18" name="Content Placeholder 3">
            <a:extLst>
              <a:ext uri="{FF2B5EF4-FFF2-40B4-BE49-F238E27FC236}">
                <a16:creationId xmlns:a16="http://schemas.microsoft.com/office/drawing/2014/main" id="{4877628C-0B88-31A6-59CF-42A6FF1AE923}"/>
              </a:ext>
            </a:extLst>
          </p:cNvPr>
          <p:cNvSpPr txBox="1">
            <a:spLocks/>
          </p:cNvSpPr>
          <p:nvPr/>
        </p:nvSpPr>
        <p:spPr>
          <a:xfrm>
            <a:off x="459299" y="3359683"/>
            <a:ext cx="3857993" cy="323439"/>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ea typeface="MS Mincho"/>
                <a:cs typeface="Arial"/>
              </a:rPr>
              <a:t>Applies more to </a:t>
            </a:r>
            <a:r>
              <a:rPr lang="en-US" b="1" dirty="0">
                <a:solidFill>
                  <a:srgbClr val="FF0000"/>
                </a:solidFill>
                <a:ea typeface="MS Mincho"/>
                <a:cs typeface="Arial"/>
              </a:rPr>
              <a:t>mail</a:t>
            </a:r>
            <a:r>
              <a:rPr lang="en-US">
                <a:ea typeface="MS Mincho"/>
                <a:cs typeface="Arial"/>
              </a:rPr>
              <a:t> or</a:t>
            </a:r>
            <a:r>
              <a:rPr lang="en-US" dirty="0">
                <a:ea typeface="MS Mincho"/>
                <a:cs typeface="Arial"/>
              </a:rPr>
              <a:t> </a:t>
            </a:r>
            <a:r>
              <a:rPr lang="en-US" b="1" dirty="0">
                <a:ea typeface="MS Mincho"/>
                <a:cs typeface="Arial"/>
              </a:rPr>
              <a:t>digital </a:t>
            </a:r>
            <a:r>
              <a:rPr lang="en-US" dirty="0">
                <a:ea typeface="MS Mincho"/>
                <a:cs typeface="Arial"/>
              </a:rPr>
              <a:t>(%)</a:t>
            </a:r>
            <a:endParaRPr lang="en-US"/>
          </a:p>
        </p:txBody>
      </p:sp>
      <p:grpSp>
        <p:nvGrpSpPr>
          <p:cNvPr id="25" name="Group 24">
            <a:extLst>
              <a:ext uri="{FF2B5EF4-FFF2-40B4-BE49-F238E27FC236}">
                <a16:creationId xmlns:a16="http://schemas.microsoft.com/office/drawing/2014/main" id="{51F079A0-9E1C-4E89-B808-D0EABFF6CE85}"/>
              </a:ext>
            </a:extLst>
          </p:cNvPr>
          <p:cNvGrpSpPr/>
          <p:nvPr/>
        </p:nvGrpSpPr>
        <p:grpSpPr>
          <a:xfrm>
            <a:off x="6547189" y="2401400"/>
            <a:ext cx="4987317" cy="2755392"/>
            <a:chOff x="6547189" y="2401400"/>
            <a:chExt cx="4987317" cy="2755392"/>
          </a:xfrm>
        </p:grpSpPr>
        <p:pic>
          <p:nvPicPr>
            <p:cNvPr id="20" name="Picture 19" descr="Icon&#10;&#10;Description automatically generated">
              <a:extLst>
                <a:ext uri="{FF2B5EF4-FFF2-40B4-BE49-F238E27FC236}">
                  <a16:creationId xmlns:a16="http://schemas.microsoft.com/office/drawing/2014/main" id="{30CE92A6-F963-46E6-AAFF-BE089C7C530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547189" y="2516995"/>
              <a:ext cx="1457070" cy="2639797"/>
            </a:xfrm>
            <a:prstGeom prst="rect">
              <a:avLst/>
            </a:prstGeom>
          </p:spPr>
        </p:pic>
        <p:pic>
          <p:nvPicPr>
            <p:cNvPr id="22" name="Picture 21" descr="Icon&#10;&#10;Description automatically generated">
              <a:extLst>
                <a:ext uri="{FF2B5EF4-FFF2-40B4-BE49-F238E27FC236}">
                  <a16:creationId xmlns:a16="http://schemas.microsoft.com/office/drawing/2014/main" id="{6D6E28CF-966D-4B45-8331-6F783AA18FD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181237" y="2462712"/>
              <a:ext cx="1365622" cy="2511770"/>
            </a:xfrm>
            <a:prstGeom prst="rect">
              <a:avLst/>
            </a:prstGeom>
          </p:spPr>
        </p:pic>
        <p:pic>
          <p:nvPicPr>
            <p:cNvPr id="24" name="Picture 23" descr="Logo&#10;&#10;Description automatically generated">
              <a:extLst>
                <a:ext uri="{FF2B5EF4-FFF2-40B4-BE49-F238E27FC236}">
                  <a16:creationId xmlns:a16="http://schemas.microsoft.com/office/drawing/2014/main" id="{66E1C92C-F5BE-44D6-93EA-5FB7562974DD}"/>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723837" y="2401400"/>
              <a:ext cx="1810669" cy="2371550"/>
            </a:xfrm>
            <a:prstGeom prst="rect">
              <a:avLst/>
            </a:prstGeom>
          </p:spPr>
        </p:pic>
      </p:grpSp>
    </p:spTree>
    <p:extLst>
      <p:ext uri="{BB962C8B-B14F-4D97-AF65-F5344CB8AC3E}">
        <p14:creationId xmlns:p14="http://schemas.microsoft.com/office/powerpoint/2010/main" val="41308801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CA1626F-92AA-4E61-9A4E-4D7318E58B73}"/>
              </a:ext>
            </a:extLst>
          </p:cNvPr>
          <p:cNvSpPr>
            <a:spLocks noGrp="1"/>
          </p:cNvSpPr>
          <p:nvPr>
            <p:ph sz="quarter" idx="16"/>
          </p:nvPr>
        </p:nvSpPr>
        <p:spPr>
          <a:xfrm>
            <a:off x="424141" y="1779739"/>
            <a:ext cx="3857993" cy="1185857"/>
          </a:xfrm>
        </p:spPr>
        <p:txBody>
          <a:bodyPr lIns="91440" tIns="45720" rIns="91440" bIns="45720" anchor="t"/>
          <a:lstStyle/>
          <a:p>
            <a:pPr marL="0" indent="0">
              <a:buNone/>
            </a:pPr>
            <a:r>
              <a:rPr lang="en-US" dirty="0">
                <a:effectLst/>
                <a:ea typeface="MS Mincho"/>
                <a:cs typeface="Arial"/>
              </a:rPr>
              <a:t>Twice as many people assume that information imparted through physical mail is important, compared to digital.</a:t>
            </a:r>
            <a:endParaRPr lang="en-GB">
              <a:ea typeface="MS Mincho"/>
              <a:cs typeface="Arial"/>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3. when the information is important</a:t>
            </a:r>
          </a:p>
        </p:txBody>
      </p:sp>
      <p:sp>
        <p:nvSpPr>
          <p:cNvPr id="2" name="Text Placeholder 1">
            <a:extLst>
              <a:ext uri="{FF2B5EF4-FFF2-40B4-BE49-F238E27FC236}">
                <a16:creationId xmlns:a16="http://schemas.microsoft.com/office/drawing/2014/main" id="{A7D9BBC8-03EC-4DE9-9C11-670EE564F6A6}"/>
              </a:ext>
            </a:extLst>
          </p:cNvPr>
          <p:cNvSpPr>
            <a:spLocks noGrp="1"/>
          </p:cNvSpPr>
          <p:nvPr>
            <p:ph type="body" sz="quarter" idx="11"/>
          </p:nvPr>
        </p:nvSpPr>
        <p:spPr/>
        <p:txBody>
          <a:bodyPr/>
          <a:lstStyle/>
          <a:p>
            <a:endParaRPr lang="en-GB"/>
          </a:p>
        </p:txBody>
      </p:sp>
      <p:sp>
        <p:nvSpPr>
          <p:cNvPr id="7" name="TextBox 6">
            <a:extLst>
              <a:ext uri="{FF2B5EF4-FFF2-40B4-BE49-F238E27FC236}">
                <a16:creationId xmlns:a16="http://schemas.microsoft.com/office/drawing/2014/main" id="{CFE639DF-5D20-410E-96D2-959D1F323CC1}"/>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sp>
        <p:nvSpPr>
          <p:cNvPr id="10" name="TextBox 9">
            <a:extLst>
              <a:ext uri="{FF2B5EF4-FFF2-40B4-BE49-F238E27FC236}">
                <a16:creationId xmlns:a16="http://schemas.microsoft.com/office/drawing/2014/main" id="{E0146894-D5BA-4791-9E06-2F3A2325E1C0}"/>
              </a:ext>
            </a:extLst>
          </p:cNvPr>
          <p:cNvSpPr txBox="1"/>
          <p:nvPr/>
        </p:nvSpPr>
        <p:spPr>
          <a:xfrm>
            <a:off x="458363" y="4547268"/>
            <a:ext cx="2005063" cy="461665"/>
          </a:xfrm>
          <a:prstGeom prst="rect">
            <a:avLst/>
          </a:prstGeom>
          <a:noFill/>
        </p:spPr>
        <p:txBody>
          <a:bodyPr wrap="square" lIns="91440" tIns="45720" rIns="91440" bIns="45720" rtlCol="0" anchor="t">
            <a:spAutoFit/>
          </a:bodyPr>
          <a:lstStyle/>
          <a:p>
            <a:r>
              <a:rPr lang="en-GB" sz="1200" b="0" i="0" u="none" strike="noStrike" baseline="0" dirty="0">
                <a:solidFill>
                  <a:srgbClr val="000000"/>
                </a:solidFill>
                <a:latin typeface="Calibri" panose="020F0502020204030204" pitchFamily="34" charset="0"/>
              </a:rPr>
              <a:t>I would pay careful</a:t>
            </a:r>
            <a:endParaRPr lang="en-US"/>
          </a:p>
          <a:p>
            <a:r>
              <a:rPr lang="en-GB" sz="1200" b="0" i="0" u="none" strike="noStrike" baseline="0" dirty="0">
                <a:solidFill>
                  <a:srgbClr val="000000"/>
                </a:solidFill>
                <a:latin typeface="Calibri" panose="020F0502020204030204" pitchFamily="34" charset="0"/>
              </a:rPr>
              <a:t>attention to this</a:t>
            </a:r>
            <a:endParaRPr lang="en-GB" sz="1200" dirty="0">
              <a:cs typeface="Calibri"/>
            </a:endParaRPr>
          </a:p>
        </p:txBody>
      </p:sp>
      <p:pic>
        <p:nvPicPr>
          <p:cNvPr id="22" name="Picture 16" descr="Graphical user interface, application&#10;&#10;Description automatically generated">
            <a:extLst>
              <a:ext uri="{FF2B5EF4-FFF2-40B4-BE49-F238E27FC236}">
                <a16:creationId xmlns:a16="http://schemas.microsoft.com/office/drawing/2014/main" id="{5440A9E4-E6D7-4483-241B-F1BB104CE8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5810" y="3579984"/>
            <a:ext cx="4751572" cy="831946"/>
          </a:xfrm>
          <a:prstGeom prst="rect">
            <a:avLst/>
          </a:prstGeom>
        </p:spPr>
      </p:pic>
      <p:sp>
        <p:nvSpPr>
          <p:cNvPr id="30" name="Content Placeholder 3">
            <a:extLst>
              <a:ext uri="{FF2B5EF4-FFF2-40B4-BE49-F238E27FC236}">
                <a16:creationId xmlns:a16="http://schemas.microsoft.com/office/drawing/2014/main" id="{99C7809C-622D-8347-F536-461FA2359982}"/>
              </a:ext>
            </a:extLst>
          </p:cNvPr>
          <p:cNvSpPr txBox="1">
            <a:spLocks/>
          </p:cNvSpPr>
          <p:nvPr/>
        </p:nvSpPr>
        <p:spPr>
          <a:xfrm>
            <a:off x="425539" y="3128190"/>
            <a:ext cx="3857993" cy="323439"/>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ea typeface="MS Mincho"/>
                <a:cs typeface="Arial"/>
              </a:rPr>
              <a:t>Applies more to </a:t>
            </a:r>
            <a:r>
              <a:rPr lang="en-US" b="1" dirty="0">
                <a:solidFill>
                  <a:srgbClr val="FF0000"/>
                </a:solidFill>
                <a:ea typeface="MS Mincho"/>
                <a:cs typeface="Arial"/>
              </a:rPr>
              <a:t>mail</a:t>
            </a:r>
            <a:r>
              <a:rPr lang="en-US" dirty="0">
                <a:ea typeface="MS Mincho"/>
                <a:cs typeface="Arial"/>
              </a:rPr>
              <a:t> or </a:t>
            </a:r>
            <a:r>
              <a:rPr lang="en-US" b="1" dirty="0">
                <a:ea typeface="MS Mincho"/>
                <a:cs typeface="Arial"/>
              </a:rPr>
              <a:t>digital </a:t>
            </a:r>
            <a:r>
              <a:rPr lang="en-US" dirty="0">
                <a:ea typeface="MS Mincho"/>
                <a:cs typeface="Arial"/>
              </a:rPr>
              <a:t>(%)</a:t>
            </a:r>
            <a:endParaRPr lang="en-US" dirty="0"/>
          </a:p>
        </p:txBody>
      </p:sp>
    </p:spTree>
    <p:extLst>
      <p:ext uri="{BB962C8B-B14F-4D97-AF65-F5344CB8AC3E}">
        <p14:creationId xmlns:p14="http://schemas.microsoft.com/office/powerpoint/2010/main" val="11166828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D7AE51E-4F4A-4F12-8128-AA067BE7E06C}"/>
              </a:ext>
            </a:extLst>
          </p:cNvPr>
          <p:cNvSpPr>
            <a:spLocks noGrp="1"/>
          </p:cNvSpPr>
          <p:nvPr>
            <p:ph type="body" sz="quarter" idx="25"/>
          </p:nvPr>
        </p:nvSpPr>
        <p:spPr/>
        <p:txBody>
          <a:bodyPr/>
          <a:lstStyle/>
          <a:p>
            <a:r>
              <a:rPr lang="en-GB" sz="2800" dirty="0"/>
              <a:t>Customers are in control</a:t>
            </a:r>
          </a:p>
        </p:txBody>
      </p:sp>
      <p:sp>
        <p:nvSpPr>
          <p:cNvPr id="8" name="Text Placeholder 7">
            <a:extLst>
              <a:ext uri="{FF2B5EF4-FFF2-40B4-BE49-F238E27FC236}">
                <a16:creationId xmlns:a16="http://schemas.microsoft.com/office/drawing/2014/main" id="{C097E813-3344-491D-A33C-E1EC4DB07C1A}"/>
              </a:ext>
            </a:extLst>
          </p:cNvPr>
          <p:cNvSpPr>
            <a:spLocks noGrp="1"/>
          </p:cNvSpPr>
          <p:nvPr>
            <p:ph type="body" sz="quarter" idx="26"/>
          </p:nvPr>
        </p:nvSpPr>
        <p:spPr/>
        <p:txBody>
          <a:bodyPr/>
          <a:lstStyle/>
          <a:p>
            <a:r>
              <a:rPr lang="en-GB" sz="2800" dirty="0"/>
              <a:t>CX is the</a:t>
            </a:r>
            <a:br>
              <a:rPr lang="en-GB" sz="2800" dirty="0"/>
            </a:br>
            <a:r>
              <a:rPr lang="en-GB" sz="2800" dirty="0"/>
              <a:t>#1 priority</a:t>
            </a:r>
          </a:p>
        </p:txBody>
      </p:sp>
      <p:sp>
        <p:nvSpPr>
          <p:cNvPr id="9" name="Text Placeholder 8">
            <a:extLst>
              <a:ext uri="{FF2B5EF4-FFF2-40B4-BE49-F238E27FC236}">
                <a16:creationId xmlns:a16="http://schemas.microsoft.com/office/drawing/2014/main" id="{B6CDA198-19BA-48E3-A809-66F4706FE41B}"/>
              </a:ext>
            </a:extLst>
          </p:cNvPr>
          <p:cNvSpPr>
            <a:spLocks noGrp="1"/>
          </p:cNvSpPr>
          <p:nvPr>
            <p:ph type="body" sz="quarter" idx="27"/>
          </p:nvPr>
        </p:nvSpPr>
        <p:spPr/>
        <p:txBody>
          <a:bodyPr/>
          <a:lstStyle/>
          <a:p>
            <a:r>
              <a:rPr lang="en-GB" sz="2800" dirty="0"/>
              <a:t>CX is good</a:t>
            </a:r>
            <a:br>
              <a:rPr lang="en-GB" sz="2800" dirty="0"/>
            </a:br>
            <a:r>
              <a:rPr lang="en-GB" sz="2800" dirty="0"/>
              <a:t>for business</a:t>
            </a:r>
          </a:p>
        </p:txBody>
      </p:sp>
      <p:sp>
        <p:nvSpPr>
          <p:cNvPr id="10" name="Text Placeholder 9">
            <a:extLst>
              <a:ext uri="{FF2B5EF4-FFF2-40B4-BE49-F238E27FC236}">
                <a16:creationId xmlns:a16="http://schemas.microsoft.com/office/drawing/2014/main" id="{3C341825-3AA7-40DC-9952-857A26F41B72}"/>
              </a:ext>
            </a:extLst>
          </p:cNvPr>
          <p:cNvSpPr>
            <a:spLocks noGrp="1"/>
          </p:cNvSpPr>
          <p:nvPr>
            <p:ph type="body" sz="quarter" idx="28"/>
          </p:nvPr>
        </p:nvSpPr>
        <p:spPr/>
        <p:txBody>
          <a:bodyPr/>
          <a:lstStyle/>
          <a:p>
            <a:r>
              <a:rPr lang="en-US" sz="1800" dirty="0">
                <a:effectLst/>
                <a:latin typeface="Calibri" panose="020F0502020204030204" pitchFamily="34" charset="0"/>
                <a:ea typeface="MS Mincho" panose="02020609040205080304" pitchFamily="49" charset="-128"/>
                <a:cs typeface="Arial" panose="020B0604020202020204" pitchFamily="34" charset="0"/>
              </a:rPr>
              <a:t>Customers now judge brands based on how well they feel those brands meet their changing needs.</a:t>
            </a:r>
            <a:endParaRPr lang="en-GB" dirty="0"/>
          </a:p>
        </p:txBody>
      </p:sp>
      <p:sp>
        <p:nvSpPr>
          <p:cNvPr id="11" name="Text Placeholder 10">
            <a:extLst>
              <a:ext uri="{FF2B5EF4-FFF2-40B4-BE49-F238E27FC236}">
                <a16:creationId xmlns:a16="http://schemas.microsoft.com/office/drawing/2014/main" id="{A0651EF4-89DA-4EA3-B1FA-A26DA4DFA71D}"/>
              </a:ext>
            </a:extLst>
          </p:cNvPr>
          <p:cNvSpPr>
            <a:spLocks noGrp="1"/>
          </p:cNvSpPr>
          <p:nvPr>
            <p:ph type="body" sz="quarter" idx="29"/>
          </p:nvPr>
        </p:nvSpPr>
        <p:spPr/>
        <p:txBody>
          <a:bodyPr/>
          <a:lstStyle/>
          <a:p>
            <a:r>
              <a:rPr lang="en-US" sz="1800" dirty="0">
                <a:effectLst/>
                <a:latin typeface="Calibri" panose="020F0502020204030204" pitchFamily="34" charset="0"/>
                <a:ea typeface="MS Mincho" panose="02020609040205080304" pitchFamily="49" charset="-128"/>
                <a:cs typeface="Arial" panose="020B0604020202020204" pitchFamily="34" charset="0"/>
              </a:rPr>
              <a:t>89% of companies surveyed by Gartner said CX is the new competitive battlefield. </a:t>
            </a:r>
            <a:endParaRPr lang="en-GB" dirty="0"/>
          </a:p>
        </p:txBody>
      </p:sp>
      <p:sp>
        <p:nvSpPr>
          <p:cNvPr id="12" name="Text Placeholder 11">
            <a:extLst>
              <a:ext uri="{FF2B5EF4-FFF2-40B4-BE49-F238E27FC236}">
                <a16:creationId xmlns:a16="http://schemas.microsoft.com/office/drawing/2014/main" id="{8890BC8A-7129-4C6C-9749-53D7703A2C4B}"/>
              </a:ext>
            </a:extLst>
          </p:cNvPr>
          <p:cNvSpPr>
            <a:spLocks noGrp="1"/>
          </p:cNvSpPr>
          <p:nvPr>
            <p:ph type="body" sz="quarter" idx="30"/>
          </p:nvPr>
        </p:nvSpPr>
        <p:spPr/>
        <p:txBody>
          <a:bodyPr/>
          <a:lstStyle/>
          <a:p>
            <a:r>
              <a:rPr lang="en-US" sz="1800" dirty="0">
                <a:effectLst/>
                <a:latin typeface="Calibri" panose="020F0502020204030204" pitchFamily="34" charset="0"/>
                <a:ea typeface="MS Mincho" panose="02020609040205080304" pitchFamily="49" charset="-128"/>
                <a:cs typeface="Arial" panose="020B0604020202020204" pitchFamily="34" charset="0"/>
              </a:rPr>
              <a:t>CX leaders have higher revenue growth – </a:t>
            </a:r>
            <a:r>
              <a:rPr lang="en-US" dirty="0">
                <a:ea typeface="MS Mincho" panose="02020609040205080304" pitchFamily="49" charset="-128"/>
                <a:cs typeface="Arial" panose="020B0604020202020204" pitchFamily="34" charset="0"/>
              </a:rPr>
              <a:t>a</a:t>
            </a:r>
            <a:r>
              <a:rPr lang="en-US" sz="1800" dirty="0">
                <a:effectLst/>
                <a:latin typeface="Calibri" panose="020F0502020204030204" pitchFamily="34" charset="0"/>
                <a:ea typeface="MS Mincho" panose="02020609040205080304" pitchFamily="49" charset="-128"/>
                <a:cs typeface="Arial" panose="020B0604020202020204" pitchFamily="34" charset="0"/>
              </a:rPr>
              <a:t>s much as </a:t>
            </a:r>
            <a:r>
              <a:rPr lang="en-US" dirty="0">
                <a:ea typeface="MS Mincho" panose="02020609040205080304" pitchFamily="49" charset="-128"/>
                <a:cs typeface="Arial" panose="020B0604020202020204" pitchFamily="34" charset="0"/>
              </a:rPr>
              <a:t>4.4</a:t>
            </a:r>
            <a:r>
              <a:rPr lang="en-US" sz="1800" dirty="0">
                <a:effectLst/>
                <a:latin typeface="Calibri" panose="020F0502020204030204" pitchFamily="34" charset="0"/>
                <a:ea typeface="MS Mincho" panose="02020609040205080304" pitchFamily="49" charset="-128"/>
                <a:cs typeface="Arial" panose="020B0604020202020204" pitchFamily="34" charset="0"/>
              </a:rPr>
              <a:t> x as CX laggards.</a:t>
            </a:r>
            <a:endParaRPr lang="en-GB" dirty="0"/>
          </a:p>
        </p:txBody>
      </p:sp>
      <p:sp>
        <p:nvSpPr>
          <p:cNvPr id="13" name="Text Placeholder 12">
            <a:extLst>
              <a:ext uri="{FF2B5EF4-FFF2-40B4-BE49-F238E27FC236}">
                <a16:creationId xmlns:a16="http://schemas.microsoft.com/office/drawing/2014/main" id="{9BAC78AA-AF3A-4AE6-853A-4BE4461CDCF0}"/>
              </a:ext>
            </a:extLst>
          </p:cNvPr>
          <p:cNvSpPr>
            <a:spLocks noGrp="1"/>
          </p:cNvSpPr>
          <p:nvPr>
            <p:ph type="body" sz="quarter" idx="31"/>
          </p:nvPr>
        </p:nvSpPr>
        <p:spPr/>
        <p:txBody>
          <a:bodyPr/>
          <a:lstStyle/>
          <a:p>
            <a:r>
              <a:rPr lang="en-GB" sz="2800" dirty="0"/>
              <a:t>CX is a key differentiator</a:t>
            </a:r>
          </a:p>
        </p:txBody>
      </p:sp>
      <p:sp>
        <p:nvSpPr>
          <p:cNvPr id="14" name="Text Placeholder 13">
            <a:extLst>
              <a:ext uri="{FF2B5EF4-FFF2-40B4-BE49-F238E27FC236}">
                <a16:creationId xmlns:a16="http://schemas.microsoft.com/office/drawing/2014/main" id="{A33B9E40-3566-4FBF-BE7B-BEE6124C0CE6}"/>
              </a:ext>
            </a:extLst>
          </p:cNvPr>
          <p:cNvSpPr>
            <a:spLocks noGrp="1"/>
          </p:cNvSpPr>
          <p:nvPr>
            <p:ph type="body" sz="quarter" idx="32"/>
          </p:nvPr>
        </p:nvSpPr>
        <p:spPr/>
        <p:txBody>
          <a:bodyPr/>
          <a:lstStyle/>
          <a:p>
            <a:r>
              <a:rPr lang="en-US" dirty="0">
                <a:ea typeface="MS Mincho" panose="02020609040205080304" pitchFamily="49" charset="-128"/>
                <a:cs typeface="Arial" panose="020B0604020202020204" pitchFamily="34" charset="0"/>
              </a:rPr>
              <a:t>B</a:t>
            </a:r>
            <a:r>
              <a:rPr lang="en-US" sz="1800" dirty="0">
                <a:effectLst/>
                <a:latin typeface="Calibri" panose="020F0502020204030204" pitchFamily="34" charset="0"/>
                <a:ea typeface="MS Mincho" panose="02020609040205080304" pitchFamily="49" charset="-128"/>
                <a:cs typeface="Arial" panose="020B0604020202020204" pitchFamily="34" charset="0"/>
              </a:rPr>
              <a:t>usinesses should want </a:t>
            </a:r>
            <a:r>
              <a:rPr lang="en-GB" sz="1800" dirty="0">
                <a:effectLst/>
                <a:latin typeface="Calibri" panose="020F0502020204030204" pitchFamily="34" charset="0"/>
                <a:ea typeface="MS Mincho" panose="02020609040205080304" pitchFamily="49" charset="-128"/>
              </a:rPr>
              <a:t>to leverage every opportunity to reinforce and enhance their relationship with customers.</a:t>
            </a:r>
            <a:endParaRPr lang="en-GB" dirty="0"/>
          </a:p>
        </p:txBody>
      </p:sp>
      <p:sp>
        <p:nvSpPr>
          <p:cNvPr id="5" name="Title 4">
            <a:extLst>
              <a:ext uri="{FF2B5EF4-FFF2-40B4-BE49-F238E27FC236}">
                <a16:creationId xmlns:a16="http://schemas.microsoft.com/office/drawing/2014/main" id="{F6A30C87-47C1-4160-96BE-A77977A6179A}"/>
              </a:ext>
            </a:extLst>
          </p:cNvPr>
          <p:cNvSpPr>
            <a:spLocks noGrp="1"/>
          </p:cNvSpPr>
          <p:nvPr>
            <p:ph type="title"/>
          </p:nvPr>
        </p:nvSpPr>
        <p:spPr/>
        <p:txBody>
          <a:bodyPr/>
          <a:lstStyle/>
          <a:p>
            <a:r>
              <a:rPr lang="en-GB" sz="2400" dirty="0"/>
              <a:t>CUSTOMER EXPERIENCE (CX) IS INCREASINGLY IMPORTANT</a:t>
            </a:r>
          </a:p>
        </p:txBody>
      </p:sp>
      <p:sp>
        <p:nvSpPr>
          <p:cNvPr id="6" name="Text Placeholder 5">
            <a:extLst>
              <a:ext uri="{FF2B5EF4-FFF2-40B4-BE49-F238E27FC236}">
                <a16:creationId xmlns:a16="http://schemas.microsoft.com/office/drawing/2014/main" id="{6E61BEDD-6A14-4683-9228-C06719CB36C2}"/>
              </a:ext>
            </a:extLst>
          </p:cNvPr>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68572606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54EA240-E002-4A4A-955B-22C236223836}"/>
              </a:ext>
            </a:extLst>
          </p:cNvPr>
          <p:cNvSpPr>
            <a:spLocks noGrp="1"/>
          </p:cNvSpPr>
          <p:nvPr>
            <p:ph sz="quarter" idx="16"/>
          </p:nvPr>
        </p:nvSpPr>
        <p:spPr/>
        <p:txBody>
          <a:bodyPr lIns="91440" tIns="45720" rIns="91440" bIns="45720" anchor="t"/>
          <a:lstStyle/>
          <a:p>
            <a:pPr marL="0" indent="0">
              <a:buNone/>
            </a:pPr>
            <a:r>
              <a:rPr lang="en-US" dirty="0">
                <a:effectLst/>
                <a:ea typeface="MS Mincho"/>
                <a:cs typeface="Arial"/>
              </a:rPr>
              <a:t>People are twice as likely to say that they understand complex information when it is presented to them in physical mail (31%) compared to digital formats (16%).</a:t>
            </a:r>
            <a:endParaRPr lang="en-GB" dirty="0">
              <a:ea typeface="MS Mincho"/>
              <a:cs typeface="Arial"/>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4. when the information is complex</a:t>
            </a:r>
          </a:p>
        </p:txBody>
      </p:sp>
      <p:sp>
        <p:nvSpPr>
          <p:cNvPr id="2" name="Text Placeholder 1">
            <a:extLst>
              <a:ext uri="{FF2B5EF4-FFF2-40B4-BE49-F238E27FC236}">
                <a16:creationId xmlns:a16="http://schemas.microsoft.com/office/drawing/2014/main" id="{DD70C6F0-38F4-4820-A78C-F5645D191F88}"/>
              </a:ext>
            </a:extLst>
          </p:cNvPr>
          <p:cNvSpPr>
            <a:spLocks noGrp="1"/>
          </p:cNvSpPr>
          <p:nvPr>
            <p:ph type="body" sz="quarter" idx="11"/>
          </p:nvPr>
        </p:nvSpPr>
        <p:spPr/>
        <p:txBody>
          <a:bodyPr/>
          <a:lstStyle/>
          <a:p>
            <a:endParaRPr lang="en-GB"/>
          </a:p>
        </p:txBody>
      </p:sp>
      <p:sp>
        <p:nvSpPr>
          <p:cNvPr id="10" name="TextBox 9">
            <a:extLst>
              <a:ext uri="{FF2B5EF4-FFF2-40B4-BE49-F238E27FC236}">
                <a16:creationId xmlns:a16="http://schemas.microsoft.com/office/drawing/2014/main" id="{54D801C9-D575-458A-A46C-C7C5C0074003}"/>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pic>
        <p:nvPicPr>
          <p:cNvPr id="16" name="Picture 17" descr="Graphical user interface, application&#10;&#10;Description automatically generated">
            <a:extLst>
              <a:ext uri="{FF2B5EF4-FFF2-40B4-BE49-F238E27FC236}">
                <a16:creationId xmlns:a16="http://schemas.microsoft.com/office/drawing/2014/main" id="{8E84BA8F-A92B-B758-C4FF-EF686534598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2557" y="3441901"/>
            <a:ext cx="4751572" cy="831830"/>
          </a:xfrm>
          <a:prstGeom prst="rect">
            <a:avLst/>
          </a:prstGeom>
        </p:spPr>
      </p:pic>
      <p:sp>
        <p:nvSpPr>
          <p:cNvPr id="20" name="TextBox 19">
            <a:extLst>
              <a:ext uri="{FF2B5EF4-FFF2-40B4-BE49-F238E27FC236}">
                <a16:creationId xmlns:a16="http://schemas.microsoft.com/office/drawing/2014/main" id="{4DBF7971-5BC6-A0CC-E818-B459D29B9627}"/>
              </a:ext>
            </a:extLst>
          </p:cNvPr>
          <p:cNvSpPr txBox="1"/>
          <p:nvPr/>
        </p:nvSpPr>
        <p:spPr>
          <a:xfrm>
            <a:off x="458363" y="4407407"/>
            <a:ext cx="2810468" cy="646331"/>
          </a:xfrm>
          <a:prstGeom prst="rect">
            <a:avLst/>
          </a:prstGeom>
          <a:noFill/>
        </p:spPr>
        <p:txBody>
          <a:bodyPr wrap="square" lIns="91440" tIns="45720" rIns="91440" bIns="45720" rtlCol="0" anchor="t">
            <a:spAutoFit/>
          </a:bodyPr>
          <a:lstStyle/>
          <a:p>
            <a:r>
              <a:rPr lang="en-GB" sz="1200" dirty="0">
                <a:ea typeface="+mn-lt"/>
                <a:cs typeface="+mn-lt"/>
              </a:rPr>
              <a:t>A good way </a:t>
            </a:r>
            <a:r>
              <a:rPr lang="en-GB" sz="1200" b="0" i="0" u="none" strike="noStrike" baseline="0" dirty="0">
                <a:ea typeface="+mn-lt"/>
                <a:cs typeface="+mn-lt"/>
              </a:rPr>
              <a:t>to </a:t>
            </a:r>
            <a:r>
              <a:rPr lang="en-GB" sz="1200" dirty="0">
                <a:ea typeface="+mn-lt"/>
                <a:cs typeface="+mn-lt"/>
              </a:rPr>
              <a:t>help me</a:t>
            </a:r>
          </a:p>
          <a:p>
            <a:r>
              <a:rPr lang="en-GB" sz="1200" dirty="0">
                <a:ea typeface="+mn-lt"/>
                <a:cs typeface="+mn-lt"/>
              </a:rPr>
              <a:t> understand complex</a:t>
            </a:r>
          </a:p>
          <a:p>
            <a:r>
              <a:rPr lang="en-GB" sz="1200" dirty="0">
                <a:ea typeface="+mn-lt"/>
                <a:cs typeface="+mn-lt"/>
              </a:rPr>
              <a:t> information</a:t>
            </a:r>
            <a:endParaRPr lang="en-US" dirty="0"/>
          </a:p>
        </p:txBody>
      </p:sp>
      <p:sp>
        <p:nvSpPr>
          <p:cNvPr id="24" name="Content Placeholder 3">
            <a:extLst>
              <a:ext uri="{FF2B5EF4-FFF2-40B4-BE49-F238E27FC236}">
                <a16:creationId xmlns:a16="http://schemas.microsoft.com/office/drawing/2014/main" id="{D978667F-5C37-EFD9-D98B-61D17A3CCD62}"/>
              </a:ext>
            </a:extLst>
          </p:cNvPr>
          <p:cNvSpPr txBox="1">
            <a:spLocks/>
          </p:cNvSpPr>
          <p:nvPr/>
        </p:nvSpPr>
        <p:spPr>
          <a:xfrm>
            <a:off x="425539" y="2988329"/>
            <a:ext cx="3857993" cy="323439"/>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ea typeface="MS Mincho"/>
                <a:cs typeface="Arial"/>
              </a:rPr>
              <a:t>Applies more to </a:t>
            </a:r>
            <a:r>
              <a:rPr lang="en-US" b="1" dirty="0">
                <a:solidFill>
                  <a:srgbClr val="FF0000"/>
                </a:solidFill>
                <a:ea typeface="MS Mincho"/>
                <a:cs typeface="Arial"/>
              </a:rPr>
              <a:t>mail</a:t>
            </a:r>
            <a:r>
              <a:rPr lang="en-US" dirty="0">
                <a:ea typeface="MS Mincho"/>
                <a:cs typeface="Arial"/>
              </a:rPr>
              <a:t> or </a:t>
            </a:r>
            <a:r>
              <a:rPr lang="en-US" b="1" dirty="0">
                <a:ea typeface="MS Mincho"/>
                <a:cs typeface="Arial"/>
              </a:rPr>
              <a:t>digital </a:t>
            </a:r>
            <a:r>
              <a:rPr lang="en-US" dirty="0">
                <a:ea typeface="MS Mincho"/>
                <a:cs typeface="Arial"/>
              </a:rPr>
              <a:t>(%)</a:t>
            </a:r>
            <a:endParaRPr lang="en-US" dirty="0"/>
          </a:p>
        </p:txBody>
      </p:sp>
      <p:pic>
        <p:nvPicPr>
          <p:cNvPr id="5" name="Picture 5" descr="Chart, timeline&#10;&#10;Description automatically generated">
            <a:extLst>
              <a:ext uri="{FF2B5EF4-FFF2-40B4-BE49-F238E27FC236}">
                <a16:creationId xmlns:a16="http://schemas.microsoft.com/office/drawing/2014/main" id="{7EB2F36E-194B-FD80-0F50-02E82565CE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903934" y="1895844"/>
            <a:ext cx="5827734" cy="4057952"/>
          </a:xfrm>
          <a:prstGeom prst="rect">
            <a:avLst/>
          </a:prstGeom>
        </p:spPr>
      </p:pic>
    </p:spTree>
    <p:extLst>
      <p:ext uri="{BB962C8B-B14F-4D97-AF65-F5344CB8AC3E}">
        <p14:creationId xmlns:p14="http://schemas.microsoft.com/office/powerpoint/2010/main" val="1600535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86B88EBF-37B3-4669-A7D0-5FE9836BE3B0}"/>
              </a:ext>
            </a:extLst>
          </p:cNvPr>
          <p:cNvSpPr>
            <a:spLocks noGrp="1"/>
          </p:cNvSpPr>
          <p:nvPr>
            <p:ph sz="quarter" idx="16"/>
          </p:nvPr>
        </p:nvSpPr>
        <p:spPr>
          <a:xfrm>
            <a:off x="424141" y="1779739"/>
            <a:ext cx="5097037" cy="1251391"/>
          </a:xfrm>
        </p:spPr>
        <p:txBody>
          <a:bodyPr lIns="91440" tIns="45720" rIns="91440" bIns="45720" anchor="t"/>
          <a:lstStyle/>
          <a:p>
            <a:pPr marL="0" indent="0">
              <a:buNone/>
            </a:pPr>
            <a:r>
              <a:rPr lang="en-US" dirty="0">
                <a:effectLst/>
                <a:latin typeface="Calibri"/>
                <a:ea typeface="MS Mincho"/>
                <a:cs typeface="Arial"/>
              </a:rPr>
              <a:t>Consumers across all age groups appreciate physical mail for the ease of reference, the ability to </a:t>
            </a:r>
            <a:r>
              <a:rPr lang="en-US" dirty="0" err="1">
                <a:effectLst/>
                <a:latin typeface="Calibri"/>
                <a:ea typeface="MS Mincho"/>
                <a:cs typeface="Arial"/>
              </a:rPr>
              <a:t>organise</a:t>
            </a:r>
            <a:r>
              <a:rPr lang="en-US" dirty="0">
                <a:effectLst/>
                <a:latin typeface="Calibri"/>
                <a:ea typeface="MS Mincho"/>
                <a:cs typeface="Arial"/>
              </a:rPr>
              <a:t> and to make notes or comments. 54% say physical copies help them feel more </a:t>
            </a:r>
            <a:r>
              <a:rPr lang="en-US" dirty="0" err="1">
                <a:effectLst/>
                <a:latin typeface="Calibri"/>
                <a:ea typeface="MS Mincho"/>
                <a:cs typeface="Arial"/>
              </a:rPr>
              <a:t>organised</a:t>
            </a:r>
            <a:r>
              <a:rPr lang="en-US" dirty="0">
                <a:effectLst/>
                <a:latin typeface="Calibri"/>
                <a:ea typeface="MS Mincho"/>
                <a:cs typeface="Arial"/>
              </a:rPr>
              <a:t>.</a:t>
            </a:r>
            <a:r>
              <a:rPr lang="en-US" dirty="0">
                <a:latin typeface="Calibri"/>
                <a:ea typeface="MS Mincho"/>
                <a:cs typeface="Arial"/>
              </a:rPr>
              <a:t> </a:t>
            </a:r>
            <a:endParaRPr lang="en-GB">
              <a:cs typeface="Calibri"/>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5. when the information needs to be kept</a:t>
            </a:r>
          </a:p>
        </p:txBody>
      </p:sp>
      <p:sp>
        <p:nvSpPr>
          <p:cNvPr id="2" name="Text Placeholder 1">
            <a:extLst>
              <a:ext uri="{FF2B5EF4-FFF2-40B4-BE49-F238E27FC236}">
                <a16:creationId xmlns:a16="http://schemas.microsoft.com/office/drawing/2014/main" id="{1567517A-8DA9-40A2-A887-9F97B127D9A8}"/>
              </a:ext>
            </a:extLst>
          </p:cNvPr>
          <p:cNvSpPr>
            <a:spLocks noGrp="1"/>
          </p:cNvSpPr>
          <p:nvPr>
            <p:ph type="body" sz="quarter" idx="11"/>
          </p:nvPr>
        </p:nvSpPr>
        <p:spPr/>
        <p:txBody>
          <a:bodyPr/>
          <a:lstStyle/>
          <a:p>
            <a:endParaRPr lang="en-GB" dirty="0"/>
          </a:p>
        </p:txBody>
      </p:sp>
      <p:sp>
        <p:nvSpPr>
          <p:cNvPr id="9" name="TextBox 8">
            <a:extLst>
              <a:ext uri="{FF2B5EF4-FFF2-40B4-BE49-F238E27FC236}">
                <a16:creationId xmlns:a16="http://schemas.microsoft.com/office/drawing/2014/main" id="{AF67AC9A-9AE1-4B2D-9BA2-0EDD04F0E1CA}"/>
              </a:ext>
            </a:extLst>
          </p:cNvPr>
          <p:cNvSpPr txBox="1"/>
          <p:nvPr/>
        </p:nvSpPr>
        <p:spPr>
          <a:xfrm>
            <a:off x="876300" y="6259334"/>
            <a:ext cx="2704202" cy="369332"/>
          </a:xfrm>
          <a:prstGeom prst="rect">
            <a:avLst/>
          </a:prstGeom>
          <a:noFill/>
        </p:spPr>
        <p:txBody>
          <a:bodyPr wrap="none" rtlCol="0">
            <a:spAutoFit/>
          </a:bodyPr>
          <a:lstStyle/>
          <a:p>
            <a:r>
              <a:rPr lang="en-GB" dirty="0"/>
              <a:t>Trinity McQueen full quant</a:t>
            </a:r>
          </a:p>
        </p:txBody>
      </p:sp>
      <p:sp>
        <p:nvSpPr>
          <p:cNvPr id="10" name="TextBox 9">
            <a:extLst>
              <a:ext uri="{FF2B5EF4-FFF2-40B4-BE49-F238E27FC236}">
                <a16:creationId xmlns:a16="http://schemas.microsoft.com/office/drawing/2014/main" id="{A5CB0287-E006-4ADF-AB3C-5E538D7FD6D7}"/>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pic>
        <p:nvPicPr>
          <p:cNvPr id="7" name="Picture 6" descr="Graphical user interface&#10;&#10;Description automatically generated">
            <a:extLst>
              <a:ext uri="{FF2B5EF4-FFF2-40B4-BE49-F238E27FC236}">
                <a16:creationId xmlns:a16="http://schemas.microsoft.com/office/drawing/2014/main" id="{727CFA23-D874-4D62-A6D1-51EEDD32483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33954" y="1394928"/>
            <a:ext cx="5522408" cy="4485620"/>
          </a:xfrm>
          <a:prstGeom prst="rect">
            <a:avLst/>
          </a:prstGeom>
        </p:spPr>
      </p:pic>
    </p:spTree>
    <p:extLst>
      <p:ext uri="{BB962C8B-B14F-4D97-AF65-F5344CB8AC3E}">
        <p14:creationId xmlns:p14="http://schemas.microsoft.com/office/powerpoint/2010/main" val="36650199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83B38E7-6C8D-4794-865E-620C53CD0D88}"/>
              </a:ext>
            </a:extLst>
          </p:cNvPr>
          <p:cNvSpPr>
            <a:spLocks noGrp="1"/>
          </p:cNvSpPr>
          <p:nvPr>
            <p:ph sz="quarter" idx="16"/>
          </p:nvPr>
        </p:nvSpPr>
        <p:spPr>
          <a:xfrm>
            <a:off x="424141" y="1779739"/>
            <a:ext cx="3749160" cy="1384382"/>
          </a:xfrm>
        </p:spPr>
        <p:txBody>
          <a:bodyPr lIns="91440" tIns="45720" rIns="91440" bIns="45720" anchor="t"/>
          <a:lstStyle/>
          <a:p>
            <a:pPr marL="0" indent="0">
              <a:buNone/>
            </a:pPr>
            <a:r>
              <a:rPr lang="en-US" dirty="0">
                <a:effectLst/>
                <a:latin typeface="Calibri"/>
                <a:ea typeface="MS Mincho"/>
                <a:cs typeface="Arial"/>
              </a:rPr>
              <a:t>More than twice as many people feel that physical mail is private and secure. More people associate scams with digital channels than physical ones, by a 4-to-1 margin.</a:t>
            </a:r>
            <a:r>
              <a:rPr lang="en-US" dirty="0">
                <a:latin typeface="Calibri"/>
                <a:ea typeface="MS Mincho"/>
                <a:cs typeface="Arial"/>
              </a:rPr>
              <a:t> </a:t>
            </a:r>
            <a:endParaRPr lang="en-GB" dirty="0">
              <a:effectLst/>
              <a:latin typeface="Cambria" panose="02040503050406030204" pitchFamily="18" charset="0"/>
              <a:ea typeface="MS Mincho" panose="02020609040205080304" pitchFamily="49" charset="-128"/>
              <a:cs typeface="Arial" panose="020B0604020202020204" pitchFamily="34" charset="0"/>
            </a:endParaRPr>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6. when there are privacy or security concerns</a:t>
            </a:r>
          </a:p>
        </p:txBody>
      </p:sp>
      <p:sp>
        <p:nvSpPr>
          <p:cNvPr id="2" name="Text Placeholder 1">
            <a:extLst>
              <a:ext uri="{FF2B5EF4-FFF2-40B4-BE49-F238E27FC236}">
                <a16:creationId xmlns:a16="http://schemas.microsoft.com/office/drawing/2014/main" id="{0AC7FDA0-3E46-4090-A88B-6ED90960BEFC}"/>
              </a:ext>
            </a:extLst>
          </p:cNvPr>
          <p:cNvSpPr>
            <a:spLocks noGrp="1"/>
          </p:cNvSpPr>
          <p:nvPr>
            <p:ph type="body" sz="quarter" idx="11"/>
          </p:nvPr>
        </p:nvSpPr>
        <p:spPr/>
        <p:txBody>
          <a:bodyPr/>
          <a:lstStyle/>
          <a:p>
            <a:endParaRPr lang="en-GB"/>
          </a:p>
        </p:txBody>
      </p:sp>
      <p:sp>
        <p:nvSpPr>
          <p:cNvPr id="7" name="TextBox 6">
            <a:extLst>
              <a:ext uri="{FF2B5EF4-FFF2-40B4-BE49-F238E27FC236}">
                <a16:creationId xmlns:a16="http://schemas.microsoft.com/office/drawing/2014/main" id="{568BAD36-8877-410D-8A47-B293DE105D3A}"/>
              </a:ext>
            </a:extLst>
          </p:cNvPr>
          <p:cNvSpPr txBox="1"/>
          <p:nvPr/>
        </p:nvSpPr>
        <p:spPr bwMode="white">
          <a:xfrm>
            <a:off x="5818653" y="6443089"/>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sp>
        <p:nvSpPr>
          <p:cNvPr id="10" name="TextBox 9">
            <a:extLst>
              <a:ext uri="{FF2B5EF4-FFF2-40B4-BE49-F238E27FC236}">
                <a16:creationId xmlns:a16="http://schemas.microsoft.com/office/drawing/2014/main" id="{7DA5017F-FA12-45E2-BDBD-E5619B095054}"/>
              </a:ext>
            </a:extLst>
          </p:cNvPr>
          <p:cNvSpPr txBox="1"/>
          <p:nvPr/>
        </p:nvSpPr>
        <p:spPr>
          <a:xfrm>
            <a:off x="4765859" y="3193439"/>
            <a:ext cx="1299411" cy="584775"/>
          </a:xfrm>
          <a:prstGeom prst="rect">
            <a:avLst/>
          </a:prstGeom>
          <a:noFill/>
        </p:spPr>
        <p:txBody>
          <a:bodyPr wrap="square" rtlCol="0">
            <a:spAutoFit/>
          </a:bodyPr>
          <a:lstStyle/>
          <a:p>
            <a:pPr algn="r"/>
            <a:r>
              <a:rPr lang="en-GB" sz="1600" dirty="0"/>
              <a:t>Feels private and secure</a:t>
            </a:r>
          </a:p>
        </p:txBody>
      </p:sp>
      <p:sp>
        <p:nvSpPr>
          <p:cNvPr id="11" name="TextBox 10">
            <a:extLst>
              <a:ext uri="{FF2B5EF4-FFF2-40B4-BE49-F238E27FC236}">
                <a16:creationId xmlns:a16="http://schemas.microsoft.com/office/drawing/2014/main" id="{7FEF195C-EC37-4966-A809-EC57521981B3}"/>
              </a:ext>
            </a:extLst>
          </p:cNvPr>
          <p:cNvSpPr txBox="1"/>
          <p:nvPr/>
        </p:nvSpPr>
        <p:spPr>
          <a:xfrm>
            <a:off x="4494504" y="4251551"/>
            <a:ext cx="1569655" cy="584775"/>
          </a:xfrm>
          <a:prstGeom prst="rect">
            <a:avLst/>
          </a:prstGeom>
          <a:noFill/>
        </p:spPr>
        <p:txBody>
          <a:bodyPr wrap="square" rtlCol="0">
            <a:spAutoFit/>
          </a:bodyPr>
          <a:lstStyle/>
          <a:p>
            <a:pPr algn="r"/>
            <a:r>
              <a:rPr lang="en-GB" sz="1600" dirty="0"/>
              <a:t>I would think it might be a scam</a:t>
            </a:r>
          </a:p>
        </p:txBody>
      </p:sp>
      <p:sp>
        <p:nvSpPr>
          <p:cNvPr id="12" name="TextBox 11">
            <a:extLst>
              <a:ext uri="{FF2B5EF4-FFF2-40B4-BE49-F238E27FC236}">
                <a16:creationId xmlns:a16="http://schemas.microsoft.com/office/drawing/2014/main" id="{D30A31ED-24AF-47AB-9711-8FE30276E7ED}"/>
              </a:ext>
            </a:extLst>
          </p:cNvPr>
          <p:cNvSpPr txBox="1"/>
          <p:nvPr/>
        </p:nvSpPr>
        <p:spPr>
          <a:xfrm>
            <a:off x="7724632" y="4628267"/>
            <a:ext cx="534121" cy="276551"/>
          </a:xfrm>
          <a:prstGeom prst="rect">
            <a:avLst/>
          </a:prstGeom>
          <a:noFill/>
        </p:spPr>
        <p:txBody>
          <a:bodyPr wrap="none" rtlCol="0">
            <a:spAutoFit/>
          </a:bodyPr>
          <a:lstStyle/>
          <a:p>
            <a:r>
              <a:rPr lang="en-GB" sz="1197" b="1" dirty="0">
                <a:solidFill>
                  <a:schemeClr val="bg1"/>
                </a:solidFill>
              </a:rPr>
              <a:t>Same</a:t>
            </a:r>
          </a:p>
        </p:txBody>
      </p:sp>
      <p:sp>
        <p:nvSpPr>
          <p:cNvPr id="13" name="TextBox 12">
            <a:extLst>
              <a:ext uri="{FF2B5EF4-FFF2-40B4-BE49-F238E27FC236}">
                <a16:creationId xmlns:a16="http://schemas.microsoft.com/office/drawing/2014/main" id="{D425FC63-8C92-4753-984C-4EB6581A5A57}"/>
              </a:ext>
            </a:extLst>
          </p:cNvPr>
          <p:cNvSpPr txBox="1"/>
          <p:nvPr/>
        </p:nvSpPr>
        <p:spPr>
          <a:xfrm>
            <a:off x="10351624" y="3855856"/>
            <a:ext cx="534121" cy="276551"/>
          </a:xfrm>
          <a:prstGeom prst="rect">
            <a:avLst/>
          </a:prstGeom>
          <a:noFill/>
        </p:spPr>
        <p:txBody>
          <a:bodyPr wrap="none" rtlCol="0">
            <a:spAutoFit/>
          </a:bodyPr>
          <a:lstStyle/>
          <a:p>
            <a:r>
              <a:rPr lang="en-GB" sz="1197" b="1" dirty="0">
                <a:solidFill>
                  <a:schemeClr val="bg1"/>
                </a:solidFill>
              </a:rPr>
              <a:t>Same</a:t>
            </a:r>
          </a:p>
        </p:txBody>
      </p:sp>
      <p:pic>
        <p:nvPicPr>
          <p:cNvPr id="15" name="Graphic 14" descr="Envelope with solid fill">
            <a:extLst>
              <a:ext uri="{FF2B5EF4-FFF2-40B4-BE49-F238E27FC236}">
                <a16:creationId xmlns:a16="http://schemas.microsoft.com/office/drawing/2014/main" id="{EAA7206C-1902-4B2B-8FAF-4A4A7710997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612433" y="3218022"/>
            <a:ext cx="457200" cy="457200"/>
          </a:xfrm>
          <a:prstGeom prst="rect">
            <a:avLst/>
          </a:prstGeom>
        </p:spPr>
      </p:pic>
      <p:pic>
        <p:nvPicPr>
          <p:cNvPr id="16" name="Graphic 15" descr="Envelope with solid fill">
            <a:extLst>
              <a:ext uri="{FF2B5EF4-FFF2-40B4-BE49-F238E27FC236}">
                <a16:creationId xmlns:a16="http://schemas.microsoft.com/office/drawing/2014/main" id="{3DDC52CB-BA40-4712-877E-CE2BA8948512}"/>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12315" y="2802523"/>
            <a:ext cx="457200" cy="457200"/>
          </a:xfrm>
          <a:prstGeom prst="rect">
            <a:avLst/>
          </a:prstGeom>
        </p:spPr>
      </p:pic>
      <p:sp>
        <p:nvSpPr>
          <p:cNvPr id="19" name="Content Placeholder 3">
            <a:extLst>
              <a:ext uri="{FF2B5EF4-FFF2-40B4-BE49-F238E27FC236}">
                <a16:creationId xmlns:a16="http://schemas.microsoft.com/office/drawing/2014/main" id="{F5D10275-379B-B265-B19D-4977C80B9072}"/>
              </a:ext>
            </a:extLst>
          </p:cNvPr>
          <p:cNvSpPr txBox="1">
            <a:spLocks/>
          </p:cNvSpPr>
          <p:nvPr/>
        </p:nvSpPr>
        <p:spPr>
          <a:xfrm>
            <a:off x="6143202" y="2701342"/>
            <a:ext cx="3857993" cy="323439"/>
          </a:xfrm>
          <a:prstGeom prst="rect">
            <a:avLst/>
          </a:prstGeom>
        </p:spPr>
        <p:txBody>
          <a:bodyPr lIns="91440" tIns="45720" rIns="91440" bIns="45720" anchor="t"/>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ea typeface="MS Mincho"/>
                <a:cs typeface="Arial"/>
              </a:rPr>
              <a:t>Applies more to </a:t>
            </a:r>
            <a:r>
              <a:rPr lang="en-US" b="1" dirty="0">
                <a:solidFill>
                  <a:srgbClr val="FF0000"/>
                </a:solidFill>
                <a:ea typeface="MS Mincho"/>
                <a:cs typeface="Arial"/>
              </a:rPr>
              <a:t>mail</a:t>
            </a:r>
            <a:r>
              <a:rPr lang="en-US" dirty="0">
                <a:ea typeface="MS Mincho"/>
                <a:cs typeface="Arial"/>
              </a:rPr>
              <a:t> or </a:t>
            </a:r>
            <a:r>
              <a:rPr lang="en-US" b="1" dirty="0">
                <a:ea typeface="MS Mincho"/>
                <a:cs typeface="Arial"/>
              </a:rPr>
              <a:t>digital </a:t>
            </a:r>
            <a:r>
              <a:rPr lang="en-US" dirty="0">
                <a:ea typeface="MS Mincho"/>
                <a:cs typeface="Arial"/>
              </a:rPr>
              <a:t>(%)</a:t>
            </a:r>
            <a:endParaRPr lang="en-US" dirty="0"/>
          </a:p>
        </p:txBody>
      </p:sp>
      <p:pic>
        <p:nvPicPr>
          <p:cNvPr id="20" name="Picture 20">
            <a:extLst>
              <a:ext uri="{FF2B5EF4-FFF2-40B4-BE49-F238E27FC236}">
                <a16:creationId xmlns:a16="http://schemas.microsoft.com/office/drawing/2014/main" id="{E9BD0A06-9C37-93E5-8490-4E6A7DD0423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31152" y="3097924"/>
            <a:ext cx="4694254" cy="827490"/>
          </a:xfrm>
          <a:prstGeom prst="rect">
            <a:avLst/>
          </a:prstGeom>
        </p:spPr>
      </p:pic>
      <p:pic>
        <p:nvPicPr>
          <p:cNvPr id="21" name="Picture 21" descr="Shape&#10;&#10;Description automatically generated">
            <a:extLst>
              <a:ext uri="{FF2B5EF4-FFF2-40B4-BE49-F238E27FC236}">
                <a16:creationId xmlns:a16="http://schemas.microsoft.com/office/drawing/2014/main" id="{0C5B795E-95EB-0421-60E3-96E695353AD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231883" y="4128103"/>
            <a:ext cx="4694254" cy="827954"/>
          </a:xfrm>
          <a:prstGeom prst="rect">
            <a:avLst/>
          </a:prstGeom>
        </p:spPr>
      </p:pic>
    </p:spTree>
    <p:extLst>
      <p:ext uri="{BB962C8B-B14F-4D97-AF65-F5344CB8AC3E}">
        <p14:creationId xmlns:p14="http://schemas.microsoft.com/office/powerpoint/2010/main" val="1441345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FEF7CBF-5EC0-4FB1-9A55-F07A2BA9581F}"/>
              </a:ext>
            </a:extLst>
          </p:cNvPr>
          <p:cNvSpPr>
            <a:spLocks noGrp="1"/>
          </p:cNvSpPr>
          <p:nvPr>
            <p:ph type="body" sz="quarter" idx="10"/>
          </p:nvPr>
        </p:nvSpPr>
        <p:spPr/>
        <p:txBody>
          <a:bodyPr/>
          <a:lstStyle/>
          <a:p>
            <a:r>
              <a:rPr lang="en-GB" dirty="0"/>
              <a:t>Too many organisations use customer mail poorly</a:t>
            </a:r>
          </a:p>
          <a:p>
            <a:endParaRPr lang="en-GB" dirty="0"/>
          </a:p>
          <a:p>
            <a:r>
              <a:rPr lang="en-GB" dirty="0"/>
              <a:t>5 ways to get the best</a:t>
            </a:r>
            <a:br>
              <a:rPr lang="en-GB" dirty="0"/>
            </a:br>
            <a:r>
              <a:rPr lang="en-GB" dirty="0"/>
              <a:t>out of customer Mail</a:t>
            </a:r>
          </a:p>
        </p:txBody>
      </p:sp>
      <p:sp>
        <p:nvSpPr>
          <p:cNvPr id="2" name="Slide Number Placeholder 1">
            <a:extLst>
              <a:ext uri="{FF2B5EF4-FFF2-40B4-BE49-F238E27FC236}">
                <a16:creationId xmlns:a16="http://schemas.microsoft.com/office/drawing/2014/main" id="{05F6FBC0-A887-4257-8568-887103B27245}"/>
              </a:ext>
            </a:extLst>
          </p:cNvPr>
          <p:cNvSpPr>
            <a:spLocks noGrp="1"/>
          </p:cNvSpPr>
          <p:nvPr>
            <p:ph type="sldNum" sz="quarter" idx="4294967295"/>
          </p:nvPr>
        </p:nvSpPr>
        <p:spPr>
          <a:xfrm>
            <a:off x="11766550" y="6178550"/>
            <a:ext cx="425450" cy="179388"/>
          </a:xfrm>
        </p:spPr>
        <p:txBody>
          <a:bodyPr/>
          <a:lstStyle/>
          <a:p>
            <a:fld id="{887360FE-02F5-4392-9C12-7D03F05745BB}" type="slidenum">
              <a:rPr lang="en-GB" smtClean="0"/>
              <a:pPr/>
              <a:t>23</a:t>
            </a:fld>
            <a:endParaRPr lang="en-GB" dirty="0"/>
          </a:p>
        </p:txBody>
      </p:sp>
    </p:spTree>
    <p:extLst>
      <p:ext uri="{BB962C8B-B14F-4D97-AF65-F5344CB8AC3E}">
        <p14:creationId xmlns:p14="http://schemas.microsoft.com/office/powerpoint/2010/main" val="13986761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close-up of a key chain&#10;&#10;Description automatically generated with medium confidence">
            <a:extLst>
              <a:ext uri="{FF2B5EF4-FFF2-40B4-BE49-F238E27FC236}">
                <a16:creationId xmlns:a16="http://schemas.microsoft.com/office/drawing/2014/main" id="{C2C0EDC9-9B89-4C60-8D71-1E643C50EE42}"/>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6095997" y="0"/>
            <a:ext cx="6096003" cy="6858000"/>
          </a:xfrm>
        </p:spPr>
      </p:pic>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1. Know your customer</a:t>
            </a:r>
            <a:br>
              <a:rPr lang="en-GB" sz="2400" dirty="0"/>
            </a:br>
            <a:r>
              <a:rPr lang="en-GB" sz="2400" dirty="0"/>
              <a:t>and where mail can fit</a:t>
            </a:r>
          </a:p>
        </p:txBody>
      </p:sp>
      <p:sp>
        <p:nvSpPr>
          <p:cNvPr id="9" name="Content Placeholder 8">
            <a:extLst>
              <a:ext uri="{FF2B5EF4-FFF2-40B4-BE49-F238E27FC236}">
                <a16:creationId xmlns:a16="http://schemas.microsoft.com/office/drawing/2014/main" id="{EE2C3137-D973-404B-A862-00224622D444}"/>
              </a:ext>
            </a:extLst>
          </p:cNvPr>
          <p:cNvSpPr>
            <a:spLocks noGrp="1"/>
          </p:cNvSpPr>
          <p:nvPr>
            <p:ph sz="quarter" idx="17"/>
          </p:nvPr>
        </p:nvSpPr>
        <p:spPr>
          <a:xfrm>
            <a:off x="424142" y="1538243"/>
            <a:ext cx="5276850" cy="4721421"/>
          </a:xfrm>
        </p:spPr>
        <p:txBody>
          <a:bodyPr lIns="91440" tIns="45720" rIns="91440" bIns="45720" anchor="t"/>
          <a:lstStyle/>
          <a:p>
            <a:r>
              <a:rPr lang="en-GB" dirty="0"/>
              <a:t>Good CX demands being personal with customers, giving them what they need and want</a:t>
            </a:r>
          </a:p>
          <a:p>
            <a:endParaRPr lang="en-GB" dirty="0"/>
          </a:p>
          <a:p>
            <a:r>
              <a:rPr lang="en-GB" dirty="0"/>
              <a:t>This includes knowing how best to stay in touch – not too little, nor too much and what types of communication</a:t>
            </a:r>
          </a:p>
          <a:p>
            <a:endParaRPr lang="en-GB" dirty="0"/>
          </a:p>
          <a:p>
            <a:r>
              <a:rPr lang="en-GB" dirty="0"/>
              <a:t>Understanding the role mail is designed to play in the customer journey.</a:t>
            </a:r>
            <a:endParaRPr lang="en-GB" dirty="0">
              <a:cs typeface="Calibri"/>
            </a:endParaRPr>
          </a:p>
        </p:txBody>
      </p:sp>
      <p:pic>
        <p:nvPicPr>
          <p:cNvPr id="2" name="Picture 1">
            <a:extLst>
              <a:ext uri="{FF2B5EF4-FFF2-40B4-BE49-F238E27FC236}">
                <a16:creationId xmlns:a16="http://schemas.microsoft.com/office/drawing/2014/main" id="{E19BD7D2-A638-4A31-934D-A3977CB7B28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6267" y="4526044"/>
            <a:ext cx="5794008" cy="1954901"/>
          </a:xfrm>
          <a:prstGeom prst="rect">
            <a:avLst/>
          </a:prstGeom>
        </p:spPr>
      </p:pic>
    </p:spTree>
    <p:extLst>
      <p:ext uri="{BB962C8B-B14F-4D97-AF65-F5344CB8AC3E}">
        <p14:creationId xmlns:p14="http://schemas.microsoft.com/office/powerpoint/2010/main" val="2691619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Map&#10;&#10;Description automatically generated">
            <a:extLst>
              <a:ext uri="{FF2B5EF4-FFF2-40B4-BE49-F238E27FC236}">
                <a16:creationId xmlns:a16="http://schemas.microsoft.com/office/drawing/2014/main" id="{D86BA26E-3888-430D-B156-80C106CA865B}"/>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flipH="1">
            <a:off x="6095997" y="0"/>
            <a:ext cx="6096003" cy="6858000"/>
          </a:xfrm>
        </p:spPr>
      </p:pic>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2. Measuring it meaningfully</a:t>
            </a:r>
          </a:p>
        </p:txBody>
      </p:sp>
      <p:sp>
        <p:nvSpPr>
          <p:cNvPr id="9" name="Content Placeholder 8">
            <a:extLst>
              <a:ext uri="{FF2B5EF4-FFF2-40B4-BE49-F238E27FC236}">
                <a16:creationId xmlns:a16="http://schemas.microsoft.com/office/drawing/2014/main" id="{1D031D1B-5457-4A25-91B2-63D671AE593E}"/>
              </a:ext>
            </a:extLst>
          </p:cNvPr>
          <p:cNvSpPr>
            <a:spLocks noGrp="1"/>
          </p:cNvSpPr>
          <p:nvPr>
            <p:ph sz="quarter" idx="17"/>
          </p:nvPr>
        </p:nvSpPr>
        <p:spPr/>
        <p:txBody>
          <a:bodyPr lIns="91440" tIns="45720" rIns="91440" bIns="45720" anchor="t"/>
          <a:lstStyle/>
          <a:p>
            <a:r>
              <a:rPr lang="en-GB" dirty="0"/>
              <a:t>Customer Mail should be viewed as an investment in the broader CX approach, beyond specific costs</a:t>
            </a:r>
          </a:p>
          <a:p>
            <a:endParaRPr lang="en-GB" dirty="0"/>
          </a:p>
          <a:p>
            <a:r>
              <a:rPr lang="en-GB" dirty="0"/>
              <a:t>Don’t view it as part of an advertising budget or something that ‘had to be sent.  </a:t>
            </a:r>
          </a:p>
          <a:p>
            <a:endParaRPr lang="en-GB" dirty="0"/>
          </a:p>
          <a:p>
            <a:r>
              <a:rPr lang="en-GB" dirty="0"/>
              <a:t>Every communication should have a role and that role can be measured.</a:t>
            </a:r>
          </a:p>
          <a:p>
            <a:endParaRPr lang="en-GB" dirty="0"/>
          </a:p>
          <a:p>
            <a:r>
              <a:rPr lang="en-GB" dirty="0"/>
              <a:t>Consider short term metrics such as QR code use or web visits.  There are also broader KPIs such as brand recognition and lifetime value.</a:t>
            </a:r>
            <a:endParaRPr lang="en-GB" dirty="0">
              <a:cs typeface="Calibri"/>
            </a:endParaRPr>
          </a:p>
        </p:txBody>
      </p:sp>
    </p:spTree>
    <p:extLst>
      <p:ext uri="{BB962C8B-B14F-4D97-AF65-F5344CB8AC3E}">
        <p14:creationId xmlns:p14="http://schemas.microsoft.com/office/powerpoint/2010/main" val="2509505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3. Design matters</a:t>
            </a:r>
          </a:p>
        </p:txBody>
      </p:sp>
      <p:sp>
        <p:nvSpPr>
          <p:cNvPr id="4" name="Content Placeholder 3">
            <a:extLst>
              <a:ext uri="{FF2B5EF4-FFF2-40B4-BE49-F238E27FC236}">
                <a16:creationId xmlns:a16="http://schemas.microsoft.com/office/drawing/2014/main" id="{DE62B1D5-0C91-470E-8687-3D1DBBDAA45C}"/>
              </a:ext>
            </a:extLst>
          </p:cNvPr>
          <p:cNvSpPr>
            <a:spLocks noGrp="1"/>
          </p:cNvSpPr>
          <p:nvPr>
            <p:ph sz="quarter" idx="17"/>
          </p:nvPr>
        </p:nvSpPr>
        <p:spPr/>
        <p:txBody>
          <a:bodyPr lIns="91440" tIns="45720" rIns="91440" bIns="45720" anchor="t"/>
          <a:lstStyle/>
          <a:p>
            <a:r>
              <a:rPr lang="en-GB" dirty="0"/>
              <a:t>Customer Mail should be treated with the same care and attention as every other element of the brand’s touchpoints</a:t>
            </a:r>
          </a:p>
          <a:p>
            <a:endParaRPr lang="en-GB" dirty="0"/>
          </a:p>
          <a:p>
            <a:r>
              <a:rPr lang="en-GB" dirty="0"/>
              <a:t>Make it clear and organise the information. Ensure the reader knows what they are expected to do</a:t>
            </a:r>
            <a:endParaRPr lang="en-GB" dirty="0">
              <a:cs typeface="Calibri"/>
            </a:endParaRPr>
          </a:p>
          <a:p>
            <a:endParaRPr lang="en-GB" dirty="0"/>
          </a:p>
          <a:p>
            <a:r>
              <a:rPr lang="en-GB" dirty="0"/>
              <a:t>The language should be easy to understand and strike the right tone.</a:t>
            </a:r>
            <a:endParaRPr lang="en-GB" dirty="0">
              <a:cs typeface="Calibri"/>
            </a:endParaRPr>
          </a:p>
        </p:txBody>
      </p:sp>
      <p:sp>
        <p:nvSpPr>
          <p:cNvPr id="9" name="TextBox 8">
            <a:extLst>
              <a:ext uri="{FF2B5EF4-FFF2-40B4-BE49-F238E27FC236}">
                <a16:creationId xmlns:a16="http://schemas.microsoft.com/office/drawing/2014/main" id="{2D730ABB-0D3A-4756-B3A6-9FD92F709F72}"/>
              </a:ext>
            </a:extLst>
          </p:cNvPr>
          <p:cNvSpPr txBox="1"/>
          <p:nvPr/>
        </p:nvSpPr>
        <p:spPr bwMode="white">
          <a:xfrm>
            <a:off x="5754485" y="6507257"/>
            <a:ext cx="5881346"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 </a:t>
            </a:r>
          </a:p>
        </p:txBody>
      </p:sp>
      <p:pic>
        <p:nvPicPr>
          <p:cNvPr id="5" name="Picture 4">
            <a:extLst>
              <a:ext uri="{FF2B5EF4-FFF2-40B4-BE49-F238E27FC236}">
                <a16:creationId xmlns:a16="http://schemas.microsoft.com/office/drawing/2014/main" id="{51BD349D-16B4-4B1C-9E4A-274070A9970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697629" y="154448"/>
            <a:ext cx="4341023" cy="3339867"/>
          </a:xfrm>
          <a:prstGeom prst="rect">
            <a:avLst/>
          </a:prstGeom>
        </p:spPr>
      </p:pic>
      <p:pic>
        <p:nvPicPr>
          <p:cNvPr id="7" name="Picture 6">
            <a:extLst>
              <a:ext uri="{FF2B5EF4-FFF2-40B4-BE49-F238E27FC236}">
                <a16:creationId xmlns:a16="http://schemas.microsoft.com/office/drawing/2014/main" id="{467F178C-44F9-40D0-B067-EC192742FCE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
          <a:stretch/>
        </p:blipFill>
        <p:spPr>
          <a:xfrm>
            <a:off x="6635996" y="3494315"/>
            <a:ext cx="1967400" cy="3021486"/>
          </a:xfrm>
          <a:prstGeom prst="rect">
            <a:avLst/>
          </a:prstGeom>
        </p:spPr>
      </p:pic>
    </p:spTree>
    <p:extLst>
      <p:ext uri="{BB962C8B-B14F-4D97-AF65-F5344CB8AC3E}">
        <p14:creationId xmlns:p14="http://schemas.microsoft.com/office/powerpoint/2010/main" val="30147002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4. More than marketing</a:t>
            </a:r>
          </a:p>
        </p:txBody>
      </p:sp>
      <p:sp>
        <p:nvSpPr>
          <p:cNvPr id="4" name="Content Placeholder 3">
            <a:extLst>
              <a:ext uri="{FF2B5EF4-FFF2-40B4-BE49-F238E27FC236}">
                <a16:creationId xmlns:a16="http://schemas.microsoft.com/office/drawing/2014/main" id="{D105ED27-5115-41FB-B687-58D33BA20FCE}"/>
              </a:ext>
            </a:extLst>
          </p:cNvPr>
          <p:cNvSpPr>
            <a:spLocks noGrp="1"/>
          </p:cNvSpPr>
          <p:nvPr>
            <p:ph sz="quarter" idx="17"/>
          </p:nvPr>
        </p:nvSpPr>
        <p:spPr>
          <a:xfrm>
            <a:off x="424141" y="1779739"/>
            <a:ext cx="5276625" cy="4479925"/>
          </a:xfrm>
        </p:spPr>
        <p:txBody>
          <a:bodyPr lIns="91440" tIns="45720" rIns="91440" bIns="45720" anchor="t"/>
          <a:lstStyle/>
          <a:p>
            <a:r>
              <a:rPr lang="en-GB" dirty="0"/>
              <a:t>Every communication with a customer is an opportunity to build the brand and relationship with positive contribution to the CX</a:t>
            </a:r>
          </a:p>
          <a:p>
            <a:endParaRPr lang="en-GB" dirty="0"/>
          </a:p>
          <a:p>
            <a:r>
              <a:rPr lang="en-GB" dirty="0"/>
              <a:t>All areas of a firm should view Customer Mail in this manner, integrating best practice into activities</a:t>
            </a:r>
          </a:p>
          <a:p>
            <a:endParaRPr lang="en-GB" dirty="0"/>
          </a:p>
          <a:p>
            <a:r>
              <a:rPr lang="en-GB" dirty="0"/>
              <a:t>Our research shows many teams including finance and product get involved with mail and they may not automatically consider the broader implications for customers.</a:t>
            </a:r>
            <a:endParaRPr lang="en-GB" dirty="0">
              <a:cs typeface="Calibri"/>
            </a:endParaRPr>
          </a:p>
        </p:txBody>
      </p:sp>
      <p:pic>
        <p:nvPicPr>
          <p:cNvPr id="7" name="Picture Placeholder 6" descr="A picture containing person, table, indoor, wooden&#10;&#10;Description automatically generated">
            <a:extLst>
              <a:ext uri="{FF2B5EF4-FFF2-40B4-BE49-F238E27FC236}">
                <a16:creationId xmlns:a16="http://schemas.microsoft.com/office/drawing/2014/main" id="{19FBF079-7BF4-4F99-B8C3-F15F63ABB067}"/>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93888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air of feet on a carpet&#10;&#10;Description automatically generated with low confidence">
            <a:extLst>
              <a:ext uri="{FF2B5EF4-FFF2-40B4-BE49-F238E27FC236}">
                <a16:creationId xmlns:a16="http://schemas.microsoft.com/office/drawing/2014/main" id="{1964C665-DBBB-47F7-99D0-F105858B30F6}"/>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Use it because you should</a:t>
            </a:r>
            <a:br>
              <a:rPr lang="en-GB" sz="2400" dirty="0"/>
            </a:br>
            <a:r>
              <a:rPr lang="en-GB" sz="2400" dirty="0"/>
              <a:t>not because you could</a:t>
            </a:r>
          </a:p>
        </p:txBody>
      </p:sp>
      <p:sp>
        <p:nvSpPr>
          <p:cNvPr id="4" name="Content Placeholder 3">
            <a:extLst>
              <a:ext uri="{FF2B5EF4-FFF2-40B4-BE49-F238E27FC236}">
                <a16:creationId xmlns:a16="http://schemas.microsoft.com/office/drawing/2014/main" id="{51D8DE1A-A2E8-4EF2-94D8-BAA6E5783910}"/>
              </a:ext>
            </a:extLst>
          </p:cNvPr>
          <p:cNvSpPr>
            <a:spLocks noGrp="1"/>
          </p:cNvSpPr>
          <p:nvPr>
            <p:ph sz="quarter" idx="17"/>
          </p:nvPr>
        </p:nvSpPr>
        <p:spPr/>
        <p:txBody>
          <a:bodyPr lIns="91440" tIns="45720" rIns="91440" bIns="45720" anchor="t"/>
          <a:lstStyle/>
          <a:p>
            <a:r>
              <a:rPr lang="en-GB" dirty="0"/>
              <a:t>Customer Mail is not for everything, all the time</a:t>
            </a:r>
          </a:p>
          <a:p>
            <a:endParaRPr lang="en-GB" dirty="0"/>
          </a:p>
          <a:p>
            <a:r>
              <a:rPr lang="en-GB" dirty="0"/>
              <a:t>It is best deployed when it can address some its key strengths, as outlined in this document</a:t>
            </a:r>
          </a:p>
          <a:p>
            <a:endParaRPr lang="en-GB" dirty="0"/>
          </a:p>
          <a:p>
            <a:r>
              <a:rPr lang="en-GB" dirty="0"/>
              <a:t>Mail ensures customers feel valued and connected with businesses</a:t>
            </a:r>
            <a:endParaRPr lang="en-GB" dirty="0">
              <a:cs typeface="Calibri"/>
            </a:endParaRPr>
          </a:p>
          <a:p>
            <a:endParaRPr lang="en-GB" dirty="0"/>
          </a:p>
          <a:p>
            <a:r>
              <a:rPr lang="en-GB" dirty="0"/>
              <a:t>Preferences are individual and context dependent, but most agree that mail should be used for important communications.</a:t>
            </a:r>
            <a:endParaRPr lang="en-GB" dirty="0">
              <a:cs typeface="Calibri"/>
            </a:endParaRPr>
          </a:p>
        </p:txBody>
      </p:sp>
    </p:spTree>
    <p:extLst>
      <p:ext uri="{BB962C8B-B14F-4D97-AF65-F5344CB8AC3E}">
        <p14:creationId xmlns:p14="http://schemas.microsoft.com/office/powerpoint/2010/main" val="13869528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FEF7CBF-5EC0-4FB1-9A55-F07A2BA9581F}"/>
              </a:ext>
            </a:extLst>
          </p:cNvPr>
          <p:cNvSpPr>
            <a:spLocks noGrp="1"/>
          </p:cNvSpPr>
          <p:nvPr>
            <p:ph type="body" sz="quarter" idx="10"/>
          </p:nvPr>
        </p:nvSpPr>
        <p:spPr/>
        <p:txBody>
          <a:bodyPr/>
          <a:lstStyle/>
          <a:p>
            <a:r>
              <a:rPr lang="en-GB" dirty="0"/>
              <a:t>summary</a:t>
            </a:r>
          </a:p>
        </p:txBody>
      </p:sp>
      <p:sp>
        <p:nvSpPr>
          <p:cNvPr id="2" name="Slide Number Placeholder 1">
            <a:extLst>
              <a:ext uri="{FF2B5EF4-FFF2-40B4-BE49-F238E27FC236}">
                <a16:creationId xmlns:a16="http://schemas.microsoft.com/office/drawing/2014/main" id="{05F6FBC0-A887-4257-8568-887103B27245}"/>
              </a:ext>
            </a:extLst>
          </p:cNvPr>
          <p:cNvSpPr>
            <a:spLocks noGrp="1"/>
          </p:cNvSpPr>
          <p:nvPr>
            <p:ph type="sldNum" sz="quarter" idx="4294967295"/>
          </p:nvPr>
        </p:nvSpPr>
        <p:spPr>
          <a:xfrm>
            <a:off x="11766550" y="6178550"/>
            <a:ext cx="425450" cy="179388"/>
          </a:xfrm>
        </p:spPr>
        <p:txBody>
          <a:bodyPr/>
          <a:lstStyle/>
          <a:p>
            <a:fld id="{887360FE-02F5-4392-9C12-7D03F05745BB}" type="slidenum">
              <a:rPr lang="en-GB" smtClean="0"/>
              <a:pPr/>
              <a:t>29</a:t>
            </a:fld>
            <a:endParaRPr lang="en-GB" dirty="0"/>
          </a:p>
        </p:txBody>
      </p:sp>
    </p:spTree>
    <p:extLst>
      <p:ext uri="{BB962C8B-B14F-4D97-AF65-F5344CB8AC3E}">
        <p14:creationId xmlns:p14="http://schemas.microsoft.com/office/powerpoint/2010/main" val="37208943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AC213CE-72B6-44BD-93F4-E61D654CEDD7}"/>
              </a:ext>
            </a:extLst>
          </p:cNvPr>
          <p:cNvSpPr>
            <a:spLocks noGrp="1"/>
          </p:cNvSpPr>
          <p:nvPr>
            <p:ph type="sldNum" sz="quarter" idx="19"/>
          </p:nvPr>
        </p:nvSpPr>
        <p:spPr/>
        <p:txBody>
          <a:bodyPr/>
          <a:lstStyle/>
          <a:p>
            <a:fld id="{3787542D-5C6B-4EB3-96EB-9B37C3D5D2F8}" type="slidenum">
              <a:rPr lang="en-GB" smtClean="0"/>
              <a:t>3</a:t>
            </a:fld>
            <a:endParaRPr lang="en-GB" dirty="0"/>
          </a:p>
        </p:txBody>
      </p:sp>
      <p:sp>
        <p:nvSpPr>
          <p:cNvPr id="6" name="Title 5">
            <a:extLst>
              <a:ext uri="{FF2B5EF4-FFF2-40B4-BE49-F238E27FC236}">
                <a16:creationId xmlns:a16="http://schemas.microsoft.com/office/drawing/2014/main" id="{328EB2BE-384D-462F-A765-93818122BDB4}"/>
              </a:ext>
            </a:extLst>
          </p:cNvPr>
          <p:cNvSpPr>
            <a:spLocks noGrp="1"/>
          </p:cNvSpPr>
          <p:nvPr>
            <p:ph type="title"/>
          </p:nvPr>
        </p:nvSpPr>
        <p:spPr/>
        <p:txBody>
          <a:bodyPr/>
          <a:lstStyle/>
          <a:p>
            <a:r>
              <a:rPr lang="en-GB" sz="2400" dirty="0"/>
              <a:t>But cx strategies aren’t delivering</a:t>
            </a:r>
          </a:p>
        </p:txBody>
      </p:sp>
      <p:sp>
        <p:nvSpPr>
          <p:cNvPr id="12" name="TextBox 11">
            <a:extLst>
              <a:ext uri="{FF2B5EF4-FFF2-40B4-BE49-F238E27FC236}">
                <a16:creationId xmlns:a16="http://schemas.microsoft.com/office/drawing/2014/main" id="{F0E73E4C-0936-4342-B25D-6715F3C7E475}"/>
              </a:ext>
            </a:extLst>
          </p:cNvPr>
          <p:cNvSpPr txBox="1"/>
          <p:nvPr/>
        </p:nvSpPr>
        <p:spPr>
          <a:xfrm>
            <a:off x="2063201" y="1818342"/>
            <a:ext cx="6333529" cy="369332"/>
          </a:xfrm>
          <a:prstGeom prst="rect">
            <a:avLst/>
          </a:prstGeom>
          <a:noFill/>
        </p:spPr>
        <p:txBody>
          <a:bodyPr wrap="none" rtlCol="0">
            <a:spAutoFit/>
          </a:bodyPr>
          <a:lstStyle/>
          <a:p>
            <a:r>
              <a:rPr lang="en-GB" b="1" dirty="0">
                <a:solidFill>
                  <a:srgbClr val="000000"/>
                </a:solidFill>
              </a:rPr>
              <a:t>Research conducted by Adweek and Accenture Interactive found</a:t>
            </a:r>
            <a:endParaRPr lang="en-GB" b="1" dirty="0"/>
          </a:p>
        </p:txBody>
      </p:sp>
      <p:sp>
        <p:nvSpPr>
          <p:cNvPr id="13" name="Rectangle 12">
            <a:extLst>
              <a:ext uri="{FF2B5EF4-FFF2-40B4-BE49-F238E27FC236}">
                <a16:creationId xmlns:a16="http://schemas.microsoft.com/office/drawing/2014/main" id="{3C0D73C2-8657-4AEF-8F77-1024B96573AF}"/>
              </a:ext>
            </a:extLst>
          </p:cNvPr>
          <p:cNvSpPr/>
          <p:nvPr/>
        </p:nvSpPr>
        <p:spPr>
          <a:xfrm>
            <a:off x="9204960" y="6316592"/>
            <a:ext cx="1853392" cy="261610"/>
          </a:xfrm>
          <a:prstGeom prst="rect">
            <a:avLst/>
          </a:prstGeom>
        </p:spPr>
        <p:txBody>
          <a:bodyPr wrap="none">
            <a:spAutoFit/>
          </a:bodyPr>
          <a:lstStyle/>
          <a:p>
            <a:r>
              <a:rPr lang="en-GB" sz="1100" dirty="0"/>
              <a:t>Source: Adweek &amp; Accenture</a:t>
            </a:r>
          </a:p>
        </p:txBody>
      </p:sp>
      <p:sp>
        <p:nvSpPr>
          <p:cNvPr id="9" name="TextBox 8">
            <a:extLst>
              <a:ext uri="{FF2B5EF4-FFF2-40B4-BE49-F238E27FC236}">
                <a16:creationId xmlns:a16="http://schemas.microsoft.com/office/drawing/2014/main" id="{014E438B-7992-4A43-86A1-85B9768BA6C9}"/>
              </a:ext>
            </a:extLst>
          </p:cNvPr>
          <p:cNvSpPr txBox="1"/>
          <p:nvPr/>
        </p:nvSpPr>
        <p:spPr>
          <a:xfrm>
            <a:off x="2813170" y="2767044"/>
            <a:ext cx="1818126" cy="1323439"/>
          </a:xfrm>
          <a:prstGeom prst="rect">
            <a:avLst/>
          </a:prstGeom>
          <a:noFill/>
        </p:spPr>
        <p:txBody>
          <a:bodyPr wrap="none" rtlCol="0">
            <a:spAutoFit/>
          </a:bodyPr>
          <a:lstStyle/>
          <a:p>
            <a:r>
              <a:rPr lang="en-GB" sz="8000" b="1" dirty="0">
                <a:solidFill>
                  <a:schemeClr val="accent1"/>
                </a:solidFill>
                <a:latin typeface="+mj-lt"/>
              </a:rPr>
              <a:t>80</a:t>
            </a:r>
            <a:r>
              <a:rPr lang="en-GB" sz="4400" b="1" dirty="0">
                <a:latin typeface="+mj-lt"/>
              </a:rPr>
              <a:t>%</a:t>
            </a:r>
            <a:endParaRPr lang="en-GB" sz="8000" b="1" dirty="0">
              <a:latin typeface="+mj-lt"/>
            </a:endParaRPr>
          </a:p>
        </p:txBody>
      </p:sp>
      <p:sp>
        <p:nvSpPr>
          <p:cNvPr id="14" name="TextBox 13">
            <a:extLst>
              <a:ext uri="{FF2B5EF4-FFF2-40B4-BE49-F238E27FC236}">
                <a16:creationId xmlns:a16="http://schemas.microsoft.com/office/drawing/2014/main" id="{24BAC944-27E6-48D1-866D-F6537FE94B42}"/>
              </a:ext>
            </a:extLst>
          </p:cNvPr>
          <p:cNvSpPr txBox="1"/>
          <p:nvPr/>
        </p:nvSpPr>
        <p:spPr>
          <a:xfrm>
            <a:off x="7487509" y="2767045"/>
            <a:ext cx="1244251" cy="1323439"/>
          </a:xfrm>
          <a:prstGeom prst="rect">
            <a:avLst/>
          </a:prstGeom>
          <a:noFill/>
        </p:spPr>
        <p:txBody>
          <a:bodyPr wrap="none" rtlCol="0">
            <a:spAutoFit/>
          </a:bodyPr>
          <a:lstStyle/>
          <a:p>
            <a:r>
              <a:rPr lang="en-GB" sz="8000" b="1" dirty="0">
                <a:solidFill>
                  <a:schemeClr val="accent1"/>
                </a:solidFill>
                <a:latin typeface="+mj-lt"/>
              </a:rPr>
              <a:t>8</a:t>
            </a:r>
            <a:r>
              <a:rPr lang="en-GB" sz="4400" b="1" dirty="0">
                <a:latin typeface="+mj-lt"/>
              </a:rPr>
              <a:t>%</a:t>
            </a:r>
            <a:endParaRPr lang="en-GB" sz="8000" b="1" dirty="0">
              <a:latin typeface="+mj-lt"/>
            </a:endParaRPr>
          </a:p>
        </p:txBody>
      </p:sp>
      <p:grpSp>
        <p:nvGrpSpPr>
          <p:cNvPr id="20" name="Love" descr="{&quot;Key&quot;:&quot;POWER_USER_SHAPE_ICON&quot;,&quot;Value&quot;:&quot;POWER_USER_SHAPE_ICON_STYLE_1&quot;}">
            <a:extLst>
              <a:ext uri="{FF2B5EF4-FFF2-40B4-BE49-F238E27FC236}">
                <a16:creationId xmlns:a16="http://schemas.microsoft.com/office/drawing/2014/main" id="{BED7E708-95B5-48B6-A8B5-088DCB5D5632}"/>
              </a:ext>
            </a:extLst>
          </p:cNvPr>
          <p:cNvGrpSpPr>
            <a:grpSpLocks noChangeAspect="1"/>
          </p:cNvGrpSpPr>
          <p:nvPr>
            <p:custDataLst>
              <p:tags r:id="rId1"/>
            </p:custDataLst>
          </p:nvPr>
        </p:nvGrpSpPr>
        <p:grpSpPr bwMode="auto">
          <a:xfrm>
            <a:off x="2119344" y="2721231"/>
            <a:ext cx="813363" cy="688383"/>
            <a:chOff x="62" y="85"/>
            <a:chExt cx="410" cy="347"/>
          </a:xfrm>
          <a:solidFill>
            <a:schemeClr val="tx1"/>
          </a:solidFill>
        </p:grpSpPr>
        <p:sp>
          <p:nvSpPr>
            <p:cNvPr id="21" name="Love">
              <a:extLst>
                <a:ext uri="{FF2B5EF4-FFF2-40B4-BE49-F238E27FC236}">
                  <a16:creationId xmlns:a16="http://schemas.microsoft.com/office/drawing/2014/main" id="{8330B186-324D-4D74-BDA9-C2A5C004C170}"/>
                </a:ext>
              </a:extLst>
            </p:cNvPr>
            <p:cNvSpPr>
              <a:spLocks noEditPoints="1"/>
            </p:cNvSpPr>
            <p:nvPr>
              <p:custDataLst>
                <p:tags r:id="rId5"/>
              </p:custDataLst>
            </p:nvPr>
          </p:nvSpPr>
          <p:spPr bwMode="auto">
            <a:xfrm>
              <a:off x="62" y="85"/>
              <a:ext cx="410" cy="347"/>
            </a:xfrm>
            <a:custGeom>
              <a:avLst/>
              <a:gdLst>
                <a:gd name="T0" fmla="*/ 1663 w 3600"/>
                <a:gd name="T1" fmla="*/ 563 h 3038"/>
                <a:gd name="T2" fmla="*/ 2488 w 3600"/>
                <a:gd name="T3" fmla="*/ 0 h 3038"/>
                <a:gd name="T4" fmla="*/ 3063 w 3600"/>
                <a:gd name="T5" fmla="*/ 1525 h 3038"/>
                <a:gd name="T6" fmla="*/ 1888 w 3600"/>
                <a:gd name="T7" fmla="*/ 2825 h 3038"/>
                <a:gd name="T8" fmla="*/ 1663 w 3600"/>
                <a:gd name="T9" fmla="*/ 3038 h 3038"/>
                <a:gd name="T10" fmla="*/ 0 w 3600"/>
                <a:gd name="T11" fmla="*/ 763 h 3038"/>
                <a:gd name="T12" fmla="*/ 825 w 3600"/>
                <a:gd name="T13" fmla="*/ 0 h 3038"/>
                <a:gd name="T14" fmla="*/ 1663 w 3600"/>
                <a:gd name="T15" fmla="*/ 563 h 3038"/>
                <a:gd name="T16" fmla="*/ 638 w 3600"/>
                <a:gd name="T17" fmla="*/ 1750 h 3038"/>
                <a:gd name="T18" fmla="*/ 950 w 3600"/>
                <a:gd name="T19" fmla="*/ 250 h 3038"/>
                <a:gd name="T20" fmla="*/ 638 w 3600"/>
                <a:gd name="T21" fmla="*/ 1750 h 3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0" h="3038">
                  <a:moveTo>
                    <a:pt x="1663" y="563"/>
                  </a:moveTo>
                  <a:cubicBezTo>
                    <a:pt x="1863" y="188"/>
                    <a:pt x="2075" y="0"/>
                    <a:pt x="2488" y="0"/>
                  </a:cubicBezTo>
                  <a:cubicBezTo>
                    <a:pt x="3175" y="0"/>
                    <a:pt x="3600" y="650"/>
                    <a:pt x="3063" y="1525"/>
                  </a:cubicBezTo>
                  <a:cubicBezTo>
                    <a:pt x="2163" y="1100"/>
                    <a:pt x="1350" y="2025"/>
                    <a:pt x="1888" y="2825"/>
                  </a:cubicBezTo>
                  <a:cubicBezTo>
                    <a:pt x="1813" y="2900"/>
                    <a:pt x="1738" y="2963"/>
                    <a:pt x="1663" y="3038"/>
                  </a:cubicBezTo>
                  <a:cubicBezTo>
                    <a:pt x="825" y="2275"/>
                    <a:pt x="0" y="1513"/>
                    <a:pt x="0" y="763"/>
                  </a:cubicBezTo>
                  <a:cubicBezTo>
                    <a:pt x="0" y="338"/>
                    <a:pt x="375" y="0"/>
                    <a:pt x="825" y="0"/>
                  </a:cubicBezTo>
                  <a:cubicBezTo>
                    <a:pt x="1250" y="0"/>
                    <a:pt x="1450" y="188"/>
                    <a:pt x="1663" y="563"/>
                  </a:cubicBezTo>
                  <a:close/>
                  <a:moveTo>
                    <a:pt x="638" y="1750"/>
                  </a:moveTo>
                  <a:cubicBezTo>
                    <a:pt x="213" y="1213"/>
                    <a:pt x="13" y="275"/>
                    <a:pt x="950" y="250"/>
                  </a:cubicBezTo>
                  <a:cubicBezTo>
                    <a:pt x="313" y="450"/>
                    <a:pt x="400" y="1250"/>
                    <a:pt x="638" y="17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2" name="Love">
              <a:extLst>
                <a:ext uri="{FF2B5EF4-FFF2-40B4-BE49-F238E27FC236}">
                  <a16:creationId xmlns:a16="http://schemas.microsoft.com/office/drawing/2014/main" id="{E84EAF64-411A-46AB-9E99-4AA11057BF5C}"/>
                </a:ext>
              </a:extLst>
            </p:cNvPr>
            <p:cNvSpPr>
              <a:spLocks noEditPoints="1"/>
            </p:cNvSpPr>
            <p:nvPr>
              <p:custDataLst>
                <p:tags r:id="rId6"/>
              </p:custDataLst>
            </p:nvPr>
          </p:nvSpPr>
          <p:spPr bwMode="auto">
            <a:xfrm>
              <a:off x="256" y="269"/>
              <a:ext cx="213" cy="163"/>
            </a:xfrm>
            <a:custGeom>
              <a:avLst/>
              <a:gdLst>
                <a:gd name="T0" fmla="*/ 938 w 1875"/>
                <a:gd name="T1" fmla="*/ 0 h 1425"/>
                <a:gd name="T2" fmla="*/ 938 w 1875"/>
                <a:gd name="T3" fmla="*/ 1425 h 1425"/>
                <a:gd name="T4" fmla="*/ 938 w 1875"/>
                <a:gd name="T5" fmla="*/ 0 h 1425"/>
                <a:gd name="T6" fmla="*/ 1438 w 1875"/>
                <a:gd name="T7" fmla="*/ 712 h 1425"/>
                <a:gd name="T8" fmla="*/ 1100 w 1875"/>
                <a:gd name="T9" fmla="*/ 875 h 1425"/>
                <a:gd name="T10" fmla="*/ 938 w 1875"/>
                <a:gd name="T11" fmla="*/ 1200 h 1425"/>
                <a:gd name="T12" fmla="*/ 788 w 1875"/>
                <a:gd name="T13" fmla="*/ 875 h 1425"/>
                <a:gd name="T14" fmla="*/ 450 w 1875"/>
                <a:gd name="T15" fmla="*/ 712 h 1425"/>
                <a:gd name="T16" fmla="*/ 788 w 1875"/>
                <a:gd name="T17" fmla="*/ 550 h 1425"/>
                <a:gd name="T18" fmla="*/ 938 w 1875"/>
                <a:gd name="T19" fmla="*/ 225 h 1425"/>
                <a:gd name="T20" fmla="*/ 1100 w 1875"/>
                <a:gd name="T21" fmla="*/ 550 h 1425"/>
                <a:gd name="T22" fmla="*/ 1438 w 1875"/>
                <a:gd name="T23" fmla="*/ 712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5" h="1425">
                  <a:moveTo>
                    <a:pt x="938" y="0"/>
                  </a:moveTo>
                  <a:cubicBezTo>
                    <a:pt x="1875" y="0"/>
                    <a:pt x="1875" y="1425"/>
                    <a:pt x="938" y="1425"/>
                  </a:cubicBezTo>
                  <a:cubicBezTo>
                    <a:pt x="0" y="1425"/>
                    <a:pt x="0" y="0"/>
                    <a:pt x="938" y="0"/>
                  </a:cubicBezTo>
                  <a:close/>
                  <a:moveTo>
                    <a:pt x="1438" y="712"/>
                  </a:moveTo>
                  <a:cubicBezTo>
                    <a:pt x="1438" y="900"/>
                    <a:pt x="1213" y="875"/>
                    <a:pt x="1100" y="875"/>
                  </a:cubicBezTo>
                  <a:cubicBezTo>
                    <a:pt x="1100" y="987"/>
                    <a:pt x="1125" y="1200"/>
                    <a:pt x="938" y="1200"/>
                  </a:cubicBezTo>
                  <a:cubicBezTo>
                    <a:pt x="750" y="1200"/>
                    <a:pt x="788" y="987"/>
                    <a:pt x="788" y="875"/>
                  </a:cubicBezTo>
                  <a:cubicBezTo>
                    <a:pt x="663" y="875"/>
                    <a:pt x="450" y="900"/>
                    <a:pt x="450" y="712"/>
                  </a:cubicBezTo>
                  <a:cubicBezTo>
                    <a:pt x="450" y="525"/>
                    <a:pt x="663" y="550"/>
                    <a:pt x="788" y="550"/>
                  </a:cubicBezTo>
                  <a:cubicBezTo>
                    <a:pt x="788" y="437"/>
                    <a:pt x="750" y="225"/>
                    <a:pt x="938" y="225"/>
                  </a:cubicBezTo>
                  <a:cubicBezTo>
                    <a:pt x="1125" y="225"/>
                    <a:pt x="1100" y="437"/>
                    <a:pt x="1100" y="550"/>
                  </a:cubicBezTo>
                  <a:cubicBezTo>
                    <a:pt x="1213" y="550"/>
                    <a:pt x="1438" y="525"/>
                    <a:pt x="1438" y="7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3" name="Love2" descr="{&quot;Key&quot;:&quot;POWER_USER_SHAPE_ICON&quot;,&quot;Value&quot;:&quot;POWER_USER_SHAPE_ICON_STYLE_1&quot;}">
            <a:extLst>
              <a:ext uri="{FF2B5EF4-FFF2-40B4-BE49-F238E27FC236}">
                <a16:creationId xmlns:a16="http://schemas.microsoft.com/office/drawing/2014/main" id="{B0C8CE77-56F2-434F-B21B-222AC8A5C14F}"/>
              </a:ext>
            </a:extLst>
          </p:cNvPr>
          <p:cNvGrpSpPr>
            <a:grpSpLocks noChangeAspect="1"/>
          </p:cNvGrpSpPr>
          <p:nvPr>
            <p:custDataLst>
              <p:tags r:id="rId2"/>
            </p:custDataLst>
          </p:nvPr>
        </p:nvGrpSpPr>
        <p:grpSpPr bwMode="auto">
          <a:xfrm>
            <a:off x="6780665" y="2721231"/>
            <a:ext cx="813363" cy="688383"/>
            <a:chOff x="62" y="85"/>
            <a:chExt cx="410" cy="347"/>
          </a:xfrm>
          <a:solidFill>
            <a:schemeClr val="tx1"/>
          </a:solidFill>
        </p:grpSpPr>
        <p:sp>
          <p:nvSpPr>
            <p:cNvPr id="24" name="Love2">
              <a:extLst>
                <a:ext uri="{FF2B5EF4-FFF2-40B4-BE49-F238E27FC236}">
                  <a16:creationId xmlns:a16="http://schemas.microsoft.com/office/drawing/2014/main" id="{B3D297BB-5AAE-45A0-9EA7-7192D9E7817B}"/>
                </a:ext>
              </a:extLst>
            </p:cNvPr>
            <p:cNvSpPr>
              <a:spLocks noEditPoints="1"/>
            </p:cNvSpPr>
            <p:nvPr>
              <p:custDataLst>
                <p:tags r:id="rId3"/>
              </p:custDataLst>
            </p:nvPr>
          </p:nvSpPr>
          <p:spPr bwMode="auto">
            <a:xfrm>
              <a:off x="62" y="85"/>
              <a:ext cx="410" cy="347"/>
            </a:xfrm>
            <a:custGeom>
              <a:avLst/>
              <a:gdLst>
                <a:gd name="T0" fmla="*/ 1663 w 3600"/>
                <a:gd name="T1" fmla="*/ 563 h 3038"/>
                <a:gd name="T2" fmla="*/ 2488 w 3600"/>
                <a:gd name="T3" fmla="*/ 0 h 3038"/>
                <a:gd name="T4" fmla="*/ 3063 w 3600"/>
                <a:gd name="T5" fmla="*/ 1525 h 3038"/>
                <a:gd name="T6" fmla="*/ 1888 w 3600"/>
                <a:gd name="T7" fmla="*/ 2825 h 3038"/>
                <a:gd name="T8" fmla="*/ 1663 w 3600"/>
                <a:gd name="T9" fmla="*/ 3038 h 3038"/>
                <a:gd name="T10" fmla="*/ 0 w 3600"/>
                <a:gd name="T11" fmla="*/ 763 h 3038"/>
                <a:gd name="T12" fmla="*/ 825 w 3600"/>
                <a:gd name="T13" fmla="*/ 0 h 3038"/>
                <a:gd name="T14" fmla="*/ 1663 w 3600"/>
                <a:gd name="T15" fmla="*/ 563 h 3038"/>
                <a:gd name="T16" fmla="*/ 638 w 3600"/>
                <a:gd name="T17" fmla="*/ 1750 h 3038"/>
                <a:gd name="T18" fmla="*/ 950 w 3600"/>
                <a:gd name="T19" fmla="*/ 250 h 3038"/>
                <a:gd name="T20" fmla="*/ 638 w 3600"/>
                <a:gd name="T21" fmla="*/ 1750 h 30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00" h="3038">
                  <a:moveTo>
                    <a:pt x="1663" y="563"/>
                  </a:moveTo>
                  <a:cubicBezTo>
                    <a:pt x="1863" y="188"/>
                    <a:pt x="2075" y="0"/>
                    <a:pt x="2488" y="0"/>
                  </a:cubicBezTo>
                  <a:cubicBezTo>
                    <a:pt x="3175" y="0"/>
                    <a:pt x="3600" y="650"/>
                    <a:pt x="3063" y="1525"/>
                  </a:cubicBezTo>
                  <a:cubicBezTo>
                    <a:pt x="2163" y="1100"/>
                    <a:pt x="1350" y="2025"/>
                    <a:pt x="1888" y="2825"/>
                  </a:cubicBezTo>
                  <a:cubicBezTo>
                    <a:pt x="1813" y="2900"/>
                    <a:pt x="1738" y="2963"/>
                    <a:pt x="1663" y="3038"/>
                  </a:cubicBezTo>
                  <a:cubicBezTo>
                    <a:pt x="825" y="2275"/>
                    <a:pt x="0" y="1513"/>
                    <a:pt x="0" y="763"/>
                  </a:cubicBezTo>
                  <a:cubicBezTo>
                    <a:pt x="0" y="338"/>
                    <a:pt x="375" y="0"/>
                    <a:pt x="825" y="0"/>
                  </a:cubicBezTo>
                  <a:cubicBezTo>
                    <a:pt x="1250" y="0"/>
                    <a:pt x="1450" y="188"/>
                    <a:pt x="1663" y="563"/>
                  </a:cubicBezTo>
                  <a:close/>
                  <a:moveTo>
                    <a:pt x="638" y="1750"/>
                  </a:moveTo>
                  <a:cubicBezTo>
                    <a:pt x="213" y="1213"/>
                    <a:pt x="13" y="275"/>
                    <a:pt x="950" y="250"/>
                  </a:cubicBezTo>
                  <a:cubicBezTo>
                    <a:pt x="313" y="450"/>
                    <a:pt x="400" y="1250"/>
                    <a:pt x="638" y="175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 name="Love2">
              <a:extLst>
                <a:ext uri="{FF2B5EF4-FFF2-40B4-BE49-F238E27FC236}">
                  <a16:creationId xmlns:a16="http://schemas.microsoft.com/office/drawing/2014/main" id="{0F51DE03-D9EE-46EC-8BB6-6C10DB1C7240}"/>
                </a:ext>
              </a:extLst>
            </p:cNvPr>
            <p:cNvSpPr>
              <a:spLocks noEditPoints="1"/>
            </p:cNvSpPr>
            <p:nvPr>
              <p:custDataLst>
                <p:tags r:id="rId4"/>
              </p:custDataLst>
            </p:nvPr>
          </p:nvSpPr>
          <p:spPr bwMode="auto">
            <a:xfrm>
              <a:off x="256" y="269"/>
              <a:ext cx="213" cy="163"/>
            </a:xfrm>
            <a:custGeom>
              <a:avLst/>
              <a:gdLst>
                <a:gd name="T0" fmla="*/ 938 w 1875"/>
                <a:gd name="T1" fmla="*/ 0 h 1425"/>
                <a:gd name="T2" fmla="*/ 938 w 1875"/>
                <a:gd name="T3" fmla="*/ 1425 h 1425"/>
                <a:gd name="T4" fmla="*/ 938 w 1875"/>
                <a:gd name="T5" fmla="*/ 0 h 1425"/>
                <a:gd name="T6" fmla="*/ 575 w 1875"/>
                <a:gd name="T7" fmla="*/ 600 h 1425"/>
                <a:gd name="T8" fmla="*/ 1300 w 1875"/>
                <a:gd name="T9" fmla="*/ 600 h 1425"/>
                <a:gd name="T10" fmla="*/ 1300 w 1875"/>
                <a:gd name="T11" fmla="*/ 825 h 1425"/>
                <a:gd name="T12" fmla="*/ 575 w 1875"/>
                <a:gd name="T13" fmla="*/ 825 h 1425"/>
                <a:gd name="T14" fmla="*/ 575 w 1875"/>
                <a:gd name="T15" fmla="*/ 600 h 14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5" h="1425">
                  <a:moveTo>
                    <a:pt x="938" y="0"/>
                  </a:moveTo>
                  <a:cubicBezTo>
                    <a:pt x="1875" y="0"/>
                    <a:pt x="1875" y="1425"/>
                    <a:pt x="938" y="1425"/>
                  </a:cubicBezTo>
                  <a:cubicBezTo>
                    <a:pt x="0" y="1425"/>
                    <a:pt x="0" y="0"/>
                    <a:pt x="938" y="0"/>
                  </a:cubicBezTo>
                  <a:close/>
                  <a:moveTo>
                    <a:pt x="575" y="600"/>
                  </a:moveTo>
                  <a:lnTo>
                    <a:pt x="1300" y="600"/>
                  </a:lnTo>
                  <a:cubicBezTo>
                    <a:pt x="1450" y="600"/>
                    <a:pt x="1450" y="825"/>
                    <a:pt x="1300" y="825"/>
                  </a:cubicBezTo>
                  <a:lnTo>
                    <a:pt x="575" y="825"/>
                  </a:lnTo>
                  <a:cubicBezTo>
                    <a:pt x="425" y="825"/>
                    <a:pt x="425" y="600"/>
                    <a:pt x="575" y="6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6" name="TextBox 25">
            <a:extLst>
              <a:ext uri="{FF2B5EF4-FFF2-40B4-BE49-F238E27FC236}">
                <a16:creationId xmlns:a16="http://schemas.microsoft.com/office/drawing/2014/main" id="{82C02E0B-7F49-4382-9308-94583B739A7B}"/>
              </a:ext>
            </a:extLst>
          </p:cNvPr>
          <p:cNvSpPr txBox="1"/>
          <p:nvPr/>
        </p:nvSpPr>
        <p:spPr>
          <a:xfrm>
            <a:off x="2892075" y="3962022"/>
            <a:ext cx="3175000" cy="1200329"/>
          </a:xfrm>
          <a:prstGeom prst="rect">
            <a:avLst/>
          </a:prstGeom>
          <a:noFill/>
        </p:spPr>
        <p:txBody>
          <a:bodyPr wrap="square" rtlCol="0">
            <a:spAutoFit/>
          </a:bodyPr>
          <a:lstStyle/>
          <a:p>
            <a:r>
              <a:rPr lang="en-GB" sz="2400" dirty="0"/>
              <a:t>of brands think they deliver a superior customer experience</a:t>
            </a:r>
          </a:p>
        </p:txBody>
      </p:sp>
      <p:sp>
        <p:nvSpPr>
          <p:cNvPr id="27" name="TextBox 26">
            <a:extLst>
              <a:ext uri="{FF2B5EF4-FFF2-40B4-BE49-F238E27FC236}">
                <a16:creationId xmlns:a16="http://schemas.microsoft.com/office/drawing/2014/main" id="{623B3C8A-D042-4498-A294-DD4B4B72ECBA}"/>
              </a:ext>
            </a:extLst>
          </p:cNvPr>
          <p:cNvSpPr txBox="1"/>
          <p:nvPr/>
        </p:nvSpPr>
        <p:spPr>
          <a:xfrm>
            <a:off x="7561493" y="3819170"/>
            <a:ext cx="3175000" cy="830997"/>
          </a:xfrm>
          <a:prstGeom prst="rect">
            <a:avLst/>
          </a:prstGeom>
          <a:noFill/>
        </p:spPr>
        <p:txBody>
          <a:bodyPr wrap="square" rtlCol="0">
            <a:spAutoFit/>
          </a:bodyPr>
          <a:lstStyle/>
          <a:p>
            <a:r>
              <a:rPr lang="en-GB" sz="2400" dirty="0"/>
              <a:t>of their customers agree</a:t>
            </a:r>
          </a:p>
        </p:txBody>
      </p:sp>
    </p:spTree>
    <p:extLst>
      <p:ext uri="{BB962C8B-B14F-4D97-AF65-F5344CB8AC3E}">
        <p14:creationId xmlns:p14="http://schemas.microsoft.com/office/powerpoint/2010/main" val="2807476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05F7AF3-32BE-4E97-B9EB-64FC7D13DF1D}"/>
              </a:ext>
            </a:extLst>
          </p:cNvPr>
          <p:cNvSpPr>
            <a:spLocks noGrp="1"/>
          </p:cNvSpPr>
          <p:nvPr>
            <p:ph type="body" sz="quarter" idx="25"/>
          </p:nvPr>
        </p:nvSpPr>
        <p:spPr/>
        <p:txBody>
          <a:bodyPr/>
          <a:lstStyle/>
          <a:p>
            <a:r>
              <a:rPr lang="en-GB" sz="2400" dirty="0"/>
              <a:t>CX matters</a:t>
            </a:r>
          </a:p>
        </p:txBody>
      </p:sp>
      <p:sp>
        <p:nvSpPr>
          <p:cNvPr id="5" name="Text Placeholder 4">
            <a:extLst>
              <a:ext uri="{FF2B5EF4-FFF2-40B4-BE49-F238E27FC236}">
                <a16:creationId xmlns:a16="http://schemas.microsoft.com/office/drawing/2014/main" id="{E486DD3B-0474-4853-B39B-7CA99A500FE1}"/>
              </a:ext>
            </a:extLst>
          </p:cNvPr>
          <p:cNvSpPr>
            <a:spLocks noGrp="1"/>
          </p:cNvSpPr>
          <p:nvPr>
            <p:ph type="body" sz="quarter" idx="26"/>
          </p:nvPr>
        </p:nvSpPr>
        <p:spPr>
          <a:xfrm>
            <a:off x="3361655" y="2016564"/>
            <a:ext cx="2481425" cy="1031875"/>
          </a:xfrm>
        </p:spPr>
        <p:txBody>
          <a:bodyPr/>
          <a:lstStyle/>
          <a:p>
            <a:r>
              <a:rPr lang="en-GB" sz="2400" dirty="0"/>
              <a:t>CX should include physical communications</a:t>
            </a:r>
          </a:p>
        </p:txBody>
      </p:sp>
      <p:sp>
        <p:nvSpPr>
          <p:cNvPr id="8" name="Text Placeholder 7">
            <a:extLst>
              <a:ext uri="{FF2B5EF4-FFF2-40B4-BE49-F238E27FC236}">
                <a16:creationId xmlns:a16="http://schemas.microsoft.com/office/drawing/2014/main" id="{7C391DF5-BF04-4AB9-8437-EA5BA36E625B}"/>
              </a:ext>
            </a:extLst>
          </p:cNvPr>
          <p:cNvSpPr>
            <a:spLocks noGrp="1"/>
          </p:cNvSpPr>
          <p:nvPr>
            <p:ph type="body" sz="quarter" idx="27"/>
          </p:nvPr>
        </p:nvSpPr>
        <p:spPr/>
        <p:txBody>
          <a:bodyPr/>
          <a:lstStyle/>
          <a:p>
            <a:r>
              <a:rPr lang="en-GB" sz="2400" dirty="0"/>
              <a:t>Mail has many CX strengths</a:t>
            </a:r>
          </a:p>
        </p:txBody>
      </p:sp>
      <p:sp>
        <p:nvSpPr>
          <p:cNvPr id="9" name="Text Placeholder 8">
            <a:extLst>
              <a:ext uri="{FF2B5EF4-FFF2-40B4-BE49-F238E27FC236}">
                <a16:creationId xmlns:a16="http://schemas.microsoft.com/office/drawing/2014/main" id="{B78D55B3-C992-425C-94A5-7EAF5E27932F}"/>
              </a:ext>
            </a:extLst>
          </p:cNvPr>
          <p:cNvSpPr>
            <a:spLocks noGrp="1"/>
          </p:cNvSpPr>
          <p:nvPr>
            <p:ph type="body" sz="quarter" idx="28"/>
          </p:nvPr>
        </p:nvSpPr>
        <p:spPr/>
        <p:txBody>
          <a:bodyPr/>
          <a:lstStyle/>
          <a:p>
            <a:r>
              <a:rPr lang="en-GB" dirty="0"/>
              <a:t>Companies investing in good CX generate better revenues as their customers like doing business with them.</a:t>
            </a:r>
          </a:p>
        </p:txBody>
      </p:sp>
      <p:sp>
        <p:nvSpPr>
          <p:cNvPr id="10" name="Text Placeholder 9">
            <a:extLst>
              <a:ext uri="{FF2B5EF4-FFF2-40B4-BE49-F238E27FC236}">
                <a16:creationId xmlns:a16="http://schemas.microsoft.com/office/drawing/2014/main" id="{83BED96E-4E38-4BF3-9ED1-45F274156353}"/>
              </a:ext>
            </a:extLst>
          </p:cNvPr>
          <p:cNvSpPr>
            <a:spLocks noGrp="1"/>
          </p:cNvSpPr>
          <p:nvPr>
            <p:ph type="body" sz="quarter" idx="29"/>
          </p:nvPr>
        </p:nvSpPr>
        <p:spPr/>
        <p:txBody>
          <a:bodyPr/>
          <a:lstStyle/>
          <a:p>
            <a:r>
              <a:rPr lang="en-GB" dirty="0"/>
              <a:t>Too often CX is reduced to the purely digital. But customers need and value the physical too.</a:t>
            </a:r>
          </a:p>
        </p:txBody>
      </p:sp>
      <p:sp>
        <p:nvSpPr>
          <p:cNvPr id="11" name="Text Placeholder 10">
            <a:extLst>
              <a:ext uri="{FF2B5EF4-FFF2-40B4-BE49-F238E27FC236}">
                <a16:creationId xmlns:a16="http://schemas.microsoft.com/office/drawing/2014/main" id="{1206BF02-E563-49E5-A955-4EEA81FC6889}"/>
              </a:ext>
            </a:extLst>
          </p:cNvPr>
          <p:cNvSpPr>
            <a:spLocks noGrp="1"/>
          </p:cNvSpPr>
          <p:nvPr>
            <p:ph type="body" sz="quarter" idx="30"/>
          </p:nvPr>
        </p:nvSpPr>
        <p:spPr/>
        <p:txBody>
          <a:bodyPr/>
          <a:lstStyle/>
          <a:p>
            <a:r>
              <a:rPr lang="en-GB" dirty="0"/>
              <a:t>With its physical nature and role in our homes and lives, mail is particularly useful for important information, when things are important, complex or there’s a need for security</a:t>
            </a:r>
          </a:p>
        </p:txBody>
      </p:sp>
      <p:sp>
        <p:nvSpPr>
          <p:cNvPr id="12" name="Text Placeholder 11">
            <a:extLst>
              <a:ext uri="{FF2B5EF4-FFF2-40B4-BE49-F238E27FC236}">
                <a16:creationId xmlns:a16="http://schemas.microsoft.com/office/drawing/2014/main" id="{14C55160-5C24-4AFC-B5DF-C9276B03B512}"/>
              </a:ext>
            </a:extLst>
          </p:cNvPr>
          <p:cNvSpPr>
            <a:spLocks noGrp="1"/>
          </p:cNvSpPr>
          <p:nvPr>
            <p:ph type="body" sz="quarter" idx="31"/>
          </p:nvPr>
        </p:nvSpPr>
        <p:spPr/>
        <p:txBody>
          <a:bodyPr/>
          <a:lstStyle/>
          <a:p>
            <a:r>
              <a:rPr lang="en-GB" sz="2400" dirty="0"/>
              <a:t>It requires careful consideration</a:t>
            </a:r>
          </a:p>
        </p:txBody>
      </p:sp>
      <p:sp>
        <p:nvSpPr>
          <p:cNvPr id="13" name="Text Placeholder 12">
            <a:extLst>
              <a:ext uri="{FF2B5EF4-FFF2-40B4-BE49-F238E27FC236}">
                <a16:creationId xmlns:a16="http://schemas.microsoft.com/office/drawing/2014/main" id="{1DE43BD0-99E8-4719-AE27-84EE5CE9C296}"/>
              </a:ext>
            </a:extLst>
          </p:cNvPr>
          <p:cNvSpPr>
            <a:spLocks noGrp="1"/>
          </p:cNvSpPr>
          <p:nvPr>
            <p:ph type="body" sz="quarter" idx="32"/>
          </p:nvPr>
        </p:nvSpPr>
        <p:spPr/>
        <p:txBody>
          <a:bodyPr lIns="91440" tIns="45720" rIns="91440" bIns="45720" anchor="t"/>
          <a:lstStyle/>
          <a:p>
            <a:r>
              <a:rPr lang="en-GB" dirty="0">
                <a:latin typeface="Calibri"/>
                <a:cs typeface="Calibri"/>
              </a:rPr>
              <a:t>To make the most of mail it should be considered in the same way that websites or other channels are thought about. Every touchpoint with a customer counts towards CX.</a:t>
            </a:r>
            <a:endParaRPr lang="en-GB" dirty="0"/>
          </a:p>
        </p:txBody>
      </p:sp>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summary</a:t>
            </a:r>
          </a:p>
        </p:txBody>
      </p:sp>
      <p:sp>
        <p:nvSpPr>
          <p:cNvPr id="2" name="Text Placeholder 1">
            <a:extLst>
              <a:ext uri="{FF2B5EF4-FFF2-40B4-BE49-F238E27FC236}">
                <a16:creationId xmlns:a16="http://schemas.microsoft.com/office/drawing/2014/main" id="{A65C2C55-0283-4336-BC8A-0D10E1B15518}"/>
              </a:ext>
            </a:extLst>
          </p:cNvPr>
          <p:cNvSpPr>
            <a:spLocks noGrp="1"/>
          </p:cNvSpPr>
          <p:nvPr>
            <p:ph type="body" sz="quarter" idx="11"/>
          </p:nvPr>
        </p:nvSpPr>
        <p:spPr/>
        <p:txBody>
          <a:bodyPr/>
          <a:lstStyle/>
          <a:p>
            <a:endParaRPr lang="en-GB" dirty="0"/>
          </a:p>
        </p:txBody>
      </p:sp>
    </p:spTree>
    <p:extLst>
      <p:ext uri="{BB962C8B-B14F-4D97-AF65-F5344CB8AC3E}">
        <p14:creationId xmlns:p14="http://schemas.microsoft.com/office/powerpoint/2010/main" val="6816358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01B0C422-2144-491E-A34A-A0DC4D486F6E}"/>
              </a:ext>
            </a:extLst>
          </p:cNvPr>
          <p:cNvSpPr>
            <a:spLocks noGrp="1"/>
          </p:cNvSpPr>
          <p:nvPr>
            <p:ph type="title"/>
          </p:nvPr>
        </p:nvSpPr>
        <p:spPr>
          <a:xfrm>
            <a:off x="485999" y="362232"/>
            <a:ext cx="8861201" cy="475686"/>
          </a:xfrm>
        </p:spPr>
        <p:txBody>
          <a:bodyPr/>
          <a:lstStyle/>
          <a:p>
            <a:r>
              <a:rPr lang="en-GB" sz="2400" dirty="0"/>
              <a:t>Download and read the full report today </a:t>
            </a:r>
          </a:p>
        </p:txBody>
      </p:sp>
      <p:sp>
        <p:nvSpPr>
          <p:cNvPr id="14" name="Text Placeholder 13">
            <a:extLst>
              <a:ext uri="{FF2B5EF4-FFF2-40B4-BE49-F238E27FC236}">
                <a16:creationId xmlns:a16="http://schemas.microsoft.com/office/drawing/2014/main" id="{09DB5A05-99A6-4503-97CD-A38749B66078}"/>
              </a:ext>
            </a:extLst>
          </p:cNvPr>
          <p:cNvSpPr>
            <a:spLocks noGrp="1"/>
          </p:cNvSpPr>
          <p:nvPr>
            <p:ph type="body" sz="quarter" idx="11"/>
          </p:nvPr>
        </p:nvSpPr>
        <p:spPr/>
        <p:txBody>
          <a:bodyPr/>
          <a:lstStyle/>
          <a:p>
            <a:endParaRPr lang="en-GB"/>
          </a:p>
        </p:txBody>
      </p:sp>
      <p:sp>
        <p:nvSpPr>
          <p:cNvPr id="2" name="Slide Number Placeholder 1">
            <a:extLst>
              <a:ext uri="{FF2B5EF4-FFF2-40B4-BE49-F238E27FC236}">
                <a16:creationId xmlns:a16="http://schemas.microsoft.com/office/drawing/2014/main" id="{3284126B-53A4-4928-98D2-43C1F934C26B}"/>
              </a:ext>
            </a:extLst>
          </p:cNvPr>
          <p:cNvSpPr>
            <a:spLocks noGrp="1"/>
          </p:cNvSpPr>
          <p:nvPr>
            <p:ph type="sldNum" sz="quarter" idx="15"/>
          </p:nvPr>
        </p:nvSpPr>
        <p:spPr/>
        <p:txBody>
          <a:bodyPr/>
          <a:lstStyle/>
          <a:p>
            <a:fld id="{887360FE-02F5-4392-9C12-7D03F05745BB}" type="slidenum">
              <a:rPr lang="en-GB" smtClean="0"/>
              <a:pPr/>
              <a:t>31</a:t>
            </a:fld>
            <a:endParaRPr lang="en-GB" dirty="0"/>
          </a:p>
        </p:txBody>
      </p:sp>
      <p:sp>
        <p:nvSpPr>
          <p:cNvPr id="15" name="Content Placeholder 14">
            <a:extLst>
              <a:ext uri="{FF2B5EF4-FFF2-40B4-BE49-F238E27FC236}">
                <a16:creationId xmlns:a16="http://schemas.microsoft.com/office/drawing/2014/main" id="{3BF5E453-68F6-4FFD-AC21-EA5031F76DEB}"/>
              </a:ext>
            </a:extLst>
          </p:cNvPr>
          <p:cNvSpPr>
            <a:spLocks noGrp="1"/>
          </p:cNvSpPr>
          <p:nvPr>
            <p:ph sz="quarter" idx="13"/>
          </p:nvPr>
        </p:nvSpPr>
        <p:spPr>
          <a:xfrm>
            <a:off x="429987" y="1781175"/>
            <a:ext cx="11332027" cy="4476750"/>
          </a:xfrm>
        </p:spPr>
        <p:txBody>
          <a:bodyPr/>
          <a:lstStyle/>
          <a:p>
            <a:pPr marL="0" indent="0">
              <a:buNone/>
            </a:pPr>
            <a:r>
              <a:rPr lang="en-GB" dirty="0"/>
              <a:t>The full report, from Marketreach written in collaboration with Accenture</a:t>
            </a:r>
          </a:p>
          <a:p>
            <a:endParaRPr lang="en-GB" dirty="0"/>
          </a:p>
          <a:p>
            <a:endParaRPr lang="en-GB" dirty="0"/>
          </a:p>
          <a:p>
            <a:pPr marL="0" indent="0">
              <a:buNone/>
            </a:pPr>
            <a:endParaRPr lang="en-GB" dirty="0"/>
          </a:p>
        </p:txBody>
      </p:sp>
      <p:sp>
        <p:nvSpPr>
          <p:cNvPr id="3" name="Rectangle 2">
            <a:extLst>
              <a:ext uri="{FF2B5EF4-FFF2-40B4-BE49-F238E27FC236}">
                <a16:creationId xmlns:a16="http://schemas.microsoft.com/office/drawing/2014/main" id="{09A3C10E-498F-4CE8-8B33-DDF5601E83B2}"/>
              </a:ext>
            </a:extLst>
          </p:cNvPr>
          <p:cNvSpPr/>
          <p:nvPr/>
        </p:nvSpPr>
        <p:spPr>
          <a:xfrm>
            <a:off x="3587115" y="6144815"/>
            <a:ext cx="4580678" cy="369332"/>
          </a:xfrm>
          <a:prstGeom prst="rect">
            <a:avLst/>
          </a:prstGeom>
        </p:spPr>
        <p:txBody>
          <a:bodyPr wrap="none">
            <a:spAutoFit/>
          </a:bodyPr>
          <a:lstStyle/>
          <a:p>
            <a:r>
              <a:rPr lang="en-GB" b="1" u="sng" dirty="0">
                <a:solidFill>
                  <a:srgbClr val="0563C1"/>
                </a:solidFill>
                <a:latin typeface="Calibri" panose="020F0502020204030204" pitchFamily="34" charset="0"/>
                <a:ea typeface="Calibri" panose="020F0502020204030204" pitchFamily="34" charset="0"/>
                <a:hlinkClick r:id="rId3"/>
              </a:rPr>
              <a:t>Marketreach and Accenture report here today</a:t>
            </a:r>
            <a:endParaRPr lang="en-GB" dirty="0"/>
          </a:p>
        </p:txBody>
      </p:sp>
      <p:pic>
        <p:nvPicPr>
          <p:cNvPr id="4" name="Picture 3">
            <a:extLst>
              <a:ext uri="{FF2B5EF4-FFF2-40B4-BE49-F238E27FC236}">
                <a16:creationId xmlns:a16="http://schemas.microsoft.com/office/drawing/2014/main" id="{0DBC3F60-0887-483D-B54C-0B85EC1A7B8D}"/>
              </a:ext>
            </a:extLst>
          </p:cNvPr>
          <p:cNvPicPr>
            <a:picLocks noChangeAspect="1"/>
          </p:cNvPicPr>
          <p:nvPr/>
        </p:nvPicPr>
        <p:blipFill rotWithShape="1">
          <a:blip r:embed="rId4"/>
          <a:srcRect t="33102" b="14236"/>
          <a:stretch/>
        </p:blipFill>
        <p:spPr>
          <a:xfrm>
            <a:off x="0" y="2270760"/>
            <a:ext cx="12192000" cy="3609788"/>
          </a:xfrm>
          <a:prstGeom prst="rect">
            <a:avLst/>
          </a:prstGeom>
        </p:spPr>
      </p:pic>
    </p:spTree>
    <p:extLst>
      <p:ext uri="{BB962C8B-B14F-4D97-AF65-F5344CB8AC3E}">
        <p14:creationId xmlns:p14="http://schemas.microsoft.com/office/powerpoint/2010/main" val="42593768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674FBB3-6EA0-48A9-BEFF-CB658B22B417}"/>
              </a:ext>
            </a:extLst>
          </p:cNvPr>
          <p:cNvSpPr>
            <a:spLocks noGrp="1"/>
          </p:cNvSpPr>
          <p:nvPr>
            <p:ph type="title"/>
          </p:nvPr>
        </p:nvSpPr>
        <p:spPr/>
        <p:txBody>
          <a:bodyPr/>
          <a:lstStyle/>
          <a:p>
            <a:r>
              <a:rPr lang="en-GB"/>
              <a:t>THANK YOU</a:t>
            </a:r>
            <a:endParaRPr lang="en-GB" dirty="0"/>
          </a:p>
        </p:txBody>
      </p:sp>
      <p:sp>
        <p:nvSpPr>
          <p:cNvPr id="6" name="Subtitle 5">
            <a:extLst>
              <a:ext uri="{FF2B5EF4-FFF2-40B4-BE49-F238E27FC236}">
                <a16:creationId xmlns:a16="http://schemas.microsoft.com/office/drawing/2014/main" id="{7724B9CB-443E-4583-8EF8-01D5B0F451FC}"/>
              </a:ext>
            </a:extLst>
          </p:cNvPr>
          <p:cNvSpPr>
            <a:spLocks noGrp="1"/>
          </p:cNvSpPr>
          <p:nvPr>
            <p:ph type="subTitle" idx="1"/>
          </p:nvPr>
        </p:nvSpPr>
        <p:spPr/>
        <p:txBody>
          <a:bodyPr/>
          <a:lstStyle/>
          <a:p>
            <a:endParaRPr lang="en-GB"/>
          </a:p>
        </p:txBody>
      </p:sp>
    </p:spTree>
    <p:extLst>
      <p:ext uri="{BB962C8B-B14F-4D97-AF65-F5344CB8AC3E}">
        <p14:creationId xmlns:p14="http://schemas.microsoft.com/office/powerpoint/2010/main" val="24306778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A person and person standing in front of a red wall&#10;&#10;Description automatically generated with low confidence">
            <a:extLst>
              <a:ext uri="{FF2B5EF4-FFF2-40B4-BE49-F238E27FC236}">
                <a16:creationId xmlns:a16="http://schemas.microsoft.com/office/drawing/2014/main" id="{E1FEE023-4EAB-4727-A110-452D744FAF13}"/>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a:stretch/>
        </p:blipFill>
        <p:spPr>
          <a:xfrm>
            <a:off x="6095997" y="0"/>
            <a:ext cx="6096003" cy="6857999"/>
          </a:xfrm>
        </p:spPr>
      </p:pic>
      <p:sp>
        <p:nvSpPr>
          <p:cNvPr id="3" name="Slide Number Placeholder 2">
            <a:extLst>
              <a:ext uri="{FF2B5EF4-FFF2-40B4-BE49-F238E27FC236}">
                <a16:creationId xmlns:a16="http://schemas.microsoft.com/office/drawing/2014/main" id="{B787B755-75CD-4CBA-BF3E-06DC04E8AC26}"/>
              </a:ext>
            </a:extLst>
          </p:cNvPr>
          <p:cNvSpPr>
            <a:spLocks noGrp="1"/>
          </p:cNvSpPr>
          <p:nvPr>
            <p:ph type="sldNum" sz="quarter" idx="16"/>
          </p:nvPr>
        </p:nvSpPr>
        <p:spPr/>
        <p:txBody>
          <a:bodyPr/>
          <a:lstStyle/>
          <a:p>
            <a:fld id="{3787542D-5C6B-4EB3-96EB-9B37C3D5D2F8}" type="slidenum">
              <a:rPr lang="en-GB" smtClean="0"/>
              <a:pPr/>
              <a:t>4</a:t>
            </a:fld>
            <a:endParaRPr lang="en-GB" dirty="0"/>
          </a:p>
        </p:txBody>
      </p:sp>
      <p:sp>
        <p:nvSpPr>
          <p:cNvPr id="14" name="Title 13">
            <a:extLst>
              <a:ext uri="{FF2B5EF4-FFF2-40B4-BE49-F238E27FC236}">
                <a16:creationId xmlns:a16="http://schemas.microsoft.com/office/drawing/2014/main" id="{9889294C-9613-4C01-B46F-55A522163632}"/>
              </a:ext>
            </a:extLst>
          </p:cNvPr>
          <p:cNvSpPr>
            <a:spLocks noGrp="1"/>
          </p:cNvSpPr>
          <p:nvPr>
            <p:ph type="title"/>
          </p:nvPr>
        </p:nvSpPr>
        <p:spPr/>
        <p:txBody>
          <a:bodyPr/>
          <a:lstStyle/>
          <a:p>
            <a:r>
              <a:rPr lang="en-GB" sz="2400" dirty="0"/>
              <a:t>Many companies have a</a:t>
            </a:r>
            <a:br>
              <a:rPr lang="en-GB" sz="2400" dirty="0"/>
            </a:br>
            <a:r>
              <a:rPr lang="en-GB" sz="2400" dirty="0"/>
              <a:t>limited view of CX</a:t>
            </a:r>
          </a:p>
        </p:txBody>
      </p:sp>
      <p:sp>
        <p:nvSpPr>
          <p:cNvPr id="20" name="Content Placeholder 19">
            <a:extLst>
              <a:ext uri="{FF2B5EF4-FFF2-40B4-BE49-F238E27FC236}">
                <a16:creationId xmlns:a16="http://schemas.microsoft.com/office/drawing/2014/main" id="{07939C03-3C0F-48C6-8444-AC5D363BEC45}"/>
              </a:ext>
            </a:extLst>
          </p:cNvPr>
          <p:cNvSpPr>
            <a:spLocks noGrp="1"/>
          </p:cNvSpPr>
          <p:nvPr>
            <p:ph sz="quarter" idx="17"/>
          </p:nvPr>
        </p:nvSpPr>
        <p:spPr/>
        <p:txBody>
          <a:bodyPr lIns="91440" tIns="45720" rIns="91440" bIns="45720" anchor="t"/>
          <a:lstStyle/>
          <a:p>
            <a:r>
              <a:rPr lang="en-GB" dirty="0"/>
              <a:t>A good CX is multi-faceted.</a:t>
            </a:r>
            <a:br>
              <a:rPr lang="en-GB" dirty="0"/>
            </a:br>
            <a:r>
              <a:rPr lang="en-GB" dirty="0"/>
              <a:t>Viewing CX as only the digital journey is detrimental</a:t>
            </a:r>
          </a:p>
          <a:p>
            <a:endParaRPr lang="en-GB" dirty="0"/>
          </a:p>
          <a:p>
            <a:r>
              <a:rPr lang="en-GB" dirty="0"/>
              <a:t>CX must encompass all actions that connect a product or service with its customers</a:t>
            </a:r>
            <a:endParaRPr lang="en-GB" dirty="0">
              <a:cs typeface="Calibri"/>
            </a:endParaRPr>
          </a:p>
          <a:p>
            <a:endParaRPr lang="en-GB" dirty="0"/>
          </a:p>
          <a:p>
            <a:r>
              <a:rPr lang="en-GB" dirty="0"/>
              <a:t>Including </a:t>
            </a:r>
            <a:r>
              <a:rPr lang="en-GB" u="sng" dirty="0"/>
              <a:t>all</a:t>
            </a:r>
            <a:r>
              <a:rPr lang="en-GB" dirty="0"/>
              <a:t> customer communications</a:t>
            </a:r>
          </a:p>
          <a:p>
            <a:endParaRPr lang="en-GB" dirty="0"/>
          </a:p>
          <a:p>
            <a:r>
              <a:rPr lang="en-GB" dirty="0"/>
              <a:t>Not just the role of marketing or digital teams</a:t>
            </a:r>
          </a:p>
          <a:p>
            <a:endParaRPr lang="en-GB" dirty="0"/>
          </a:p>
          <a:p>
            <a:r>
              <a:rPr lang="en-GB" dirty="0"/>
              <a:t>Opportunity to combine the physical with</a:t>
            </a:r>
            <a:br>
              <a:rPr lang="en-GB" dirty="0"/>
            </a:br>
            <a:r>
              <a:rPr lang="en-GB" dirty="0"/>
              <a:t>the digital…</a:t>
            </a:r>
          </a:p>
        </p:txBody>
      </p:sp>
    </p:spTree>
    <p:extLst>
      <p:ext uri="{BB962C8B-B14F-4D97-AF65-F5344CB8AC3E}">
        <p14:creationId xmlns:p14="http://schemas.microsoft.com/office/powerpoint/2010/main" val="1357382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30837E4-CD90-4BE5-A3D2-309058B404BD}"/>
              </a:ext>
            </a:extLst>
          </p:cNvPr>
          <p:cNvSpPr>
            <a:spLocks noGrp="1"/>
          </p:cNvSpPr>
          <p:nvPr>
            <p:ph type="sldNum" sz="quarter" idx="19"/>
          </p:nvPr>
        </p:nvSpPr>
        <p:spPr/>
        <p:txBody>
          <a:bodyPr/>
          <a:lstStyle/>
          <a:p>
            <a:fld id="{3787542D-5C6B-4EB3-96EB-9B37C3D5D2F8}" type="slidenum">
              <a:rPr lang="en-GB" smtClean="0"/>
              <a:t>5</a:t>
            </a:fld>
            <a:endParaRPr lang="en-GB" dirty="0"/>
          </a:p>
        </p:txBody>
      </p:sp>
      <p:sp>
        <p:nvSpPr>
          <p:cNvPr id="4" name="Title 3">
            <a:extLst>
              <a:ext uri="{FF2B5EF4-FFF2-40B4-BE49-F238E27FC236}">
                <a16:creationId xmlns:a16="http://schemas.microsoft.com/office/drawing/2014/main" id="{99BCDE35-9B95-418F-8772-9B0D3D10A925}"/>
              </a:ext>
            </a:extLst>
          </p:cNvPr>
          <p:cNvSpPr>
            <a:spLocks noGrp="1"/>
          </p:cNvSpPr>
          <p:nvPr>
            <p:ph type="title"/>
          </p:nvPr>
        </p:nvSpPr>
        <p:spPr/>
        <p:txBody>
          <a:bodyPr/>
          <a:lstStyle/>
          <a:p>
            <a:r>
              <a:rPr lang="en-GB" sz="2400" dirty="0"/>
              <a:t>customers want the option of physical communications </a:t>
            </a:r>
          </a:p>
        </p:txBody>
      </p:sp>
      <p:sp>
        <p:nvSpPr>
          <p:cNvPr id="5" name="Text Placeholder 4">
            <a:extLst>
              <a:ext uri="{FF2B5EF4-FFF2-40B4-BE49-F238E27FC236}">
                <a16:creationId xmlns:a16="http://schemas.microsoft.com/office/drawing/2014/main" id="{9CCCA60F-B2E5-494D-8AEF-DE6C827F2D64}"/>
              </a:ext>
            </a:extLst>
          </p:cNvPr>
          <p:cNvSpPr>
            <a:spLocks noGrp="1"/>
          </p:cNvSpPr>
          <p:nvPr>
            <p:ph type="body" sz="quarter" idx="11"/>
          </p:nvPr>
        </p:nvSpPr>
        <p:spPr/>
        <p:txBody>
          <a:bodyPr/>
          <a:lstStyle/>
          <a:p>
            <a:endParaRPr lang="en-GB"/>
          </a:p>
        </p:txBody>
      </p:sp>
      <p:sp>
        <p:nvSpPr>
          <p:cNvPr id="8" name="TextBox 7">
            <a:extLst>
              <a:ext uri="{FF2B5EF4-FFF2-40B4-BE49-F238E27FC236}">
                <a16:creationId xmlns:a16="http://schemas.microsoft.com/office/drawing/2014/main" id="{F6F5BB38-8C78-4D1B-963B-5290E9AFD731}"/>
              </a:ext>
            </a:extLst>
          </p:cNvPr>
          <p:cNvSpPr txBox="1"/>
          <p:nvPr/>
        </p:nvSpPr>
        <p:spPr bwMode="white">
          <a:xfrm>
            <a:off x="483459" y="1788791"/>
            <a:ext cx="10559315" cy="379656"/>
          </a:xfrm>
          <a:prstGeom prst="rect">
            <a:avLst/>
          </a:prstGeom>
          <a:noFill/>
        </p:spPr>
        <p:txBody>
          <a:bodyPr wrap="square" rtlCol="0">
            <a:spAutoFit/>
          </a:bodyPr>
          <a:lstStyle/>
          <a:p>
            <a:pPr algn="l">
              <a:buClr>
                <a:srgbClr val="F28713"/>
              </a:buClr>
              <a:buSzPct val="150000"/>
            </a:pPr>
            <a:r>
              <a:rPr lang="en-GB" sz="1867" b="1" kern="0" noProof="1">
                <a:ea typeface="Microsoft Himalaya" panose="01010100010101010101" pitchFamily="2" charset="0"/>
                <a:cs typeface="Segoe UI" panose="020B0502040204020203" pitchFamily="34" charset="0"/>
              </a:rPr>
              <a:t>Attitudes towards choice of comms / digital channels</a:t>
            </a:r>
            <a:endParaRPr lang="en-GB" sz="1867" kern="0" noProof="1">
              <a:ea typeface="Microsoft Himalaya" panose="01010100010101010101" pitchFamily="2" charset="0"/>
              <a:cs typeface="Segoe UI" panose="020B0502040204020203" pitchFamily="34" charset="0"/>
            </a:endParaRPr>
          </a:p>
        </p:txBody>
      </p:sp>
      <p:sp>
        <p:nvSpPr>
          <p:cNvPr id="9" name="TextBox 8">
            <a:extLst>
              <a:ext uri="{FF2B5EF4-FFF2-40B4-BE49-F238E27FC236}">
                <a16:creationId xmlns:a16="http://schemas.microsoft.com/office/drawing/2014/main" id="{FF9543F5-5FD1-4876-960F-4C791E343EC3}"/>
              </a:ext>
            </a:extLst>
          </p:cNvPr>
          <p:cNvSpPr txBox="1"/>
          <p:nvPr/>
        </p:nvSpPr>
        <p:spPr bwMode="white">
          <a:xfrm>
            <a:off x="4685177" y="3653264"/>
            <a:ext cx="2977829" cy="954300"/>
          </a:xfrm>
          <a:prstGeom prst="rect">
            <a:avLst/>
          </a:prstGeom>
          <a:noFill/>
        </p:spPr>
        <p:txBody>
          <a:bodyPr wrap="square" rtlCol="0">
            <a:spAutoFit/>
          </a:bodyPr>
          <a:lstStyle/>
          <a:p>
            <a:pPr algn="ctr">
              <a:buClr>
                <a:srgbClr val="F28713"/>
              </a:buClr>
              <a:buSzPct val="150000"/>
            </a:pPr>
            <a:r>
              <a:rPr lang="en-US" kern="0" noProof="1">
                <a:ea typeface="Microsoft Himalaya" panose="01010100010101010101" pitchFamily="2" charset="0"/>
                <a:cs typeface="Segoe UI" panose="020B0502040204020203" pitchFamily="34" charset="0"/>
              </a:rPr>
              <a:t>It’s right for companies to ask customers to pay more to get mail communications</a:t>
            </a:r>
          </a:p>
        </p:txBody>
      </p:sp>
      <p:sp>
        <p:nvSpPr>
          <p:cNvPr id="10" name="TextBox 9">
            <a:extLst>
              <a:ext uri="{FF2B5EF4-FFF2-40B4-BE49-F238E27FC236}">
                <a16:creationId xmlns:a16="http://schemas.microsoft.com/office/drawing/2014/main" id="{89E89B0C-5EE2-41B5-9133-57B2C4A5DF15}"/>
              </a:ext>
            </a:extLst>
          </p:cNvPr>
          <p:cNvSpPr txBox="1"/>
          <p:nvPr/>
        </p:nvSpPr>
        <p:spPr bwMode="white">
          <a:xfrm>
            <a:off x="1132783" y="3653264"/>
            <a:ext cx="2823469" cy="1241622"/>
          </a:xfrm>
          <a:prstGeom prst="rect">
            <a:avLst/>
          </a:prstGeom>
          <a:noFill/>
        </p:spPr>
        <p:txBody>
          <a:bodyPr wrap="square" rtlCol="0">
            <a:spAutoFit/>
          </a:bodyPr>
          <a:lstStyle/>
          <a:p>
            <a:pPr algn="ctr">
              <a:buClr>
                <a:srgbClr val="F28713"/>
              </a:buClr>
              <a:buSzPct val="150000"/>
            </a:pPr>
            <a:r>
              <a:rPr lang="en-US" kern="0" noProof="1">
                <a:ea typeface="Microsoft Himalaya" panose="01010100010101010101" pitchFamily="2" charset="0"/>
                <a:cs typeface="Segoe UI" panose="020B0502040204020203" pitchFamily="34" charset="0"/>
              </a:rPr>
              <a:t>People should have the choice of whether they get communications by mail</a:t>
            </a:r>
            <a:br>
              <a:rPr lang="en-US" kern="0" noProof="1">
                <a:ea typeface="Microsoft Himalaya" panose="01010100010101010101" pitchFamily="2" charset="0"/>
                <a:cs typeface="Segoe UI" panose="020B0502040204020203" pitchFamily="34" charset="0"/>
              </a:rPr>
            </a:br>
            <a:r>
              <a:rPr lang="en-US" kern="0" noProof="1">
                <a:ea typeface="Microsoft Himalaya" panose="01010100010101010101" pitchFamily="2" charset="0"/>
                <a:cs typeface="Segoe UI" panose="020B0502040204020203" pitchFamily="34" charset="0"/>
              </a:rPr>
              <a:t>or email</a:t>
            </a:r>
          </a:p>
        </p:txBody>
      </p:sp>
      <p:sp>
        <p:nvSpPr>
          <p:cNvPr id="11" name="TextBox 10">
            <a:extLst>
              <a:ext uri="{FF2B5EF4-FFF2-40B4-BE49-F238E27FC236}">
                <a16:creationId xmlns:a16="http://schemas.microsoft.com/office/drawing/2014/main" id="{3315C5D2-0CCD-4C3F-8DC4-A9C99FB97967}"/>
              </a:ext>
            </a:extLst>
          </p:cNvPr>
          <p:cNvSpPr txBox="1"/>
          <p:nvPr/>
        </p:nvSpPr>
        <p:spPr bwMode="white">
          <a:xfrm>
            <a:off x="8191846" y="3653263"/>
            <a:ext cx="3223644" cy="666977"/>
          </a:xfrm>
          <a:prstGeom prst="rect">
            <a:avLst/>
          </a:prstGeom>
          <a:noFill/>
        </p:spPr>
        <p:txBody>
          <a:bodyPr wrap="square" rtlCol="0">
            <a:spAutoFit/>
          </a:bodyPr>
          <a:lstStyle/>
          <a:p>
            <a:pPr algn="ctr">
              <a:buClr>
                <a:srgbClr val="F28713"/>
              </a:buClr>
              <a:buSzPct val="150000"/>
            </a:pPr>
            <a:r>
              <a:rPr lang="en-US" sz="1867" kern="0" noProof="1">
                <a:ea typeface="Microsoft Himalaya" panose="01010100010101010101" pitchFamily="2" charset="0"/>
                <a:cs typeface="Segoe UI" panose="020B0502040204020203" pitchFamily="34" charset="0"/>
              </a:rPr>
              <a:t>Too many companies expect me to download their app</a:t>
            </a:r>
          </a:p>
        </p:txBody>
      </p:sp>
      <p:grpSp>
        <p:nvGrpSpPr>
          <p:cNvPr id="12" name="Group 11">
            <a:extLst>
              <a:ext uri="{FF2B5EF4-FFF2-40B4-BE49-F238E27FC236}">
                <a16:creationId xmlns:a16="http://schemas.microsoft.com/office/drawing/2014/main" id="{EFAB9DAD-4EDE-4D33-9198-275EF8B9C81B}"/>
              </a:ext>
            </a:extLst>
          </p:cNvPr>
          <p:cNvGrpSpPr/>
          <p:nvPr/>
        </p:nvGrpSpPr>
        <p:grpSpPr>
          <a:xfrm>
            <a:off x="8796847" y="2505287"/>
            <a:ext cx="2013628" cy="1077219"/>
            <a:chOff x="7010400" y="1918708"/>
            <a:chExt cx="1510222" cy="807914"/>
          </a:xfrm>
        </p:grpSpPr>
        <p:sp>
          <p:nvSpPr>
            <p:cNvPr id="13" name="Rectangle 12">
              <a:extLst>
                <a:ext uri="{FF2B5EF4-FFF2-40B4-BE49-F238E27FC236}">
                  <a16:creationId xmlns:a16="http://schemas.microsoft.com/office/drawing/2014/main" id="{5CD4CC64-CC1B-4F41-AB32-6854D9A1CB51}"/>
                </a:ext>
              </a:extLst>
            </p:cNvPr>
            <p:cNvSpPr/>
            <p:nvPr/>
          </p:nvSpPr>
          <p:spPr>
            <a:xfrm>
              <a:off x="7668281" y="1918708"/>
              <a:ext cx="852341" cy="807914"/>
            </a:xfrm>
            <a:prstGeom prst="rect">
              <a:avLst/>
            </a:prstGeom>
            <a:noFill/>
          </p:spPr>
          <p:txBody>
            <a:bodyPr wrap="square" lIns="91440" tIns="45720" rIns="91440" bIns="45720" anchor="ctr">
              <a:spAutoFit/>
            </a:bodyPr>
            <a:lstStyle/>
            <a:p>
              <a:r>
                <a:rPr lang="en-GB" sz="4250" b="1" kern="0" noProof="1">
                  <a:solidFill>
                    <a:schemeClr val="accent1"/>
                  </a:solidFill>
                  <a:latin typeface="Century Gothic"/>
                  <a:ea typeface="Microsoft Himalaya"/>
                  <a:cs typeface="Segoe UI"/>
                </a:rPr>
                <a:t>67</a:t>
              </a:r>
              <a:r>
                <a:rPr lang="en-GB" sz="2100" b="1" kern="0" noProof="1">
                  <a:solidFill>
                    <a:schemeClr val="accent1"/>
                  </a:solidFill>
                  <a:latin typeface="Century Gothic"/>
                  <a:ea typeface="Microsoft Himalaya"/>
                  <a:cs typeface="Segoe UI"/>
                </a:rPr>
                <a:t>%</a:t>
              </a:r>
            </a:p>
            <a:p>
              <a:r>
                <a:rPr lang="en-GB" sz="2100" kern="0" noProof="1">
                  <a:solidFill>
                    <a:schemeClr val="accent1"/>
                  </a:solidFill>
                  <a:ea typeface="Microsoft Himalaya"/>
                  <a:cs typeface="Segoe UI"/>
                </a:rPr>
                <a:t>(</a:t>
              </a:r>
              <a:r>
                <a:rPr lang="en-GB" sz="2100" b="1" kern="0" noProof="1">
                  <a:solidFill>
                    <a:schemeClr val="accent1"/>
                  </a:solidFill>
                  <a:latin typeface="Century Gothic"/>
                  <a:ea typeface="Microsoft Himalaya"/>
                  <a:cs typeface="Segoe UI"/>
                </a:rPr>
                <a:t>10</a:t>
              </a:r>
              <a:r>
                <a:rPr lang="en-GB" sz="1600" b="1" kern="0" noProof="1">
                  <a:solidFill>
                    <a:schemeClr val="accent1"/>
                  </a:solidFill>
                  <a:latin typeface="Century Gothic"/>
                  <a:ea typeface="Microsoft Himalaya"/>
                  <a:cs typeface="Segoe UI"/>
                </a:rPr>
                <a:t>%</a:t>
              </a:r>
              <a:r>
                <a:rPr lang="en-GB" sz="2100" kern="0" noProof="1">
                  <a:solidFill>
                    <a:schemeClr val="accent1"/>
                  </a:solidFill>
                  <a:ea typeface="Microsoft Himalaya"/>
                  <a:cs typeface="Segoe UI"/>
                </a:rPr>
                <a:t>)</a:t>
              </a:r>
            </a:p>
          </p:txBody>
        </p:sp>
        <p:pic>
          <p:nvPicPr>
            <p:cNvPr id="14" name="Graphic 13">
              <a:extLst>
                <a:ext uri="{FF2B5EF4-FFF2-40B4-BE49-F238E27FC236}">
                  <a16:creationId xmlns:a16="http://schemas.microsoft.com/office/drawing/2014/main" id="{46D44344-5DE4-467D-9B9C-6C02815B176A}"/>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10400" y="1941087"/>
              <a:ext cx="720000" cy="720000"/>
            </a:xfrm>
            <a:prstGeom prst="rect">
              <a:avLst/>
            </a:prstGeom>
          </p:spPr>
        </p:pic>
      </p:grpSp>
      <p:grpSp>
        <p:nvGrpSpPr>
          <p:cNvPr id="15" name="Group 14">
            <a:extLst>
              <a:ext uri="{FF2B5EF4-FFF2-40B4-BE49-F238E27FC236}">
                <a16:creationId xmlns:a16="http://schemas.microsoft.com/office/drawing/2014/main" id="{8904F748-7771-4B90-AEE0-453CCC997631}"/>
              </a:ext>
            </a:extLst>
          </p:cNvPr>
          <p:cNvGrpSpPr/>
          <p:nvPr/>
        </p:nvGrpSpPr>
        <p:grpSpPr>
          <a:xfrm>
            <a:off x="1482700" y="2505287"/>
            <a:ext cx="2123632" cy="1081279"/>
            <a:chOff x="1483534" y="1918708"/>
            <a:chExt cx="1592725" cy="810959"/>
          </a:xfrm>
        </p:grpSpPr>
        <p:sp>
          <p:nvSpPr>
            <p:cNvPr id="16" name="Rectangle 15">
              <a:extLst>
                <a:ext uri="{FF2B5EF4-FFF2-40B4-BE49-F238E27FC236}">
                  <a16:creationId xmlns:a16="http://schemas.microsoft.com/office/drawing/2014/main" id="{5CE868F5-2DA1-4703-9ABB-BC850A8E4D06}"/>
                </a:ext>
              </a:extLst>
            </p:cNvPr>
            <p:cNvSpPr/>
            <p:nvPr/>
          </p:nvSpPr>
          <p:spPr>
            <a:xfrm>
              <a:off x="2223918" y="1918708"/>
              <a:ext cx="852341" cy="807914"/>
            </a:xfrm>
            <a:prstGeom prst="rect">
              <a:avLst/>
            </a:prstGeom>
            <a:noFill/>
          </p:spPr>
          <p:txBody>
            <a:bodyPr wrap="square" lIns="91440" tIns="45720" rIns="91440" bIns="45720" anchor="ctr">
              <a:spAutoFit/>
            </a:bodyPr>
            <a:lstStyle/>
            <a:p>
              <a:r>
                <a:rPr lang="en-GB" sz="4250" b="1" kern="0" noProof="1">
                  <a:solidFill>
                    <a:schemeClr val="accent1"/>
                  </a:solidFill>
                  <a:latin typeface="Century Gothic"/>
                  <a:ea typeface="Microsoft Himalaya"/>
                  <a:cs typeface="Segoe UI"/>
                </a:rPr>
                <a:t>83</a:t>
              </a:r>
              <a:r>
                <a:rPr lang="en-GB" sz="2100" b="1" kern="0" noProof="1">
                  <a:solidFill>
                    <a:schemeClr val="accent1"/>
                  </a:solidFill>
                  <a:latin typeface="Century Gothic"/>
                  <a:ea typeface="Microsoft Himalaya"/>
                  <a:cs typeface="Segoe UI"/>
                </a:rPr>
                <a:t>%</a:t>
              </a:r>
            </a:p>
            <a:p>
              <a:r>
                <a:rPr lang="en-GB" sz="2100" kern="0" noProof="1">
                  <a:solidFill>
                    <a:schemeClr val="accent1"/>
                  </a:solidFill>
                  <a:ea typeface="Microsoft Himalaya"/>
                  <a:cs typeface="Segoe UI"/>
                </a:rPr>
                <a:t>(</a:t>
              </a:r>
              <a:r>
                <a:rPr lang="en-GB" sz="2100" b="1" kern="0" noProof="1">
                  <a:solidFill>
                    <a:schemeClr val="accent1"/>
                  </a:solidFill>
                  <a:latin typeface="Century Gothic"/>
                  <a:ea typeface="Microsoft Himalaya"/>
                  <a:cs typeface="Segoe UI"/>
                </a:rPr>
                <a:t>3</a:t>
              </a:r>
              <a:r>
                <a:rPr lang="en-GB" sz="1600" b="1" kern="0" noProof="1">
                  <a:solidFill>
                    <a:schemeClr val="accent1"/>
                  </a:solidFill>
                  <a:latin typeface="Century Gothic"/>
                  <a:ea typeface="Microsoft Himalaya"/>
                  <a:cs typeface="Segoe UI"/>
                </a:rPr>
                <a:t>%</a:t>
              </a:r>
              <a:r>
                <a:rPr lang="en-GB" sz="2100" kern="0" noProof="1">
                  <a:solidFill>
                    <a:schemeClr val="accent1"/>
                  </a:solidFill>
                  <a:ea typeface="Microsoft Himalaya"/>
                  <a:cs typeface="Segoe UI"/>
                </a:rPr>
                <a:t>)</a:t>
              </a:r>
            </a:p>
          </p:txBody>
        </p:sp>
        <p:pic>
          <p:nvPicPr>
            <p:cNvPr id="17" name="Graphic 16">
              <a:extLst>
                <a:ext uri="{FF2B5EF4-FFF2-40B4-BE49-F238E27FC236}">
                  <a16:creationId xmlns:a16="http://schemas.microsoft.com/office/drawing/2014/main" id="{898BF3B2-478C-49A8-9551-760DACA9A9CD}"/>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83534" y="2009667"/>
              <a:ext cx="720000" cy="720000"/>
            </a:xfrm>
            <a:prstGeom prst="rect">
              <a:avLst/>
            </a:prstGeom>
          </p:spPr>
        </p:pic>
      </p:grpSp>
      <p:grpSp>
        <p:nvGrpSpPr>
          <p:cNvPr id="18" name="Group 17">
            <a:extLst>
              <a:ext uri="{FF2B5EF4-FFF2-40B4-BE49-F238E27FC236}">
                <a16:creationId xmlns:a16="http://schemas.microsoft.com/office/drawing/2014/main" id="{D6D98046-E395-4243-BEFE-488A7FCCA8B3}"/>
              </a:ext>
            </a:extLst>
          </p:cNvPr>
          <p:cNvGrpSpPr/>
          <p:nvPr/>
        </p:nvGrpSpPr>
        <p:grpSpPr>
          <a:xfrm>
            <a:off x="5098682" y="2505287"/>
            <a:ext cx="2150812" cy="1081279"/>
            <a:chOff x="4185330" y="1918708"/>
            <a:chExt cx="1613110" cy="810959"/>
          </a:xfrm>
        </p:grpSpPr>
        <p:sp>
          <p:nvSpPr>
            <p:cNvPr id="19" name="Rectangle 18">
              <a:extLst>
                <a:ext uri="{FF2B5EF4-FFF2-40B4-BE49-F238E27FC236}">
                  <a16:creationId xmlns:a16="http://schemas.microsoft.com/office/drawing/2014/main" id="{07B858F7-8D3F-434C-9E47-DB4C32699095}"/>
                </a:ext>
              </a:extLst>
            </p:cNvPr>
            <p:cNvSpPr/>
            <p:nvPr/>
          </p:nvSpPr>
          <p:spPr>
            <a:xfrm>
              <a:off x="4946099" y="1918708"/>
              <a:ext cx="852341" cy="807914"/>
            </a:xfrm>
            <a:prstGeom prst="rect">
              <a:avLst/>
            </a:prstGeom>
            <a:noFill/>
          </p:spPr>
          <p:txBody>
            <a:bodyPr wrap="square" lIns="91440" tIns="45720" rIns="91440" bIns="45720" anchor="ctr">
              <a:spAutoFit/>
            </a:bodyPr>
            <a:lstStyle/>
            <a:p>
              <a:r>
                <a:rPr lang="en-GB" sz="4250" b="1" kern="0" noProof="1">
                  <a:solidFill>
                    <a:schemeClr val="accent1"/>
                  </a:solidFill>
                  <a:latin typeface="Century Gothic"/>
                  <a:ea typeface="Microsoft Himalaya"/>
                  <a:cs typeface="Segoe UI"/>
                </a:rPr>
                <a:t>28</a:t>
              </a:r>
              <a:r>
                <a:rPr lang="en-GB" sz="2100" b="1" kern="0" noProof="1">
                  <a:solidFill>
                    <a:schemeClr val="accent1"/>
                  </a:solidFill>
                  <a:latin typeface="Century Gothic"/>
                  <a:ea typeface="Microsoft Himalaya"/>
                  <a:cs typeface="Segoe UI"/>
                </a:rPr>
                <a:t>%</a:t>
              </a:r>
            </a:p>
            <a:p>
              <a:r>
                <a:rPr lang="en-GB" sz="2100" kern="0" noProof="1">
                  <a:solidFill>
                    <a:schemeClr val="accent1"/>
                  </a:solidFill>
                  <a:ea typeface="Microsoft Himalaya"/>
                  <a:cs typeface="Segoe UI"/>
                </a:rPr>
                <a:t>(</a:t>
              </a:r>
              <a:r>
                <a:rPr lang="en-GB" sz="2100" b="1" kern="0" noProof="1">
                  <a:solidFill>
                    <a:schemeClr val="accent1"/>
                  </a:solidFill>
                  <a:latin typeface="Century Gothic"/>
                  <a:ea typeface="Microsoft Himalaya"/>
                  <a:cs typeface="Segoe UI"/>
                </a:rPr>
                <a:t>47</a:t>
              </a:r>
              <a:r>
                <a:rPr lang="en-GB" sz="1600" b="1" kern="0" noProof="1">
                  <a:solidFill>
                    <a:schemeClr val="accent1"/>
                  </a:solidFill>
                  <a:latin typeface="Century Gothic"/>
                  <a:ea typeface="Microsoft Himalaya"/>
                  <a:cs typeface="Segoe UI"/>
                </a:rPr>
                <a:t>%</a:t>
              </a:r>
              <a:r>
                <a:rPr lang="en-GB" sz="2100" kern="0" noProof="1">
                  <a:solidFill>
                    <a:schemeClr val="accent1"/>
                  </a:solidFill>
                  <a:ea typeface="Microsoft Himalaya"/>
                  <a:cs typeface="Segoe UI"/>
                </a:rPr>
                <a:t>)</a:t>
              </a:r>
            </a:p>
          </p:txBody>
        </p:sp>
        <p:pic>
          <p:nvPicPr>
            <p:cNvPr id="20" name="Graphic 19">
              <a:extLst>
                <a:ext uri="{FF2B5EF4-FFF2-40B4-BE49-F238E27FC236}">
                  <a16:creationId xmlns:a16="http://schemas.microsoft.com/office/drawing/2014/main" id="{57C5A914-2949-4FB5-B7A5-5AF857B23AE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185330" y="1956327"/>
              <a:ext cx="773340" cy="773340"/>
            </a:xfrm>
            <a:prstGeom prst="rect">
              <a:avLst/>
            </a:prstGeom>
          </p:spPr>
        </p:pic>
      </p:grpSp>
      <p:sp>
        <p:nvSpPr>
          <p:cNvPr id="21" name="Rectangle 20">
            <a:extLst>
              <a:ext uri="{FF2B5EF4-FFF2-40B4-BE49-F238E27FC236}">
                <a16:creationId xmlns:a16="http://schemas.microsoft.com/office/drawing/2014/main" id="{1100633F-C44F-4184-8633-5E332C443FEE}"/>
              </a:ext>
            </a:extLst>
          </p:cNvPr>
          <p:cNvSpPr/>
          <p:nvPr/>
        </p:nvSpPr>
        <p:spPr>
          <a:xfrm>
            <a:off x="5243532" y="1767166"/>
            <a:ext cx="2072640" cy="379656"/>
          </a:xfrm>
          <a:prstGeom prst="rect">
            <a:avLst/>
          </a:prstGeom>
          <a:noFill/>
        </p:spPr>
        <p:txBody>
          <a:bodyPr wrap="square" anchor="ctr">
            <a:spAutoFit/>
          </a:bodyPr>
          <a:lstStyle/>
          <a:p>
            <a:pPr algn="r"/>
            <a:r>
              <a:rPr lang="en-GB" sz="1867" kern="0" noProof="1">
                <a:solidFill>
                  <a:schemeClr val="accent1"/>
                </a:solidFill>
                <a:ea typeface="Microsoft Himalaya" panose="01010100010101010101" pitchFamily="2" charset="0"/>
                <a:cs typeface="Segoe UI" panose="020B0502040204020203" pitchFamily="34" charset="0"/>
              </a:rPr>
              <a:t>Agree </a:t>
            </a:r>
            <a:r>
              <a:rPr lang="en-GB" sz="1200" kern="0" noProof="1">
                <a:solidFill>
                  <a:schemeClr val="accent1"/>
                </a:solidFill>
                <a:ea typeface="Microsoft Himalaya" panose="01010100010101010101" pitchFamily="2" charset="0"/>
                <a:cs typeface="Segoe UI" panose="020B0502040204020203" pitchFamily="34" charset="0"/>
              </a:rPr>
              <a:t>(Disagree)</a:t>
            </a:r>
          </a:p>
        </p:txBody>
      </p:sp>
      <p:sp>
        <p:nvSpPr>
          <p:cNvPr id="22" name="TextBox 21">
            <a:extLst>
              <a:ext uri="{FF2B5EF4-FFF2-40B4-BE49-F238E27FC236}">
                <a16:creationId xmlns:a16="http://schemas.microsoft.com/office/drawing/2014/main" id="{3743A6D1-2A44-4A48-ABB4-D3F7C68B459D}"/>
              </a:ext>
            </a:extLst>
          </p:cNvPr>
          <p:cNvSpPr txBox="1"/>
          <p:nvPr/>
        </p:nvSpPr>
        <p:spPr bwMode="white">
          <a:xfrm>
            <a:off x="623358" y="6212829"/>
            <a:ext cx="10945283" cy="261610"/>
          </a:xfrm>
          <a:prstGeom prst="rect">
            <a:avLst/>
          </a:prstGeom>
          <a:noFill/>
        </p:spPr>
        <p:txBody>
          <a:bodyPr wrap="square" rtlCol="0">
            <a:spAutoFit/>
          </a:bodyPr>
          <a:lstStyle/>
          <a:p>
            <a:pPr algn="r"/>
            <a:r>
              <a:rPr lang="en-GB" sz="1100" dirty="0">
                <a:effectLst/>
                <a:latin typeface="Calibri" panose="020F0502020204030204" pitchFamily="34" charset="0"/>
                <a:ea typeface="Calibri" panose="020F0502020204030204" pitchFamily="34" charset="0"/>
              </a:rPr>
              <a:t>Source: Trinity McQueen 2021</a:t>
            </a:r>
          </a:p>
        </p:txBody>
      </p:sp>
      <p:sp>
        <p:nvSpPr>
          <p:cNvPr id="23" name="Arrow: Down 22">
            <a:extLst>
              <a:ext uri="{FF2B5EF4-FFF2-40B4-BE49-F238E27FC236}">
                <a16:creationId xmlns:a16="http://schemas.microsoft.com/office/drawing/2014/main" id="{915566AD-6B0E-4DE5-98A7-951ED8020CEF}"/>
              </a:ext>
            </a:extLst>
          </p:cNvPr>
          <p:cNvSpPr/>
          <p:nvPr/>
        </p:nvSpPr>
        <p:spPr>
          <a:xfrm rot="10800000">
            <a:off x="3483527" y="2626565"/>
            <a:ext cx="204985" cy="48844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Arrow: Down 23">
            <a:extLst>
              <a:ext uri="{FF2B5EF4-FFF2-40B4-BE49-F238E27FC236}">
                <a16:creationId xmlns:a16="http://schemas.microsoft.com/office/drawing/2014/main" id="{1FAD944C-DAAC-4858-8E22-B8D7BD68C713}"/>
              </a:ext>
            </a:extLst>
          </p:cNvPr>
          <p:cNvSpPr/>
          <p:nvPr/>
        </p:nvSpPr>
        <p:spPr>
          <a:xfrm>
            <a:off x="7038430" y="2626566"/>
            <a:ext cx="204985" cy="48844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Arrow: Down 24">
            <a:extLst>
              <a:ext uri="{FF2B5EF4-FFF2-40B4-BE49-F238E27FC236}">
                <a16:creationId xmlns:a16="http://schemas.microsoft.com/office/drawing/2014/main" id="{BE77F36A-3E16-4A93-9DA9-3DB429D8C399}"/>
              </a:ext>
            </a:extLst>
          </p:cNvPr>
          <p:cNvSpPr/>
          <p:nvPr/>
        </p:nvSpPr>
        <p:spPr>
          <a:xfrm rot="10800000">
            <a:off x="10634027" y="2535126"/>
            <a:ext cx="204985" cy="488449"/>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1E98D16B-4A53-472E-8CD9-A8016A203B2E}"/>
              </a:ext>
            </a:extLst>
          </p:cNvPr>
          <p:cNvSpPr txBox="1"/>
          <p:nvPr/>
        </p:nvSpPr>
        <p:spPr>
          <a:xfrm>
            <a:off x="3391478" y="5486400"/>
            <a:ext cx="5409045" cy="523220"/>
          </a:xfrm>
          <a:prstGeom prst="rect">
            <a:avLst/>
          </a:prstGeom>
          <a:noFill/>
        </p:spPr>
        <p:txBody>
          <a:bodyPr wrap="none" rtlCol="0">
            <a:spAutoFit/>
          </a:bodyPr>
          <a:lstStyle/>
          <a:p>
            <a:pPr algn="ctr"/>
            <a:r>
              <a:rPr lang="en-GB" sz="2800" b="1" dirty="0">
                <a:solidFill>
                  <a:srgbClr val="FF0000"/>
                </a:solidFill>
              </a:rPr>
              <a:t>What role can Customer Mail play?</a:t>
            </a:r>
          </a:p>
        </p:txBody>
      </p:sp>
    </p:spTree>
    <p:extLst>
      <p:ext uri="{BB962C8B-B14F-4D97-AF65-F5344CB8AC3E}">
        <p14:creationId xmlns:p14="http://schemas.microsoft.com/office/powerpoint/2010/main" val="2916254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E9698D3A-6D18-4A34-91AC-2CCB47D3FEF6}"/>
              </a:ext>
            </a:extLst>
          </p:cNvPr>
          <p:cNvSpPr>
            <a:spLocks noGrp="1"/>
          </p:cNvSpPr>
          <p:nvPr>
            <p:ph type="pic" sz="quarter" idx="13"/>
          </p:nvPr>
        </p:nvSpPr>
        <p:spPr/>
      </p:sp>
      <p:sp>
        <p:nvSpPr>
          <p:cNvPr id="3" name="Slide Number Placeholder 2">
            <a:extLst>
              <a:ext uri="{FF2B5EF4-FFF2-40B4-BE49-F238E27FC236}">
                <a16:creationId xmlns:a16="http://schemas.microsoft.com/office/drawing/2014/main" id="{2F6A7A95-DA94-40D5-AFF3-653A59AD5BE3}"/>
              </a:ext>
            </a:extLst>
          </p:cNvPr>
          <p:cNvSpPr>
            <a:spLocks noGrp="1"/>
          </p:cNvSpPr>
          <p:nvPr>
            <p:ph type="sldNum" sz="quarter" idx="16"/>
          </p:nvPr>
        </p:nvSpPr>
        <p:spPr/>
        <p:txBody>
          <a:bodyPr/>
          <a:lstStyle/>
          <a:p>
            <a:fld id="{3787542D-5C6B-4EB3-96EB-9B37C3D5D2F8}" type="slidenum">
              <a:rPr lang="en-GB" smtClean="0"/>
              <a:pPr/>
              <a:t>6</a:t>
            </a:fld>
            <a:endParaRPr lang="en-GB" dirty="0"/>
          </a:p>
        </p:txBody>
      </p:sp>
      <p:sp>
        <p:nvSpPr>
          <p:cNvPr id="4" name="Title 3">
            <a:extLst>
              <a:ext uri="{FF2B5EF4-FFF2-40B4-BE49-F238E27FC236}">
                <a16:creationId xmlns:a16="http://schemas.microsoft.com/office/drawing/2014/main" id="{951EC0EE-1FCE-4C8B-AF69-4E44AA51B413}"/>
              </a:ext>
            </a:extLst>
          </p:cNvPr>
          <p:cNvSpPr>
            <a:spLocks noGrp="1"/>
          </p:cNvSpPr>
          <p:nvPr>
            <p:ph type="title"/>
          </p:nvPr>
        </p:nvSpPr>
        <p:spPr/>
        <p:txBody>
          <a:bodyPr/>
          <a:lstStyle/>
          <a:p>
            <a:r>
              <a:rPr lang="en-GB" sz="2400" dirty="0"/>
              <a:t>Customer mail: a definition</a:t>
            </a:r>
          </a:p>
        </p:txBody>
      </p:sp>
      <p:sp>
        <p:nvSpPr>
          <p:cNvPr id="2" name="Content Placeholder 1">
            <a:extLst>
              <a:ext uri="{FF2B5EF4-FFF2-40B4-BE49-F238E27FC236}">
                <a16:creationId xmlns:a16="http://schemas.microsoft.com/office/drawing/2014/main" id="{0E26F274-CC62-4BD4-9737-8F28B889ADF5}"/>
              </a:ext>
            </a:extLst>
          </p:cNvPr>
          <p:cNvSpPr>
            <a:spLocks noGrp="1"/>
          </p:cNvSpPr>
          <p:nvPr>
            <p:ph sz="quarter" idx="17"/>
          </p:nvPr>
        </p:nvSpPr>
        <p:spPr>
          <a:xfrm>
            <a:off x="424142" y="1779739"/>
            <a:ext cx="5532158" cy="4479925"/>
          </a:xfrm>
        </p:spPr>
        <p:txBody>
          <a:bodyPr lIns="91440" tIns="45720" rIns="91440" bIns="45720" anchor="t"/>
          <a:lstStyle/>
          <a:p>
            <a:r>
              <a:rPr lang="en-GB" dirty="0"/>
              <a:t>Not all mail is the same!</a:t>
            </a:r>
          </a:p>
          <a:p>
            <a:endParaRPr lang="en-GB" dirty="0"/>
          </a:p>
          <a:p>
            <a:r>
              <a:rPr lang="en-GB" sz="1800" dirty="0">
                <a:effectLst/>
                <a:latin typeface="Calibri" panose="020F0502020204030204" pitchFamily="34" charset="0"/>
                <a:ea typeface="Calibri" panose="020F0502020204030204" pitchFamily="34" charset="0"/>
              </a:rPr>
              <a:t>Customer Mail is part of the ongoing relationship with the product or service, </a:t>
            </a:r>
            <a:r>
              <a:rPr lang="en-GB" dirty="0"/>
              <a:t>it is not ‘selling’ (which is the role of advertising mail)</a:t>
            </a:r>
          </a:p>
          <a:p>
            <a:endParaRPr lang="en-GB" dirty="0"/>
          </a:p>
          <a:p>
            <a:r>
              <a:rPr lang="en-GB" dirty="0"/>
              <a:t>It is sent to a named addressee with whom there is an existing relationship</a:t>
            </a:r>
          </a:p>
          <a:p>
            <a:endParaRPr lang="en-GB" dirty="0"/>
          </a:p>
          <a:p>
            <a:r>
              <a:rPr lang="en-GB" dirty="0"/>
              <a:t>Its primary focus is to share information, offer support and develop relationships using e.g. bills, statements, appointments, welcome packs.</a:t>
            </a:r>
            <a:endParaRPr lang="en-GB" dirty="0">
              <a:cs typeface="Calibri"/>
            </a:endParaRPr>
          </a:p>
        </p:txBody>
      </p:sp>
      <p:pic>
        <p:nvPicPr>
          <p:cNvPr id="16" name="Picture 15">
            <a:extLst>
              <a:ext uri="{FF2B5EF4-FFF2-40B4-BE49-F238E27FC236}">
                <a16:creationId xmlns:a16="http://schemas.microsoft.com/office/drawing/2014/main" id="{CE22BCCC-D6A5-472A-8BB8-7F1649FD218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5997" y="0"/>
            <a:ext cx="6096004" cy="6858000"/>
          </a:xfrm>
          <a:prstGeom prst="rect">
            <a:avLst/>
          </a:prstGeom>
        </p:spPr>
      </p:pic>
    </p:spTree>
    <p:extLst>
      <p:ext uri="{BB962C8B-B14F-4D97-AF65-F5344CB8AC3E}">
        <p14:creationId xmlns:p14="http://schemas.microsoft.com/office/powerpoint/2010/main" val="31589296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07939C03-3C0F-48C6-8444-AC5D363BEC45}"/>
              </a:ext>
            </a:extLst>
          </p:cNvPr>
          <p:cNvSpPr>
            <a:spLocks noGrp="1"/>
          </p:cNvSpPr>
          <p:nvPr>
            <p:ph sz="quarter" idx="16"/>
          </p:nvPr>
        </p:nvSpPr>
        <p:spPr/>
        <p:txBody>
          <a:bodyPr lIns="91440" tIns="45720" rIns="91440" bIns="45720" anchor="t"/>
          <a:lstStyle/>
          <a:p>
            <a:r>
              <a:rPr lang="en-GB" dirty="0"/>
              <a:t>Six-part research task conducted by award-winning research agency </a:t>
            </a:r>
            <a:r>
              <a:rPr lang="en-GB" b="1" dirty="0"/>
              <a:t>Trinity McQueen </a:t>
            </a:r>
            <a:r>
              <a:rPr lang="en-GB" dirty="0"/>
              <a:t>including in-depth interviews &amp; co-creation workshops</a:t>
            </a:r>
          </a:p>
          <a:p>
            <a:pPr lvl="1"/>
            <a:r>
              <a:rPr lang="en-GB" dirty="0"/>
              <a:t>Talking to both customers and</a:t>
            </a:r>
            <a:br>
              <a:rPr lang="en-GB" dirty="0"/>
            </a:br>
            <a:r>
              <a:rPr lang="en-GB" dirty="0"/>
              <a:t>business decision makers</a:t>
            </a:r>
          </a:p>
          <a:p>
            <a:endParaRPr lang="en-GB" dirty="0"/>
          </a:p>
          <a:p>
            <a:r>
              <a:rPr lang="en-GB" dirty="0"/>
              <a:t>How does mail add value to CX?</a:t>
            </a:r>
          </a:p>
          <a:p>
            <a:endParaRPr lang="en-GB" dirty="0"/>
          </a:p>
          <a:p>
            <a:r>
              <a:rPr lang="en-GB" dirty="0"/>
              <a:t>How can mail be implemented optimally</a:t>
            </a:r>
            <a:br>
              <a:rPr lang="en-GB" dirty="0"/>
            </a:br>
            <a:r>
              <a:rPr lang="en-GB" dirty="0"/>
              <a:t>as part of a full CX?</a:t>
            </a:r>
          </a:p>
          <a:p>
            <a:endParaRPr lang="en-GB" dirty="0"/>
          </a:p>
          <a:p>
            <a:r>
              <a:rPr lang="en-GB" dirty="0"/>
              <a:t>Marketreach has worked in collaboration with </a:t>
            </a:r>
            <a:r>
              <a:rPr lang="en-GB" b="1" dirty="0"/>
              <a:t>Accenture </a:t>
            </a:r>
            <a:r>
              <a:rPr lang="en-GB" dirty="0"/>
              <a:t>to create a ground-breaking report.</a:t>
            </a:r>
            <a:endParaRPr lang="en-GB" dirty="0">
              <a:cs typeface="Calibri"/>
            </a:endParaRPr>
          </a:p>
          <a:p>
            <a:endParaRPr lang="en-GB" dirty="0"/>
          </a:p>
        </p:txBody>
      </p:sp>
      <p:sp>
        <p:nvSpPr>
          <p:cNvPr id="3" name="Slide Number Placeholder 2">
            <a:extLst>
              <a:ext uri="{FF2B5EF4-FFF2-40B4-BE49-F238E27FC236}">
                <a16:creationId xmlns:a16="http://schemas.microsoft.com/office/drawing/2014/main" id="{B787B755-75CD-4CBA-BF3E-06DC04E8AC26}"/>
              </a:ext>
            </a:extLst>
          </p:cNvPr>
          <p:cNvSpPr>
            <a:spLocks noGrp="1"/>
          </p:cNvSpPr>
          <p:nvPr>
            <p:ph type="sldNum" sz="quarter" idx="19"/>
          </p:nvPr>
        </p:nvSpPr>
        <p:spPr/>
        <p:txBody>
          <a:bodyPr/>
          <a:lstStyle/>
          <a:p>
            <a:fld id="{3787542D-5C6B-4EB3-96EB-9B37C3D5D2F8}" type="slidenum">
              <a:rPr lang="en-GB" smtClean="0"/>
              <a:pPr/>
              <a:t>7</a:t>
            </a:fld>
            <a:endParaRPr lang="en-GB" dirty="0"/>
          </a:p>
        </p:txBody>
      </p:sp>
      <p:sp>
        <p:nvSpPr>
          <p:cNvPr id="14" name="Title 13">
            <a:extLst>
              <a:ext uri="{FF2B5EF4-FFF2-40B4-BE49-F238E27FC236}">
                <a16:creationId xmlns:a16="http://schemas.microsoft.com/office/drawing/2014/main" id="{9889294C-9613-4C01-B46F-55A522163632}"/>
              </a:ext>
            </a:extLst>
          </p:cNvPr>
          <p:cNvSpPr>
            <a:spLocks noGrp="1"/>
          </p:cNvSpPr>
          <p:nvPr>
            <p:ph type="title"/>
          </p:nvPr>
        </p:nvSpPr>
        <p:spPr/>
        <p:txBody>
          <a:bodyPr/>
          <a:lstStyle/>
          <a:p>
            <a:r>
              <a:rPr lang="en-GB" sz="2400" dirty="0"/>
              <a:t>What is the role of customer mail in a good CX?</a:t>
            </a:r>
          </a:p>
        </p:txBody>
      </p:sp>
      <p:sp>
        <p:nvSpPr>
          <p:cNvPr id="15" name="Text Placeholder 14">
            <a:extLst>
              <a:ext uri="{FF2B5EF4-FFF2-40B4-BE49-F238E27FC236}">
                <a16:creationId xmlns:a16="http://schemas.microsoft.com/office/drawing/2014/main" id="{1C25315A-1A93-424A-9608-9C8503B5A5E0}"/>
              </a:ext>
            </a:extLst>
          </p:cNvPr>
          <p:cNvSpPr>
            <a:spLocks noGrp="1"/>
          </p:cNvSpPr>
          <p:nvPr>
            <p:ph type="body" sz="quarter" idx="11"/>
          </p:nvPr>
        </p:nvSpPr>
        <p:spPr/>
        <p:txBody>
          <a:bodyPr/>
          <a:lstStyle/>
          <a:p>
            <a:r>
              <a:rPr lang="en-GB" dirty="0"/>
              <a:t>A two-year journey of discovery</a:t>
            </a:r>
          </a:p>
        </p:txBody>
      </p:sp>
      <p:grpSp>
        <p:nvGrpSpPr>
          <p:cNvPr id="5" name="Group 4">
            <a:extLst>
              <a:ext uri="{FF2B5EF4-FFF2-40B4-BE49-F238E27FC236}">
                <a16:creationId xmlns:a16="http://schemas.microsoft.com/office/drawing/2014/main" id="{7DE458E3-1B6E-4A41-BC15-8C041FECB6F7}"/>
              </a:ext>
            </a:extLst>
          </p:cNvPr>
          <p:cNvGrpSpPr/>
          <p:nvPr/>
        </p:nvGrpSpPr>
        <p:grpSpPr>
          <a:xfrm>
            <a:off x="5737307" y="1854997"/>
            <a:ext cx="6373828" cy="2285332"/>
            <a:chOff x="510952" y="1601993"/>
            <a:chExt cx="11544715" cy="4139349"/>
          </a:xfrm>
        </p:grpSpPr>
        <p:grpSp>
          <p:nvGrpSpPr>
            <p:cNvPr id="50" name="Group 49">
              <a:extLst>
                <a:ext uri="{FF2B5EF4-FFF2-40B4-BE49-F238E27FC236}">
                  <a16:creationId xmlns:a16="http://schemas.microsoft.com/office/drawing/2014/main" id="{5E3BB850-23E3-4BBC-9B12-A4E6C649B6B0}"/>
                </a:ext>
              </a:extLst>
            </p:cNvPr>
            <p:cNvGrpSpPr/>
            <p:nvPr/>
          </p:nvGrpSpPr>
          <p:grpSpPr>
            <a:xfrm>
              <a:off x="510952" y="3234011"/>
              <a:ext cx="10209974" cy="755704"/>
              <a:chOff x="480514" y="2904434"/>
              <a:chExt cx="11230971" cy="755704"/>
            </a:xfrm>
          </p:grpSpPr>
          <p:sp>
            <p:nvSpPr>
              <p:cNvPr id="51" name="Freeform 6">
                <a:extLst>
                  <a:ext uri="{FF2B5EF4-FFF2-40B4-BE49-F238E27FC236}">
                    <a16:creationId xmlns:a16="http://schemas.microsoft.com/office/drawing/2014/main" id="{13080175-A2BF-4554-9714-7486ABAC914B}"/>
                  </a:ext>
                </a:extLst>
              </p:cNvPr>
              <p:cNvSpPr>
                <a:spLocks noChangeAspect="1"/>
              </p:cNvSpPr>
              <p:nvPr/>
            </p:nvSpPr>
            <p:spPr>
              <a:xfrm>
                <a:off x="480514" y="2904435"/>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2" name="Freeform 7">
                <a:extLst>
                  <a:ext uri="{FF2B5EF4-FFF2-40B4-BE49-F238E27FC236}">
                    <a16:creationId xmlns:a16="http://schemas.microsoft.com/office/drawing/2014/main" id="{76D3F9F1-3313-497C-98C8-C4A46ECEE1A0}"/>
                  </a:ext>
                </a:extLst>
              </p:cNvPr>
              <p:cNvSpPr>
                <a:spLocks noChangeAspect="1"/>
              </p:cNvSpPr>
              <p:nvPr/>
            </p:nvSpPr>
            <p:spPr>
              <a:xfrm>
                <a:off x="2453753"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3" name="Rounded Rectangle 17">
                <a:extLst>
                  <a:ext uri="{FF2B5EF4-FFF2-40B4-BE49-F238E27FC236}">
                    <a16:creationId xmlns:a16="http://schemas.microsoft.com/office/drawing/2014/main" id="{5045FA74-645C-48CE-8C41-24206736BCCE}"/>
                  </a:ext>
                </a:extLst>
              </p:cNvPr>
              <p:cNvSpPr/>
              <p:nvPr/>
            </p:nvSpPr>
            <p:spPr>
              <a:xfrm>
                <a:off x="1441544" y="3211668"/>
                <a:ext cx="1364776" cy="141217"/>
              </a:xfrm>
              <a:prstGeom prst="roundRect">
                <a:avLst>
                  <a:gd name="adj" fmla="val 50000"/>
                </a:avLst>
              </a:prstGeom>
              <a:solidFill>
                <a:schemeClr val="bg1">
                  <a:lumMod val="6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4" name="Freeform 18">
                <a:extLst>
                  <a:ext uri="{FF2B5EF4-FFF2-40B4-BE49-F238E27FC236}">
                    <a16:creationId xmlns:a16="http://schemas.microsoft.com/office/drawing/2014/main" id="{A9B20361-37CC-4582-A45E-97532A010ABE}"/>
                  </a:ext>
                </a:extLst>
              </p:cNvPr>
              <p:cNvSpPr>
                <a:spLocks noChangeAspect="1"/>
              </p:cNvSpPr>
              <p:nvPr/>
            </p:nvSpPr>
            <p:spPr>
              <a:xfrm>
                <a:off x="4426992"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A6A6A6"/>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5" name="Rounded Rectangle 19">
                <a:extLst>
                  <a:ext uri="{FF2B5EF4-FFF2-40B4-BE49-F238E27FC236}">
                    <a16:creationId xmlns:a16="http://schemas.microsoft.com/office/drawing/2014/main" id="{91F6B34F-B9F4-43B5-9736-93A65655B098}"/>
                  </a:ext>
                </a:extLst>
              </p:cNvPr>
              <p:cNvSpPr/>
              <p:nvPr/>
            </p:nvSpPr>
            <p:spPr>
              <a:xfrm>
                <a:off x="3414783" y="3211668"/>
                <a:ext cx="1364776" cy="141217"/>
              </a:xfrm>
              <a:prstGeom prst="roundRect">
                <a:avLst>
                  <a:gd name="adj" fmla="val 50000"/>
                </a:avLst>
              </a:prstGeom>
              <a:solidFill>
                <a:schemeClr val="bg1">
                  <a:lumMod val="6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6" name="Freeform 20">
                <a:extLst>
                  <a:ext uri="{FF2B5EF4-FFF2-40B4-BE49-F238E27FC236}">
                    <a16:creationId xmlns:a16="http://schemas.microsoft.com/office/drawing/2014/main" id="{A2895E0A-77C2-4B07-B7CE-9D85106A5FC6}"/>
                  </a:ext>
                </a:extLst>
              </p:cNvPr>
              <p:cNvSpPr>
                <a:spLocks noChangeAspect="1"/>
              </p:cNvSpPr>
              <p:nvPr/>
            </p:nvSpPr>
            <p:spPr>
              <a:xfrm>
                <a:off x="6400231"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rgbClr val="A6A6A6"/>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7" name="Rounded Rectangle 21">
                <a:extLst>
                  <a:ext uri="{FF2B5EF4-FFF2-40B4-BE49-F238E27FC236}">
                    <a16:creationId xmlns:a16="http://schemas.microsoft.com/office/drawing/2014/main" id="{E0EDEB0E-1286-46AA-A161-75FAD4548BA0}"/>
                  </a:ext>
                </a:extLst>
              </p:cNvPr>
              <p:cNvSpPr/>
              <p:nvPr/>
            </p:nvSpPr>
            <p:spPr>
              <a:xfrm>
                <a:off x="5388022" y="3211668"/>
                <a:ext cx="1364776" cy="141217"/>
              </a:xfrm>
              <a:prstGeom prst="roundRect">
                <a:avLst>
                  <a:gd name="adj" fmla="val 50000"/>
                </a:avLst>
              </a:prstGeom>
              <a:solidFill>
                <a:schemeClr val="bg1">
                  <a:lumMod val="6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8" name="Freeform 22">
                <a:extLst>
                  <a:ext uri="{FF2B5EF4-FFF2-40B4-BE49-F238E27FC236}">
                    <a16:creationId xmlns:a16="http://schemas.microsoft.com/office/drawing/2014/main" id="{3765A579-A327-4F81-92C1-2565356E178E}"/>
                  </a:ext>
                </a:extLst>
              </p:cNvPr>
              <p:cNvSpPr>
                <a:spLocks noChangeAspect="1"/>
              </p:cNvSpPr>
              <p:nvPr/>
            </p:nvSpPr>
            <p:spPr>
              <a:xfrm>
                <a:off x="8373470"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59" name="Rounded Rectangle 23">
                <a:extLst>
                  <a:ext uri="{FF2B5EF4-FFF2-40B4-BE49-F238E27FC236}">
                    <a16:creationId xmlns:a16="http://schemas.microsoft.com/office/drawing/2014/main" id="{C701DD6C-2BDE-4CCA-9FF1-E24B33241680}"/>
                  </a:ext>
                </a:extLst>
              </p:cNvPr>
              <p:cNvSpPr/>
              <p:nvPr/>
            </p:nvSpPr>
            <p:spPr>
              <a:xfrm>
                <a:off x="7361261" y="3211668"/>
                <a:ext cx="1364776" cy="141217"/>
              </a:xfrm>
              <a:prstGeom prst="roundRect">
                <a:avLst>
                  <a:gd name="adj" fmla="val 50000"/>
                </a:avLst>
              </a:prstGeom>
              <a:solidFill>
                <a:schemeClr val="bg1">
                  <a:lumMod val="6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0" name="Freeform 24">
                <a:extLst>
                  <a:ext uri="{FF2B5EF4-FFF2-40B4-BE49-F238E27FC236}">
                    <a16:creationId xmlns:a16="http://schemas.microsoft.com/office/drawing/2014/main" id="{39639020-4654-4410-AE94-39476EEFD04C}"/>
                  </a:ext>
                </a:extLst>
              </p:cNvPr>
              <p:cNvSpPr>
                <a:spLocks noChangeAspect="1"/>
              </p:cNvSpPr>
              <p:nvPr/>
            </p:nvSpPr>
            <p:spPr>
              <a:xfrm>
                <a:off x="10346709" y="2904434"/>
                <a:ext cx="1364776" cy="755703"/>
              </a:xfrm>
              <a:custGeom>
                <a:avLst/>
                <a:gdLst>
                  <a:gd name="connsiteX0" fmla="*/ 452684 w 1651379"/>
                  <a:gd name="connsiteY0" fmla="*/ 113699 h 914400"/>
                  <a:gd name="connsiteX1" fmla="*/ 116161 w 1651379"/>
                  <a:gd name="connsiteY1" fmla="*/ 387973 h 914400"/>
                  <a:gd name="connsiteX2" fmla="*/ 109182 w 1651379"/>
                  <a:gd name="connsiteY2" fmla="*/ 457201 h 914400"/>
                  <a:gd name="connsiteX3" fmla="*/ 109182 w 1651379"/>
                  <a:gd name="connsiteY3" fmla="*/ 457200 h 914400"/>
                  <a:gd name="connsiteX4" fmla="*/ 109182 w 1651379"/>
                  <a:gd name="connsiteY4" fmla="*/ 457201 h 914400"/>
                  <a:gd name="connsiteX5" fmla="*/ 109182 w 1651379"/>
                  <a:gd name="connsiteY5" fmla="*/ 457201 h 914400"/>
                  <a:gd name="connsiteX6" fmla="*/ 116161 w 1651379"/>
                  <a:gd name="connsiteY6" fmla="*/ 526428 h 914400"/>
                  <a:gd name="connsiteX7" fmla="*/ 452684 w 1651379"/>
                  <a:gd name="connsiteY7" fmla="*/ 800702 h 914400"/>
                  <a:gd name="connsiteX8" fmla="*/ 1198695 w 1651379"/>
                  <a:gd name="connsiteY8" fmla="*/ 800703 h 914400"/>
                  <a:gd name="connsiteX9" fmla="*/ 1542197 w 1651379"/>
                  <a:gd name="connsiteY9" fmla="*/ 457201 h 914400"/>
                  <a:gd name="connsiteX10" fmla="*/ 1542198 w 1651379"/>
                  <a:gd name="connsiteY10" fmla="*/ 457201 h 914400"/>
                  <a:gd name="connsiteX11" fmla="*/ 1198696 w 1651379"/>
                  <a:gd name="connsiteY11" fmla="*/ 113699 h 914400"/>
                  <a:gd name="connsiteX12" fmla="*/ 457200 w 1651379"/>
                  <a:gd name="connsiteY12" fmla="*/ 0 h 914400"/>
                  <a:gd name="connsiteX13" fmla="*/ 1194179 w 1651379"/>
                  <a:gd name="connsiteY13" fmla="*/ 0 h 914400"/>
                  <a:gd name="connsiteX14" fmla="*/ 1651379 w 1651379"/>
                  <a:gd name="connsiteY14" fmla="*/ 457200 h 914400"/>
                  <a:gd name="connsiteX15" fmla="*/ 1194179 w 1651379"/>
                  <a:gd name="connsiteY15" fmla="*/ 914400 h 914400"/>
                  <a:gd name="connsiteX16" fmla="*/ 457200 w 1651379"/>
                  <a:gd name="connsiteY16" fmla="*/ 914400 h 914400"/>
                  <a:gd name="connsiteX17" fmla="*/ 0 w 1651379"/>
                  <a:gd name="connsiteY17" fmla="*/ 457200 h 914400"/>
                  <a:gd name="connsiteX18" fmla="*/ 457200 w 1651379"/>
                  <a:gd name="connsiteY18"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51379" h="914400">
                    <a:moveTo>
                      <a:pt x="452684" y="113699"/>
                    </a:moveTo>
                    <a:cubicBezTo>
                      <a:pt x="286687" y="113699"/>
                      <a:pt x="148191" y="231445"/>
                      <a:pt x="116161" y="387973"/>
                    </a:cubicBezTo>
                    <a:lnTo>
                      <a:pt x="109182" y="457201"/>
                    </a:lnTo>
                    <a:lnTo>
                      <a:pt x="109182" y="457200"/>
                    </a:lnTo>
                    <a:lnTo>
                      <a:pt x="109182" y="457201"/>
                    </a:lnTo>
                    <a:lnTo>
                      <a:pt x="109182" y="457201"/>
                    </a:lnTo>
                    <a:lnTo>
                      <a:pt x="116161" y="526428"/>
                    </a:lnTo>
                    <a:cubicBezTo>
                      <a:pt x="148191" y="682956"/>
                      <a:pt x="286687" y="800702"/>
                      <a:pt x="452684" y="800702"/>
                    </a:cubicBezTo>
                    <a:lnTo>
                      <a:pt x="1198695" y="800703"/>
                    </a:lnTo>
                    <a:cubicBezTo>
                      <a:pt x="1388406" y="800703"/>
                      <a:pt x="1542197" y="646912"/>
                      <a:pt x="1542197" y="457201"/>
                    </a:cubicBezTo>
                    <a:lnTo>
                      <a:pt x="1542198" y="457201"/>
                    </a:lnTo>
                    <a:cubicBezTo>
                      <a:pt x="1542198" y="267490"/>
                      <a:pt x="1388407" y="113699"/>
                      <a:pt x="1198696" y="113699"/>
                    </a:cubicBezTo>
                    <a:close/>
                    <a:moveTo>
                      <a:pt x="457200" y="0"/>
                    </a:moveTo>
                    <a:lnTo>
                      <a:pt x="1194179" y="0"/>
                    </a:lnTo>
                    <a:cubicBezTo>
                      <a:pt x="1446684" y="0"/>
                      <a:pt x="1651379" y="204695"/>
                      <a:pt x="1651379" y="457200"/>
                    </a:cubicBezTo>
                    <a:cubicBezTo>
                      <a:pt x="1651379" y="709705"/>
                      <a:pt x="1446684" y="914400"/>
                      <a:pt x="1194179" y="914400"/>
                    </a:cubicBezTo>
                    <a:lnTo>
                      <a:pt x="457200" y="914400"/>
                    </a:lnTo>
                    <a:cubicBezTo>
                      <a:pt x="204695" y="914400"/>
                      <a:pt x="0" y="709705"/>
                      <a:pt x="0" y="457200"/>
                    </a:cubicBezTo>
                    <a:cubicBezTo>
                      <a:pt x="0" y="204695"/>
                      <a:pt x="204695" y="0"/>
                      <a:pt x="457200" y="0"/>
                    </a:cubicBezTo>
                    <a:close/>
                  </a:path>
                </a:pathLst>
              </a:custGeom>
              <a:solidFill>
                <a:schemeClr val="bg1">
                  <a:lumMod val="65000"/>
                </a:schemeClr>
              </a:solidFill>
              <a:ln>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1" name="Rounded Rectangle 25">
                <a:extLst>
                  <a:ext uri="{FF2B5EF4-FFF2-40B4-BE49-F238E27FC236}">
                    <a16:creationId xmlns:a16="http://schemas.microsoft.com/office/drawing/2014/main" id="{7CF9561E-EB21-46C6-B295-AF237A8A771A}"/>
                  </a:ext>
                </a:extLst>
              </p:cNvPr>
              <p:cNvSpPr/>
              <p:nvPr/>
            </p:nvSpPr>
            <p:spPr>
              <a:xfrm>
                <a:off x="9334500" y="3211668"/>
                <a:ext cx="1364776" cy="141217"/>
              </a:xfrm>
              <a:prstGeom prst="roundRect">
                <a:avLst>
                  <a:gd name="adj" fmla="val 50000"/>
                </a:avLst>
              </a:prstGeom>
              <a:solidFill>
                <a:schemeClr val="bg1">
                  <a:lumMod val="65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62" name="TextBox 61">
              <a:extLst>
                <a:ext uri="{FF2B5EF4-FFF2-40B4-BE49-F238E27FC236}">
                  <a16:creationId xmlns:a16="http://schemas.microsoft.com/office/drawing/2014/main" id="{2E3C6C5B-7AE6-4628-A4AB-AC395332C8B9}"/>
                </a:ext>
              </a:extLst>
            </p:cNvPr>
            <p:cNvSpPr txBox="1"/>
            <p:nvPr/>
          </p:nvSpPr>
          <p:spPr>
            <a:xfrm>
              <a:off x="1129411" y="1601993"/>
              <a:ext cx="1789562" cy="844560"/>
            </a:xfrm>
            <a:prstGeom prst="rect">
              <a:avLst/>
            </a:prstGeom>
            <a:noFill/>
          </p:spPr>
          <p:txBody>
            <a:bodyPr wrap="square" rtlCol="0">
              <a:spAutoFit/>
            </a:bodyPr>
            <a:lstStyle/>
            <a:p>
              <a:pPr defTabSz="829713">
                <a:lnSpc>
                  <a:spcPct val="90000"/>
                </a:lnSpc>
                <a:spcBef>
                  <a:spcPct val="0"/>
                </a:spcBef>
                <a:spcAft>
                  <a:spcPct val="35000"/>
                </a:spcAft>
              </a:pPr>
              <a:r>
                <a:rPr lang="en-GB" sz="900" b="1" dirty="0"/>
                <a:t>24</a:t>
              </a:r>
              <a:r>
                <a:rPr lang="en-GB" sz="900" dirty="0"/>
                <a:t> consumer observational interviews</a:t>
              </a:r>
            </a:p>
          </p:txBody>
        </p:sp>
        <p:sp>
          <p:nvSpPr>
            <p:cNvPr id="63" name="TextBox 62">
              <a:extLst>
                <a:ext uri="{FF2B5EF4-FFF2-40B4-BE49-F238E27FC236}">
                  <a16:creationId xmlns:a16="http://schemas.microsoft.com/office/drawing/2014/main" id="{E9E017F8-7A70-4674-869D-C2750A1A9BEE}"/>
                </a:ext>
              </a:extLst>
            </p:cNvPr>
            <p:cNvSpPr txBox="1"/>
            <p:nvPr/>
          </p:nvSpPr>
          <p:spPr>
            <a:xfrm>
              <a:off x="2930294" y="4450560"/>
              <a:ext cx="2739690" cy="1290782"/>
            </a:xfrm>
            <a:prstGeom prst="rect">
              <a:avLst/>
            </a:prstGeom>
            <a:noFill/>
          </p:spPr>
          <p:txBody>
            <a:bodyPr wrap="square" rtlCol="0">
              <a:spAutoFit/>
            </a:bodyPr>
            <a:lstStyle/>
            <a:p>
              <a:pPr defTabSz="829713">
                <a:lnSpc>
                  <a:spcPct val="90000"/>
                </a:lnSpc>
                <a:spcBef>
                  <a:spcPct val="0"/>
                </a:spcBef>
                <a:spcAft>
                  <a:spcPct val="35000"/>
                </a:spcAft>
              </a:pPr>
              <a:r>
                <a:rPr lang="en-GB" sz="900" b="1" dirty="0"/>
                <a:t>21</a:t>
              </a:r>
              <a:r>
                <a:rPr lang="en-GB" sz="900" dirty="0"/>
                <a:t> in-depth interviews with top mail decision makers in Financial Services, Retail,  Government and Energy/Telco</a:t>
              </a:r>
            </a:p>
          </p:txBody>
        </p:sp>
        <p:sp>
          <p:nvSpPr>
            <p:cNvPr id="64" name="TextBox 63">
              <a:extLst>
                <a:ext uri="{FF2B5EF4-FFF2-40B4-BE49-F238E27FC236}">
                  <a16:creationId xmlns:a16="http://schemas.microsoft.com/office/drawing/2014/main" id="{017EA4E7-C8C6-4867-A41A-5D0FD3B589D2}"/>
                </a:ext>
              </a:extLst>
            </p:cNvPr>
            <p:cNvSpPr txBox="1"/>
            <p:nvPr/>
          </p:nvSpPr>
          <p:spPr>
            <a:xfrm>
              <a:off x="4716010" y="1601993"/>
              <a:ext cx="2050164" cy="1062998"/>
            </a:xfrm>
            <a:prstGeom prst="rect">
              <a:avLst/>
            </a:prstGeom>
            <a:noFill/>
          </p:spPr>
          <p:txBody>
            <a:bodyPr wrap="square" rtlCol="0">
              <a:spAutoFit/>
            </a:bodyPr>
            <a:lstStyle/>
            <a:p>
              <a:pPr defTabSz="829713">
                <a:lnSpc>
                  <a:spcPct val="90000"/>
                </a:lnSpc>
                <a:spcBef>
                  <a:spcPct val="0"/>
                </a:spcBef>
                <a:spcAft>
                  <a:spcPct val="35000"/>
                </a:spcAft>
              </a:pPr>
              <a:r>
                <a:rPr lang="en-GB" sz="900" dirty="0"/>
                <a:t>Quantitative consumer survey: </a:t>
              </a:r>
              <a:r>
                <a:rPr lang="en-GB" sz="900" b="1" dirty="0"/>
                <a:t>6,300</a:t>
              </a:r>
              <a:r>
                <a:rPr lang="en-GB" sz="900" dirty="0"/>
                <a:t> online and offline interviews</a:t>
              </a:r>
            </a:p>
          </p:txBody>
        </p:sp>
        <p:sp>
          <p:nvSpPr>
            <p:cNvPr id="65" name="TextBox 64">
              <a:extLst>
                <a:ext uri="{FF2B5EF4-FFF2-40B4-BE49-F238E27FC236}">
                  <a16:creationId xmlns:a16="http://schemas.microsoft.com/office/drawing/2014/main" id="{EF41F433-240B-4E36-BA00-2481D4AD7A60}"/>
                </a:ext>
              </a:extLst>
            </p:cNvPr>
            <p:cNvSpPr txBox="1"/>
            <p:nvPr/>
          </p:nvSpPr>
          <p:spPr>
            <a:xfrm>
              <a:off x="8268157" y="1601993"/>
              <a:ext cx="2190281" cy="1417329"/>
            </a:xfrm>
            <a:prstGeom prst="rect">
              <a:avLst/>
            </a:prstGeom>
            <a:noFill/>
          </p:spPr>
          <p:txBody>
            <a:bodyPr wrap="square" rtlCol="0">
              <a:spAutoFit/>
            </a:bodyPr>
            <a:lstStyle/>
            <a:p>
              <a:pPr lvl="0"/>
              <a:r>
                <a:rPr lang="en-GB" sz="900" b="1" dirty="0"/>
                <a:t>18</a:t>
              </a:r>
              <a:r>
                <a:rPr lang="en-GB" sz="900" dirty="0"/>
                <a:t> decision maker depth interviews to explore response to key findings and messages</a:t>
              </a:r>
            </a:p>
          </p:txBody>
        </p:sp>
        <p:grpSp>
          <p:nvGrpSpPr>
            <p:cNvPr id="66" name="Group 65">
              <a:extLst>
                <a:ext uri="{FF2B5EF4-FFF2-40B4-BE49-F238E27FC236}">
                  <a16:creationId xmlns:a16="http://schemas.microsoft.com/office/drawing/2014/main" id="{65D7080E-BBD7-4DB5-ABCB-30620E642022}"/>
                </a:ext>
              </a:extLst>
            </p:cNvPr>
            <p:cNvGrpSpPr/>
            <p:nvPr/>
          </p:nvGrpSpPr>
          <p:grpSpPr>
            <a:xfrm>
              <a:off x="1067630" y="1680666"/>
              <a:ext cx="123564" cy="1383564"/>
              <a:chOff x="1067630" y="1680666"/>
              <a:chExt cx="123564" cy="1383564"/>
            </a:xfrm>
          </p:grpSpPr>
          <p:cxnSp>
            <p:nvCxnSpPr>
              <p:cNvPr id="67" name="Straight Connector 66">
                <a:extLst>
                  <a:ext uri="{FF2B5EF4-FFF2-40B4-BE49-F238E27FC236}">
                    <a16:creationId xmlns:a16="http://schemas.microsoft.com/office/drawing/2014/main" id="{0FDEE8EE-5EB7-40EC-9AF5-DF7A1EF8F906}"/>
                  </a:ext>
                </a:extLst>
              </p:cNvPr>
              <p:cNvCxnSpPr/>
              <p:nvPr/>
            </p:nvCxnSpPr>
            <p:spPr>
              <a:xfrm>
                <a:off x="1129412"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F751241D-B648-4509-A961-6F1FB2F552AE}"/>
                  </a:ext>
                </a:extLst>
              </p:cNvPr>
              <p:cNvSpPr>
                <a:spLocks noChangeAspect="1"/>
              </p:cNvSpPr>
              <p:nvPr/>
            </p:nvSpPr>
            <p:spPr>
              <a:xfrm>
                <a:off x="1067630"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nvGrpSpPr>
            <p:cNvPr id="69" name="Group 68">
              <a:extLst>
                <a:ext uri="{FF2B5EF4-FFF2-40B4-BE49-F238E27FC236}">
                  <a16:creationId xmlns:a16="http://schemas.microsoft.com/office/drawing/2014/main" id="{9E961C27-9A75-419D-B623-BA3F7AA7A575}"/>
                </a:ext>
              </a:extLst>
            </p:cNvPr>
            <p:cNvGrpSpPr/>
            <p:nvPr/>
          </p:nvGrpSpPr>
          <p:grpSpPr>
            <a:xfrm>
              <a:off x="4654228" y="1680666"/>
              <a:ext cx="123564" cy="1383564"/>
              <a:chOff x="5031418" y="1680666"/>
              <a:chExt cx="123564" cy="1383564"/>
            </a:xfrm>
          </p:grpSpPr>
          <p:cxnSp>
            <p:nvCxnSpPr>
              <p:cNvPr id="70" name="Straight Connector 69">
                <a:extLst>
                  <a:ext uri="{FF2B5EF4-FFF2-40B4-BE49-F238E27FC236}">
                    <a16:creationId xmlns:a16="http://schemas.microsoft.com/office/drawing/2014/main" id="{E5B85E05-A461-4E8D-AAAD-687EFA132298}"/>
                  </a:ext>
                </a:extLst>
              </p:cNvPr>
              <p:cNvCxnSpPr/>
              <p:nvPr/>
            </p:nvCxnSpPr>
            <p:spPr>
              <a:xfrm>
                <a:off x="5093200"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18B4804F-D6F6-435C-B033-C762B6D6B629}"/>
                  </a:ext>
                </a:extLst>
              </p:cNvPr>
              <p:cNvSpPr>
                <a:spLocks noChangeAspect="1"/>
              </p:cNvSpPr>
              <p:nvPr/>
            </p:nvSpPr>
            <p:spPr>
              <a:xfrm>
                <a:off x="5031418"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cxnSp>
          <p:nvCxnSpPr>
            <p:cNvPr id="72" name="Straight Connector 71">
              <a:extLst>
                <a:ext uri="{FF2B5EF4-FFF2-40B4-BE49-F238E27FC236}">
                  <a16:creationId xmlns:a16="http://schemas.microsoft.com/office/drawing/2014/main" id="{4832191A-876B-4E22-941A-20F5077EABFF}"/>
                </a:ext>
              </a:extLst>
            </p:cNvPr>
            <p:cNvCxnSpPr/>
            <p:nvPr/>
          </p:nvCxnSpPr>
          <p:spPr>
            <a:xfrm>
              <a:off x="8234917" y="168066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AC657722-4674-4571-A5D4-69116F4323D6}"/>
                </a:ext>
              </a:extLst>
            </p:cNvPr>
            <p:cNvSpPr>
              <a:spLocks noChangeAspect="1"/>
            </p:cNvSpPr>
            <p:nvPr/>
          </p:nvSpPr>
          <p:spPr>
            <a:xfrm>
              <a:off x="8173135" y="2940666"/>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74" name="Group 73">
              <a:extLst>
                <a:ext uri="{FF2B5EF4-FFF2-40B4-BE49-F238E27FC236}">
                  <a16:creationId xmlns:a16="http://schemas.microsoft.com/office/drawing/2014/main" id="{D1CDCDC2-4293-48D1-A34A-512E22740142}"/>
                </a:ext>
              </a:extLst>
            </p:cNvPr>
            <p:cNvGrpSpPr/>
            <p:nvPr/>
          </p:nvGrpSpPr>
          <p:grpSpPr>
            <a:xfrm>
              <a:off x="2846929" y="4220442"/>
              <a:ext cx="123564" cy="1383564"/>
              <a:chOff x="3086959" y="4220442"/>
              <a:chExt cx="123564" cy="1383564"/>
            </a:xfrm>
          </p:grpSpPr>
          <p:cxnSp>
            <p:nvCxnSpPr>
              <p:cNvPr id="75" name="Straight Connector 74">
                <a:extLst>
                  <a:ext uri="{FF2B5EF4-FFF2-40B4-BE49-F238E27FC236}">
                    <a16:creationId xmlns:a16="http://schemas.microsoft.com/office/drawing/2014/main" id="{F74A9F66-4C41-4E16-9D63-50F31C22B43D}"/>
                  </a:ext>
                </a:extLst>
              </p:cNvPr>
              <p:cNvCxnSpPr/>
              <p:nvPr/>
            </p:nvCxnSpPr>
            <p:spPr>
              <a:xfrm rot="10800000">
                <a:off x="3148741"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9F852605-68B4-490E-914A-A3FEE6F5C0DE}"/>
                  </a:ext>
                </a:extLst>
              </p:cNvPr>
              <p:cNvSpPr>
                <a:spLocks noChangeAspect="1"/>
              </p:cNvSpPr>
              <p:nvPr/>
            </p:nvSpPr>
            <p:spPr>
              <a:xfrm rot="10800000">
                <a:off x="3086959"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77" name="TextBox 76">
              <a:extLst>
                <a:ext uri="{FF2B5EF4-FFF2-40B4-BE49-F238E27FC236}">
                  <a16:creationId xmlns:a16="http://schemas.microsoft.com/office/drawing/2014/main" id="{DD08E387-158C-4D89-9B36-1CF0CA423A30}"/>
                </a:ext>
              </a:extLst>
            </p:cNvPr>
            <p:cNvSpPr txBox="1"/>
            <p:nvPr/>
          </p:nvSpPr>
          <p:spPr>
            <a:xfrm>
              <a:off x="6543593" y="4450561"/>
              <a:ext cx="2016432" cy="1062998"/>
            </a:xfrm>
            <a:prstGeom prst="rect">
              <a:avLst/>
            </a:prstGeom>
            <a:noFill/>
          </p:spPr>
          <p:txBody>
            <a:bodyPr wrap="square" rtlCol="0">
              <a:spAutoFit/>
            </a:bodyPr>
            <a:lstStyle/>
            <a:p>
              <a:pPr defTabSz="948243">
                <a:lnSpc>
                  <a:spcPct val="90000"/>
                </a:lnSpc>
                <a:spcBef>
                  <a:spcPct val="0"/>
                </a:spcBef>
                <a:spcAft>
                  <a:spcPct val="35000"/>
                </a:spcAft>
              </a:pPr>
              <a:r>
                <a:rPr lang="en-GB" sz="900" b="1" dirty="0"/>
                <a:t>4</a:t>
              </a:r>
              <a:r>
                <a:rPr lang="en-GB" sz="900" dirty="0"/>
                <a:t> co-creation workshops to develop best practice messaging</a:t>
              </a:r>
            </a:p>
          </p:txBody>
        </p:sp>
        <p:grpSp>
          <p:nvGrpSpPr>
            <p:cNvPr id="78" name="Group 77">
              <a:extLst>
                <a:ext uri="{FF2B5EF4-FFF2-40B4-BE49-F238E27FC236}">
                  <a16:creationId xmlns:a16="http://schemas.microsoft.com/office/drawing/2014/main" id="{AA1B66D5-A204-4FE1-AC04-318384FF3BC0}"/>
                </a:ext>
              </a:extLst>
            </p:cNvPr>
            <p:cNvGrpSpPr/>
            <p:nvPr/>
          </p:nvGrpSpPr>
          <p:grpSpPr>
            <a:xfrm>
              <a:off x="6460226" y="4220442"/>
              <a:ext cx="123564" cy="1383564"/>
              <a:chOff x="7054586" y="4220442"/>
              <a:chExt cx="123564" cy="1383564"/>
            </a:xfrm>
          </p:grpSpPr>
          <p:cxnSp>
            <p:nvCxnSpPr>
              <p:cNvPr id="79" name="Straight Connector 78">
                <a:extLst>
                  <a:ext uri="{FF2B5EF4-FFF2-40B4-BE49-F238E27FC236}">
                    <a16:creationId xmlns:a16="http://schemas.microsoft.com/office/drawing/2014/main" id="{702DBD3E-04BA-46BD-B7D5-1F17A2BA58F0}"/>
                  </a:ext>
                </a:extLst>
              </p:cNvPr>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55F82670-3382-4196-BD6A-54C42399AB99}"/>
                  </a:ext>
                </a:extLst>
              </p:cNvPr>
              <p:cNvSpPr>
                <a:spLocks noChangeAspect="1"/>
              </p:cNvSpPr>
              <p:nvPr/>
            </p:nvSpPr>
            <p:spPr>
              <a:xfrm rot="10800000">
                <a:off x="7054586"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sp>
          <p:nvSpPr>
            <p:cNvPr id="81" name="TextBox 80">
              <a:extLst>
                <a:ext uri="{FF2B5EF4-FFF2-40B4-BE49-F238E27FC236}">
                  <a16:creationId xmlns:a16="http://schemas.microsoft.com/office/drawing/2014/main" id="{73F55EBB-2B83-4BD6-BEA6-E5DADC78987F}"/>
                </a:ext>
              </a:extLst>
            </p:cNvPr>
            <p:cNvSpPr txBox="1"/>
            <p:nvPr/>
          </p:nvSpPr>
          <p:spPr>
            <a:xfrm>
              <a:off x="10159283" y="4442940"/>
              <a:ext cx="1896384" cy="1170679"/>
            </a:xfrm>
            <a:prstGeom prst="rect">
              <a:avLst/>
            </a:prstGeom>
            <a:noFill/>
          </p:spPr>
          <p:txBody>
            <a:bodyPr wrap="square" rtlCol="0">
              <a:spAutoFit/>
            </a:bodyPr>
            <a:lstStyle/>
            <a:p>
              <a:pPr lvl="0"/>
              <a:r>
                <a:rPr lang="en-GB" sz="900" dirty="0"/>
                <a:t>Customer in-home interviews to confirm mail usage &amp; language</a:t>
              </a:r>
            </a:p>
          </p:txBody>
        </p:sp>
        <p:grpSp>
          <p:nvGrpSpPr>
            <p:cNvPr id="82" name="Group 81">
              <a:extLst>
                <a:ext uri="{FF2B5EF4-FFF2-40B4-BE49-F238E27FC236}">
                  <a16:creationId xmlns:a16="http://schemas.microsoft.com/office/drawing/2014/main" id="{054263A1-BD1B-4912-9FBC-ACB03179CCDB}"/>
                </a:ext>
              </a:extLst>
            </p:cNvPr>
            <p:cNvGrpSpPr/>
            <p:nvPr/>
          </p:nvGrpSpPr>
          <p:grpSpPr>
            <a:xfrm>
              <a:off x="10075916" y="4212822"/>
              <a:ext cx="123564" cy="1383564"/>
              <a:chOff x="7054586" y="4220442"/>
              <a:chExt cx="123564" cy="1383564"/>
            </a:xfrm>
          </p:grpSpPr>
          <p:cxnSp>
            <p:nvCxnSpPr>
              <p:cNvPr id="83" name="Straight Connector 82">
                <a:extLst>
                  <a:ext uri="{FF2B5EF4-FFF2-40B4-BE49-F238E27FC236}">
                    <a16:creationId xmlns:a16="http://schemas.microsoft.com/office/drawing/2014/main" id="{2D9993D2-3DDA-40CA-A74D-136ABD715347}"/>
                  </a:ext>
                </a:extLst>
              </p:cNvPr>
              <p:cNvCxnSpPr/>
              <p:nvPr/>
            </p:nvCxnSpPr>
            <p:spPr>
              <a:xfrm rot="10800000">
                <a:off x="7116368" y="4344006"/>
                <a:ext cx="0" cy="1260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Oval 83">
                <a:extLst>
                  <a:ext uri="{FF2B5EF4-FFF2-40B4-BE49-F238E27FC236}">
                    <a16:creationId xmlns:a16="http://schemas.microsoft.com/office/drawing/2014/main" id="{484D0989-FBC4-4840-B5C2-57EA841956B4}"/>
                  </a:ext>
                </a:extLst>
              </p:cNvPr>
              <p:cNvSpPr>
                <a:spLocks noChangeAspect="1"/>
              </p:cNvSpPr>
              <p:nvPr/>
            </p:nvSpPr>
            <p:spPr>
              <a:xfrm rot="10800000">
                <a:off x="7054586" y="4220442"/>
                <a:ext cx="123564" cy="1235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sysClr val="windowText" lastClr="000000"/>
                  </a:solidFill>
                  <a:effectLst/>
                  <a:uLnTx/>
                  <a:uFillTx/>
                  <a:latin typeface="Calibri"/>
                  <a:ea typeface="+mn-ea"/>
                  <a:cs typeface="+mn-cs"/>
                </a:endParaRPr>
              </a:p>
            </p:txBody>
          </p:sp>
        </p:grpSp>
      </p:grpSp>
      <p:grpSp>
        <p:nvGrpSpPr>
          <p:cNvPr id="2" name="Group 1">
            <a:extLst>
              <a:ext uri="{FF2B5EF4-FFF2-40B4-BE49-F238E27FC236}">
                <a16:creationId xmlns:a16="http://schemas.microsoft.com/office/drawing/2014/main" id="{371F9EC9-D0CA-4654-8B82-28D43D06CCB9}"/>
              </a:ext>
            </a:extLst>
          </p:cNvPr>
          <p:cNvGrpSpPr/>
          <p:nvPr/>
        </p:nvGrpSpPr>
        <p:grpSpPr>
          <a:xfrm>
            <a:off x="7026998" y="4680149"/>
            <a:ext cx="4022945" cy="931036"/>
            <a:chOff x="6188747" y="4857143"/>
            <a:chExt cx="5281610" cy="1222331"/>
          </a:xfrm>
        </p:grpSpPr>
        <p:pic>
          <p:nvPicPr>
            <p:cNvPr id="88" name="Picture 87">
              <a:extLst>
                <a:ext uri="{FF2B5EF4-FFF2-40B4-BE49-F238E27FC236}">
                  <a16:creationId xmlns:a16="http://schemas.microsoft.com/office/drawing/2014/main" id="{5F389BB9-BDD3-472C-B231-C5E4E5BEEB08}"/>
                </a:ext>
              </a:extLst>
            </p:cNvPr>
            <p:cNvPicPr>
              <a:picLocks noChangeAspect="1"/>
            </p:cNvPicPr>
            <p:nvPr/>
          </p:nvPicPr>
          <p:blipFill>
            <a:blip r:embed="rId3"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6188747" y="5169559"/>
              <a:ext cx="2727579" cy="710989"/>
            </a:xfrm>
            <a:prstGeom prst="rect">
              <a:avLst/>
            </a:prstGeom>
          </p:spPr>
        </p:pic>
        <p:pic>
          <p:nvPicPr>
            <p:cNvPr id="89" name="Picture 2" descr="Accenture Logo, history, meaning, symbol, PNG">
              <a:extLst>
                <a:ext uri="{FF2B5EF4-FFF2-40B4-BE49-F238E27FC236}">
                  <a16:creationId xmlns:a16="http://schemas.microsoft.com/office/drawing/2014/main" id="{A32360AF-92EA-449F-863B-BB37B72E720C}"/>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297325" y="4857143"/>
              <a:ext cx="2173032" cy="122233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214769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8FEF7CBF-5EC0-4FB1-9A55-F07A2BA9581F}"/>
              </a:ext>
            </a:extLst>
          </p:cNvPr>
          <p:cNvSpPr>
            <a:spLocks noGrp="1"/>
          </p:cNvSpPr>
          <p:nvPr>
            <p:ph type="body" sz="quarter" idx="10"/>
          </p:nvPr>
        </p:nvSpPr>
        <p:spPr/>
        <p:txBody>
          <a:bodyPr/>
          <a:lstStyle/>
          <a:p>
            <a:r>
              <a:rPr lang="en-GB" dirty="0"/>
              <a:t>Mail can bolster the brand &amp; connects with customers</a:t>
            </a:r>
          </a:p>
          <a:p>
            <a:endParaRPr lang="en-GB" dirty="0"/>
          </a:p>
          <a:p>
            <a:r>
              <a:rPr lang="en-GB" dirty="0"/>
              <a:t>How?</a:t>
            </a:r>
          </a:p>
        </p:txBody>
      </p:sp>
      <p:sp>
        <p:nvSpPr>
          <p:cNvPr id="2" name="Slide Number Placeholder 1">
            <a:extLst>
              <a:ext uri="{FF2B5EF4-FFF2-40B4-BE49-F238E27FC236}">
                <a16:creationId xmlns:a16="http://schemas.microsoft.com/office/drawing/2014/main" id="{05F6FBC0-A887-4257-8568-887103B27245}"/>
              </a:ext>
            </a:extLst>
          </p:cNvPr>
          <p:cNvSpPr>
            <a:spLocks noGrp="1"/>
          </p:cNvSpPr>
          <p:nvPr>
            <p:ph type="sldNum" sz="quarter" idx="4294967295"/>
          </p:nvPr>
        </p:nvSpPr>
        <p:spPr>
          <a:xfrm>
            <a:off x="11766550" y="6178550"/>
            <a:ext cx="425450" cy="179388"/>
          </a:xfrm>
        </p:spPr>
        <p:txBody>
          <a:bodyPr/>
          <a:lstStyle/>
          <a:p>
            <a:fld id="{887360FE-02F5-4392-9C12-7D03F05745BB}" type="slidenum">
              <a:rPr lang="en-GB" smtClean="0"/>
              <a:pPr/>
              <a:t>8</a:t>
            </a:fld>
            <a:endParaRPr lang="en-GB" dirty="0"/>
          </a:p>
        </p:txBody>
      </p:sp>
    </p:spTree>
    <p:extLst>
      <p:ext uri="{BB962C8B-B14F-4D97-AF65-F5344CB8AC3E}">
        <p14:creationId xmlns:p14="http://schemas.microsoft.com/office/powerpoint/2010/main" val="23337740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icture containing text, invertebrate, coelenterate, hydrozoan&#10;&#10;Description automatically generated">
            <a:extLst>
              <a:ext uri="{FF2B5EF4-FFF2-40B4-BE49-F238E27FC236}">
                <a16:creationId xmlns:a16="http://schemas.microsoft.com/office/drawing/2014/main" id="{3ACDACD3-5EF9-4B85-ABF0-564EF0C0FF1C}"/>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3" name="Title 2">
            <a:extLst>
              <a:ext uri="{FF2B5EF4-FFF2-40B4-BE49-F238E27FC236}">
                <a16:creationId xmlns:a16="http://schemas.microsoft.com/office/drawing/2014/main" id="{DBA3A532-892E-4277-9D4F-82EE1D8C3903}"/>
              </a:ext>
            </a:extLst>
          </p:cNvPr>
          <p:cNvSpPr>
            <a:spLocks noGrp="1"/>
          </p:cNvSpPr>
          <p:nvPr>
            <p:ph type="title"/>
          </p:nvPr>
        </p:nvSpPr>
        <p:spPr/>
        <p:txBody>
          <a:bodyPr/>
          <a:lstStyle/>
          <a:p>
            <a:r>
              <a:rPr lang="en-GB" sz="2400" dirty="0"/>
              <a:t>Mail enhances the brand</a:t>
            </a:r>
          </a:p>
        </p:txBody>
      </p:sp>
      <p:sp>
        <p:nvSpPr>
          <p:cNvPr id="7" name="Content Placeholder 6">
            <a:extLst>
              <a:ext uri="{FF2B5EF4-FFF2-40B4-BE49-F238E27FC236}">
                <a16:creationId xmlns:a16="http://schemas.microsoft.com/office/drawing/2014/main" id="{C4C8209F-532B-469D-B996-D938729DCF0F}"/>
              </a:ext>
            </a:extLst>
          </p:cNvPr>
          <p:cNvSpPr>
            <a:spLocks noGrp="1"/>
          </p:cNvSpPr>
          <p:nvPr>
            <p:ph sz="quarter" idx="17"/>
          </p:nvPr>
        </p:nvSpPr>
        <p:spPr>
          <a:xfrm>
            <a:off x="424142" y="1779739"/>
            <a:ext cx="5468658" cy="4479925"/>
          </a:xfrm>
        </p:spPr>
        <p:txBody>
          <a:bodyPr lIns="91440" tIns="45720" rIns="91440" bIns="45720" anchor="t"/>
          <a:lstStyle/>
          <a:p>
            <a:r>
              <a:rPr lang="en-GB" dirty="0"/>
              <a:t>Mail is physically irresistible: a tangible object in our hands can evoke a wide range of sensory experiences through a considered and creative approach</a:t>
            </a:r>
          </a:p>
          <a:p>
            <a:endParaRPr lang="en-GB" dirty="0"/>
          </a:p>
          <a:p>
            <a:r>
              <a:rPr lang="en-GB" dirty="0"/>
              <a:t>The research shows that mail builds a positive impression of the sending organisation</a:t>
            </a:r>
          </a:p>
          <a:p>
            <a:endParaRPr lang="en-GB" dirty="0"/>
          </a:p>
          <a:p>
            <a:r>
              <a:rPr lang="en-GB" dirty="0"/>
              <a:t>Recipients appreciate the investment and thought that has been put in to sending mail.</a:t>
            </a:r>
            <a:endParaRPr lang="en-GB" dirty="0">
              <a:cs typeface="Calibri"/>
            </a:endParaRPr>
          </a:p>
        </p:txBody>
      </p:sp>
    </p:spTree>
    <p:extLst>
      <p:ext uri="{BB962C8B-B14F-4D97-AF65-F5344CB8AC3E}">
        <p14:creationId xmlns:p14="http://schemas.microsoft.com/office/powerpoint/2010/main" val="3439878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love_POWER_USER_SEPARATOR_ICONS_affection_POWER_USER_SEPARATOR_ICONS_health_POWER_USER_SEPARATOR_ICONS_mind"/>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64db751e-9233-4742-988a-d8dba3ab9ba7">
      <UserInfo>
        <DisplayName>James Middlehurst</DisplayName>
        <AccountId>4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3BC01A1B6CE214D9E5DE4A74D787689" ma:contentTypeVersion="13" ma:contentTypeDescription="Create a new document." ma:contentTypeScope="" ma:versionID="74b65fa6ad5f30b7832c82fededd3798">
  <xsd:schema xmlns:xsd="http://www.w3.org/2001/XMLSchema" xmlns:xs="http://www.w3.org/2001/XMLSchema" xmlns:p="http://schemas.microsoft.com/office/2006/metadata/properties" xmlns:ns2="63258bcd-d210-4d12-ae87-b1df44544b09" xmlns:ns3="64db751e-9233-4742-988a-d8dba3ab9ba7" targetNamespace="http://schemas.microsoft.com/office/2006/metadata/properties" ma:root="true" ma:fieldsID="4e2f3caf674cbf0c6a7bd2076be7abc6" ns2:_="" ns3:_="">
    <xsd:import namespace="63258bcd-d210-4d12-ae87-b1df44544b09"/>
    <xsd:import namespace="64db751e-9233-4742-988a-d8dba3ab9ba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LengthInSeconds"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3258bcd-d210-4d12-ae87-b1df44544b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4db751e-9233-4742-988a-d8dba3ab9ba7"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05D857-8CB0-4FC3-869D-E17B14A541D1}">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63258bcd-d210-4d12-ae87-b1df44544b09"/>
    <ds:schemaRef ds:uri="http://purl.org/dc/elements/1.1/"/>
    <ds:schemaRef ds:uri="http://schemas.microsoft.com/office/2006/metadata/properties"/>
    <ds:schemaRef ds:uri="64db751e-9233-4742-988a-d8dba3ab9ba7"/>
    <ds:schemaRef ds:uri="http://www.w3.org/XML/1998/namespace"/>
    <ds:schemaRef ds:uri="http://purl.org/dc/dcmitype/"/>
  </ds:schemaRefs>
</ds:datastoreItem>
</file>

<file path=customXml/itemProps2.xml><?xml version="1.0" encoding="utf-8"?>
<ds:datastoreItem xmlns:ds="http://schemas.openxmlformats.org/officeDocument/2006/customXml" ds:itemID="{2E68458D-2AC3-472C-8A10-5742E36C46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3258bcd-d210-4d12-ae87-b1df44544b09"/>
    <ds:schemaRef ds:uri="64db751e-9233-4742-988a-d8dba3ab9ba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26B542C-F749-4F67-869C-B376789CEE5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4468</Words>
  <Application>Microsoft Office PowerPoint</Application>
  <PresentationFormat>Widescreen</PresentationFormat>
  <Paragraphs>393</Paragraphs>
  <Slides>32</Slides>
  <Notes>28</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32</vt:i4>
      </vt:variant>
    </vt:vector>
  </HeadingPairs>
  <TitlesOfParts>
    <vt:vector size="42" baseType="lpstr">
      <vt:lpstr>Arial</vt:lpstr>
      <vt:lpstr>Calibri</vt:lpstr>
      <vt:lpstr>Cambria</vt:lpstr>
      <vt:lpstr>Century Gothic</vt:lpstr>
      <vt:lpstr>Impact</vt:lpstr>
      <vt:lpstr>Lota Grotesque</vt:lpstr>
      <vt:lpstr>Lota Grotesque Alt 1 Semi Bold</vt:lpstr>
      <vt:lpstr>Lota Grotesque Light</vt:lpstr>
      <vt:lpstr>Wingdings</vt:lpstr>
      <vt:lpstr>Office Theme</vt:lpstr>
      <vt:lpstr>THE ROLE OF CUSTOMER MAIL IN DELIVERING A REMARKABLE CUSTOMER EXPERIENCE (CX)</vt:lpstr>
      <vt:lpstr>CUSTOMER EXPERIENCE (CX) IS INCREASINGLY IMPORTANT</vt:lpstr>
      <vt:lpstr>But cx strategies aren’t delivering</vt:lpstr>
      <vt:lpstr>Many companies have a limited view of CX</vt:lpstr>
      <vt:lpstr>customers want the option of physical communications </vt:lpstr>
      <vt:lpstr>Customer mail: a definition</vt:lpstr>
      <vt:lpstr>What is the role of customer mail in a good CX?</vt:lpstr>
      <vt:lpstr>PowerPoint Presentation</vt:lpstr>
      <vt:lpstr>Mail enhances the brand</vt:lpstr>
      <vt:lpstr>Mail shows that companies are committed</vt:lpstr>
      <vt:lpstr>People engage with mail</vt:lpstr>
      <vt:lpstr>Mail works across all age groups</vt:lpstr>
      <vt:lpstr>Mail is trusted</vt:lpstr>
      <vt:lpstr>Mail has commercial impact</vt:lpstr>
      <vt:lpstr>Mail works well with digital</vt:lpstr>
      <vt:lpstr>PowerPoint Presentation</vt:lpstr>
      <vt:lpstr>1. when the communication needs to be read thoroughly</vt:lpstr>
      <vt:lpstr>2. when the recipient needs to take action</vt:lpstr>
      <vt:lpstr>3. when the information is important</vt:lpstr>
      <vt:lpstr>4. when the information is complex</vt:lpstr>
      <vt:lpstr>5. when the information needs to be kept</vt:lpstr>
      <vt:lpstr>6. when there are privacy or security concerns</vt:lpstr>
      <vt:lpstr>PowerPoint Presentation</vt:lpstr>
      <vt:lpstr>1. Know your customer and where mail can fit</vt:lpstr>
      <vt:lpstr>2. Measuring it meaningfully</vt:lpstr>
      <vt:lpstr>3. Design matters</vt:lpstr>
      <vt:lpstr>4. More than marketing</vt:lpstr>
      <vt:lpstr>Use it because you should not because you could</vt:lpstr>
      <vt:lpstr>PowerPoint Presentation</vt:lpstr>
      <vt:lpstr>summary</vt:lpstr>
      <vt:lpstr>Download and read the full report today </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OLE OF CUSTOMER MAIL IN DELIVERING A REMARKABLE CUSTOMER EXPERIENCE (CX)</dc:title>
  <dc:creator/>
  <cp:lastModifiedBy/>
  <cp:revision>76</cp:revision>
  <dcterms:created xsi:type="dcterms:W3CDTF">2022-03-31T15:35:07Z</dcterms:created>
  <dcterms:modified xsi:type="dcterms:W3CDTF">2022-05-11T08:0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BC01A1B6CE214D9E5DE4A74D787689</vt:lpwstr>
  </property>
  <property fmtid="{D5CDD505-2E9C-101B-9397-08002B2CF9AE}" pid="3" name="MSIP_Label_980f36f3-41a5-4f45-a6a2-e224f336accd_Enabled">
    <vt:lpwstr>true</vt:lpwstr>
  </property>
  <property fmtid="{D5CDD505-2E9C-101B-9397-08002B2CF9AE}" pid="4" name="MSIP_Label_980f36f3-41a5-4f45-a6a2-e224f336accd_SetDate">
    <vt:lpwstr>2022-05-11T08:07:57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f68d0851-aff5-429b-8f25-ced6ebef5fb2</vt:lpwstr>
  </property>
  <property fmtid="{D5CDD505-2E9C-101B-9397-08002B2CF9AE}" pid="9" name="MSIP_Label_980f36f3-41a5-4f45-a6a2-e224f336accd_ContentBits">
    <vt:lpwstr>2</vt:lpwstr>
  </property>
</Properties>
</file>